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3" r:id="rId1"/>
  </p:sldMasterIdLst>
  <p:notesMasterIdLst>
    <p:notesMasterId r:id="rId13"/>
  </p:notesMasterIdLst>
  <p:sldIdLst>
    <p:sldId id="357" r:id="rId2"/>
    <p:sldId id="358" r:id="rId3"/>
    <p:sldId id="359" r:id="rId4"/>
    <p:sldId id="320" r:id="rId5"/>
    <p:sldId id="329" r:id="rId6"/>
    <p:sldId id="360" r:id="rId7"/>
    <p:sldId id="362" r:id="rId8"/>
    <p:sldId id="350" r:id="rId9"/>
    <p:sldId id="355" r:id="rId10"/>
    <p:sldId id="308" r:id="rId11"/>
    <p:sldId id="361" r:id="rId12"/>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7A9"/>
    <a:srgbClr val="44546A"/>
    <a:srgbClr val="86BC25"/>
    <a:srgbClr val="43B02A"/>
    <a:srgbClr val="62B5E5"/>
    <a:srgbClr val="041E42"/>
    <a:srgbClr val="33FF33"/>
    <a:srgbClr val="EDEEEF"/>
    <a:srgbClr val="B0C8FE"/>
    <a:srgbClr val="F5FF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209" autoAdjust="0"/>
    <p:restoredTop sz="94434" autoAdjust="0"/>
  </p:normalViewPr>
  <p:slideViewPr>
    <p:cSldViewPr snapToGrid="0">
      <p:cViewPr varScale="1">
        <p:scale>
          <a:sx n="83" d="100"/>
          <a:sy n="83" d="100"/>
        </p:scale>
        <p:origin x="1306" y="8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35228182546036829"/>
          <c:w val="1"/>
          <c:h val="0.51321056845476387"/>
        </c:manualLayout>
      </c:layout>
      <c:barChart>
        <c:barDir val="col"/>
        <c:grouping val="clustered"/>
        <c:varyColors val="0"/>
        <c:ser>
          <c:idx val="0"/>
          <c:order val="0"/>
          <c:tx>
            <c:strRef>
              <c:f>Sheet1!$B$1</c:f>
              <c:strCache>
                <c:ptCount val="1"/>
                <c:pt idx="0">
                  <c:v>Series 1</c:v>
                </c:pt>
              </c:strCache>
            </c:strRef>
          </c:tx>
          <c:spPr>
            <a:solidFill>
              <a:srgbClr val="86BC25"/>
            </a:solidFill>
            <a:ln>
              <a:noFill/>
            </a:ln>
            <a:effectLst/>
          </c:spPr>
          <c:invertIfNegative val="0"/>
          <c:dPt>
            <c:idx val="2"/>
            <c:invertIfNegative val="0"/>
            <c:bubble3D val="0"/>
            <c:spPr>
              <a:solidFill>
                <a:srgbClr val="86BC25"/>
              </a:solidFill>
              <a:ln>
                <a:noFill/>
              </a:ln>
              <a:effectLst/>
            </c:spPr>
            <c:extLst>
              <c:ext xmlns:c16="http://schemas.microsoft.com/office/drawing/2014/chart" uri="{C3380CC4-5D6E-409C-BE32-E72D297353CC}">
                <c16:uniqueId val="{00000001-52E0-49E1-9A2C-06BEDC7C2AA2}"/>
              </c:ext>
            </c:extLst>
          </c:dPt>
          <c:dLbls>
            <c:dLbl>
              <c:idx val="0"/>
              <c:tx>
                <c:rich>
                  <a:bodyPr/>
                  <a:lstStyle/>
                  <a:p>
                    <a:fld id="{CFC39849-083C-4A41-AAFD-222483AB7D18}" type="CELLRANGE">
                      <a:rPr lang="en-US">
                        <a:solidFill>
                          <a:schemeClr val="tx1"/>
                        </a:solidFill>
                      </a:rPr>
                      <a:pPr/>
                      <a:t>[PLAGECELL]</a:t>
                    </a:fld>
                    <a:endParaRPr lang="fr-FR"/>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842-4D6F-AEFB-06F6F6C2D70D}"/>
                </c:ext>
              </c:extLst>
            </c:dLbl>
            <c:dLbl>
              <c:idx val="1"/>
              <c:tx>
                <c:rich>
                  <a:bodyPr/>
                  <a:lstStyle/>
                  <a:p>
                    <a:fld id="{474CC86D-AAFD-45C4-B638-866BF3D63D9D}" type="CELLRANGE">
                      <a:rPr lang="en-US"/>
                      <a:pPr/>
                      <a:t>[PLAGECELL]</a:t>
                    </a:fld>
                    <a:endParaRPr lang="fr-FR"/>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842-4D6F-AEFB-06F6F6C2D70D}"/>
                </c:ext>
              </c:extLst>
            </c:dLbl>
            <c:dLbl>
              <c:idx val="2"/>
              <c:tx>
                <c:rich>
                  <a:bodyPr rot="0" spcFirstLastPara="1" vertOverflow="ellipsis" vert="horz" wrap="square" lIns="38100" tIns="19050" rIns="38100" bIns="19050" anchor="ctr" anchorCtr="0">
                    <a:spAutoFit/>
                  </a:bodyPr>
                  <a:lstStyle/>
                  <a:p>
                    <a:pPr algn="ctr" rtl="0">
                      <a:defRPr lang="en-US" sz="1000" b="0" i="0" u="none" strike="noStrike" kern="1200" baseline="0">
                        <a:solidFill>
                          <a:schemeClr val="tx1"/>
                        </a:solidFill>
                        <a:latin typeface="+mn-lt"/>
                        <a:ea typeface="+mn-ea"/>
                        <a:cs typeface="+mn-cs"/>
                      </a:defRPr>
                    </a:pPr>
                    <a:fld id="{CDCEE8C2-3B33-44D8-B394-5606811009C0}" type="CELLRANGE">
                      <a:rPr lang="en-US"/>
                      <a:pPr algn="ctr" rtl="0">
                        <a:defRPr lang="en-US" sz="1000" b="0" i="0" u="none" strike="noStrike" kern="1200" baseline="0">
                          <a:solidFill>
                            <a:schemeClr val="tx1"/>
                          </a:solidFill>
                          <a:latin typeface="+mn-lt"/>
                          <a:ea typeface="+mn-ea"/>
                          <a:cs typeface="+mn-cs"/>
                        </a:defRPr>
                      </a:pPr>
                      <a:t>[PLAGECELL]</a:t>
                    </a:fld>
                    <a:endParaRPr lang="fr-FR"/>
                  </a:p>
                </c:rich>
              </c:tx>
              <c:spPr>
                <a:noFill/>
                <a:ln>
                  <a:noFill/>
                </a:ln>
                <a:effectLst/>
              </c:sp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2E0-49E1-9A2C-06BEDC7C2AA2}"/>
                </c:ext>
              </c:extLst>
            </c:dLbl>
            <c:dLbl>
              <c:idx val="3"/>
              <c:tx>
                <c:rich>
                  <a:bodyPr/>
                  <a:lstStyle/>
                  <a:p>
                    <a:fld id="{D950DAD0-B919-470E-A5E0-77B8452CF09F}" type="CELLRANGE">
                      <a:rPr lang="en-US"/>
                      <a:pPr/>
                      <a:t>[PLAGECELL]</a:t>
                    </a:fld>
                    <a:endParaRPr lang="fr-FR"/>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842-4D6F-AEFB-06F6F6C2D70D}"/>
                </c:ext>
              </c:extLst>
            </c:dLbl>
            <c:dLbl>
              <c:idx val="4"/>
              <c:tx>
                <c:rich>
                  <a:bodyPr/>
                  <a:lstStyle/>
                  <a:p>
                    <a:fld id="{65ECB416-0106-4318-AA08-C80BB73EABD4}" type="CELLRANGE">
                      <a:rPr lang="en-US"/>
                      <a:pPr/>
                      <a:t>[PLAGECELL]</a:t>
                    </a:fld>
                    <a:endParaRPr lang="fr-FR"/>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842-4D6F-AEFB-06F6F6C2D70D}"/>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fr-FR"/>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1</c:v>
                </c:pt>
                <c:pt idx="1">
                  <c:v>2012</c:v>
                </c:pt>
                <c:pt idx="2">
                  <c:v>2013</c:v>
                </c:pt>
                <c:pt idx="3">
                  <c:v>2014</c:v>
                </c:pt>
                <c:pt idx="4">
                  <c:v>2015</c:v>
                </c:pt>
              </c:numCache>
            </c:numRef>
          </c:cat>
          <c:val>
            <c:numRef>
              <c:f>Sheet1!$B$2:$B$6</c:f>
              <c:numCache>
                <c:formatCode>General</c:formatCode>
                <c:ptCount val="5"/>
                <c:pt idx="0">
                  <c:v>2</c:v>
                </c:pt>
                <c:pt idx="1">
                  <c:v>3</c:v>
                </c:pt>
                <c:pt idx="2">
                  <c:v>4</c:v>
                </c:pt>
                <c:pt idx="3">
                  <c:v>12</c:v>
                </c:pt>
                <c:pt idx="4">
                  <c:v>21</c:v>
                </c:pt>
              </c:numCache>
            </c:numRef>
          </c:val>
          <c:extLst>
            <c:ext xmlns:c15="http://schemas.microsoft.com/office/drawing/2012/chart" uri="{02D57815-91ED-43cb-92C2-25804820EDAC}">
              <c15:datalabelsRange>
                <c15:f>Sheet1!$E$2:$E$6</c15:f>
                <c15:dlblRangeCache>
                  <c:ptCount val="5"/>
                  <c:pt idx="0">
                    <c:v>2 Mds $</c:v>
                  </c:pt>
                  <c:pt idx="1">
                    <c:v>3 Mds $</c:v>
                  </c:pt>
                  <c:pt idx="2">
                    <c:v>4 Mds $</c:v>
                  </c:pt>
                  <c:pt idx="3">
                    <c:v>12 Mds $</c:v>
                  </c:pt>
                  <c:pt idx="4">
                    <c:v>21 Mds $</c:v>
                  </c:pt>
                </c15:dlblRangeCache>
              </c15:datalabelsRange>
            </c:ext>
            <c:ext xmlns:c16="http://schemas.microsoft.com/office/drawing/2014/chart" uri="{C3380CC4-5D6E-409C-BE32-E72D297353CC}">
              <c16:uniqueId val="{00000006-52E0-49E1-9A2C-06BEDC7C2AA2}"/>
            </c:ext>
          </c:extLst>
        </c:ser>
        <c:dLbls>
          <c:showLegendKey val="0"/>
          <c:showVal val="0"/>
          <c:showCatName val="0"/>
          <c:showSerName val="0"/>
          <c:showPercent val="0"/>
          <c:showBubbleSize val="0"/>
        </c:dLbls>
        <c:gapWidth val="52"/>
        <c:axId val="355553320"/>
        <c:axId val="355553712"/>
      </c:barChart>
      <c:catAx>
        <c:axId val="355553320"/>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fr-FR"/>
          </a:p>
        </c:txPr>
        <c:crossAx val="355553712"/>
        <c:crosses val="autoZero"/>
        <c:auto val="0"/>
        <c:lblAlgn val="ctr"/>
        <c:lblOffset val="100"/>
        <c:noMultiLvlLbl val="0"/>
      </c:catAx>
      <c:valAx>
        <c:axId val="355553712"/>
        <c:scaling>
          <c:orientation val="minMax"/>
        </c:scaling>
        <c:delete val="1"/>
        <c:axPos val="l"/>
        <c:numFmt formatCode="General" sourceLinked="1"/>
        <c:majorTickMark val="none"/>
        <c:minorTickMark val="none"/>
        <c:tickLblPos val="nextTo"/>
        <c:crossAx val="3555533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FAC60FF-AD3C-46CB-A941-3DE4901D253E}" type="datetimeFigureOut">
              <a:rPr lang="fr-FR" smtClean="0"/>
              <a:t>27/09/2017</a:t>
            </a:fld>
            <a:endParaRPr lang="fr-FR"/>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414A29-A13E-4F88-9F57-9DC5E8703A3B}" type="slidenum">
              <a:rPr lang="fr-FR" smtClean="0"/>
              <a:t>‹N°›</a:t>
            </a:fld>
            <a:endParaRPr lang="fr-FR"/>
          </a:p>
        </p:txBody>
      </p:sp>
    </p:spTree>
    <p:extLst>
      <p:ext uri="{BB962C8B-B14F-4D97-AF65-F5344CB8AC3E}">
        <p14:creationId xmlns:p14="http://schemas.microsoft.com/office/powerpoint/2010/main" val="13413394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BD414A29-A13E-4F88-9F57-9DC5E8703A3B}" type="slidenum">
              <a:rPr lang="fr-FR" smtClean="0"/>
              <a:t>4</a:t>
            </a:fld>
            <a:endParaRPr lang="fr-FR"/>
          </a:p>
        </p:txBody>
      </p:sp>
    </p:spTree>
    <p:extLst>
      <p:ext uri="{BB962C8B-B14F-4D97-AF65-F5344CB8AC3E}">
        <p14:creationId xmlns:p14="http://schemas.microsoft.com/office/powerpoint/2010/main" val="40809952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Le périmètre</a:t>
            </a:r>
            <a:r>
              <a:rPr lang="fr-FR" baseline="0" dirty="0"/>
              <a:t> des </a:t>
            </a:r>
            <a:r>
              <a:rPr lang="fr-FR" baseline="0" dirty="0" err="1"/>
              <a:t>Fintech</a:t>
            </a:r>
            <a:r>
              <a:rPr lang="fr-FR" baseline="0" dirty="0"/>
              <a:t> n’épargne aucun métier de la finance : banque de détail, activité de paiement, activité de gestion, financement, assurance…</a:t>
            </a:r>
          </a:p>
          <a:p>
            <a:r>
              <a:rPr lang="fr-FR" baseline="0" dirty="0"/>
              <a:t>Le modèle qu’imposent ces </a:t>
            </a:r>
            <a:r>
              <a:rPr lang="fr-FR" baseline="0" dirty="0" err="1"/>
              <a:t>strat-up</a:t>
            </a:r>
            <a:r>
              <a:rPr lang="fr-FR" baseline="0" dirty="0"/>
              <a:t> va au-delà d’une simple innovation numérique à intégrer par les banques… Il remet en question le modèle centralisé en ouvrant un modèle décentralisé où la confiance repose sur la densification des données et la foule. Soit transformer les banques soit les remplacer</a:t>
            </a:r>
          </a:p>
          <a:p>
            <a:pPr marL="184785" indent="-172085">
              <a:buFont typeface="Arial"/>
              <a:buChar char="•"/>
              <a:tabLst>
                <a:tab pos="184785" algn="l"/>
                <a:tab pos="185420" algn="l"/>
              </a:tabLst>
            </a:pPr>
            <a:endParaRPr lang="fr-FR" sz="1200" dirty="0">
              <a:solidFill>
                <a:prstClr val="black"/>
              </a:solidFill>
              <a:cs typeface="Verdana"/>
            </a:endParaRPr>
          </a:p>
          <a:p>
            <a:pPr marL="184785" indent="-172085">
              <a:buFont typeface="Arial"/>
              <a:buChar char="•"/>
              <a:tabLst>
                <a:tab pos="184785" algn="l"/>
                <a:tab pos="185420" algn="l"/>
              </a:tabLst>
            </a:pPr>
            <a:r>
              <a:rPr lang="fr-FR" sz="1200" dirty="0">
                <a:solidFill>
                  <a:prstClr val="black"/>
                </a:solidFill>
                <a:cs typeface="Verdana"/>
              </a:rPr>
              <a:t>Modes de paiement non traditionnels : </a:t>
            </a:r>
            <a:r>
              <a:rPr lang="fr-FR" sz="1200" dirty="0">
                <a:solidFill>
                  <a:prstClr val="black"/>
                </a:solidFill>
                <a:latin typeface="Verdana"/>
                <a:cs typeface="Verdana"/>
              </a:rPr>
              <a:t>Crypto-monnaie,</a:t>
            </a:r>
            <a:r>
              <a:rPr lang="fr-FR" sz="1200" baseline="0" dirty="0">
                <a:solidFill>
                  <a:prstClr val="black"/>
                </a:solidFill>
                <a:latin typeface="Verdana"/>
                <a:cs typeface="Verdana"/>
              </a:rPr>
              <a:t> </a:t>
            </a:r>
            <a:r>
              <a:rPr lang="fr-FR" sz="1200" dirty="0">
                <a:solidFill>
                  <a:prstClr val="black"/>
                </a:solidFill>
                <a:latin typeface="Verdana"/>
                <a:cs typeface="Verdana"/>
              </a:rPr>
              <a:t>Opérations de change P2P,</a:t>
            </a:r>
            <a:r>
              <a:rPr lang="fr-FR" sz="1200" baseline="0" dirty="0">
                <a:solidFill>
                  <a:prstClr val="black"/>
                </a:solidFill>
                <a:latin typeface="Verdana"/>
                <a:cs typeface="Verdana"/>
              </a:rPr>
              <a:t> </a:t>
            </a:r>
            <a:r>
              <a:rPr lang="fr-FR" sz="1200" dirty="0">
                <a:solidFill>
                  <a:prstClr val="black"/>
                </a:solidFill>
                <a:latin typeface="Verdana"/>
                <a:cs typeface="Verdana"/>
              </a:rPr>
              <a:t>Paiements mobiles</a:t>
            </a:r>
          </a:p>
          <a:p>
            <a:pPr marL="184785" indent="-172085">
              <a:buFont typeface="Arial"/>
              <a:buChar char="•"/>
              <a:tabLst>
                <a:tab pos="184785" algn="l"/>
                <a:tab pos="185420" algn="l"/>
              </a:tabLst>
            </a:pPr>
            <a:r>
              <a:rPr lang="fr-FR" sz="1200" dirty="0">
                <a:solidFill>
                  <a:prstClr val="black"/>
                </a:solidFill>
                <a:latin typeface="Verdana"/>
                <a:cs typeface="Verdana"/>
              </a:rPr>
              <a:t>Monde sans espèces</a:t>
            </a:r>
            <a:r>
              <a:rPr lang="fr-FR" sz="1200" baseline="0" dirty="0">
                <a:solidFill>
                  <a:prstClr val="black"/>
                </a:solidFill>
                <a:latin typeface="Verdana"/>
                <a:cs typeface="Verdana"/>
              </a:rPr>
              <a:t> : </a:t>
            </a:r>
            <a:r>
              <a:rPr lang="fr-FR" sz="1200" dirty="0">
                <a:solidFill>
                  <a:prstClr val="black"/>
                </a:solidFill>
                <a:latin typeface="Verdana"/>
                <a:cs typeface="Verdana"/>
              </a:rPr>
              <a:t>Facturation intégrée</a:t>
            </a:r>
            <a:r>
              <a:rPr lang="fr-FR" sz="1200" baseline="0" dirty="0">
                <a:solidFill>
                  <a:prstClr val="black"/>
                </a:solidFill>
                <a:latin typeface="Verdana"/>
                <a:cs typeface="Verdana"/>
              </a:rPr>
              <a:t>, </a:t>
            </a:r>
            <a:r>
              <a:rPr lang="fr-FR" sz="1200" dirty="0">
                <a:solidFill>
                  <a:prstClr val="black"/>
                </a:solidFill>
                <a:latin typeface="Verdana"/>
                <a:cs typeface="Verdana"/>
              </a:rPr>
              <a:t>Paiements mobiles</a:t>
            </a:r>
            <a:r>
              <a:rPr lang="fr-FR" sz="1200" baseline="0" dirty="0">
                <a:solidFill>
                  <a:prstClr val="black"/>
                </a:solidFill>
                <a:latin typeface="Verdana"/>
                <a:cs typeface="Verdana"/>
              </a:rPr>
              <a:t>, </a:t>
            </a:r>
            <a:r>
              <a:rPr lang="fr-FR" sz="1200" dirty="0">
                <a:solidFill>
                  <a:prstClr val="black"/>
                </a:solidFill>
                <a:latin typeface="Verdana"/>
                <a:cs typeface="Verdana"/>
              </a:rPr>
              <a:t>Paiements simplifiés</a:t>
            </a:r>
          </a:p>
          <a:p>
            <a:pPr marL="12700" indent="0">
              <a:buFont typeface="Arial"/>
              <a:buNone/>
              <a:tabLst>
                <a:tab pos="184785" algn="l"/>
                <a:tab pos="185420" algn="l"/>
              </a:tabLst>
            </a:pPr>
            <a:endParaRPr lang="fr-FR" sz="1200" baseline="0" dirty="0">
              <a:solidFill>
                <a:prstClr val="black"/>
              </a:solidFill>
              <a:latin typeface="Verdana"/>
              <a:cs typeface="Verdana"/>
            </a:endParaRPr>
          </a:p>
          <a:p>
            <a:pPr marL="184785" indent="-172085">
              <a:buFont typeface="Arial"/>
              <a:buChar char="•"/>
              <a:tabLst>
                <a:tab pos="184785" algn="l"/>
                <a:tab pos="185420" algn="l"/>
              </a:tabLst>
            </a:pPr>
            <a:r>
              <a:rPr lang="fr-FR" sz="1200" baseline="0" dirty="0">
                <a:solidFill>
                  <a:prstClr val="black"/>
                </a:solidFill>
                <a:latin typeface="Verdana"/>
                <a:cs typeface="Verdana"/>
              </a:rPr>
              <a:t>Forces de désagrégation : </a:t>
            </a:r>
            <a:r>
              <a:rPr lang="fr-FR" sz="1200" dirty="0">
                <a:solidFill>
                  <a:prstClr val="black"/>
                </a:solidFill>
                <a:latin typeface="Verdana"/>
                <a:cs typeface="Verdana"/>
              </a:rPr>
              <a:t>Économie collaborative,</a:t>
            </a:r>
            <a:r>
              <a:rPr lang="fr-FR" sz="1200" baseline="0" dirty="0">
                <a:solidFill>
                  <a:prstClr val="black"/>
                </a:solidFill>
                <a:latin typeface="Verdana"/>
                <a:cs typeface="Verdana"/>
              </a:rPr>
              <a:t> </a:t>
            </a:r>
            <a:r>
              <a:rPr lang="fr-FR" sz="1200" dirty="0" err="1">
                <a:solidFill>
                  <a:prstClr val="black"/>
                </a:solidFill>
                <a:latin typeface="Verdana"/>
                <a:cs typeface="Verdana"/>
              </a:rPr>
              <a:t>Crowdinsuring</a:t>
            </a:r>
            <a:r>
              <a:rPr lang="fr-FR" sz="1200" dirty="0">
                <a:solidFill>
                  <a:prstClr val="black"/>
                </a:solidFill>
                <a:latin typeface="Verdana"/>
                <a:cs typeface="Verdana"/>
              </a:rPr>
              <a:t>,</a:t>
            </a:r>
            <a:r>
              <a:rPr lang="fr-FR" sz="1200" baseline="0" dirty="0">
                <a:solidFill>
                  <a:prstClr val="black"/>
                </a:solidFill>
                <a:latin typeface="Verdana"/>
                <a:cs typeface="Verdana"/>
              </a:rPr>
              <a:t> </a:t>
            </a:r>
            <a:r>
              <a:rPr lang="fr-FR" sz="1200" dirty="0">
                <a:solidFill>
                  <a:prstClr val="black"/>
                </a:solidFill>
                <a:latin typeface="Verdana"/>
                <a:cs typeface="Verdana"/>
              </a:rPr>
              <a:t>Véhicules autonomes,</a:t>
            </a:r>
            <a:r>
              <a:rPr lang="fr-FR" sz="1200" baseline="0" dirty="0">
                <a:solidFill>
                  <a:prstClr val="black"/>
                </a:solidFill>
                <a:latin typeface="Verdana"/>
                <a:cs typeface="Verdana"/>
              </a:rPr>
              <a:t> </a:t>
            </a:r>
            <a:r>
              <a:rPr lang="fr-FR" sz="1200" dirty="0">
                <a:solidFill>
                  <a:prstClr val="black"/>
                </a:solidFill>
                <a:latin typeface="Verdana"/>
                <a:cs typeface="Verdana"/>
              </a:rPr>
              <a:t>Distribution digitale</a:t>
            </a:r>
            <a:endParaRPr lang="fr-FR" sz="1200" baseline="0" dirty="0">
              <a:solidFill>
                <a:prstClr val="black"/>
              </a:solidFill>
              <a:latin typeface="Verdana"/>
              <a:cs typeface="Verdana"/>
            </a:endParaRPr>
          </a:p>
          <a:p>
            <a:pPr marL="184785" indent="-172085">
              <a:buFont typeface="Arial"/>
              <a:buChar char="•"/>
              <a:tabLst>
                <a:tab pos="184785" algn="l"/>
                <a:tab pos="185420" algn="l"/>
              </a:tabLst>
            </a:pPr>
            <a:r>
              <a:rPr lang="fr-FR" sz="1200" baseline="0" dirty="0">
                <a:solidFill>
                  <a:prstClr val="black"/>
                </a:solidFill>
                <a:latin typeface="Verdana"/>
                <a:cs typeface="Verdana"/>
              </a:rPr>
              <a:t>Monde connecté : </a:t>
            </a:r>
            <a:r>
              <a:rPr lang="fr-FR" sz="1200" dirty="0">
                <a:solidFill>
                  <a:prstClr val="black"/>
                </a:solidFill>
                <a:latin typeface="Verdana"/>
                <a:cs typeface="Verdana"/>
              </a:rPr>
              <a:t>Internet des Objets,</a:t>
            </a:r>
            <a:r>
              <a:rPr lang="fr-FR" sz="1200" baseline="0" dirty="0">
                <a:solidFill>
                  <a:prstClr val="black"/>
                </a:solidFill>
                <a:latin typeface="Verdana"/>
                <a:cs typeface="Verdana"/>
              </a:rPr>
              <a:t> </a:t>
            </a:r>
            <a:r>
              <a:rPr lang="fr-FR" sz="1200" dirty="0">
                <a:solidFill>
                  <a:prstClr val="black"/>
                </a:solidFill>
                <a:latin typeface="Verdana"/>
                <a:cs typeface="Verdana"/>
              </a:rPr>
              <a:t>Capteurs avancés,</a:t>
            </a:r>
            <a:r>
              <a:rPr lang="fr-FR" sz="1200" baseline="0" dirty="0">
                <a:solidFill>
                  <a:prstClr val="black"/>
                </a:solidFill>
                <a:latin typeface="Verdana"/>
                <a:cs typeface="Verdana"/>
              </a:rPr>
              <a:t> </a:t>
            </a:r>
            <a:r>
              <a:rPr lang="fr-FR" sz="1200" dirty="0">
                <a:solidFill>
                  <a:prstClr val="black"/>
                </a:solidFill>
                <a:latin typeface="Verdana"/>
                <a:cs typeface="Verdana"/>
              </a:rPr>
              <a:t>« </a:t>
            </a:r>
            <a:r>
              <a:rPr lang="fr-FR" sz="1200" dirty="0" err="1">
                <a:solidFill>
                  <a:prstClr val="black"/>
                </a:solidFill>
                <a:latin typeface="Verdana"/>
                <a:cs typeface="Verdana"/>
              </a:rPr>
              <a:t>Wearables</a:t>
            </a:r>
            <a:r>
              <a:rPr lang="fr-FR" sz="1200" dirty="0">
                <a:solidFill>
                  <a:prstClr val="black"/>
                </a:solidFill>
                <a:latin typeface="Verdana"/>
                <a:cs typeface="Verdana"/>
              </a:rPr>
              <a:t> »</a:t>
            </a:r>
          </a:p>
          <a:p>
            <a:pPr marL="184785" indent="-172085">
              <a:buFont typeface="Arial"/>
              <a:buChar char="•"/>
              <a:tabLst>
                <a:tab pos="184785" algn="l"/>
                <a:tab pos="185420" algn="l"/>
              </a:tabLst>
            </a:pPr>
            <a:endParaRPr lang="fr-FR" sz="1200" baseline="0" dirty="0">
              <a:solidFill>
                <a:prstClr val="black"/>
              </a:solidFill>
              <a:latin typeface="Verdana"/>
              <a:cs typeface="Verdana"/>
            </a:endParaRPr>
          </a:p>
          <a:p>
            <a:pPr marL="184785" indent="-172085">
              <a:buFont typeface="Arial"/>
              <a:buChar char="•"/>
              <a:tabLst>
                <a:tab pos="184785" algn="l"/>
                <a:tab pos="185420" algn="l"/>
              </a:tabLst>
            </a:pPr>
            <a:r>
              <a:rPr lang="fr-FR" sz="1200" dirty="0">
                <a:solidFill>
                  <a:prstClr val="black"/>
                </a:solidFill>
                <a:latin typeface="Verdana"/>
                <a:cs typeface="Verdana"/>
              </a:rPr>
              <a:t>Plateformes alternatives de prêts : Prêts P2P,</a:t>
            </a:r>
            <a:r>
              <a:rPr lang="fr-FR" sz="1200" baseline="0" dirty="0">
                <a:solidFill>
                  <a:prstClr val="black"/>
                </a:solidFill>
                <a:latin typeface="Verdana"/>
                <a:cs typeface="Verdana"/>
              </a:rPr>
              <a:t> </a:t>
            </a:r>
            <a:r>
              <a:rPr lang="fr-FR" sz="1200" dirty="0">
                <a:solidFill>
                  <a:prstClr val="black"/>
                </a:solidFill>
                <a:latin typeface="Verdana"/>
                <a:cs typeface="Verdana"/>
              </a:rPr>
              <a:t>Processus d’approbation alternatif</a:t>
            </a:r>
          </a:p>
          <a:p>
            <a:pPr marL="184785" indent="-172085">
              <a:buFont typeface="Arial"/>
              <a:buChar char="•"/>
              <a:tabLst>
                <a:tab pos="184785" algn="l"/>
                <a:tab pos="185420" algn="l"/>
              </a:tabLst>
            </a:pPr>
            <a:r>
              <a:rPr lang="fr-FR" sz="1200" dirty="0">
                <a:solidFill>
                  <a:prstClr val="black"/>
                </a:solidFill>
                <a:latin typeface="Verdana"/>
                <a:cs typeface="Verdana"/>
              </a:rPr>
              <a:t>Evolution des préférences clients : Open API,</a:t>
            </a:r>
            <a:r>
              <a:rPr lang="fr-FR" sz="1200" baseline="0" dirty="0">
                <a:solidFill>
                  <a:prstClr val="black"/>
                </a:solidFill>
                <a:latin typeface="Verdana"/>
                <a:cs typeface="Verdana"/>
              </a:rPr>
              <a:t> </a:t>
            </a:r>
            <a:r>
              <a:rPr lang="fr-FR" sz="1200" dirty="0">
                <a:solidFill>
                  <a:prstClr val="black"/>
                </a:solidFill>
                <a:latin typeface="Verdana"/>
                <a:cs typeface="Verdana"/>
              </a:rPr>
              <a:t>Technologies virtuelles</a:t>
            </a:r>
          </a:p>
          <a:p>
            <a:pPr marL="184785" indent="-172085">
              <a:buFont typeface="Arial"/>
              <a:buChar char="•"/>
              <a:tabLst>
                <a:tab pos="184785" algn="l"/>
                <a:tab pos="185420" algn="l"/>
              </a:tabLst>
            </a:pPr>
            <a:endParaRPr lang="fr-FR" sz="1200" dirty="0">
              <a:solidFill>
                <a:prstClr val="black"/>
              </a:solidFill>
              <a:latin typeface="Verdana"/>
              <a:cs typeface="Verdana"/>
            </a:endParaRPr>
          </a:p>
          <a:p>
            <a:pPr marL="184785" indent="-172085">
              <a:buFont typeface="Arial"/>
              <a:buChar char="•"/>
              <a:tabLst>
                <a:tab pos="184785" algn="l"/>
                <a:tab pos="185420" algn="l"/>
              </a:tabLst>
            </a:pPr>
            <a:r>
              <a:rPr lang="fr-FR" sz="1200" dirty="0">
                <a:solidFill>
                  <a:prstClr val="black"/>
                </a:solidFill>
                <a:latin typeface="Verdana"/>
                <a:cs typeface="Verdana"/>
              </a:rPr>
              <a:t>Levée de fonds : Due Diligence alternative,</a:t>
            </a:r>
            <a:r>
              <a:rPr lang="fr-FR" sz="1200" baseline="0" dirty="0">
                <a:solidFill>
                  <a:prstClr val="black"/>
                </a:solidFill>
                <a:latin typeface="Verdana"/>
                <a:cs typeface="Verdana"/>
              </a:rPr>
              <a:t> </a:t>
            </a:r>
            <a:r>
              <a:rPr lang="fr-FR" sz="1200" dirty="0">
                <a:solidFill>
                  <a:prstClr val="black"/>
                </a:solidFill>
                <a:latin typeface="Verdana"/>
                <a:cs typeface="Verdana"/>
              </a:rPr>
              <a:t>Échanges virtuels et contrats intelligents</a:t>
            </a:r>
          </a:p>
          <a:p>
            <a:pPr marL="184785" marR="0" lvl="0" indent="-172085" algn="l" defTabSz="914400" rtl="0" eaLnBrk="1" fontAlgn="auto" latinLnBrk="0" hangingPunct="1">
              <a:lnSpc>
                <a:spcPct val="100000"/>
              </a:lnSpc>
              <a:spcBef>
                <a:spcPts val="0"/>
              </a:spcBef>
              <a:spcAft>
                <a:spcPts val="0"/>
              </a:spcAft>
              <a:buClrTx/>
              <a:buSzTx/>
              <a:buFont typeface="Arial"/>
              <a:buChar char="•"/>
              <a:tabLst>
                <a:tab pos="184785" algn="l"/>
                <a:tab pos="185420" algn="l"/>
              </a:tabLst>
              <a:defRPr/>
            </a:pPr>
            <a:r>
              <a:rPr lang="fr-FR" sz="1200" dirty="0">
                <a:solidFill>
                  <a:prstClr val="black"/>
                </a:solidFill>
                <a:latin typeface="Verdana"/>
                <a:cs typeface="Verdana"/>
              </a:rPr>
              <a:t>Participation : </a:t>
            </a:r>
            <a:r>
              <a:rPr lang="fr-FR" sz="1200" dirty="0" err="1">
                <a:solidFill>
                  <a:prstClr val="black"/>
                </a:solidFill>
                <a:latin typeface="Verdana"/>
                <a:cs typeface="Verdana"/>
              </a:rPr>
              <a:t>Crowdequity</a:t>
            </a:r>
            <a:r>
              <a:rPr lang="fr-FR" sz="1200" baseline="0" dirty="0">
                <a:solidFill>
                  <a:prstClr val="black"/>
                </a:solidFill>
                <a:latin typeface="Verdana"/>
                <a:cs typeface="Verdana"/>
              </a:rPr>
              <a:t> (</a:t>
            </a:r>
            <a:r>
              <a:rPr lang="fr-FR" sz="1200" baseline="0" dirty="0" err="1">
                <a:solidFill>
                  <a:prstClr val="black"/>
                </a:solidFill>
                <a:latin typeface="Verdana"/>
                <a:cs typeface="Verdana"/>
              </a:rPr>
              <a:t>crowdfunding</a:t>
            </a:r>
            <a:r>
              <a:rPr lang="fr-FR" sz="1200" baseline="0" dirty="0">
                <a:solidFill>
                  <a:prstClr val="black"/>
                </a:solidFill>
                <a:latin typeface="Verdana"/>
                <a:cs typeface="Verdana"/>
              </a:rPr>
              <a:t>)</a:t>
            </a:r>
            <a:endParaRPr lang="fr-FR" sz="1200" dirty="0">
              <a:solidFill>
                <a:prstClr val="black"/>
              </a:solidFill>
              <a:latin typeface="Verdana"/>
              <a:cs typeface="Verdana"/>
            </a:endParaRPr>
          </a:p>
          <a:p>
            <a:pPr marL="184785" indent="-172085">
              <a:buFont typeface="Arial"/>
              <a:buChar char="•"/>
              <a:tabLst>
                <a:tab pos="184785" algn="l"/>
                <a:tab pos="185420" algn="l"/>
              </a:tabLst>
            </a:pPr>
            <a:endParaRPr lang="fr-FR" sz="1200" dirty="0">
              <a:solidFill>
                <a:prstClr val="black"/>
              </a:solidFill>
              <a:latin typeface="Verdana"/>
              <a:cs typeface="Verdana"/>
            </a:endParaRPr>
          </a:p>
          <a:p>
            <a:pPr marL="184785" indent="-172085">
              <a:buFont typeface="Arial"/>
              <a:buChar char="•"/>
              <a:tabLst>
                <a:tab pos="184785" algn="l"/>
                <a:tab pos="185420" algn="l"/>
              </a:tabLst>
            </a:pPr>
            <a:r>
              <a:rPr lang="fr-FR" sz="1200" dirty="0">
                <a:solidFill>
                  <a:prstClr val="black"/>
                </a:solidFill>
                <a:latin typeface="Verdana"/>
                <a:cs typeface="Verdana"/>
              </a:rPr>
              <a:t>Investisseurs autonomisés : Gestion et conseils automatisés,</a:t>
            </a:r>
            <a:r>
              <a:rPr lang="fr-FR" sz="1200" baseline="0" dirty="0">
                <a:solidFill>
                  <a:prstClr val="black"/>
                </a:solidFill>
                <a:latin typeface="Verdana"/>
                <a:cs typeface="Verdana"/>
              </a:rPr>
              <a:t> </a:t>
            </a:r>
            <a:r>
              <a:rPr lang="fr-FR" sz="1200" dirty="0">
                <a:solidFill>
                  <a:prstClr val="black"/>
                </a:solidFill>
                <a:latin typeface="Verdana"/>
                <a:cs typeface="Verdana"/>
              </a:rPr>
              <a:t>Algorithmes de trading</a:t>
            </a:r>
            <a:r>
              <a:rPr lang="fr-FR" sz="1200" baseline="0" dirty="0">
                <a:solidFill>
                  <a:prstClr val="black"/>
                </a:solidFill>
                <a:latin typeface="Verdana"/>
                <a:cs typeface="Verdana"/>
              </a:rPr>
              <a:t>, </a:t>
            </a:r>
            <a:r>
              <a:rPr lang="fr-FR" sz="1200" dirty="0">
                <a:solidFill>
                  <a:prstClr val="black"/>
                </a:solidFill>
                <a:latin typeface="Verdana"/>
                <a:cs typeface="Verdana"/>
              </a:rPr>
              <a:t>Social</a:t>
            </a:r>
          </a:p>
          <a:p>
            <a:pPr marL="184785" indent="-172085">
              <a:buFont typeface="Arial"/>
              <a:buChar char="•"/>
              <a:tabLst>
                <a:tab pos="184785" algn="l"/>
                <a:tab pos="185420" algn="l"/>
              </a:tabLst>
            </a:pPr>
            <a:r>
              <a:rPr lang="fr-FR" sz="1200" dirty="0">
                <a:solidFill>
                  <a:prstClr val="black"/>
                </a:solidFill>
                <a:latin typeface="Verdana"/>
                <a:cs typeface="Verdana"/>
              </a:rPr>
              <a:t>Externalisation de processus : Cloud,</a:t>
            </a:r>
            <a:r>
              <a:rPr lang="fr-FR" sz="1200" baseline="0" dirty="0">
                <a:solidFill>
                  <a:prstClr val="black"/>
                </a:solidFill>
                <a:latin typeface="Verdana"/>
                <a:cs typeface="Verdana"/>
              </a:rPr>
              <a:t> </a:t>
            </a:r>
            <a:r>
              <a:rPr lang="fr-FR" sz="1200" dirty="0">
                <a:solidFill>
                  <a:prstClr val="black"/>
                </a:solidFill>
                <a:latin typeface="Verdana"/>
                <a:cs typeface="Verdana"/>
              </a:rPr>
              <a:t>Algorithmes avancés,</a:t>
            </a:r>
            <a:r>
              <a:rPr lang="fr-FR" sz="1200" baseline="0" dirty="0">
                <a:solidFill>
                  <a:prstClr val="black"/>
                </a:solidFill>
                <a:latin typeface="Verdana"/>
                <a:cs typeface="Verdana"/>
              </a:rPr>
              <a:t> </a:t>
            </a:r>
            <a:r>
              <a:rPr lang="fr-FR" sz="1200" dirty="0">
                <a:solidFill>
                  <a:prstClr val="black"/>
                </a:solidFill>
                <a:latin typeface="Verdana"/>
                <a:cs typeface="Verdana"/>
              </a:rPr>
              <a:t>Open sources</a:t>
            </a:r>
          </a:p>
          <a:p>
            <a:pPr marL="184785" indent="-172085">
              <a:buFont typeface="Arial"/>
              <a:buChar char="•"/>
              <a:tabLst>
                <a:tab pos="184785" algn="l"/>
                <a:tab pos="185420" algn="l"/>
              </a:tabLst>
            </a:pPr>
            <a:endParaRPr lang="fr-FR" sz="1200" dirty="0">
              <a:solidFill>
                <a:prstClr val="black"/>
              </a:solidFill>
              <a:latin typeface="Verdana"/>
              <a:cs typeface="Verdana"/>
            </a:endParaRPr>
          </a:p>
          <a:p>
            <a:pPr marL="184785" marR="794385" indent="-172085">
              <a:buFont typeface="Arial"/>
              <a:buChar char="•"/>
              <a:tabLst>
                <a:tab pos="184785" algn="l"/>
                <a:tab pos="185420" algn="l"/>
              </a:tabLst>
            </a:pPr>
            <a:r>
              <a:rPr lang="fr-FR" sz="1200" dirty="0">
                <a:solidFill>
                  <a:prstClr val="black"/>
                </a:solidFill>
                <a:latin typeface="Verdana"/>
                <a:cs typeface="Verdana"/>
              </a:rPr>
              <a:t>Connexions acheteurs-vendeurs : Plateformes d’informations,</a:t>
            </a:r>
            <a:r>
              <a:rPr lang="fr-FR" sz="1200" baseline="0" dirty="0">
                <a:solidFill>
                  <a:prstClr val="black"/>
                </a:solidFill>
                <a:latin typeface="Verdana"/>
                <a:cs typeface="Verdana"/>
              </a:rPr>
              <a:t> </a:t>
            </a:r>
            <a:r>
              <a:rPr lang="fr-FR" sz="1200" dirty="0">
                <a:solidFill>
                  <a:prstClr val="black"/>
                </a:solidFill>
                <a:latin typeface="Verdana"/>
                <a:cs typeface="Verdana"/>
              </a:rPr>
              <a:t>Collecte et analyse automatisées des données,</a:t>
            </a:r>
            <a:r>
              <a:rPr lang="fr-FR" sz="1200" baseline="0" dirty="0">
                <a:solidFill>
                  <a:prstClr val="black"/>
                </a:solidFill>
                <a:latin typeface="Verdana"/>
                <a:cs typeface="Verdana"/>
              </a:rPr>
              <a:t> </a:t>
            </a:r>
            <a:r>
              <a:rPr lang="fr-FR" sz="1200" dirty="0">
                <a:solidFill>
                  <a:prstClr val="black"/>
                </a:solidFill>
                <a:latin typeface="Verdana"/>
                <a:cs typeface="Verdana"/>
              </a:rPr>
              <a:t>E-commerce, comparateurs</a:t>
            </a:r>
          </a:p>
          <a:p>
            <a:pPr marL="184785" marR="5080" indent="-172085">
              <a:buFont typeface="Arial"/>
              <a:buChar char="•"/>
              <a:tabLst>
                <a:tab pos="184785" algn="l"/>
                <a:tab pos="185420" algn="l"/>
              </a:tabLst>
            </a:pPr>
            <a:r>
              <a:rPr lang="fr-FR" sz="1200" dirty="0">
                <a:solidFill>
                  <a:prstClr val="black"/>
                </a:solidFill>
                <a:latin typeface="Verdana"/>
                <a:cs typeface="Verdana"/>
              </a:rPr>
              <a:t>Automatisation : Intelligence artificielle/auto-apprentissage,</a:t>
            </a:r>
            <a:r>
              <a:rPr lang="fr-FR" sz="1200" baseline="0" dirty="0">
                <a:solidFill>
                  <a:prstClr val="black"/>
                </a:solidFill>
                <a:latin typeface="Verdana"/>
                <a:cs typeface="Verdana"/>
              </a:rPr>
              <a:t> </a:t>
            </a:r>
            <a:r>
              <a:rPr lang="fr-FR" sz="1200" dirty="0">
                <a:solidFill>
                  <a:prstClr val="black"/>
                </a:solidFill>
                <a:latin typeface="Verdana"/>
                <a:cs typeface="Verdana"/>
              </a:rPr>
              <a:t>Compréhension du langage naturel,</a:t>
            </a:r>
            <a:r>
              <a:rPr lang="fr-FR" sz="1200" baseline="0" dirty="0">
                <a:solidFill>
                  <a:prstClr val="black"/>
                </a:solidFill>
                <a:latin typeface="Verdana"/>
                <a:cs typeface="Verdana"/>
              </a:rPr>
              <a:t> </a:t>
            </a:r>
            <a:r>
              <a:rPr lang="fr-FR" sz="1200" dirty="0" err="1">
                <a:solidFill>
                  <a:prstClr val="black"/>
                </a:solidFill>
                <a:latin typeface="Verdana"/>
                <a:cs typeface="Verdana"/>
              </a:rPr>
              <a:t>Big</a:t>
            </a:r>
            <a:r>
              <a:rPr lang="fr-FR" sz="1200" dirty="0">
                <a:solidFill>
                  <a:prstClr val="black"/>
                </a:solidFill>
                <a:latin typeface="Verdana"/>
                <a:cs typeface="Verdana"/>
              </a:rPr>
              <a:t> Data</a:t>
            </a:r>
          </a:p>
          <a:p>
            <a:pPr marL="184785" marR="0" lvl="0" indent="-172085" algn="l" defTabSz="914400" rtl="0" eaLnBrk="1" fontAlgn="auto" latinLnBrk="0" hangingPunct="1">
              <a:lnSpc>
                <a:spcPct val="100000"/>
              </a:lnSpc>
              <a:spcBef>
                <a:spcPts val="0"/>
              </a:spcBef>
              <a:spcAft>
                <a:spcPts val="0"/>
              </a:spcAft>
              <a:buClrTx/>
              <a:buSzTx/>
              <a:buFont typeface="Arial"/>
              <a:buChar char="•"/>
              <a:tabLst>
                <a:tab pos="184785" algn="l"/>
                <a:tab pos="185420" algn="l"/>
              </a:tabLst>
              <a:defRPr/>
            </a:pPr>
            <a:endParaRPr lang="fr-FR" sz="1200" dirty="0">
              <a:solidFill>
                <a:prstClr val="black"/>
              </a:solidFill>
              <a:latin typeface="Verdana"/>
              <a:cs typeface="Verdana"/>
            </a:endParaRPr>
          </a:p>
        </p:txBody>
      </p:sp>
      <p:sp>
        <p:nvSpPr>
          <p:cNvPr id="4" name="Slide Number Placeholder 3"/>
          <p:cNvSpPr>
            <a:spLocks noGrp="1"/>
          </p:cNvSpPr>
          <p:nvPr>
            <p:ph type="sldNum" sz="quarter" idx="10"/>
          </p:nvPr>
        </p:nvSpPr>
        <p:spPr/>
        <p:txBody>
          <a:bodyPr/>
          <a:lstStyle/>
          <a:p>
            <a:fld id="{BD414A29-A13E-4F88-9F57-9DC5E8703A3B}" type="slidenum">
              <a:rPr lang="fr-FR" smtClean="0"/>
              <a:t>5</a:t>
            </a:fld>
            <a:endParaRPr lang="fr-FR"/>
          </a:p>
        </p:txBody>
      </p:sp>
    </p:spTree>
    <p:extLst>
      <p:ext uri="{BB962C8B-B14F-4D97-AF65-F5344CB8AC3E}">
        <p14:creationId xmlns:p14="http://schemas.microsoft.com/office/powerpoint/2010/main" val="25404616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fr-FR" baseline="0" dirty="0"/>
          </a:p>
        </p:txBody>
      </p:sp>
      <p:sp>
        <p:nvSpPr>
          <p:cNvPr id="4" name="Slide Number Placeholder 3"/>
          <p:cNvSpPr>
            <a:spLocks noGrp="1"/>
          </p:cNvSpPr>
          <p:nvPr>
            <p:ph type="sldNum" sz="quarter" idx="10"/>
          </p:nvPr>
        </p:nvSpPr>
        <p:spPr/>
        <p:txBody>
          <a:bodyPr/>
          <a:lstStyle/>
          <a:p>
            <a:fld id="{BD414A29-A13E-4F88-9F57-9DC5E8703A3B}" type="slidenum">
              <a:rPr lang="fr-FR" smtClean="0"/>
              <a:t>8</a:t>
            </a:fld>
            <a:endParaRPr lang="fr-FR"/>
          </a:p>
        </p:txBody>
      </p:sp>
    </p:spTree>
    <p:extLst>
      <p:ext uri="{BB962C8B-B14F-4D97-AF65-F5344CB8AC3E}">
        <p14:creationId xmlns:p14="http://schemas.microsoft.com/office/powerpoint/2010/main" val="42303149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FR" dirty="0"/>
              <a:t>Innovations qui reposent sur le système bancaire actuel pour y faciliter les échanges et apporter des services complémentaires,</a:t>
            </a:r>
            <a:r>
              <a:rPr lang="fr-FR" baseline="0" dirty="0"/>
              <a:t> à l’aide de nouveaux moyens de paiement comme les téléphones mobiles (</a:t>
            </a:r>
            <a:r>
              <a:rPr lang="fr-FR" baseline="0" dirty="0" err="1"/>
              <a:t>Paypal</a:t>
            </a:r>
            <a:r>
              <a:rPr lang="fr-FR" baseline="0" dirty="0"/>
              <a:t>, Square, Google </a:t>
            </a:r>
            <a:r>
              <a:rPr lang="fr-FR" baseline="0" dirty="0" err="1"/>
              <a:t>Wallet</a:t>
            </a:r>
            <a:r>
              <a:rPr lang="fr-FR" baseline="0" dirty="0"/>
              <a:t>, Apple </a:t>
            </a:r>
            <a:r>
              <a:rPr lang="fr-FR" baseline="0" dirty="0" err="1"/>
              <a:t>Pay</a:t>
            </a:r>
            <a:r>
              <a:rPr lang="fr-FR" baseline="0" dirty="0"/>
              <a:t>…)</a:t>
            </a:r>
          </a:p>
          <a:p>
            <a:pPr marL="171450" indent="-171450">
              <a:buFontTx/>
              <a:buChar char="-"/>
            </a:pPr>
            <a:r>
              <a:rPr lang="fr-FR" baseline="0" dirty="0"/>
              <a:t>Innovations qui s’attaquent aux failles du système de paiement actuel : plateformes de financement (coûts élevés chez les banques)</a:t>
            </a:r>
          </a:p>
          <a:p>
            <a:pPr marL="171450" indent="-171450">
              <a:buFontTx/>
              <a:buChar char="-"/>
            </a:pPr>
            <a:r>
              <a:rPr lang="fr-FR" baseline="0" dirty="0"/>
              <a:t>Innovations issues de la création de monnaies</a:t>
            </a:r>
          </a:p>
          <a:p>
            <a:pPr marL="171450" indent="-171450">
              <a:buFontTx/>
              <a:buChar char="-"/>
            </a:pPr>
            <a:r>
              <a:rPr lang="fr-FR" baseline="0" dirty="0"/>
              <a:t>Innovations qui proposent un système d’échange non géré par les banques commerciales mais utilisant la monnaie nationale</a:t>
            </a:r>
          </a:p>
          <a:p>
            <a:pPr marL="171450" indent="-171450">
              <a:buFontTx/>
              <a:buChar char="-"/>
            </a:pPr>
            <a:endParaRPr lang="fr-FR" baseline="0" dirty="0"/>
          </a:p>
          <a:p>
            <a:pPr marL="0" indent="0">
              <a:buFontTx/>
              <a:buNone/>
            </a:pPr>
            <a:r>
              <a:rPr lang="fr-FR" baseline="0" dirty="0"/>
              <a:t>M-Pesa, service permet aux utilisateurs de réaliser des transactions et de déposer de l’argent sur un compte stocké sur leur téléphone portable. Les utilisateurs peuvent également retirer et déposer de l’argent auprès d’un réseau d’agents jouant le rôle d’intermédiaire bancaire. Ces innovations permettent de développer un système formel dans des pays où les réseaux bancaires sont faiblement déployés. Néanmoins, ces systèmes reposent pour l’essentiel sur le même système de paiement centralisé (et la présence d’un système de compensation).</a:t>
            </a:r>
          </a:p>
          <a:p>
            <a:pPr marL="0" indent="0">
              <a:buFontTx/>
              <a:buNone/>
            </a:pPr>
            <a:endParaRPr lang="fr-FR" baseline="0" dirty="0"/>
          </a:p>
          <a:p>
            <a:pPr marL="0" indent="0">
              <a:buFontTx/>
              <a:buNone/>
            </a:pPr>
            <a:r>
              <a:rPr lang="fr-FR" baseline="0" dirty="0"/>
              <a:t>Aujourd’hui 80% des Africains n’ont pas de compte en banque (et donc pas de carte) mais tous ont un téléphone. Le manque d’infrastructure bancaire et une réglementation souple ont permis aux opérateurs télécoms de proposer un système de paiement alternatif via les téléphones portables.</a:t>
            </a:r>
          </a:p>
          <a:p>
            <a:pPr marL="0" indent="0">
              <a:buFontTx/>
              <a:buNone/>
            </a:pPr>
            <a:endParaRPr lang="fr-FR" baseline="0" dirty="0"/>
          </a:p>
          <a:p>
            <a:pPr marL="0" indent="0">
              <a:buFontTx/>
              <a:buNone/>
            </a:pPr>
            <a:r>
              <a:rPr lang="fr-FR" baseline="0" dirty="0"/>
              <a:t>Le financement pour les PME/ETI repose encore aujourd’hui à 90% sur les financements bancaires. Er réponse à ce constat, plusieurs outils ont été créés et mis à la disposition des PME/ETI.</a:t>
            </a:r>
          </a:p>
          <a:p>
            <a:pPr marL="0" indent="0">
              <a:buFontTx/>
              <a:buNone/>
            </a:pPr>
            <a:r>
              <a:rPr lang="fr-FR" baseline="0" dirty="0"/>
              <a:t>De manière générale, l’accès est aisé sur les crédits avec sûreté, il l’est beaucoup moins sur les crédits d’exploitation sans sûreté. Fortes de ces constats, les premières start-up </a:t>
            </a:r>
            <a:r>
              <a:rPr lang="fr-FR" baseline="0" dirty="0" err="1"/>
              <a:t>Fintech</a:t>
            </a:r>
            <a:r>
              <a:rPr lang="fr-FR" baseline="0" dirty="0"/>
              <a:t> entrées sur le marché français ont tâché de répondre aux failles du système actuel : financement du risque (innovation…), financement court-terme, financement sans garantie.</a:t>
            </a:r>
          </a:p>
          <a:p>
            <a:pPr marL="171450" indent="-171450">
              <a:buFontTx/>
              <a:buChar char="-"/>
            </a:pPr>
            <a:endParaRPr lang="fr-FR" baseline="0" dirty="0"/>
          </a:p>
          <a:p>
            <a:pPr marL="171450" indent="-171450">
              <a:buFontTx/>
              <a:buChar char="-"/>
            </a:pPr>
            <a:r>
              <a:rPr lang="fr-FR" baseline="0" dirty="0"/>
              <a:t>M-Pesa : Kenya, </a:t>
            </a:r>
            <a:r>
              <a:rPr lang="fr-FR" sz="1200" b="0" i="0" kern="1200" dirty="0">
                <a:solidFill>
                  <a:schemeClr val="tx1"/>
                </a:solidFill>
                <a:effectLst/>
                <a:latin typeface="+mn-lt"/>
                <a:ea typeface="+mn-ea"/>
                <a:cs typeface="+mn-cs"/>
              </a:rPr>
              <a:t>système de </a:t>
            </a:r>
            <a:r>
              <a:rPr lang="fr-FR" sz="1200" b="0" i="0" kern="1200" dirty="0" err="1">
                <a:solidFill>
                  <a:schemeClr val="tx1"/>
                </a:solidFill>
                <a:effectLst/>
                <a:latin typeface="+mn-lt"/>
                <a:ea typeface="+mn-ea"/>
                <a:cs typeface="+mn-cs"/>
              </a:rPr>
              <a:t>microfinancement</a:t>
            </a:r>
            <a:r>
              <a:rPr lang="fr-FR" sz="1200" b="0" i="0" kern="1200" dirty="0">
                <a:solidFill>
                  <a:schemeClr val="tx1"/>
                </a:solidFill>
                <a:effectLst/>
                <a:latin typeface="+mn-lt"/>
                <a:ea typeface="+mn-ea"/>
                <a:cs typeface="+mn-cs"/>
              </a:rPr>
              <a:t> et de transfert d'argent par téléphone mobile</a:t>
            </a:r>
          </a:p>
          <a:p>
            <a:pPr marL="171450" indent="-171450">
              <a:buFontTx/>
              <a:buChar char="-"/>
            </a:pPr>
            <a:r>
              <a:rPr lang="fr-FR" sz="1200" b="0" i="0" kern="1200" baseline="0" dirty="0" err="1">
                <a:solidFill>
                  <a:schemeClr val="tx1"/>
                </a:solidFill>
                <a:effectLst/>
                <a:latin typeface="+mn-lt"/>
                <a:ea typeface="+mn-ea"/>
                <a:cs typeface="+mn-cs"/>
              </a:rPr>
              <a:t>Quickteller</a:t>
            </a:r>
            <a:r>
              <a:rPr lang="fr-FR" sz="1200" b="0" i="0" kern="1200" baseline="0" dirty="0">
                <a:solidFill>
                  <a:schemeClr val="tx1"/>
                </a:solidFill>
                <a:effectLst/>
                <a:latin typeface="+mn-lt"/>
                <a:ea typeface="+mn-ea"/>
                <a:cs typeface="+mn-cs"/>
              </a:rPr>
              <a:t> : Nigéria, </a:t>
            </a:r>
            <a:r>
              <a:rPr lang="fr-FR" sz="1200" b="0" i="0" kern="1200" dirty="0">
                <a:solidFill>
                  <a:schemeClr val="tx1"/>
                </a:solidFill>
                <a:effectLst/>
                <a:latin typeface="+mn-lt"/>
                <a:ea typeface="+mn-ea"/>
                <a:cs typeface="+mn-cs"/>
              </a:rPr>
              <a:t>application de paiement en ligne </a:t>
            </a:r>
          </a:p>
          <a:p>
            <a:pPr marL="171450" indent="-171450">
              <a:buFontTx/>
              <a:buChar char="-"/>
            </a:pPr>
            <a:r>
              <a:rPr lang="fr-FR" baseline="0" dirty="0" err="1"/>
              <a:t>Wari</a:t>
            </a:r>
            <a:r>
              <a:rPr lang="fr-FR" baseline="0" dirty="0"/>
              <a:t> : Sénégal, </a:t>
            </a:r>
            <a:r>
              <a:rPr lang="fr-FR" sz="1200" b="0" i="0" kern="1200" dirty="0">
                <a:solidFill>
                  <a:schemeClr val="tx1"/>
                </a:solidFill>
                <a:effectLst/>
                <a:latin typeface="+mn-lt"/>
                <a:ea typeface="+mn-ea"/>
                <a:cs typeface="+mn-cs"/>
              </a:rPr>
              <a:t>solution pour transactions commerciales et financières :</a:t>
            </a:r>
            <a:r>
              <a:rPr lang="fr-FR" sz="1200" b="0" i="0" kern="1200" baseline="0" dirty="0">
                <a:solidFill>
                  <a:schemeClr val="tx1"/>
                </a:solidFill>
                <a:effectLst/>
                <a:latin typeface="+mn-lt"/>
                <a:ea typeface="+mn-ea"/>
                <a:cs typeface="+mn-cs"/>
              </a:rPr>
              <a:t> </a:t>
            </a:r>
            <a:r>
              <a:rPr lang="fr-FR" sz="1200" b="0" i="0" kern="1200" dirty="0">
                <a:solidFill>
                  <a:schemeClr val="tx1"/>
                </a:solidFill>
                <a:effectLst/>
                <a:latin typeface="+mn-lt"/>
                <a:ea typeface="+mn-ea"/>
                <a:cs typeface="+mn-cs"/>
              </a:rPr>
              <a:t>transfert d'argent, paiement de factures</a:t>
            </a:r>
          </a:p>
          <a:p>
            <a:pPr marL="171450" indent="-171450">
              <a:buFontTx/>
              <a:buChar char="-"/>
            </a:pPr>
            <a:endParaRPr lang="fr-FR" sz="1200" b="0" i="0" kern="1200" dirty="0">
              <a:solidFill>
                <a:schemeClr val="tx1"/>
              </a:solidFill>
              <a:effectLst/>
              <a:latin typeface="+mn-lt"/>
              <a:ea typeface="+mn-ea"/>
              <a:cs typeface="+mn-cs"/>
            </a:endParaRPr>
          </a:p>
          <a:p>
            <a:pPr marL="171450" indent="-171450">
              <a:buFontTx/>
              <a:buChar char="-"/>
            </a:pPr>
            <a:r>
              <a:rPr lang="fr-FR" sz="1200" b="0" i="0" kern="1200" dirty="0" err="1">
                <a:solidFill>
                  <a:schemeClr val="tx1"/>
                </a:solidFill>
                <a:effectLst/>
                <a:latin typeface="+mn-lt"/>
                <a:ea typeface="+mn-ea"/>
                <a:cs typeface="+mn-cs"/>
              </a:rPr>
              <a:t>InVenture</a:t>
            </a:r>
            <a:r>
              <a:rPr lang="fr-FR" sz="1200" b="0" i="0" kern="1200" baseline="0" dirty="0">
                <a:solidFill>
                  <a:schemeClr val="tx1"/>
                </a:solidFill>
                <a:effectLst/>
                <a:latin typeface="+mn-lt"/>
                <a:ea typeface="+mn-ea"/>
                <a:cs typeface="+mn-cs"/>
              </a:rPr>
              <a:t> : Kenya, gestion financière</a:t>
            </a:r>
          </a:p>
          <a:p>
            <a:pPr marL="171450" indent="-171450">
              <a:buFontTx/>
              <a:buChar char="-"/>
            </a:pPr>
            <a:r>
              <a:rPr lang="fr-FR" sz="1200" b="0" i="0" kern="1200" baseline="0" dirty="0" err="1">
                <a:solidFill>
                  <a:schemeClr val="tx1"/>
                </a:solidFill>
                <a:effectLst/>
                <a:latin typeface="+mn-lt"/>
                <a:ea typeface="+mn-ea"/>
                <a:cs typeface="+mn-cs"/>
              </a:rPr>
              <a:t>RocMyPeer</a:t>
            </a:r>
            <a:r>
              <a:rPr lang="fr-FR" sz="1200" b="0" i="0" kern="1200" baseline="0" dirty="0">
                <a:solidFill>
                  <a:schemeClr val="tx1"/>
                </a:solidFill>
                <a:effectLst/>
                <a:latin typeface="+mn-lt"/>
                <a:ea typeface="+mn-ea"/>
                <a:cs typeface="+mn-cs"/>
              </a:rPr>
              <a:t> : Afrique du Sud, prêts entre particulier</a:t>
            </a:r>
          </a:p>
          <a:p>
            <a:pPr marL="171450" indent="-171450">
              <a:buFontTx/>
              <a:buChar char="-"/>
            </a:pPr>
            <a:r>
              <a:rPr lang="fr-FR" sz="1200" b="0" i="0" kern="1200" baseline="0" dirty="0" err="1">
                <a:solidFill>
                  <a:schemeClr val="tx1"/>
                </a:solidFill>
                <a:effectLst/>
                <a:latin typeface="+mn-lt"/>
                <a:ea typeface="+mn-ea"/>
                <a:cs typeface="+mn-cs"/>
              </a:rPr>
              <a:t>WorldCover</a:t>
            </a:r>
            <a:r>
              <a:rPr lang="fr-FR" sz="1200" b="0" i="0" kern="1200" baseline="0" dirty="0">
                <a:solidFill>
                  <a:schemeClr val="tx1"/>
                </a:solidFill>
                <a:effectLst/>
                <a:latin typeface="+mn-lt"/>
                <a:ea typeface="+mn-ea"/>
                <a:cs typeface="+mn-cs"/>
              </a:rPr>
              <a:t> : 2015, Ghana, Plateforme de prêts P2P</a:t>
            </a:r>
          </a:p>
          <a:p>
            <a:pPr marL="171450" indent="-171450">
              <a:buFontTx/>
              <a:buChar char="-"/>
            </a:pPr>
            <a:endParaRPr lang="fr-FR" sz="1200" b="0" i="0" kern="1200" baseline="0" dirty="0">
              <a:solidFill>
                <a:schemeClr val="tx1"/>
              </a:solidFill>
              <a:effectLst/>
              <a:latin typeface="+mn-lt"/>
              <a:ea typeface="+mn-ea"/>
              <a:cs typeface="+mn-cs"/>
            </a:endParaRPr>
          </a:p>
          <a:p>
            <a:pPr marL="171450" indent="-171450">
              <a:buFontTx/>
              <a:buChar char="-"/>
            </a:pPr>
            <a:r>
              <a:rPr lang="fr-FR" sz="1200" b="0" i="0" kern="1200" dirty="0" err="1">
                <a:solidFill>
                  <a:schemeClr val="tx1"/>
                </a:solidFill>
                <a:effectLst/>
                <a:latin typeface="+mn-lt"/>
                <a:ea typeface="+mn-ea"/>
                <a:cs typeface="+mn-cs"/>
              </a:rPr>
              <a:t>EasyEquities</a:t>
            </a:r>
            <a:r>
              <a:rPr lang="fr-FR" sz="1200" b="0" i="0" kern="1200" dirty="0">
                <a:solidFill>
                  <a:schemeClr val="tx1"/>
                </a:solidFill>
                <a:effectLst/>
                <a:latin typeface="+mn-lt"/>
                <a:ea typeface="+mn-ea"/>
                <a:cs typeface="+mn-cs"/>
              </a:rPr>
              <a:t> : 2013,</a:t>
            </a:r>
            <a:r>
              <a:rPr lang="fr-FR" sz="1200" b="0" i="0" kern="1200" baseline="0" dirty="0">
                <a:solidFill>
                  <a:schemeClr val="tx1"/>
                </a:solidFill>
                <a:effectLst/>
                <a:latin typeface="+mn-lt"/>
                <a:ea typeface="+mn-ea"/>
                <a:cs typeface="+mn-cs"/>
              </a:rPr>
              <a:t> Afrique du Sud, Plateforme d’investissement en ligne</a:t>
            </a:r>
          </a:p>
          <a:p>
            <a:pPr marL="171450" indent="-171450">
              <a:buFontTx/>
              <a:buChar char="-"/>
            </a:pPr>
            <a:r>
              <a:rPr lang="fr-FR" sz="1200" b="0" i="0" kern="1200" baseline="0" dirty="0" err="1">
                <a:solidFill>
                  <a:schemeClr val="tx1"/>
                </a:solidFill>
                <a:effectLst/>
                <a:latin typeface="+mn-lt"/>
                <a:ea typeface="+mn-ea"/>
                <a:cs typeface="+mn-cs"/>
              </a:rPr>
              <a:t>Wealth</a:t>
            </a:r>
            <a:r>
              <a:rPr lang="fr-FR" sz="1200" b="0" i="0" kern="1200" baseline="0" dirty="0">
                <a:solidFill>
                  <a:schemeClr val="tx1"/>
                </a:solidFill>
                <a:effectLst/>
                <a:latin typeface="+mn-lt"/>
                <a:ea typeface="+mn-ea"/>
                <a:cs typeface="+mn-cs"/>
              </a:rPr>
              <a:t> </a:t>
            </a:r>
            <a:r>
              <a:rPr lang="fr-FR" sz="1200" b="0" i="0" kern="1200" baseline="0" dirty="0" err="1">
                <a:solidFill>
                  <a:schemeClr val="tx1"/>
                </a:solidFill>
                <a:effectLst/>
                <a:latin typeface="+mn-lt"/>
                <a:ea typeface="+mn-ea"/>
                <a:cs typeface="+mn-cs"/>
              </a:rPr>
              <a:t>Migrate</a:t>
            </a:r>
            <a:r>
              <a:rPr lang="fr-FR" sz="1200" b="0" i="0" kern="1200" baseline="0" dirty="0">
                <a:solidFill>
                  <a:schemeClr val="tx1"/>
                </a:solidFill>
                <a:effectLst/>
                <a:latin typeface="+mn-lt"/>
                <a:ea typeface="+mn-ea"/>
                <a:cs typeface="+mn-cs"/>
              </a:rPr>
              <a:t> : 2010, Afrique du Sud, plateforme d’investissement immobilier</a:t>
            </a:r>
          </a:p>
          <a:p>
            <a:pPr marL="171450" indent="-171450">
              <a:buFontTx/>
              <a:buChar char="-"/>
            </a:pPr>
            <a:r>
              <a:rPr lang="fr-FR" sz="1200" b="0" i="0" kern="1200" baseline="0" dirty="0" err="1">
                <a:solidFill>
                  <a:schemeClr val="tx1"/>
                </a:solidFill>
                <a:effectLst/>
                <a:latin typeface="+mn-lt"/>
                <a:ea typeface="+mn-ea"/>
                <a:cs typeface="+mn-cs"/>
              </a:rPr>
              <a:t>StokFella</a:t>
            </a:r>
            <a:r>
              <a:rPr lang="fr-FR" sz="1200" b="0" i="0" kern="1200" baseline="0" dirty="0">
                <a:solidFill>
                  <a:schemeClr val="tx1"/>
                </a:solidFill>
                <a:effectLst/>
                <a:latin typeface="+mn-lt"/>
                <a:ea typeface="+mn-ea"/>
                <a:cs typeface="+mn-cs"/>
              </a:rPr>
              <a:t> : </a:t>
            </a:r>
          </a:p>
          <a:p>
            <a:pPr marL="171450" indent="-171450">
              <a:buFontTx/>
              <a:buChar char="-"/>
            </a:pPr>
            <a:endParaRPr lang="fr-FR" sz="1200" b="0" i="0" kern="1200" baseline="0" dirty="0">
              <a:solidFill>
                <a:schemeClr val="tx1"/>
              </a:solidFill>
              <a:effectLst/>
              <a:latin typeface="+mn-lt"/>
              <a:ea typeface="+mn-ea"/>
              <a:cs typeface="+mn-cs"/>
            </a:endParaRPr>
          </a:p>
          <a:p>
            <a:pPr marL="171450" indent="-171450">
              <a:buFontTx/>
              <a:buChar char="-"/>
            </a:pPr>
            <a:r>
              <a:rPr lang="fr-FR" sz="1200" b="0" i="0" kern="1200" baseline="0" dirty="0" err="1">
                <a:solidFill>
                  <a:schemeClr val="tx1"/>
                </a:solidFill>
                <a:effectLst/>
                <a:latin typeface="+mn-lt"/>
                <a:ea typeface="+mn-ea"/>
                <a:cs typeface="+mn-cs"/>
              </a:rPr>
              <a:t>Riovic</a:t>
            </a:r>
            <a:r>
              <a:rPr lang="fr-FR" sz="1200" b="0" i="0" kern="1200" baseline="0" dirty="0">
                <a:solidFill>
                  <a:schemeClr val="tx1"/>
                </a:solidFill>
                <a:effectLst/>
                <a:latin typeface="+mn-lt"/>
                <a:ea typeface="+mn-ea"/>
                <a:cs typeface="+mn-cs"/>
              </a:rPr>
              <a:t> : 2015, Afrique du Sud, plate-forme d'assurance à la demande P2P</a:t>
            </a:r>
          </a:p>
          <a:p>
            <a:pPr marL="171450" indent="-171450">
              <a:buFontTx/>
              <a:buChar char="-"/>
            </a:pPr>
            <a:r>
              <a:rPr lang="fr-FR" sz="1200" b="0" i="0" kern="1200" baseline="0" dirty="0" err="1">
                <a:solidFill>
                  <a:schemeClr val="tx1"/>
                </a:solidFill>
                <a:effectLst/>
                <a:latin typeface="+mn-lt"/>
                <a:ea typeface="+mn-ea"/>
                <a:cs typeface="+mn-cs"/>
              </a:rPr>
              <a:t>Aerobotics</a:t>
            </a:r>
            <a:r>
              <a:rPr lang="fr-FR" sz="1200" b="0" i="0" kern="1200" baseline="0" dirty="0">
                <a:solidFill>
                  <a:schemeClr val="tx1"/>
                </a:solidFill>
                <a:effectLst/>
                <a:latin typeface="+mn-lt"/>
                <a:ea typeface="+mn-ea"/>
                <a:cs typeface="+mn-cs"/>
              </a:rPr>
              <a:t> : Afrique du Sud, fournit aux agriculteurs et aux assureurs une solution de bout en bout pour réduire les coûts élevés actuels de l'assurance-récolte et fournir des données précises et utiles sur une base régulière à l’aide de drones qui volent périodiquement sur une ferme assurée</a:t>
            </a:r>
          </a:p>
          <a:p>
            <a:pPr marL="171450" indent="-171450">
              <a:buFontTx/>
              <a:buChar char="-"/>
            </a:pPr>
            <a:endParaRPr lang="fr-FR" sz="1200" b="0" i="0" kern="1200" baseline="0" dirty="0">
              <a:solidFill>
                <a:schemeClr val="tx1"/>
              </a:solidFill>
              <a:effectLst/>
              <a:latin typeface="+mn-lt"/>
              <a:ea typeface="+mn-ea"/>
              <a:cs typeface="+mn-cs"/>
            </a:endParaRPr>
          </a:p>
          <a:p>
            <a:pPr marL="171450" indent="-171450">
              <a:buFontTx/>
              <a:buChar char="-"/>
            </a:pPr>
            <a:r>
              <a:rPr lang="fr-FR" sz="1200" b="0" i="0" kern="1200" dirty="0" err="1">
                <a:solidFill>
                  <a:schemeClr val="tx1"/>
                </a:solidFill>
                <a:effectLst/>
                <a:latin typeface="+mn-lt"/>
                <a:ea typeface="+mn-ea"/>
                <a:cs typeface="+mn-cs"/>
              </a:rPr>
              <a:t>SliceBiz</a:t>
            </a:r>
            <a:r>
              <a:rPr lang="fr-FR" sz="1200" b="0" i="0" kern="1200" dirty="0">
                <a:solidFill>
                  <a:schemeClr val="tx1"/>
                </a:solidFill>
                <a:effectLst/>
                <a:latin typeface="+mn-lt"/>
                <a:ea typeface="+mn-ea"/>
                <a:cs typeface="+mn-cs"/>
              </a:rPr>
              <a:t> : 2012, Ghana,</a:t>
            </a:r>
            <a:r>
              <a:rPr lang="fr-FR" sz="1200" b="0" i="0" kern="1200" baseline="0" dirty="0">
                <a:solidFill>
                  <a:schemeClr val="tx1"/>
                </a:solidFill>
                <a:effectLst/>
                <a:latin typeface="+mn-lt"/>
                <a:ea typeface="+mn-ea"/>
                <a:cs typeface="+mn-cs"/>
              </a:rPr>
              <a:t> </a:t>
            </a:r>
            <a:r>
              <a:rPr lang="fr-FR" sz="1200" b="0" i="0" kern="1200" baseline="0" dirty="0" err="1">
                <a:solidFill>
                  <a:schemeClr val="tx1"/>
                </a:solidFill>
                <a:effectLst/>
                <a:latin typeface="+mn-lt"/>
                <a:ea typeface="+mn-ea"/>
                <a:cs typeface="+mn-cs"/>
              </a:rPr>
              <a:t>Crowdfunding</a:t>
            </a:r>
            <a:r>
              <a:rPr lang="fr-FR" sz="1200" b="0" i="0" kern="1200" baseline="0" dirty="0">
                <a:solidFill>
                  <a:schemeClr val="tx1"/>
                </a:solidFill>
                <a:effectLst/>
                <a:latin typeface="+mn-lt"/>
                <a:ea typeface="+mn-ea"/>
                <a:cs typeface="+mn-cs"/>
              </a:rPr>
              <a:t> en capital</a:t>
            </a:r>
            <a:endParaRPr lang="fr-FR" sz="1200" b="0" i="0" kern="1200" dirty="0">
              <a:solidFill>
                <a:schemeClr val="tx1"/>
              </a:solidFill>
              <a:effectLst/>
              <a:latin typeface="+mn-lt"/>
              <a:ea typeface="+mn-ea"/>
              <a:cs typeface="+mn-cs"/>
            </a:endParaRPr>
          </a:p>
          <a:p>
            <a:pPr marL="171450" indent="-171450">
              <a:buFontTx/>
              <a:buChar char="-"/>
            </a:pPr>
            <a:r>
              <a:rPr lang="fr-FR" sz="1200" b="0" i="0" kern="1200" baseline="0" dirty="0" err="1">
                <a:solidFill>
                  <a:schemeClr val="tx1"/>
                </a:solidFill>
                <a:effectLst/>
                <a:latin typeface="+mn-lt"/>
                <a:ea typeface="+mn-ea"/>
                <a:cs typeface="+mn-cs"/>
              </a:rPr>
              <a:t>Shekra</a:t>
            </a:r>
            <a:r>
              <a:rPr lang="fr-FR" sz="1200" b="0" i="0" kern="1200" baseline="0" dirty="0">
                <a:solidFill>
                  <a:schemeClr val="tx1"/>
                </a:solidFill>
                <a:effectLst/>
                <a:latin typeface="+mn-lt"/>
                <a:ea typeface="+mn-ea"/>
                <a:cs typeface="+mn-cs"/>
              </a:rPr>
              <a:t> : </a:t>
            </a:r>
            <a:r>
              <a:rPr lang="fr-FR" sz="1200" b="0" i="0" kern="1200" dirty="0">
                <a:solidFill>
                  <a:schemeClr val="tx1"/>
                </a:solidFill>
                <a:effectLst/>
                <a:latin typeface="+mn-lt"/>
                <a:ea typeface="+mn-ea"/>
                <a:cs typeface="+mn-cs"/>
              </a:rPr>
              <a:t>2012, Egypte, </a:t>
            </a:r>
            <a:r>
              <a:rPr lang="fr-FR" sz="1200" b="0" i="0" kern="1200" baseline="0" dirty="0" err="1">
                <a:solidFill>
                  <a:schemeClr val="tx1"/>
                </a:solidFill>
                <a:effectLst/>
                <a:latin typeface="+mn-lt"/>
                <a:ea typeface="+mn-ea"/>
                <a:cs typeface="+mn-cs"/>
              </a:rPr>
              <a:t>Crowdfunding</a:t>
            </a:r>
            <a:r>
              <a:rPr lang="fr-FR" sz="1200" b="0" i="0" kern="1200" baseline="0" dirty="0">
                <a:solidFill>
                  <a:schemeClr val="tx1"/>
                </a:solidFill>
                <a:effectLst/>
                <a:latin typeface="+mn-lt"/>
                <a:ea typeface="+mn-ea"/>
                <a:cs typeface="+mn-cs"/>
              </a:rPr>
              <a:t> en capital</a:t>
            </a:r>
            <a:endParaRPr lang="fr-FR" sz="1200" b="0" i="0" kern="1200" dirty="0">
              <a:solidFill>
                <a:schemeClr val="tx1"/>
              </a:solidFill>
              <a:effectLst/>
              <a:latin typeface="+mn-lt"/>
              <a:ea typeface="+mn-ea"/>
              <a:cs typeface="+mn-cs"/>
            </a:endParaRPr>
          </a:p>
          <a:p>
            <a:pPr marL="171450" indent="-171450">
              <a:buFontTx/>
              <a:buChar char="-"/>
            </a:pPr>
            <a:r>
              <a:rPr lang="fr-FR" sz="1200" b="0" i="0" kern="1200" dirty="0" err="1">
                <a:solidFill>
                  <a:schemeClr val="tx1"/>
                </a:solidFill>
                <a:effectLst/>
                <a:latin typeface="+mn-lt"/>
                <a:ea typeface="+mn-ea"/>
                <a:cs typeface="+mn-cs"/>
              </a:rPr>
              <a:t>Jumpstarter</a:t>
            </a:r>
            <a:r>
              <a:rPr lang="fr-FR" sz="1200" b="0" i="0" kern="1200" dirty="0">
                <a:solidFill>
                  <a:schemeClr val="tx1"/>
                </a:solidFill>
                <a:effectLst/>
                <a:latin typeface="+mn-lt"/>
                <a:ea typeface="+mn-ea"/>
                <a:cs typeface="+mn-cs"/>
              </a:rPr>
              <a:t> : Afrique</a:t>
            </a:r>
            <a:r>
              <a:rPr lang="fr-FR" sz="1200" b="0" i="0" kern="1200" baseline="0" dirty="0">
                <a:solidFill>
                  <a:schemeClr val="tx1"/>
                </a:solidFill>
                <a:effectLst/>
                <a:latin typeface="+mn-lt"/>
                <a:ea typeface="+mn-ea"/>
                <a:cs typeface="+mn-cs"/>
              </a:rPr>
              <a:t> du Sud, </a:t>
            </a:r>
            <a:r>
              <a:rPr lang="fr-FR" sz="1200" b="0" i="0" kern="1200" baseline="0" dirty="0" err="1">
                <a:solidFill>
                  <a:schemeClr val="tx1"/>
                </a:solidFill>
                <a:effectLst/>
                <a:latin typeface="+mn-lt"/>
                <a:ea typeface="+mn-ea"/>
                <a:cs typeface="+mn-cs"/>
              </a:rPr>
              <a:t>Crowdfunding</a:t>
            </a:r>
            <a:r>
              <a:rPr lang="fr-FR" sz="1200" b="0" i="0" kern="1200" baseline="0" dirty="0">
                <a:solidFill>
                  <a:schemeClr val="tx1"/>
                </a:solidFill>
                <a:effectLst/>
                <a:latin typeface="+mn-lt"/>
                <a:ea typeface="+mn-ea"/>
                <a:cs typeface="+mn-cs"/>
              </a:rPr>
              <a:t> en capital</a:t>
            </a:r>
          </a:p>
          <a:p>
            <a:pPr marL="171450" indent="-171450">
              <a:buFontTx/>
              <a:buChar char="-"/>
            </a:pPr>
            <a:endParaRPr lang="fr-FR" sz="1200" b="0" i="0" kern="1200" baseline="0" dirty="0">
              <a:solidFill>
                <a:schemeClr val="tx1"/>
              </a:solidFill>
              <a:effectLst/>
              <a:latin typeface="+mn-lt"/>
              <a:ea typeface="+mn-ea"/>
              <a:cs typeface="+mn-cs"/>
            </a:endParaRPr>
          </a:p>
          <a:p>
            <a:pPr marL="171450" indent="-171450">
              <a:buFontTx/>
              <a:buChar char="-"/>
            </a:pPr>
            <a:r>
              <a:rPr lang="fr-FR" sz="1200" b="0" i="0" kern="1200" baseline="0" dirty="0">
                <a:solidFill>
                  <a:schemeClr val="tx1"/>
                </a:solidFill>
                <a:effectLst/>
                <a:latin typeface="+mn-lt"/>
                <a:ea typeface="+mn-ea"/>
                <a:cs typeface="+mn-cs"/>
              </a:rPr>
              <a:t>Emerge </a:t>
            </a:r>
            <a:r>
              <a:rPr lang="fr-FR" sz="1200" b="0" i="0" kern="1200" baseline="0" dirty="0" err="1">
                <a:solidFill>
                  <a:schemeClr val="tx1"/>
                </a:solidFill>
                <a:effectLst/>
                <a:latin typeface="+mn-lt"/>
                <a:ea typeface="+mn-ea"/>
                <a:cs typeface="+mn-cs"/>
              </a:rPr>
              <a:t>Analytics</a:t>
            </a:r>
            <a:r>
              <a:rPr lang="fr-FR" sz="1200" b="0" i="0" kern="1200" baseline="0" dirty="0">
                <a:solidFill>
                  <a:schemeClr val="tx1"/>
                </a:solidFill>
                <a:effectLst/>
                <a:latin typeface="+mn-lt"/>
                <a:ea typeface="+mn-ea"/>
                <a:cs typeface="+mn-cs"/>
              </a:rPr>
              <a:t> : Afrique du Sud, plateforme permettant de résoudre les problèmes des entreprises à l’aide d’une analyse de données avancée comme l’intelligence artificielle</a:t>
            </a:r>
          </a:p>
          <a:p>
            <a:pPr marL="171450" indent="-171450">
              <a:buFontTx/>
              <a:buChar char="-"/>
            </a:pPr>
            <a:r>
              <a:rPr lang="fr-FR" sz="1200" b="0" i="0" kern="1200" baseline="0" dirty="0">
                <a:solidFill>
                  <a:schemeClr val="tx1"/>
                </a:solidFill>
                <a:effectLst/>
                <a:latin typeface="+mn-lt"/>
                <a:ea typeface="+mn-ea"/>
                <a:cs typeface="+mn-cs"/>
              </a:rPr>
              <a:t>Abacus : 2014, Kenya, construit des logiciels Web et mobiles pour aider les investisseurs à travers le monde à accéder aux marchés financiers africains</a:t>
            </a:r>
          </a:p>
          <a:p>
            <a:pPr marL="171450" indent="-171450">
              <a:buFontTx/>
              <a:buChar char="-"/>
            </a:pPr>
            <a:r>
              <a:rPr lang="fr-FR" sz="1200" b="0" i="0" kern="1200" baseline="0" dirty="0" err="1">
                <a:solidFill>
                  <a:schemeClr val="tx1"/>
                </a:solidFill>
                <a:effectLst/>
                <a:latin typeface="+mn-lt"/>
                <a:ea typeface="+mn-ea"/>
                <a:cs typeface="+mn-cs"/>
              </a:rPr>
              <a:t>Dataprophet</a:t>
            </a:r>
            <a:r>
              <a:rPr lang="fr-FR" sz="1200" b="0" i="0" kern="1200" baseline="0" dirty="0">
                <a:solidFill>
                  <a:schemeClr val="tx1"/>
                </a:solidFill>
                <a:effectLst/>
                <a:latin typeface="+mn-lt"/>
                <a:ea typeface="+mn-ea"/>
                <a:cs typeface="+mn-cs"/>
              </a:rPr>
              <a:t> : Afrique du Sud, fournit des services de conseil à plusieurs industries axées sur les services de détail, bancaires, de fabrication, d'assurance et financiers pour les clients locaux et internationaux.</a:t>
            </a:r>
            <a:endParaRPr lang="fr-FR"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BD414A29-A13E-4F88-9F57-9DC5E8703A3B}" type="slidenum">
              <a:rPr lang="fr-FR" smtClean="0"/>
              <a:t>9</a:t>
            </a:fld>
            <a:endParaRPr lang="fr-FR"/>
          </a:p>
        </p:txBody>
      </p:sp>
    </p:spTree>
    <p:extLst>
      <p:ext uri="{BB962C8B-B14F-4D97-AF65-F5344CB8AC3E}">
        <p14:creationId xmlns:p14="http://schemas.microsoft.com/office/powerpoint/2010/main" val="15968537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FR" baseline="0" dirty="0" err="1"/>
              <a:t>Interswitch</a:t>
            </a:r>
            <a:r>
              <a:rPr lang="fr-FR" baseline="0" dirty="0"/>
              <a:t> : </a:t>
            </a:r>
            <a:r>
              <a:rPr lang="fr-FR" baseline="0" dirty="0" err="1"/>
              <a:t>Payment</a:t>
            </a:r>
            <a:r>
              <a:rPr lang="fr-FR" baseline="0" dirty="0"/>
              <a:t> </a:t>
            </a:r>
            <a:r>
              <a:rPr lang="fr-FR" baseline="0" dirty="0" err="1"/>
              <a:t>switching</a:t>
            </a:r>
            <a:r>
              <a:rPr lang="fr-FR" baseline="0" dirty="0"/>
              <a:t> &amp; Mobile </a:t>
            </a:r>
            <a:r>
              <a:rPr lang="fr-FR" baseline="0" dirty="0" err="1"/>
              <a:t>Payment</a:t>
            </a:r>
            <a:endParaRPr lang="fr-FR" baseline="0" dirty="0"/>
          </a:p>
          <a:p>
            <a:pPr marL="171450" indent="-171450">
              <a:buFontTx/>
              <a:buChar char="-"/>
            </a:pPr>
            <a:r>
              <a:rPr lang="fr-FR" baseline="0" dirty="0" err="1"/>
              <a:t>Fawry</a:t>
            </a:r>
            <a:r>
              <a:rPr lang="fr-FR" baseline="0" dirty="0"/>
              <a:t> Banking : e-</a:t>
            </a:r>
            <a:r>
              <a:rPr lang="fr-FR" baseline="0" dirty="0" err="1"/>
              <a:t>billing</a:t>
            </a:r>
            <a:endParaRPr lang="fr-FR" baseline="0" dirty="0"/>
          </a:p>
          <a:p>
            <a:pPr marL="171450" indent="-171450">
              <a:buFontTx/>
              <a:buChar char="-"/>
            </a:pPr>
            <a:r>
              <a:rPr lang="fr-FR" baseline="0" dirty="0" err="1"/>
              <a:t>Vanso</a:t>
            </a:r>
            <a:r>
              <a:rPr lang="fr-FR" baseline="0" dirty="0"/>
              <a:t> International Corporation : Mobile </a:t>
            </a:r>
            <a:r>
              <a:rPr lang="fr-FR" baseline="0" dirty="0" err="1"/>
              <a:t>Payment</a:t>
            </a:r>
            <a:endParaRPr lang="fr-FR" baseline="0" dirty="0"/>
          </a:p>
          <a:p>
            <a:pPr marL="171450" indent="-171450">
              <a:buFontTx/>
              <a:buChar char="-"/>
            </a:pPr>
            <a:endParaRPr lang="fr-FR" baseline="0" dirty="0"/>
          </a:p>
        </p:txBody>
      </p:sp>
      <p:sp>
        <p:nvSpPr>
          <p:cNvPr id="4" name="Slide Number Placeholder 3"/>
          <p:cNvSpPr>
            <a:spLocks noGrp="1"/>
          </p:cNvSpPr>
          <p:nvPr>
            <p:ph type="sldNum" sz="quarter" idx="10"/>
          </p:nvPr>
        </p:nvSpPr>
        <p:spPr/>
        <p:txBody>
          <a:bodyPr/>
          <a:lstStyle/>
          <a:p>
            <a:fld id="{BD414A29-A13E-4F88-9F57-9DC5E8703A3B}" type="slidenum">
              <a:rPr lang="fr-FR" smtClean="0"/>
              <a:t>10</a:t>
            </a:fld>
            <a:endParaRPr lang="fr-FR"/>
          </a:p>
        </p:txBody>
      </p:sp>
    </p:spTree>
    <p:extLst>
      <p:ext uri="{BB962C8B-B14F-4D97-AF65-F5344CB8AC3E}">
        <p14:creationId xmlns:p14="http://schemas.microsoft.com/office/powerpoint/2010/main" val="4556043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2" name="Title 1"/>
          <p:cNvSpPr>
            <a:spLocks noGrp="1"/>
          </p:cNvSpPr>
          <p:nvPr>
            <p:ph type="ctrTitle"/>
          </p:nvPr>
        </p:nvSpPr>
        <p:spPr bwMode="gray">
          <a:xfrm>
            <a:off x="377993" y="5549440"/>
            <a:ext cx="4194009"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30"/>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49"/>
            <a:ext cx="4195762"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10457794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a:solidFill>
                  <a:prstClr val="white"/>
                </a:solidFill>
              </a:rPr>
              <a:t>© 2017 Deloitte</a:t>
            </a:r>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a:solidFill>
                  <a:prstClr val="white"/>
                </a:solidFill>
              </a:rPr>
              <a:pPr algn="r">
                <a:spcBef>
                  <a:spcPts val="600"/>
                </a:spcBef>
                <a:buSzPct val="100000"/>
                <a:buFont typeface="Arial"/>
                <a:buNone/>
              </a:pPr>
              <a:t>‹N°›</a:t>
            </a:fld>
            <a:endParaRPr>
              <a:solidFill>
                <a:prstClr val="white"/>
              </a:solidFill>
            </a:endParaRPr>
          </a:p>
        </p:txBody>
      </p:sp>
      <p:sp>
        <p:nvSpPr>
          <p:cNvPr id="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dirty="0">
                <a:solidFill>
                  <a:prstClr val="white"/>
                </a:solidFill>
              </a:rPr>
              <a:t>L’émergence des </a:t>
            </a:r>
            <a:r>
              <a:rPr dirty="0" err="1">
                <a:solidFill>
                  <a:prstClr val="white"/>
                </a:solidFill>
              </a:rPr>
              <a:t>Fintech</a:t>
            </a:r>
            <a:r>
              <a:rPr dirty="0">
                <a:solidFill>
                  <a:prstClr val="white"/>
                </a:solidFill>
              </a:rPr>
              <a:t> en Afrique</a:t>
            </a:r>
          </a:p>
        </p:txBody>
      </p:sp>
    </p:spTree>
    <p:extLst>
      <p:ext uri="{BB962C8B-B14F-4D97-AF65-F5344CB8AC3E}">
        <p14:creationId xmlns:p14="http://schemas.microsoft.com/office/powerpoint/2010/main" val="139874533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851">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dirty="0">
                <a:solidFill>
                  <a:prstClr val="black"/>
                </a:solidFill>
              </a:rPr>
              <a:t>© 2017 Deloitte</a:t>
            </a:r>
            <a:r>
              <a:rPr lang="fr-FR" dirty="0">
                <a:solidFill>
                  <a:prstClr val="black"/>
                </a:solidFill>
              </a:rPr>
              <a:t> </a:t>
            </a:r>
            <a:endParaRPr dirty="0">
              <a:solidFill>
                <a:prstClr val="black"/>
              </a:solidFill>
            </a:endParaRPr>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a:solidFill>
                  <a:prstClr val="black"/>
                </a:solidFill>
              </a:rPr>
              <a:pPr algn="r">
                <a:spcBef>
                  <a:spcPts val="600"/>
                </a:spcBef>
                <a:buSzPct val="100000"/>
                <a:buFont typeface="Arial"/>
                <a:buNone/>
              </a:pPr>
              <a:t>‹N°›</a:t>
            </a:fld>
            <a:endParaRPr>
              <a:solidFill>
                <a:prstClr val="black"/>
              </a:solidFill>
            </a:endParaRP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dirty="0">
                <a:solidFill>
                  <a:prstClr val="black"/>
                </a:solidFill>
              </a:rPr>
              <a:t>L’émergence des </a:t>
            </a:r>
            <a:r>
              <a:rPr dirty="0" err="1">
                <a:solidFill>
                  <a:prstClr val="black"/>
                </a:solidFill>
              </a:rPr>
              <a:t>Fintech</a:t>
            </a:r>
            <a:r>
              <a:rPr dirty="0">
                <a:solidFill>
                  <a:prstClr val="black"/>
                </a:solidFill>
              </a:rPr>
              <a:t> en Afrique</a:t>
            </a:r>
          </a:p>
        </p:txBody>
      </p:sp>
    </p:spTree>
    <p:extLst>
      <p:ext uri="{BB962C8B-B14F-4D97-AF65-F5344CB8AC3E}">
        <p14:creationId xmlns:p14="http://schemas.microsoft.com/office/powerpoint/2010/main" val="14147718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40" y="1628775"/>
            <a:ext cx="6864277" cy="4752975"/>
          </a:xfrm>
          <a:prstGeom prst="rect">
            <a:avLst/>
          </a:prstGeom>
        </p:spPr>
        <p:txBody>
          <a:bodyPr>
            <a:normAutofit/>
          </a:bodyPr>
          <a:lstStyle>
            <a:lvl1pPr>
              <a:spcBef>
                <a:spcPts val="3600"/>
              </a:spcBef>
              <a:defRPr sz="28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a:solidFill>
                  <a:prstClr val="white"/>
                </a:solidFill>
              </a:rPr>
              <a:t>© 2016 Deloitte SAS </a:t>
            </a:r>
          </a:p>
        </p:txBody>
      </p:sp>
      <p:sp>
        <p:nvSpPr>
          <p:cNvPr id="1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a:solidFill>
                  <a:prstClr val="white"/>
                </a:solidFill>
              </a:rPr>
              <a:pPr algn="r">
                <a:spcBef>
                  <a:spcPts val="600"/>
                </a:spcBef>
                <a:buSzPct val="100000"/>
                <a:buFont typeface="Arial"/>
                <a:buNone/>
              </a:pPr>
              <a:t>‹N°›</a:t>
            </a:fld>
            <a:endParaRPr>
              <a:solidFill>
                <a:prstClr val="white"/>
              </a:solidFill>
            </a:endParaRPr>
          </a:p>
        </p:txBody>
      </p:sp>
      <p:sp>
        <p:nvSpPr>
          <p:cNvPr id="11"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a:solidFill>
                  <a:prstClr val="white"/>
                </a:solidFill>
              </a:rPr>
              <a:t>L’émergence des Fintech</a:t>
            </a:r>
            <a:endParaRPr dirty="0">
              <a:solidFill>
                <a:prstClr val="white"/>
              </a:solidFill>
            </a:endParaRPr>
          </a:p>
        </p:txBody>
      </p:sp>
    </p:spTree>
    <p:extLst>
      <p:ext uri="{BB962C8B-B14F-4D97-AF65-F5344CB8AC3E}">
        <p14:creationId xmlns:p14="http://schemas.microsoft.com/office/powerpoint/2010/main" val="285693782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rmAutofit/>
          </a:bodyPr>
          <a:lstStyle>
            <a:lvl1pPr>
              <a:spcBef>
                <a:spcPts val="3600"/>
              </a:spcBef>
              <a:defRPr sz="28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a:solidFill>
                  <a:prstClr val="white"/>
                </a:solidFill>
              </a:rPr>
              <a:t>© 2016 Deloitte SAS </a:t>
            </a:r>
          </a:p>
        </p:txBody>
      </p:sp>
      <p:sp>
        <p:nvSpPr>
          <p:cNvPr id="1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a:solidFill>
                  <a:prstClr val="white"/>
                </a:solidFill>
              </a:rPr>
              <a:pPr algn="r">
                <a:spcBef>
                  <a:spcPts val="600"/>
                </a:spcBef>
                <a:buSzPct val="100000"/>
                <a:buFont typeface="Arial"/>
                <a:buNone/>
              </a:pPr>
              <a:t>‹N°›</a:t>
            </a:fld>
            <a:endParaRPr>
              <a:solidFill>
                <a:prstClr val="white"/>
              </a:solidFill>
            </a:endParaRPr>
          </a:p>
        </p:txBody>
      </p:sp>
      <p:sp>
        <p:nvSpPr>
          <p:cNvPr id="11"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a:solidFill>
                  <a:prstClr val="white"/>
                </a:solidFill>
              </a:rPr>
              <a:t>L’émergence des Fintech</a:t>
            </a:r>
            <a:endParaRPr dirty="0">
              <a:solidFill>
                <a:prstClr val="white"/>
              </a:solidFill>
            </a:endParaRPr>
          </a:p>
        </p:txBody>
      </p:sp>
    </p:spTree>
    <p:extLst>
      <p:ext uri="{BB962C8B-B14F-4D97-AF65-F5344CB8AC3E}">
        <p14:creationId xmlns:p14="http://schemas.microsoft.com/office/powerpoint/2010/main" val="170043688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5"/>
            <a:ext cx="6958012" cy="4752975"/>
          </a:xfrm>
          <a:prstGeom prst="rect">
            <a:avLst/>
          </a:prstGeom>
        </p:spPr>
        <p:txBody>
          <a:bodyPr>
            <a:normAutofit/>
          </a:bodyPr>
          <a:lstStyle>
            <a:lvl1pPr>
              <a:spcBef>
                <a:spcPts val="3600"/>
              </a:spcBef>
              <a:defRPr sz="28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a:solidFill>
                  <a:prstClr val="white"/>
                </a:solidFill>
              </a:rPr>
              <a:t>© 2016 Deloitte SAS </a:t>
            </a:r>
          </a:p>
        </p:txBody>
      </p:sp>
      <p:sp>
        <p:nvSpPr>
          <p:cNvPr id="1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a:solidFill>
                  <a:prstClr val="white"/>
                </a:solidFill>
              </a:rPr>
              <a:pPr algn="r">
                <a:spcBef>
                  <a:spcPts val="600"/>
                </a:spcBef>
                <a:buSzPct val="100000"/>
                <a:buFont typeface="Arial"/>
                <a:buNone/>
              </a:pPr>
              <a:t>‹N°›</a:t>
            </a:fld>
            <a:endParaRPr>
              <a:solidFill>
                <a:prstClr val="white"/>
              </a:solidFill>
            </a:endParaRPr>
          </a:p>
        </p:txBody>
      </p:sp>
      <p:sp>
        <p:nvSpPr>
          <p:cNvPr id="11"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a:solidFill>
                  <a:prstClr val="white"/>
                </a:solidFill>
              </a:rPr>
              <a:t>L’émergence des Fintech</a:t>
            </a:r>
            <a:endParaRPr dirty="0">
              <a:solidFill>
                <a:prstClr val="white"/>
              </a:solidFill>
            </a:endParaRPr>
          </a:p>
        </p:txBody>
      </p:sp>
    </p:spTree>
    <p:extLst>
      <p:ext uri="{BB962C8B-B14F-4D97-AF65-F5344CB8AC3E}">
        <p14:creationId xmlns:p14="http://schemas.microsoft.com/office/powerpoint/2010/main" val="286491345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5"/>
            <a:ext cx="6958012" cy="4752975"/>
          </a:xfrm>
          <a:prstGeom prst="rect">
            <a:avLst/>
          </a:prstGeom>
        </p:spPr>
        <p:txBody>
          <a:bodyPr>
            <a:normAutofit/>
          </a:bodyPr>
          <a:lstStyle>
            <a:lvl1pPr>
              <a:spcBef>
                <a:spcPts val="3600"/>
              </a:spcBef>
              <a:defRPr sz="28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a:solidFill>
                  <a:prstClr val="white"/>
                </a:solidFill>
              </a:rPr>
              <a:t>© 2016 Deloitte SAS </a:t>
            </a:r>
          </a:p>
        </p:txBody>
      </p:sp>
      <p:sp>
        <p:nvSpPr>
          <p:cNvPr id="1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a:solidFill>
                  <a:prstClr val="white"/>
                </a:solidFill>
              </a:rPr>
              <a:pPr algn="r">
                <a:spcBef>
                  <a:spcPts val="600"/>
                </a:spcBef>
                <a:buSzPct val="100000"/>
                <a:buFont typeface="Arial"/>
                <a:buNone/>
              </a:pPr>
              <a:t>‹N°›</a:t>
            </a:fld>
            <a:endParaRPr>
              <a:solidFill>
                <a:prstClr val="white"/>
              </a:solidFill>
            </a:endParaRPr>
          </a:p>
        </p:txBody>
      </p:sp>
      <p:sp>
        <p:nvSpPr>
          <p:cNvPr id="11"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a:solidFill>
                  <a:prstClr val="white"/>
                </a:solidFill>
              </a:rPr>
              <a:t>L’émergence des Fintech</a:t>
            </a:r>
            <a:endParaRPr dirty="0">
              <a:solidFill>
                <a:prstClr val="white"/>
              </a:solidFill>
            </a:endParaRPr>
          </a:p>
        </p:txBody>
      </p:sp>
    </p:spTree>
    <p:extLst>
      <p:ext uri="{BB962C8B-B14F-4D97-AF65-F5344CB8AC3E}">
        <p14:creationId xmlns:p14="http://schemas.microsoft.com/office/powerpoint/2010/main" val="307121757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5"/>
            <a:ext cx="6958012" cy="4752975"/>
          </a:xfrm>
          <a:prstGeom prst="rect">
            <a:avLst/>
          </a:prstGeom>
        </p:spPr>
        <p:txBody>
          <a:bodyPr>
            <a:normAutofit/>
          </a:bodyPr>
          <a:lstStyle>
            <a:lvl1pPr>
              <a:spcBef>
                <a:spcPts val="3600"/>
              </a:spcBef>
              <a:defRPr sz="28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6"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dirty="0">
                <a:solidFill>
                  <a:prstClr val="black"/>
                </a:solidFill>
              </a:rPr>
              <a:t>© 2017 Deloitte</a:t>
            </a:r>
            <a:r>
              <a:rPr lang="fr-FR" dirty="0">
                <a:solidFill>
                  <a:prstClr val="black"/>
                </a:solidFill>
              </a:rPr>
              <a:t> </a:t>
            </a:r>
            <a:endParaRPr dirty="0">
              <a:solidFill>
                <a:prstClr val="black"/>
              </a:solidFill>
            </a:endParaRPr>
          </a:p>
        </p:txBody>
      </p:sp>
      <p:sp>
        <p:nvSpPr>
          <p:cNvPr id="1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a:solidFill>
                  <a:prstClr val="black"/>
                </a:solidFill>
              </a:rPr>
              <a:pPr algn="r">
                <a:spcBef>
                  <a:spcPts val="600"/>
                </a:spcBef>
                <a:buSzPct val="100000"/>
                <a:buFont typeface="Arial"/>
                <a:buNone/>
              </a:pPr>
              <a:t>‹N°›</a:t>
            </a:fld>
            <a:endParaRPr>
              <a:solidFill>
                <a:prstClr val="black"/>
              </a:solidFill>
            </a:endParaRPr>
          </a:p>
        </p:txBody>
      </p:sp>
      <p:sp>
        <p:nvSpPr>
          <p:cNvPr id="11"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dirty="0">
                <a:solidFill>
                  <a:prstClr val="black"/>
                </a:solidFill>
              </a:rPr>
              <a:t>L’émergence des </a:t>
            </a:r>
            <a:r>
              <a:rPr dirty="0" err="1">
                <a:solidFill>
                  <a:prstClr val="black"/>
                </a:solidFill>
              </a:rPr>
              <a:t>Fintech</a:t>
            </a:r>
            <a:r>
              <a:rPr dirty="0">
                <a:solidFill>
                  <a:prstClr val="black"/>
                </a:solidFill>
              </a:rPr>
              <a:t> en Afrique</a:t>
            </a:r>
          </a:p>
        </p:txBody>
      </p:sp>
    </p:spTree>
    <p:extLst>
      <p:ext uri="{BB962C8B-B14F-4D97-AF65-F5344CB8AC3E}">
        <p14:creationId xmlns:p14="http://schemas.microsoft.com/office/powerpoint/2010/main" val="8816346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90"/>
            <a:ext cx="6958012" cy="4716463"/>
          </a:xfrm>
          <a:prstGeom prst="rect">
            <a:avLst/>
          </a:prstGeom>
        </p:spPr>
        <p:txBody>
          <a:bodyPr/>
          <a:lstStyle>
            <a:lvl1pPr>
              <a:tabLst>
                <a:tab pos="6729245" algn="r"/>
              </a:tabLst>
              <a:defRPr/>
            </a:lvl1pPr>
            <a:lvl2pPr>
              <a:tabLst>
                <a:tab pos="6729245" algn="r"/>
              </a:tabLst>
              <a:defRPr/>
            </a:lvl2pPr>
            <a:lvl3pPr>
              <a:tabLst>
                <a:tab pos="6729245" algn="r"/>
              </a:tabLst>
              <a:defRPr/>
            </a:lvl3pPr>
            <a:lvl4pPr>
              <a:tabLst>
                <a:tab pos="6729245" algn="r"/>
              </a:tabLst>
              <a:defRPr/>
            </a:lvl4pPr>
            <a:lvl5pPr>
              <a:tabLst>
                <a:tab pos="5029074" algn="r"/>
              </a:tabLst>
              <a:defRPr baseline="0"/>
            </a:lvl5pPr>
            <a:lvl6pPr>
              <a:tabLst>
                <a:tab pos="6729245" algn="r"/>
              </a:tabLst>
              <a:defRPr/>
            </a:lvl6pPr>
            <a:lvl7pPr>
              <a:tabLst>
                <a:tab pos="6729245" algn="r"/>
              </a:tabLst>
              <a:defRPr/>
            </a:lvl7pPr>
            <a:lvl8pPr>
              <a:tabLst>
                <a:tab pos="6729245" algn="r"/>
              </a:tabLst>
              <a:defRPr/>
            </a:lvl8pPr>
            <a:lvl9pPr>
              <a:tabLst>
                <a:tab pos="6729245"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500"/>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8"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dirty="0">
                <a:solidFill>
                  <a:prstClr val="black"/>
                </a:solidFill>
              </a:rPr>
              <a:t>© 2017 Deloitte</a:t>
            </a:r>
            <a:r>
              <a:rPr lang="fr-FR" dirty="0">
                <a:solidFill>
                  <a:prstClr val="black"/>
                </a:solidFill>
              </a:rPr>
              <a:t> </a:t>
            </a:r>
            <a:endParaRPr dirty="0">
              <a:solidFill>
                <a:prstClr val="black"/>
              </a:solidFill>
            </a:endParaRPr>
          </a:p>
        </p:txBody>
      </p:sp>
      <p:sp>
        <p:nvSpPr>
          <p:cNvPr id="12"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a:solidFill>
                  <a:prstClr val="black"/>
                </a:solidFill>
              </a:rPr>
              <a:pPr algn="r">
                <a:spcBef>
                  <a:spcPts val="600"/>
                </a:spcBef>
                <a:buSzPct val="100000"/>
                <a:buFont typeface="Arial"/>
                <a:buNone/>
              </a:pPr>
              <a:t>‹N°›</a:t>
            </a:fld>
            <a:endParaRPr>
              <a:solidFill>
                <a:prstClr val="black"/>
              </a:solidFill>
            </a:endParaRPr>
          </a:p>
        </p:txBody>
      </p:sp>
      <p:sp>
        <p:nvSpPr>
          <p:cNvPr id="13"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dirty="0">
                <a:solidFill>
                  <a:prstClr val="black"/>
                </a:solidFill>
              </a:rPr>
              <a:t>L’émergence des </a:t>
            </a:r>
            <a:r>
              <a:rPr dirty="0" err="1">
                <a:solidFill>
                  <a:prstClr val="black"/>
                </a:solidFill>
              </a:rPr>
              <a:t>Fintech</a:t>
            </a:r>
            <a:r>
              <a:rPr dirty="0">
                <a:solidFill>
                  <a:prstClr val="black"/>
                </a:solidFill>
              </a:rPr>
              <a:t> en Afrique</a:t>
            </a:r>
          </a:p>
        </p:txBody>
      </p:sp>
    </p:spTree>
    <p:extLst>
      <p:ext uri="{BB962C8B-B14F-4D97-AF65-F5344CB8AC3E}">
        <p14:creationId xmlns:p14="http://schemas.microsoft.com/office/powerpoint/2010/main" val="138487373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40" y="317502"/>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2"/>
            <a:ext cx="4680000" cy="4679951"/>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376238" y="1665290"/>
            <a:ext cx="3342322" cy="471646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dirty="0">
                <a:solidFill>
                  <a:prstClr val="black"/>
                </a:solidFill>
              </a:rPr>
              <a:t>© 2017 Deloitte</a:t>
            </a:r>
            <a:r>
              <a:rPr lang="fr-FR" dirty="0">
                <a:solidFill>
                  <a:prstClr val="black"/>
                </a:solidFill>
              </a:rPr>
              <a:t> </a:t>
            </a:r>
            <a:endParaRPr dirty="0">
              <a:solidFill>
                <a:prstClr val="black"/>
              </a:solidFill>
            </a:endParaRPr>
          </a:p>
        </p:txBody>
      </p:sp>
      <p:sp>
        <p:nvSpPr>
          <p:cNvPr id="9"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a:solidFill>
                  <a:prstClr val="black"/>
                </a:solidFill>
              </a:rPr>
              <a:pPr algn="r">
                <a:spcBef>
                  <a:spcPts val="600"/>
                </a:spcBef>
                <a:buSzPct val="100000"/>
                <a:buFont typeface="Arial"/>
                <a:buNone/>
              </a:pPr>
              <a:t>‹N°›</a:t>
            </a:fld>
            <a:endParaRPr>
              <a:solidFill>
                <a:prstClr val="black"/>
              </a:solidFill>
            </a:endParaRPr>
          </a:p>
        </p:txBody>
      </p:sp>
      <p:sp>
        <p:nvSpPr>
          <p:cNvPr id="10"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dirty="0">
                <a:solidFill>
                  <a:prstClr val="black"/>
                </a:solidFill>
              </a:rPr>
              <a:t>L’émergence des </a:t>
            </a:r>
            <a:r>
              <a:rPr dirty="0" err="1">
                <a:solidFill>
                  <a:prstClr val="black"/>
                </a:solidFill>
              </a:rPr>
              <a:t>Fintech</a:t>
            </a:r>
            <a:r>
              <a:rPr dirty="0">
                <a:solidFill>
                  <a:prstClr val="black"/>
                </a:solidFill>
              </a:rPr>
              <a:t> en Afrique</a:t>
            </a:r>
          </a:p>
        </p:txBody>
      </p:sp>
    </p:spTree>
    <p:extLst>
      <p:ext uri="{BB962C8B-B14F-4D97-AF65-F5344CB8AC3E}">
        <p14:creationId xmlns:p14="http://schemas.microsoft.com/office/powerpoint/2010/main" val="57588970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ontents with image">
    <p:spTree>
      <p:nvGrpSpPr>
        <p:cNvPr id="1" name=""/>
        <p:cNvGrpSpPr/>
        <p:nvPr/>
      </p:nvGrpSpPr>
      <p:grpSpPr>
        <a:xfrm>
          <a:off x="0" y="0"/>
          <a:ext cx="0" cy="0"/>
          <a:chOff x="0" y="0"/>
          <a:chExt cx="0" cy="0"/>
        </a:xfrm>
      </p:grpSpPr>
      <p:sp>
        <p:nvSpPr>
          <p:cNvPr id="2" name="Rectangle 1"/>
          <p:cNvSpPr/>
          <p:nvPr userDrawn="1"/>
        </p:nvSpPr>
        <p:spPr bwMode="gray">
          <a:xfrm>
            <a:off x="0" y="0"/>
            <a:ext cx="4638412" cy="6858000"/>
          </a:xfrm>
          <a:prstGeom prst="rect">
            <a:avLst/>
          </a:prstGeom>
          <a:solidFill>
            <a:schemeClr val="tx2">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endParaRPr>
          </a:p>
        </p:txBody>
      </p:sp>
      <p:sp>
        <p:nvSpPr>
          <p:cNvPr id="7" name="Title Placeholder 1"/>
          <p:cNvSpPr>
            <a:spLocks noGrp="1"/>
          </p:cNvSpPr>
          <p:nvPr>
            <p:ph type="title" hasCustomPrompt="1"/>
          </p:nvPr>
        </p:nvSpPr>
        <p:spPr>
          <a:xfrm>
            <a:off x="376236" y="317502"/>
            <a:ext cx="3945597" cy="698500"/>
          </a:xfrm>
          <a:prstGeom prst="rect">
            <a:avLst/>
          </a:prstGeom>
        </p:spPr>
        <p:txBody>
          <a:bodyPr vert="horz" lIns="0" tIns="0" rIns="0" bIns="0" rtlCol="0" anchor="t" anchorCtr="0">
            <a:noAutofit/>
          </a:bodyPr>
          <a:lstStyle>
            <a:lvl1pPr>
              <a:defRPr>
                <a:solidFill>
                  <a:schemeClr val="bg1"/>
                </a:solidFill>
              </a:defRPr>
            </a:lvl1pPr>
          </a:lstStyle>
          <a:p>
            <a:r>
              <a:rPr lang="en-US" noProof="0" dirty="0"/>
              <a:t>Click to add title</a:t>
            </a:r>
          </a:p>
        </p:txBody>
      </p:sp>
      <p:sp>
        <p:nvSpPr>
          <p:cNvPr id="5" name="Picture Placeholder 9"/>
          <p:cNvSpPr>
            <a:spLocks noGrp="1"/>
          </p:cNvSpPr>
          <p:nvPr>
            <p:ph type="pic" sz="quarter" idx="15"/>
          </p:nvPr>
        </p:nvSpPr>
        <p:spPr>
          <a:xfrm>
            <a:off x="4751387" y="109343"/>
            <a:ext cx="4271843" cy="6639314"/>
          </a:xfrm>
        </p:spPr>
        <p:txBody>
          <a:bodyPr/>
          <a:lstStyle/>
          <a:p>
            <a:r>
              <a:rPr lang="en-US" noProof="0" dirty="0"/>
              <a:t>Click icon to add picture</a:t>
            </a:r>
          </a:p>
        </p:txBody>
      </p:sp>
      <p:sp>
        <p:nvSpPr>
          <p:cNvPr id="6" name="Content Placeholder 3"/>
          <p:cNvSpPr>
            <a:spLocks noGrp="1"/>
          </p:cNvSpPr>
          <p:nvPr>
            <p:ph sz="quarter" idx="10"/>
          </p:nvPr>
        </p:nvSpPr>
        <p:spPr>
          <a:xfrm>
            <a:off x="376236" y="1665290"/>
            <a:ext cx="3195099" cy="4716463"/>
          </a:xfrm>
          <a:prstGeom prst="rect">
            <a:avLst/>
          </a:prstGeom>
        </p:spPr>
        <p:txBody>
          <a:bodyPr>
            <a:normAutofit/>
          </a:bodyPr>
          <a:lstStyle>
            <a:lvl1pPr>
              <a:spcAft>
                <a:spcPts val="1800"/>
              </a:spcAft>
              <a:tabLst>
                <a:tab pos="5029074" algn="r"/>
              </a:tabLst>
              <a:defRPr sz="1400">
                <a:solidFill>
                  <a:schemeClr val="bg1"/>
                </a:solidFill>
              </a:defRPr>
            </a:lvl1pPr>
            <a:lvl2pPr>
              <a:spcAft>
                <a:spcPts val="1800"/>
              </a:spcAft>
              <a:tabLst>
                <a:tab pos="5029074" algn="r"/>
              </a:tabLst>
              <a:defRPr sz="1400">
                <a:solidFill>
                  <a:schemeClr val="bg1"/>
                </a:solidFill>
              </a:defRPr>
            </a:lvl2pPr>
            <a:lvl3pPr>
              <a:spcAft>
                <a:spcPts val="1800"/>
              </a:spcAft>
              <a:tabLst>
                <a:tab pos="5029074" algn="r"/>
              </a:tabLst>
              <a:defRPr sz="1400">
                <a:solidFill>
                  <a:schemeClr val="bg1"/>
                </a:solidFill>
              </a:defRPr>
            </a:lvl3pPr>
            <a:lvl4pPr>
              <a:spcAft>
                <a:spcPts val="1800"/>
              </a:spcAft>
              <a:tabLst>
                <a:tab pos="5029074" algn="r"/>
              </a:tabLst>
              <a:defRPr sz="1400">
                <a:solidFill>
                  <a:schemeClr val="bg1"/>
                </a:solidFill>
              </a:defRPr>
            </a:lvl4pPr>
            <a:lvl5pPr>
              <a:spcAft>
                <a:spcPts val="1800"/>
              </a:spcAft>
              <a:tabLst>
                <a:tab pos="5029074" algn="r"/>
              </a:tabLst>
              <a:defRPr sz="14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a:solidFill>
                  <a:prstClr val="white"/>
                </a:solidFill>
              </a:rPr>
              <a:t>© 2016 Deloitte SAS </a:t>
            </a:r>
          </a:p>
        </p:txBody>
      </p:sp>
      <p:sp>
        <p:nvSpPr>
          <p:cNvPr id="12"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a:solidFill>
                  <a:prstClr val="black"/>
                </a:solidFill>
              </a:rPr>
              <a:pPr algn="r">
                <a:spcBef>
                  <a:spcPts val="600"/>
                </a:spcBef>
                <a:buSzPct val="100000"/>
                <a:buFont typeface="Arial"/>
                <a:buNone/>
              </a:pPr>
              <a:t>‹N°›</a:t>
            </a:fld>
            <a:endParaRPr>
              <a:solidFill>
                <a:prstClr val="black"/>
              </a:solidFill>
            </a:endParaRPr>
          </a:p>
        </p:txBody>
      </p:sp>
      <p:sp>
        <p:nvSpPr>
          <p:cNvPr id="13"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a:solidFill>
                  <a:prstClr val="black"/>
                </a:solidFill>
              </a:rPr>
              <a:t>L’émergence des Fintech</a:t>
            </a:r>
            <a:endParaRPr dirty="0">
              <a:solidFill>
                <a:prstClr val="black"/>
              </a:solidFill>
            </a:endParaRPr>
          </a:p>
        </p:txBody>
      </p:sp>
      <p:sp>
        <p:nvSpPr>
          <p:cNvPr id="9" name="Content Placeholder 3"/>
          <p:cNvSpPr>
            <a:spLocks noGrp="1"/>
          </p:cNvSpPr>
          <p:nvPr>
            <p:ph sz="quarter" idx="16"/>
          </p:nvPr>
        </p:nvSpPr>
        <p:spPr>
          <a:xfrm>
            <a:off x="3757790" y="1665290"/>
            <a:ext cx="564043" cy="4716463"/>
          </a:xfrm>
          <a:prstGeom prst="rect">
            <a:avLst/>
          </a:prstGeom>
        </p:spPr>
        <p:txBody>
          <a:bodyPr>
            <a:noAutofit/>
          </a:bodyPr>
          <a:lstStyle>
            <a:lvl1pPr>
              <a:spcAft>
                <a:spcPts val="1800"/>
              </a:spcAft>
              <a:tabLst>
                <a:tab pos="5029074" algn="r"/>
              </a:tabLst>
              <a:defRPr sz="1400">
                <a:solidFill>
                  <a:schemeClr val="bg1"/>
                </a:solidFill>
              </a:defRPr>
            </a:lvl1pPr>
            <a:lvl2pPr>
              <a:spcAft>
                <a:spcPts val="1800"/>
              </a:spcAft>
              <a:tabLst>
                <a:tab pos="5029074" algn="r"/>
              </a:tabLst>
              <a:defRPr sz="1400">
                <a:solidFill>
                  <a:schemeClr val="bg1"/>
                </a:solidFill>
              </a:defRPr>
            </a:lvl2pPr>
            <a:lvl3pPr>
              <a:spcAft>
                <a:spcPts val="1800"/>
              </a:spcAft>
              <a:tabLst>
                <a:tab pos="5029074" algn="r"/>
              </a:tabLst>
              <a:defRPr sz="1400">
                <a:solidFill>
                  <a:schemeClr val="bg1"/>
                </a:solidFill>
              </a:defRPr>
            </a:lvl3pPr>
            <a:lvl4pPr>
              <a:spcAft>
                <a:spcPts val="1800"/>
              </a:spcAft>
              <a:tabLst>
                <a:tab pos="5029074" algn="r"/>
              </a:tabLst>
              <a:defRPr sz="1400">
                <a:solidFill>
                  <a:schemeClr val="bg1"/>
                </a:solidFill>
              </a:defRPr>
            </a:lvl4pPr>
            <a:lvl5pPr>
              <a:spcAft>
                <a:spcPts val="1800"/>
              </a:spcAft>
              <a:tabLst>
                <a:tab pos="5029074" algn="r"/>
              </a:tabLst>
              <a:defRPr sz="1400" baseline="0">
                <a:solidFill>
                  <a:schemeClr val="bg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04883401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a:t>Click icon to add picture</a:t>
            </a:r>
            <a:endParaRPr lang="en-US" noProof="0" dirty="0"/>
          </a:p>
        </p:txBody>
      </p:sp>
      <p:sp>
        <p:nvSpPr>
          <p:cNvPr id="2" name="Title 1"/>
          <p:cNvSpPr>
            <a:spLocks noGrp="1"/>
          </p:cNvSpPr>
          <p:nvPr>
            <p:ph type="ctrTitle"/>
          </p:nvPr>
        </p:nvSpPr>
        <p:spPr bwMode="gray">
          <a:xfrm>
            <a:off x="376238" y="5549440"/>
            <a:ext cx="4195762"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40" y="5864230"/>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49"/>
            <a:ext cx="4195762"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869754037"/>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40" y="317502"/>
            <a:ext cx="8391525" cy="307777"/>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2613804" y="625279"/>
            <a:ext cx="6153959" cy="5756475"/>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376238" y="1665290"/>
            <a:ext cx="2013279" cy="471646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a:solidFill>
                  <a:prstClr val="black"/>
                </a:solidFill>
              </a:rPr>
              <a:t>© 2016 Deloitte SAS </a:t>
            </a:r>
          </a:p>
        </p:txBody>
      </p:sp>
      <p:sp>
        <p:nvSpPr>
          <p:cNvPr id="12"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a:solidFill>
                  <a:prstClr val="black"/>
                </a:solidFill>
              </a:rPr>
              <a:pPr algn="r">
                <a:spcBef>
                  <a:spcPts val="600"/>
                </a:spcBef>
                <a:buSzPct val="100000"/>
                <a:buFont typeface="Arial"/>
                <a:buNone/>
              </a:pPr>
              <a:t>‹N°›</a:t>
            </a:fld>
            <a:endParaRPr>
              <a:solidFill>
                <a:prstClr val="black"/>
              </a:solidFill>
            </a:endParaRPr>
          </a:p>
        </p:txBody>
      </p:sp>
      <p:sp>
        <p:nvSpPr>
          <p:cNvPr id="13"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a:solidFill>
                  <a:prstClr val="black"/>
                </a:solidFill>
              </a:rPr>
              <a:t>L’émergence des Fintech</a:t>
            </a:r>
            <a:endParaRPr dirty="0">
              <a:solidFill>
                <a:prstClr val="black"/>
              </a:solidFill>
            </a:endParaRPr>
          </a:p>
        </p:txBody>
      </p:sp>
      <p:sp>
        <p:nvSpPr>
          <p:cNvPr id="8" name="Text Placeholder 8"/>
          <p:cNvSpPr>
            <a:spLocks noGrp="1"/>
          </p:cNvSpPr>
          <p:nvPr>
            <p:ph type="body" sz="quarter" idx="13" hasCustomPrompt="1"/>
          </p:nvPr>
        </p:nvSpPr>
        <p:spPr>
          <a:xfrm>
            <a:off x="376238" y="651602"/>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99144662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2"/>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90"/>
            <a:ext cx="8374062" cy="471646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dirty="0">
                <a:solidFill>
                  <a:prstClr val="black"/>
                </a:solidFill>
              </a:rPr>
              <a:t>© 2017 Deloitte</a:t>
            </a:r>
            <a:r>
              <a:rPr lang="fr-FR" dirty="0">
                <a:solidFill>
                  <a:prstClr val="black"/>
                </a:solidFill>
              </a:rPr>
              <a:t> </a:t>
            </a:r>
            <a:endParaRPr dirty="0">
              <a:solidFill>
                <a:prstClr val="black"/>
              </a:solidFill>
            </a:endParaRPr>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a:solidFill>
                  <a:prstClr val="black"/>
                </a:solidFill>
              </a:rPr>
              <a:pPr algn="r">
                <a:spcBef>
                  <a:spcPts val="600"/>
                </a:spcBef>
                <a:buSzPct val="100000"/>
                <a:buFont typeface="Arial"/>
                <a:buNone/>
              </a:pPr>
              <a:t>‹N°›</a:t>
            </a:fld>
            <a:endParaRPr>
              <a:solidFill>
                <a:prstClr val="black"/>
              </a:solidFill>
            </a:endParaRP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dirty="0">
                <a:solidFill>
                  <a:prstClr val="black"/>
                </a:solidFill>
              </a:rPr>
              <a:t>L’émergence des </a:t>
            </a:r>
            <a:r>
              <a:rPr dirty="0" err="1">
                <a:solidFill>
                  <a:prstClr val="black"/>
                </a:solidFill>
              </a:rPr>
              <a:t>Fintech</a:t>
            </a:r>
            <a:r>
              <a:rPr dirty="0">
                <a:solidFill>
                  <a:prstClr val="black"/>
                </a:solidFill>
              </a:rPr>
              <a:t> en Afrique</a:t>
            </a:r>
          </a:p>
        </p:txBody>
      </p:sp>
    </p:spTree>
    <p:extLst>
      <p:ext uri="{BB962C8B-B14F-4D97-AF65-F5344CB8AC3E}">
        <p14:creationId xmlns:p14="http://schemas.microsoft.com/office/powerpoint/2010/main" val="147778225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2"/>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500"/>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90"/>
            <a:ext cx="8374062" cy="4678987"/>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dirty="0">
                <a:solidFill>
                  <a:prstClr val="black"/>
                </a:solidFill>
              </a:rPr>
              <a:t>© 2017 Deloitte</a:t>
            </a:r>
            <a:r>
              <a:rPr lang="fr-FR" dirty="0">
                <a:solidFill>
                  <a:prstClr val="black"/>
                </a:solidFill>
              </a:rPr>
              <a:t> </a:t>
            </a:r>
            <a:endParaRPr dirty="0">
              <a:solidFill>
                <a:prstClr val="black"/>
              </a:solidFill>
            </a:endParaRPr>
          </a:p>
        </p:txBody>
      </p:sp>
      <p:sp>
        <p:nvSpPr>
          <p:cNvPr id="15"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a:solidFill>
                  <a:prstClr val="black"/>
                </a:solidFill>
              </a:rPr>
              <a:pPr algn="r">
                <a:spcBef>
                  <a:spcPts val="600"/>
                </a:spcBef>
                <a:buSzPct val="100000"/>
                <a:buFont typeface="Arial"/>
                <a:buNone/>
              </a:pPr>
              <a:t>‹N°›</a:t>
            </a:fld>
            <a:endParaRPr>
              <a:solidFill>
                <a:prstClr val="black"/>
              </a:solidFill>
            </a:endParaRPr>
          </a:p>
        </p:txBody>
      </p:sp>
      <p:sp>
        <p:nvSpPr>
          <p:cNvPr id="16"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dirty="0">
                <a:solidFill>
                  <a:prstClr val="black"/>
                </a:solidFill>
              </a:rPr>
              <a:t>L’émergence des </a:t>
            </a:r>
            <a:r>
              <a:rPr dirty="0" err="1">
                <a:solidFill>
                  <a:prstClr val="black"/>
                </a:solidFill>
              </a:rPr>
              <a:t>Fintech</a:t>
            </a:r>
            <a:r>
              <a:rPr dirty="0">
                <a:solidFill>
                  <a:prstClr val="black"/>
                </a:solidFill>
              </a:rPr>
              <a:t> en Afrique</a:t>
            </a:r>
          </a:p>
        </p:txBody>
      </p:sp>
    </p:spTree>
    <p:extLst>
      <p:ext uri="{BB962C8B-B14F-4D97-AF65-F5344CB8AC3E}">
        <p14:creationId xmlns:p14="http://schemas.microsoft.com/office/powerpoint/2010/main" val="85340603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2000"/>
            <a:ext cx="8391524" cy="4069013"/>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9" y="1665290"/>
            <a:ext cx="8391524"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376240" y="6121014"/>
            <a:ext cx="8391525" cy="260737"/>
          </a:xfrm>
        </p:spPr>
        <p:txBody>
          <a:bodyPr>
            <a:normAutofit/>
          </a:bodyPr>
          <a:lstStyle>
            <a:lvl1pPr>
              <a:spcAft>
                <a:spcPts val="0"/>
              </a:spcAft>
              <a:defRPr sz="900"/>
            </a:lvl1pPr>
          </a:lstStyle>
          <a:p>
            <a:pPr lvl="0"/>
            <a:r>
              <a:rPr lang="en-US" noProof="0"/>
              <a:t>Click to edit Master text styles</a:t>
            </a:r>
          </a:p>
        </p:txBody>
      </p:sp>
      <p:sp>
        <p:nvSpPr>
          <p:cNvPr id="13"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dirty="0">
                <a:solidFill>
                  <a:prstClr val="black"/>
                </a:solidFill>
              </a:rPr>
              <a:t>© 2017 Deloitte</a:t>
            </a:r>
            <a:r>
              <a:rPr lang="fr-FR" dirty="0">
                <a:solidFill>
                  <a:prstClr val="black"/>
                </a:solidFill>
              </a:rPr>
              <a:t> </a:t>
            </a:r>
            <a:endParaRPr dirty="0">
              <a:solidFill>
                <a:prstClr val="black"/>
              </a:solidFill>
            </a:endParaRPr>
          </a:p>
        </p:txBody>
      </p:sp>
      <p:sp>
        <p:nvSpPr>
          <p:cNvPr id="14"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a:solidFill>
                  <a:prstClr val="black"/>
                </a:solidFill>
              </a:rPr>
              <a:pPr algn="r">
                <a:spcBef>
                  <a:spcPts val="600"/>
                </a:spcBef>
                <a:buSzPct val="100000"/>
                <a:buFont typeface="Arial"/>
                <a:buNone/>
              </a:pPr>
              <a:t>‹N°›</a:t>
            </a:fld>
            <a:endParaRPr>
              <a:solidFill>
                <a:prstClr val="black"/>
              </a:solidFill>
            </a:endParaRPr>
          </a:p>
        </p:txBody>
      </p:sp>
      <p:sp>
        <p:nvSpPr>
          <p:cNvPr id="20"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dirty="0">
                <a:solidFill>
                  <a:prstClr val="black"/>
                </a:solidFill>
              </a:rPr>
              <a:t>L’émergence des </a:t>
            </a:r>
            <a:r>
              <a:rPr dirty="0" err="1">
                <a:solidFill>
                  <a:prstClr val="black"/>
                </a:solidFill>
              </a:rPr>
              <a:t>Fintech</a:t>
            </a:r>
            <a:r>
              <a:rPr dirty="0">
                <a:solidFill>
                  <a:prstClr val="black"/>
                </a:solidFill>
              </a:rPr>
              <a:t> en Afrique</a:t>
            </a:r>
          </a:p>
        </p:txBody>
      </p:sp>
    </p:spTree>
    <p:extLst>
      <p:ext uri="{BB962C8B-B14F-4D97-AF65-F5344CB8AC3E}">
        <p14:creationId xmlns:p14="http://schemas.microsoft.com/office/powerpoint/2010/main" val="63117747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40"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5"/>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9"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5"/>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227390"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9" y="2051999"/>
            <a:ext cx="2672965" cy="4069015"/>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376237" y="6121014"/>
            <a:ext cx="8374064" cy="260737"/>
          </a:xfrm>
        </p:spPr>
        <p:txBody>
          <a:bodyPr>
            <a:normAutofit/>
          </a:bodyPr>
          <a:lstStyle>
            <a:lvl1pPr>
              <a:spcAft>
                <a:spcPts val="0"/>
              </a:spcAft>
              <a:defRPr sz="900"/>
            </a:lvl1pPr>
          </a:lstStyle>
          <a:p>
            <a:pPr lvl="0"/>
            <a:r>
              <a:rPr lang="en-US" noProof="0"/>
              <a:t>Click to edit Master text styles</a:t>
            </a:r>
          </a:p>
        </p:txBody>
      </p:sp>
      <p:sp>
        <p:nvSpPr>
          <p:cNvPr id="14"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dirty="0">
                <a:solidFill>
                  <a:prstClr val="black"/>
                </a:solidFill>
              </a:rPr>
              <a:t>© 2017 Deloitte</a:t>
            </a:r>
            <a:r>
              <a:rPr lang="fr-FR" dirty="0">
                <a:solidFill>
                  <a:prstClr val="black"/>
                </a:solidFill>
              </a:rPr>
              <a:t> </a:t>
            </a:r>
            <a:endParaRPr dirty="0">
              <a:solidFill>
                <a:prstClr val="black"/>
              </a:solidFill>
            </a:endParaRPr>
          </a:p>
        </p:txBody>
      </p:sp>
      <p:sp>
        <p:nvSpPr>
          <p:cNvPr id="22"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a:solidFill>
                  <a:prstClr val="black"/>
                </a:solidFill>
              </a:rPr>
              <a:pPr algn="r">
                <a:spcBef>
                  <a:spcPts val="600"/>
                </a:spcBef>
                <a:buSzPct val="100000"/>
                <a:buFont typeface="Arial"/>
                <a:buNone/>
              </a:pPr>
              <a:t>‹N°›</a:t>
            </a:fld>
            <a:endParaRPr>
              <a:solidFill>
                <a:prstClr val="black"/>
              </a:solidFill>
            </a:endParaRPr>
          </a:p>
        </p:txBody>
      </p:sp>
      <p:sp>
        <p:nvSpPr>
          <p:cNvPr id="23"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dirty="0">
                <a:solidFill>
                  <a:prstClr val="black"/>
                </a:solidFill>
              </a:rPr>
              <a:t>L’émergence des </a:t>
            </a:r>
            <a:r>
              <a:rPr dirty="0" err="1">
                <a:solidFill>
                  <a:prstClr val="black"/>
                </a:solidFill>
              </a:rPr>
              <a:t>Fintech</a:t>
            </a:r>
            <a:r>
              <a:rPr dirty="0">
                <a:solidFill>
                  <a:prstClr val="black"/>
                </a:solidFill>
              </a:rPr>
              <a:t> en Afrique</a:t>
            </a:r>
          </a:p>
        </p:txBody>
      </p:sp>
    </p:spTree>
    <p:extLst>
      <p:ext uri="{BB962C8B-B14F-4D97-AF65-F5344CB8AC3E}">
        <p14:creationId xmlns:p14="http://schemas.microsoft.com/office/powerpoint/2010/main" val="14350515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500"/>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2"/>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dirty="0">
                <a:solidFill>
                  <a:prstClr val="black"/>
                </a:solidFill>
              </a:rPr>
              <a:t>© 2017 Deloitte</a:t>
            </a:r>
            <a:r>
              <a:rPr lang="fr-FR" dirty="0">
                <a:solidFill>
                  <a:prstClr val="black"/>
                </a:solidFill>
              </a:rPr>
              <a:t> </a:t>
            </a:r>
            <a:endParaRPr dirty="0">
              <a:solidFill>
                <a:prstClr val="black"/>
              </a:solidFill>
            </a:endParaRPr>
          </a:p>
        </p:txBody>
      </p:sp>
      <p:sp>
        <p:nvSpPr>
          <p:cNvPr id="17"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a:solidFill>
                  <a:prstClr val="black"/>
                </a:solidFill>
              </a:rPr>
              <a:pPr algn="r">
                <a:spcBef>
                  <a:spcPts val="600"/>
                </a:spcBef>
                <a:buSzPct val="100000"/>
                <a:buFont typeface="Arial"/>
                <a:buNone/>
              </a:pPr>
              <a:t>‹N°›</a:t>
            </a:fld>
            <a:endParaRPr>
              <a:solidFill>
                <a:prstClr val="black"/>
              </a:solidFill>
            </a:endParaRPr>
          </a:p>
        </p:txBody>
      </p:sp>
      <p:sp>
        <p:nvSpPr>
          <p:cNvPr id="18"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dirty="0">
                <a:solidFill>
                  <a:prstClr val="black"/>
                </a:solidFill>
              </a:rPr>
              <a:t>L’émergence des </a:t>
            </a:r>
            <a:r>
              <a:rPr dirty="0" err="1">
                <a:solidFill>
                  <a:prstClr val="black"/>
                </a:solidFill>
              </a:rPr>
              <a:t>Fintech</a:t>
            </a:r>
            <a:r>
              <a:rPr dirty="0">
                <a:solidFill>
                  <a:prstClr val="black"/>
                </a:solidFill>
              </a:rPr>
              <a:t> en Afrique</a:t>
            </a:r>
          </a:p>
        </p:txBody>
      </p:sp>
    </p:spTree>
    <p:extLst>
      <p:ext uri="{BB962C8B-B14F-4D97-AF65-F5344CB8AC3E}">
        <p14:creationId xmlns:p14="http://schemas.microsoft.com/office/powerpoint/2010/main" val="260126086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7" y="1665290"/>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9" y="6121014"/>
            <a:ext cx="8391525" cy="260737"/>
          </a:xfrm>
        </p:spPr>
        <p:txBody>
          <a:bodyPr>
            <a:normAutofit/>
          </a:bodyPr>
          <a:lstStyle>
            <a:lvl1pPr>
              <a:spcAft>
                <a:spcPts val="0"/>
              </a:spcAft>
              <a:defRPr sz="900"/>
            </a:lvl1pPr>
          </a:lstStyle>
          <a:p>
            <a:pPr lvl="0"/>
            <a:r>
              <a:rPr lang="en-US" noProof="0"/>
              <a:t>Click to edit Master text styles</a:t>
            </a:r>
          </a:p>
        </p:txBody>
      </p:sp>
      <p:sp>
        <p:nvSpPr>
          <p:cNvPr id="12"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dirty="0">
                <a:solidFill>
                  <a:prstClr val="black"/>
                </a:solidFill>
              </a:rPr>
              <a:t>© 2017 Deloitte</a:t>
            </a:r>
            <a:r>
              <a:rPr lang="fr-FR" dirty="0">
                <a:solidFill>
                  <a:prstClr val="black"/>
                </a:solidFill>
              </a:rPr>
              <a:t> </a:t>
            </a:r>
            <a:endParaRPr dirty="0">
              <a:solidFill>
                <a:prstClr val="black"/>
              </a:solidFill>
            </a:endParaRPr>
          </a:p>
        </p:txBody>
      </p:sp>
      <p:sp>
        <p:nvSpPr>
          <p:cNvPr id="1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a:solidFill>
                  <a:prstClr val="black"/>
                </a:solidFill>
              </a:rPr>
              <a:pPr algn="r">
                <a:spcBef>
                  <a:spcPts val="600"/>
                </a:spcBef>
                <a:buSzPct val="100000"/>
                <a:buFont typeface="Arial"/>
                <a:buNone/>
              </a:pPr>
              <a:t>‹N°›</a:t>
            </a:fld>
            <a:endParaRPr>
              <a:solidFill>
                <a:prstClr val="black"/>
              </a:solidFill>
            </a:endParaRPr>
          </a:p>
        </p:txBody>
      </p:sp>
      <p:sp>
        <p:nvSpPr>
          <p:cNvPr id="1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dirty="0">
                <a:solidFill>
                  <a:prstClr val="black"/>
                </a:solidFill>
              </a:rPr>
              <a:t>L’émergence des </a:t>
            </a:r>
            <a:r>
              <a:rPr dirty="0" err="1">
                <a:solidFill>
                  <a:prstClr val="black"/>
                </a:solidFill>
              </a:rPr>
              <a:t>Fintech</a:t>
            </a:r>
            <a:r>
              <a:rPr dirty="0">
                <a:solidFill>
                  <a:prstClr val="black"/>
                </a:solidFill>
              </a:rPr>
              <a:t> en Afrique</a:t>
            </a:r>
          </a:p>
        </p:txBody>
      </p:sp>
    </p:spTree>
    <p:extLst>
      <p:ext uri="{BB962C8B-B14F-4D97-AF65-F5344CB8AC3E}">
        <p14:creationId xmlns:p14="http://schemas.microsoft.com/office/powerpoint/2010/main" val="135718125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7" y="2125013"/>
            <a:ext cx="4011847"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8" y="1665290"/>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4"/>
            <a:ext cx="8374064" cy="260737"/>
          </a:xfrm>
        </p:spPr>
        <p:txBody>
          <a:bodyPr>
            <a:normAutofit/>
          </a:bodyPr>
          <a:lstStyle>
            <a:lvl1pPr>
              <a:spcAft>
                <a:spcPts val="0"/>
              </a:spcAft>
              <a:defRPr sz="900"/>
            </a:lvl1pPr>
          </a:lstStyle>
          <a:p>
            <a:pPr lvl="0"/>
            <a:r>
              <a:rPr lang="en-US" noProof="0"/>
              <a:t>Click to edit Master text styles</a:t>
            </a:r>
          </a:p>
        </p:txBody>
      </p:sp>
      <p:sp>
        <p:nvSpPr>
          <p:cNvPr id="9" name="Chart Placeholder 2"/>
          <p:cNvSpPr>
            <a:spLocks noGrp="1"/>
          </p:cNvSpPr>
          <p:nvPr>
            <p:ph type="chart" sz="quarter" idx="24"/>
          </p:nvPr>
        </p:nvSpPr>
        <p:spPr>
          <a:xfrm>
            <a:off x="376240" y="2125013"/>
            <a:ext cx="4004297" cy="3996000"/>
          </a:xfrm>
        </p:spPr>
        <p:txBody>
          <a:bodyPr/>
          <a:lstStyle/>
          <a:p>
            <a:r>
              <a:rPr lang="en-US" noProof="0"/>
              <a:t>Click icon to add chart</a:t>
            </a:r>
            <a:endParaRPr lang="en-US" noProof="0" dirty="0"/>
          </a:p>
        </p:txBody>
      </p:sp>
      <p:sp>
        <p:nvSpPr>
          <p:cNvPr id="12" name="Text Placeholder 5"/>
          <p:cNvSpPr>
            <a:spLocks noGrp="1"/>
          </p:cNvSpPr>
          <p:nvPr>
            <p:ph type="body" sz="quarter" idx="25"/>
          </p:nvPr>
        </p:nvSpPr>
        <p:spPr>
          <a:xfrm>
            <a:off x="376237" y="1665290"/>
            <a:ext cx="4004298" cy="420687"/>
          </a:xfrm>
        </p:spPr>
        <p:txBody>
          <a:bodyPr/>
          <a:lstStyle/>
          <a:p>
            <a:pPr lvl="0"/>
            <a:r>
              <a:rPr lang="en-US" noProof="0"/>
              <a:t>Click to edit Master text styles</a:t>
            </a:r>
          </a:p>
        </p:txBody>
      </p:sp>
      <p:sp>
        <p:nvSpPr>
          <p:cNvPr id="14"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dirty="0">
                <a:solidFill>
                  <a:prstClr val="black"/>
                </a:solidFill>
              </a:rPr>
              <a:t>© 2017 Deloitte</a:t>
            </a:r>
            <a:r>
              <a:rPr lang="fr-FR" dirty="0">
                <a:solidFill>
                  <a:prstClr val="black"/>
                </a:solidFill>
              </a:rPr>
              <a:t> </a:t>
            </a:r>
            <a:endParaRPr dirty="0">
              <a:solidFill>
                <a:prstClr val="black"/>
              </a:solidFill>
            </a:endParaRPr>
          </a:p>
        </p:txBody>
      </p:sp>
      <p:sp>
        <p:nvSpPr>
          <p:cNvPr id="16"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a:solidFill>
                  <a:prstClr val="black"/>
                </a:solidFill>
              </a:rPr>
              <a:pPr algn="r">
                <a:spcBef>
                  <a:spcPts val="600"/>
                </a:spcBef>
                <a:buSzPct val="100000"/>
                <a:buFont typeface="Arial"/>
                <a:buNone/>
              </a:pPr>
              <a:t>‹N°›</a:t>
            </a:fld>
            <a:endParaRPr>
              <a:solidFill>
                <a:prstClr val="black"/>
              </a:solidFill>
            </a:endParaRPr>
          </a:p>
        </p:txBody>
      </p:sp>
      <p:sp>
        <p:nvSpPr>
          <p:cNvPr id="20"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dirty="0">
                <a:solidFill>
                  <a:prstClr val="black"/>
                </a:solidFill>
              </a:rPr>
              <a:t>L’émergence des </a:t>
            </a:r>
            <a:r>
              <a:rPr dirty="0" err="1">
                <a:solidFill>
                  <a:prstClr val="black"/>
                </a:solidFill>
              </a:rPr>
              <a:t>Fintech</a:t>
            </a:r>
            <a:r>
              <a:rPr dirty="0">
                <a:solidFill>
                  <a:prstClr val="black"/>
                </a:solidFill>
              </a:rPr>
              <a:t> en Afrique</a:t>
            </a:r>
          </a:p>
        </p:txBody>
      </p:sp>
    </p:spTree>
    <p:extLst>
      <p:ext uri="{BB962C8B-B14F-4D97-AF65-F5344CB8AC3E}">
        <p14:creationId xmlns:p14="http://schemas.microsoft.com/office/powerpoint/2010/main" val="38757501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500"/>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9" y="1665290"/>
            <a:ext cx="3323893" cy="471646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4"/>
            <a:ext cx="4680000" cy="4681537"/>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dirty="0">
                <a:solidFill>
                  <a:prstClr val="black"/>
                </a:solidFill>
              </a:rPr>
              <a:t>© 2017 Deloitte</a:t>
            </a:r>
            <a:r>
              <a:rPr lang="fr-FR" dirty="0">
                <a:solidFill>
                  <a:prstClr val="black"/>
                </a:solidFill>
              </a:rPr>
              <a:t> </a:t>
            </a:r>
            <a:endParaRPr dirty="0">
              <a:solidFill>
                <a:prstClr val="black"/>
              </a:solidFill>
            </a:endParaRPr>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a:solidFill>
                  <a:prstClr val="black"/>
                </a:solidFill>
              </a:rPr>
              <a:pPr algn="r">
                <a:spcBef>
                  <a:spcPts val="600"/>
                </a:spcBef>
                <a:buSzPct val="100000"/>
                <a:buFont typeface="Arial"/>
                <a:buNone/>
              </a:pPr>
              <a:t>‹N°›</a:t>
            </a:fld>
            <a:endParaRPr>
              <a:solidFill>
                <a:prstClr val="black"/>
              </a:solidFill>
            </a:endParaRP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dirty="0">
                <a:solidFill>
                  <a:prstClr val="black"/>
                </a:solidFill>
              </a:rPr>
              <a:t>L’émergence des </a:t>
            </a:r>
            <a:r>
              <a:rPr dirty="0" err="1">
                <a:solidFill>
                  <a:prstClr val="black"/>
                </a:solidFill>
              </a:rPr>
              <a:t>Fintech</a:t>
            </a:r>
            <a:r>
              <a:rPr dirty="0">
                <a:solidFill>
                  <a:prstClr val="black"/>
                </a:solidFill>
              </a:rPr>
              <a:t> en Afrique</a:t>
            </a:r>
          </a:p>
        </p:txBody>
      </p:sp>
    </p:spTree>
    <p:extLst>
      <p:ext uri="{BB962C8B-B14F-4D97-AF65-F5344CB8AC3E}">
        <p14:creationId xmlns:p14="http://schemas.microsoft.com/office/powerpoint/2010/main" val="21966028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40" y="317502"/>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3" y="1658680"/>
            <a:ext cx="3084351" cy="4723072"/>
          </a:xfrm>
          <a:prstGeom prst="rect">
            <a:avLst/>
          </a:prstGeom>
        </p:spPr>
        <p:txBody>
          <a:bodyPr>
            <a:normAutofit/>
          </a:bodyPr>
          <a:lstStyle>
            <a:lvl1pPr>
              <a:tabLst>
                <a:tab pos="5029074" algn="r"/>
              </a:tabLst>
              <a:defRPr sz="2400">
                <a:solidFill>
                  <a:schemeClr val="accent3"/>
                </a:solidFill>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40" y="1665289"/>
            <a:ext cx="4879761" cy="471646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2"/>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dirty="0">
                <a:solidFill>
                  <a:prstClr val="black"/>
                </a:solidFill>
              </a:rPr>
              <a:t>© 2017 Deloitte</a:t>
            </a:r>
            <a:r>
              <a:rPr lang="fr-FR" dirty="0">
                <a:solidFill>
                  <a:prstClr val="black"/>
                </a:solidFill>
              </a:rPr>
              <a:t> </a:t>
            </a:r>
            <a:endParaRPr dirty="0">
              <a:solidFill>
                <a:prstClr val="black"/>
              </a:solidFill>
            </a:endParaRPr>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a:solidFill>
                  <a:prstClr val="black"/>
                </a:solidFill>
              </a:rPr>
              <a:pPr algn="r">
                <a:spcBef>
                  <a:spcPts val="600"/>
                </a:spcBef>
                <a:buSzPct val="100000"/>
                <a:buFont typeface="Arial"/>
                <a:buNone/>
              </a:pPr>
              <a:t>‹N°›</a:t>
            </a:fld>
            <a:endParaRPr>
              <a:solidFill>
                <a:prstClr val="black"/>
              </a:solidFill>
            </a:endParaRP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dirty="0">
                <a:solidFill>
                  <a:prstClr val="black"/>
                </a:solidFill>
              </a:rPr>
              <a:t>L’émergence des </a:t>
            </a:r>
            <a:r>
              <a:rPr dirty="0" err="1">
                <a:solidFill>
                  <a:prstClr val="black"/>
                </a:solidFill>
              </a:rPr>
              <a:t>Fintech</a:t>
            </a:r>
            <a:r>
              <a:rPr dirty="0">
                <a:solidFill>
                  <a:prstClr val="black"/>
                </a:solidFill>
              </a:rPr>
              <a:t> en Afrique</a:t>
            </a:r>
          </a:p>
        </p:txBody>
      </p:sp>
    </p:spTree>
    <p:extLst>
      <p:ext uri="{BB962C8B-B14F-4D97-AF65-F5344CB8AC3E}">
        <p14:creationId xmlns:p14="http://schemas.microsoft.com/office/powerpoint/2010/main" val="213066512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30"/>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49"/>
            <a:ext cx="4195762"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1749292276"/>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2"/>
            <a:ext cx="8391525" cy="334101"/>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376239" y="3124201"/>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12472" y="3120551"/>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2497530" y="3124200"/>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6744878"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376237" y="651602"/>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dirty="0">
                <a:solidFill>
                  <a:prstClr val="black"/>
                </a:solidFill>
              </a:rPr>
              <a:t>© 2017 Deloitte</a:t>
            </a:r>
            <a:r>
              <a:rPr lang="fr-FR" dirty="0">
                <a:solidFill>
                  <a:prstClr val="black"/>
                </a:solidFill>
              </a:rPr>
              <a:t> </a:t>
            </a:r>
            <a:endParaRPr dirty="0">
              <a:solidFill>
                <a:prstClr val="black"/>
              </a:solidFill>
            </a:endParaRPr>
          </a:p>
        </p:txBody>
      </p:sp>
      <p:sp>
        <p:nvSpPr>
          <p:cNvPr id="16"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a:solidFill>
                  <a:prstClr val="black"/>
                </a:solidFill>
              </a:rPr>
              <a:pPr algn="r">
                <a:spcBef>
                  <a:spcPts val="600"/>
                </a:spcBef>
                <a:buSzPct val="100000"/>
                <a:buFont typeface="Arial"/>
                <a:buNone/>
              </a:pPr>
              <a:t>‹N°›</a:t>
            </a:fld>
            <a:endParaRPr>
              <a:solidFill>
                <a:prstClr val="black"/>
              </a:solidFill>
            </a:endParaRPr>
          </a:p>
        </p:txBody>
      </p:sp>
      <p:sp>
        <p:nvSpPr>
          <p:cNvPr id="20"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dirty="0">
                <a:solidFill>
                  <a:prstClr val="black"/>
                </a:solidFill>
              </a:rPr>
              <a:t>L’émergence des </a:t>
            </a:r>
            <a:r>
              <a:rPr dirty="0" err="1">
                <a:solidFill>
                  <a:prstClr val="black"/>
                </a:solidFill>
              </a:rPr>
              <a:t>Fintech</a:t>
            </a:r>
            <a:r>
              <a:rPr dirty="0">
                <a:solidFill>
                  <a:prstClr val="black"/>
                </a:solidFill>
              </a:rPr>
              <a:t> en Afrique</a:t>
            </a:r>
          </a:p>
        </p:txBody>
      </p:sp>
    </p:spTree>
    <p:extLst>
      <p:ext uri="{BB962C8B-B14F-4D97-AF65-F5344CB8AC3E}">
        <p14:creationId xmlns:p14="http://schemas.microsoft.com/office/powerpoint/2010/main" val="66115807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2"/>
            <a:ext cx="8391525" cy="334101"/>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7" name="Text Placeholder 8"/>
          <p:cNvSpPr>
            <a:spLocks noGrp="1"/>
          </p:cNvSpPr>
          <p:nvPr>
            <p:ph type="body" sz="quarter" idx="13" hasCustomPrompt="1"/>
          </p:nvPr>
        </p:nvSpPr>
        <p:spPr>
          <a:xfrm>
            <a:off x="376238" y="651602"/>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dirty="0">
                <a:solidFill>
                  <a:prstClr val="black"/>
                </a:solidFill>
              </a:rPr>
              <a:t>© 2017 Deloitte</a:t>
            </a:r>
            <a:r>
              <a:rPr lang="fr-FR" dirty="0">
                <a:solidFill>
                  <a:prstClr val="black"/>
                </a:solidFill>
              </a:rPr>
              <a:t> </a:t>
            </a:r>
            <a:endParaRPr dirty="0">
              <a:solidFill>
                <a:prstClr val="black"/>
              </a:solidFill>
            </a:endParaRPr>
          </a:p>
        </p:txBody>
      </p:sp>
      <p:sp>
        <p:nvSpPr>
          <p:cNvPr id="2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a:solidFill>
                  <a:prstClr val="black"/>
                </a:solidFill>
              </a:rPr>
              <a:pPr algn="r">
                <a:spcBef>
                  <a:spcPts val="600"/>
                </a:spcBef>
                <a:buSzPct val="100000"/>
                <a:buFont typeface="Arial"/>
                <a:buNone/>
              </a:pPr>
              <a:t>‹N°›</a:t>
            </a:fld>
            <a:endParaRPr>
              <a:solidFill>
                <a:prstClr val="black"/>
              </a:solidFill>
            </a:endParaRPr>
          </a:p>
        </p:txBody>
      </p:sp>
      <p:sp>
        <p:nvSpPr>
          <p:cNvPr id="24"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dirty="0">
                <a:solidFill>
                  <a:prstClr val="black"/>
                </a:solidFill>
              </a:rPr>
              <a:t>L’émergence des </a:t>
            </a:r>
            <a:r>
              <a:rPr dirty="0" err="1">
                <a:solidFill>
                  <a:prstClr val="black"/>
                </a:solidFill>
              </a:rPr>
              <a:t>Fintech</a:t>
            </a:r>
            <a:r>
              <a:rPr dirty="0">
                <a:solidFill>
                  <a:prstClr val="black"/>
                </a:solidFill>
              </a:rPr>
              <a:t> en Afrique</a:t>
            </a:r>
          </a:p>
        </p:txBody>
      </p:sp>
    </p:spTree>
    <p:extLst>
      <p:ext uri="{BB962C8B-B14F-4D97-AF65-F5344CB8AC3E}">
        <p14:creationId xmlns:p14="http://schemas.microsoft.com/office/powerpoint/2010/main" val="169615365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2"/>
            <a:ext cx="8391525" cy="334101"/>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40" y="1700213"/>
            <a:ext cx="2771775"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6004800" y="1700213"/>
            <a:ext cx="2762965"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800" y="3832225"/>
            <a:ext cx="2762965"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2"/>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dirty="0">
                <a:solidFill>
                  <a:prstClr val="black"/>
                </a:solidFill>
              </a:rPr>
              <a:t>© 2017 Deloitte</a:t>
            </a:r>
            <a:r>
              <a:rPr lang="fr-FR" dirty="0">
                <a:solidFill>
                  <a:prstClr val="black"/>
                </a:solidFill>
              </a:rPr>
              <a:t> </a:t>
            </a:r>
            <a:endParaRPr dirty="0">
              <a:solidFill>
                <a:prstClr val="black"/>
              </a:solidFill>
            </a:endParaRPr>
          </a:p>
        </p:txBody>
      </p:sp>
      <p:sp>
        <p:nvSpPr>
          <p:cNvPr id="19"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a:solidFill>
                  <a:prstClr val="black"/>
                </a:solidFill>
              </a:rPr>
              <a:pPr algn="r">
                <a:spcBef>
                  <a:spcPts val="600"/>
                </a:spcBef>
                <a:buSzPct val="100000"/>
                <a:buFont typeface="Arial"/>
                <a:buNone/>
              </a:pPr>
              <a:t>‹N°›</a:t>
            </a:fld>
            <a:endParaRPr>
              <a:solidFill>
                <a:prstClr val="black"/>
              </a:solidFill>
            </a:endParaRPr>
          </a:p>
        </p:txBody>
      </p:sp>
      <p:sp>
        <p:nvSpPr>
          <p:cNvPr id="20"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dirty="0">
                <a:solidFill>
                  <a:prstClr val="black"/>
                </a:solidFill>
              </a:rPr>
              <a:t>L’émergence des </a:t>
            </a:r>
            <a:r>
              <a:rPr dirty="0" err="1">
                <a:solidFill>
                  <a:prstClr val="black"/>
                </a:solidFill>
              </a:rPr>
              <a:t>Fintech</a:t>
            </a:r>
            <a:r>
              <a:rPr dirty="0">
                <a:solidFill>
                  <a:prstClr val="black"/>
                </a:solidFill>
              </a:rPr>
              <a:t> en Afrique</a:t>
            </a:r>
          </a:p>
        </p:txBody>
      </p:sp>
    </p:spTree>
    <p:extLst>
      <p:ext uri="{BB962C8B-B14F-4D97-AF65-F5344CB8AC3E}">
        <p14:creationId xmlns:p14="http://schemas.microsoft.com/office/powerpoint/2010/main" val="109099041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2"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dirty="0">
                <a:solidFill>
                  <a:prstClr val="black"/>
                </a:solidFill>
              </a:rPr>
              <a:t>© 2017 Deloitte</a:t>
            </a:r>
            <a:r>
              <a:rPr lang="fr-FR" dirty="0">
                <a:solidFill>
                  <a:prstClr val="black"/>
                </a:solidFill>
              </a:rPr>
              <a:t> </a:t>
            </a:r>
            <a:endParaRPr dirty="0">
              <a:solidFill>
                <a:prstClr val="black"/>
              </a:solidFill>
            </a:endParaRPr>
          </a:p>
        </p:txBody>
      </p:sp>
      <p:sp>
        <p:nvSpPr>
          <p:cNvPr id="13"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a:solidFill>
                  <a:prstClr val="black"/>
                </a:solidFill>
              </a:rPr>
              <a:pPr algn="r">
                <a:spcBef>
                  <a:spcPts val="600"/>
                </a:spcBef>
                <a:buSzPct val="100000"/>
                <a:buFont typeface="Arial"/>
                <a:buNone/>
              </a:pPr>
              <a:t>‹N°›</a:t>
            </a:fld>
            <a:endParaRPr>
              <a:solidFill>
                <a:prstClr val="black"/>
              </a:solidFill>
            </a:endParaRPr>
          </a:p>
        </p:txBody>
      </p:sp>
      <p:sp>
        <p:nvSpPr>
          <p:cNvPr id="14"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dirty="0">
                <a:solidFill>
                  <a:prstClr val="black"/>
                </a:solidFill>
              </a:rPr>
              <a:t>L’émergence des </a:t>
            </a:r>
            <a:r>
              <a:rPr dirty="0" err="1">
                <a:solidFill>
                  <a:prstClr val="black"/>
                </a:solidFill>
              </a:rPr>
              <a:t>Fintech</a:t>
            </a:r>
            <a:r>
              <a:rPr dirty="0">
                <a:solidFill>
                  <a:prstClr val="black"/>
                </a:solidFill>
              </a:rPr>
              <a:t> en Afrique</a:t>
            </a:r>
          </a:p>
        </p:txBody>
      </p:sp>
    </p:spTree>
    <p:extLst>
      <p:ext uri="{BB962C8B-B14F-4D97-AF65-F5344CB8AC3E}">
        <p14:creationId xmlns:p14="http://schemas.microsoft.com/office/powerpoint/2010/main" val="244762801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8" y="1857892"/>
            <a:ext cx="4083117"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376240" y="317502"/>
            <a:ext cx="8391525" cy="334101"/>
          </a:xfrm>
        </p:spPr>
        <p:txBody>
          <a:bodyPr/>
          <a:lstStyle/>
          <a:p>
            <a:r>
              <a:rPr lang="en-US" noProof="0"/>
              <a:t>Click to edit Master title style</a:t>
            </a:r>
            <a:endParaRPr lang="en-US" noProof="0" dirty="0"/>
          </a:p>
        </p:txBody>
      </p:sp>
      <p:sp>
        <p:nvSpPr>
          <p:cNvPr id="4" name="Rectangle 3"/>
          <p:cNvSpPr/>
          <p:nvPr userDrawn="1"/>
        </p:nvSpPr>
        <p:spPr>
          <a:xfrm>
            <a:off x="378000" y="1705379"/>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9"/>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20" y="1863917"/>
            <a:ext cx="907655"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4" y="1857892"/>
            <a:ext cx="933121"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dirty="0">
                <a:solidFill>
                  <a:prstClr val="black"/>
                </a:solidFill>
              </a:rPr>
              <a:t>© 2017 Deloitte</a:t>
            </a:r>
            <a:r>
              <a:rPr lang="fr-FR" dirty="0">
                <a:solidFill>
                  <a:prstClr val="black"/>
                </a:solidFill>
              </a:rPr>
              <a:t> </a:t>
            </a:r>
            <a:endParaRPr dirty="0">
              <a:solidFill>
                <a:prstClr val="black"/>
              </a:solidFill>
            </a:endParaRPr>
          </a:p>
        </p:txBody>
      </p:sp>
      <p:sp>
        <p:nvSpPr>
          <p:cNvPr id="1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a:solidFill>
                  <a:prstClr val="black"/>
                </a:solidFill>
              </a:rPr>
              <a:pPr algn="r">
                <a:spcBef>
                  <a:spcPts val="600"/>
                </a:spcBef>
                <a:buSzPct val="100000"/>
                <a:buFont typeface="Arial"/>
                <a:buNone/>
              </a:pPr>
              <a:t>‹N°›</a:t>
            </a:fld>
            <a:endParaRPr>
              <a:solidFill>
                <a:prstClr val="black"/>
              </a:solidFill>
            </a:endParaRPr>
          </a:p>
        </p:txBody>
      </p:sp>
      <p:sp>
        <p:nvSpPr>
          <p:cNvPr id="1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dirty="0">
                <a:solidFill>
                  <a:prstClr val="black"/>
                </a:solidFill>
              </a:rPr>
              <a:t>L’émergence des </a:t>
            </a:r>
            <a:r>
              <a:rPr dirty="0" err="1">
                <a:solidFill>
                  <a:prstClr val="black"/>
                </a:solidFill>
              </a:rPr>
              <a:t>Fintech</a:t>
            </a:r>
            <a:r>
              <a:rPr dirty="0">
                <a:solidFill>
                  <a:prstClr val="black"/>
                </a:solidFill>
              </a:rPr>
              <a:t> en Afrique</a:t>
            </a:r>
          </a:p>
        </p:txBody>
      </p:sp>
    </p:spTree>
    <p:extLst>
      <p:ext uri="{BB962C8B-B14F-4D97-AF65-F5344CB8AC3E}">
        <p14:creationId xmlns:p14="http://schemas.microsoft.com/office/powerpoint/2010/main" val="364368501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8" y="1857892"/>
            <a:ext cx="4091001"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376240" y="317503"/>
            <a:ext cx="8391525" cy="334101"/>
          </a:xfrm>
        </p:spPr>
        <p:txBody>
          <a:bodyPr/>
          <a:lstStyle/>
          <a:p>
            <a:r>
              <a:rPr lang="en-US" noProof="0"/>
              <a:t>Click to edit Master title style</a:t>
            </a:r>
            <a:endParaRPr lang="en-US" noProof="0" dirty="0"/>
          </a:p>
        </p:txBody>
      </p:sp>
      <p:sp>
        <p:nvSpPr>
          <p:cNvPr id="4" name="Rectangle 3"/>
          <p:cNvSpPr/>
          <p:nvPr userDrawn="1"/>
        </p:nvSpPr>
        <p:spPr>
          <a:xfrm>
            <a:off x="378000" y="1705379"/>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9"/>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7818464" y="1857892"/>
            <a:ext cx="933121"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1"/>
            <a:ext cx="4100118"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4684647" y="4249681"/>
            <a:ext cx="4089719"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378002" y="4103519"/>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3" name="Rectangle 12"/>
          <p:cNvSpPr/>
          <p:nvPr userDrawn="1"/>
        </p:nvSpPr>
        <p:spPr>
          <a:xfrm>
            <a:off x="4684647" y="4103519"/>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3565870" y="4255707"/>
            <a:ext cx="929536"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3"/>
            <a:ext cx="933120"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2"/>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20" y="1863917"/>
            <a:ext cx="907655"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dirty="0">
                <a:solidFill>
                  <a:prstClr val="black"/>
                </a:solidFill>
              </a:rPr>
              <a:t>© 2017 Deloitte</a:t>
            </a:r>
            <a:r>
              <a:rPr lang="fr-FR" dirty="0">
                <a:solidFill>
                  <a:prstClr val="black"/>
                </a:solidFill>
              </a:rPr>
              <a:t> </a:t>
            </a:r>
            <a:endParaRPr dirty="0">
              <a:solidFill>
                <a:prstClr val="black"/>
              </a:solidFill>
            </a:endParaRPr>
          </a:p>
        </p:txBody>
      </p:sp>
      <p:sp>
        <p:nvSpPr>
          <p:cNvPr id="2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a:solidFill>
                  <a:prstClr val="black"/>
                </a:solidFill>
              </a:rPr>
              <a:pPr algn="r">
                <a:spcBef>
                  <a:spcPts val="600"/>
                </a:spcBef>
                <a:buSzPct val="100000"/>
                <a:buFont typeface="Arial"/>
                <a:buNone/>
              </a:pPr>
              <a:t>‹N°›</a:t>
            </a:fld>
            <a:endParaRPr>
              <a:solidFill>
                <a:prstClr val="black"/>
              </a:solidFill>
            </a:endParaRPr>
          </a:p>
        </p:txBody>
      </p:sp>
      <p:sp>
        <p:nvSpPr>
          <p:cNvPr id="24"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dirty="0">
                <a:solidFill>
                  <a:prstClr val="black"/>
                </a:solidFill>
              </a:rPr>
              <a:t>L’émergence des </a:t>
            </a:r>
            <a:r>
              <a:rPr dirty="0" err="1">
                <a:solidFill>
                  <a:prstClr val="black"/>
                </a:solidFill>
              </a:rPr>
              <a:t>Fintech</a:t>
            </a:r>
            <a:r>
              <a:rPr dirty="0">
                <a:solidFill>
                  <a:prstClr val="black"/>
                </a:solidFill>
              </a:rPr>
              <a:t> en Afrique</a:t>
            </a:r>
          </a:p>
        </p:txBody>
      </p:sp>
    </p:spTree>
    <p:extLst>
      <p:ext uri="{BB962C8B-B14F-4D97-AF65-F5344CB8AC3E}">
        <p14:creationId xmlns:p14="http://schemas.microsoft.com/office/powerpoint/2010/main" val="255506865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3"/>
            <a:ext cx="8391525" cy="334101"/>
          </a:xfrm>
        </p:spPr>
        <p:txBody>
          <a:bodyPr/>
          <a:lstStyle/>
          <a:p>
            <a:r>
              <a:rPr lang="en-US" noProof="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4285" y="1851441"/>
            <a:ext cx="2655433"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378000" y="1851441"/>
            <a:ext cx="2670000"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6096001" y="1851441"/>
            <a:ext cx="2678365"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376238" y="651602"/>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dirty="0">
                <a:solidFill>
                  <a:prstClr val="black"/>
                </a:solidFill>
              </a:rPr>
              <a:t>© 2017 Deloitte</a:t>
            </a:r>
            <a:r>
              <a:rPr lang="fr-FR" dirty="0">
                <a:solidFill>
                  <a:prstClr val="black"/>
                </a:solidFill>
              </a:rPr>
              <a:t> </a:t>
            </a:r>
            <a:endParaRPr dirty="0">
              <a:solidFill>
                <a:prstClr val="black"/>
              </a:solidFill>
            </a:endParaRPr>
          </a:p>
        </p:txBody>
      </p:sp>
      <p:sp>
        <p:nvSpPr>
          <p:cNvPr id="17"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a:solidFill>
                  <a:prstClr val="black"/>
                </a:solidFill>
              </a:rPr>
              <a:pPr algn="r">
                <a:spcBef>
                  <a:spcPts val="600"/>
                </a:spcBef>
                <a:buSzPct val="100000"/>
                <a:buFont typeface="Arial"/>
                <a:buNone/>
              </a:pPr>
              <a:t>‹N°›</a:t>
            </a:fld>
            <a:endParaRPr>
              <a:solidFill>
                <a:prstClr val="black"/>
              </a:solidFill>
            </a:endParaRPr>
          </a:p>
        </p:txBody>
      </p:sp>
      <p:sp>
        <p:nvSpPr>
          <p:cNvPr id="18"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dirty="0">
                <a:solidFill>
                  <a:prstClr val="black"/>
                </a:solidFill>
              </a:rPr>
              <a:t>L’émergence des </a:t>
            </a:r>
            <a:r>
              <a:rPr dirty="0" err="1">
                <a:solidFill>
                  <a:prstClr val="black"/>
                </a:solidFill>
              </a:rPr>
              <a:t>Fintech</a:t>
            </a:r>
            <a:r>
              <a:rPr dirty="0">
                <a:solidFill>
                  <a:prstClr val="black"/>
                </a:solidFill>
              </a:rPr>
              <a:t> en Afrique</a:t>
            </a:r>
          </a:p>
        </p:txBody>
      </p:sp>
    </p:spTree>
    <p:extLst>
      <p:ext uri="{BB962C8B-B14F-4D97-AF65-F5344CB8AC3E}">
        <p14:creationId xmlns:p14="http://schemas.microsoft.com/office/powerpoint/2010/main" val="232617233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3"/>
            <a:ext cx="8391525" cy="334101"/>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dirty="0">
                <a:solidFill>
                  <a:prstClr val="black"/>
                </a:solidFill>
              </a:rPr>
              <a:t>© 2017 Deloitte</a:t>
            </a:r>
            <a:r>
              <a:rPr lang="fr-FR" dirty="0">
                <a:solidFill>
                  <a:prstClr val="black"/>
                </a:solidFill>
              </a:rPr>
              <a:t> </a:t>
            </a:r>
            <a:endParaRPr dirty="0">
              <a:solidFill>
                <a:prstClr val="black"/>
              </a:solidFill>
            </a:endParaRPr>
          </a:p>
        </p:txBody>
      </p:sp>
      <p:sp>
        <p:nvSpPr>
          <p:cNvPr id="15"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a:solidFill>
                  <a:prstClr val="black"/>
                </a:solidFill>
              </a:rPr>
              <a:pPr algn="r">
                <a:spcBef>
                  <a:spcPts val="600"/>
                </a:spcBef>
                <a:buSzPct val="100000"/>
                <a:buFont typeface="Arial"/>
                <a:buNone/>
              </a:pPr>
              <a:t>‹N°›</a:t>
            </a:fld>
            <a:endParaRPr>
              <a:solidFill>
                <a:prstClr val="black"/>
              </a:solidFill>
            </a:endParaRPr>
          </a:p>
        </p:txBody>
      </p:sp>
      <p:sp>
        <p:nvSpPr>
          <p:cNvPr id="16"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dirty="0">
                <a:solidFill>
                  <a:prstClr val="black"/>
                </a:solidFill>
              </a:rPr>
              <a:t>L’émergence des </a:t>
            </a:r>
            <a:r>
              <a:rPr dirty="0" err="1">
                <a:solidFill>
                  <a:prstClr val="black"/>
                </a:solidFill>
              </a:rPr>
              <a:t>Fintech</a:t>
            </a:r>
            <a:r>
              <a:rPr dirty="0">
                <a:solidFill>
                  <a:prstClr val="black"/>
                </a:solidFill>
              </a:rPr>
              <a:t> en Afrique</a:t>
            </a:r>
          </a:p>
        </p:txBody>
      </p:sp>
    </p:spTree>
    <p:extLst>
      <p:ext uri="{BB962C8B-B14F-4D97-AF65-F5344CB8AC3E}">
        <p14:creationId xmlns:p14="http://schemas.microsoft.com/office/powerpoint/2010/main" val="134998635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34101"/>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376237" y="687695"/>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1"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a:solidFill>
                  <a:prstClr val="white"/>
                </a:solidFill>
              </a:rPr>
              <a:t>© 2017 Deloitte</a:t>
            </a:r>
          </a:p>
        </p:txBody>
      </p:sp>
      <p:sp>
        <p:nvSpPr>
          <p:cNvPr id="12"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a:solidFill>
                  <a:prstClr val="white"/>
                </a:solidFill>
              </a:rPr>
              <a:pPr algn="r">
                <a:spcBef>
                  <a:spcPts val="600"/>
                </a:spcBef>
                <a:buSzPct val="100000"/>
                <a:buFont typeface="Arial"/>
                <a:buNone/>
              </a:pPr>
              <a:t>‹N°›</a:t>
            </a:fld>
            <a:endParaRPr>
              <a:solidFill>
                <a:prstClr val="white"/>
              </a:solidFill>
            </a:endParaRPr>
          </a:p>
        </p:txBody>
      </p:sp>
      <p:sp>
        <p:nvSpPr>
          <p:cNvPr id="16"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dirty="0">
                <a:solidFill>
                  <a:prstClr val="white"/>
                </a:solidFill>
              </a:rPr>
              <a:t>L’émergence des </a:t>
            </a:r>
            <a:r>
              <a:rPr dirty="0" err="1">
                <a:solidFill>
                  <a:prstClr val="white"/>
                </a:solidFill>
              </a:rPr>
              <a:t>Fintech</a:t>
            </a:r>
            <a:r>
              <a:rPr dirty="0">
                <a:solidFill>
                  <a:prstClr val="white"/>
                </a:solidFill>
              </a:rPr>
              <a:t> en Afrique</a:t>
            </a:r>
          </a:p>
        </p:txBody>
      </p:sp>
    </p:spTree>
    <p:extLst>
      <p:ext uri="{BB962C8B-B14F-4D97-AF65-F5344CB8AC3E}">
        <p14:creationId xmlns:p14="http://schemas.microsoft.com/office/powerpoint/2010/main" val="249700454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9" y="1665290"/>
            <a:ext cx="4195763" cy="471646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dirty="0">
                <a:solidFill>
                  <a:prstClr val="black"/>
                </a:solidFill>
              </a:rPr>
              <a:t>© 2017 Deloitte</a:t>
            </a:r>
            <a:r>
              <a:rPr lang="fr-FR" dirty="0">
                <a:solidFill>
                  <a:prstClr val="black"/>
                </a:solidFill>
              </a:rPr>
              <a:t> </a:t>
            </a:r>
            <a:endParaRPr dirty="0">
              <a:solidFill>
                <a:prstClr val="black"/>
              </a:solidFill>
            </a:endParaRPr>
          </a:p>
        </p:txBody>
      </p:sp>
      <p:sp>
        <p:nvSpPr>
          <p:cNvPr id="15"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a:solidFill>
                  <a:prstClr val="black"/>
                </a:solidFill>
              </a:rPr>
              <a:pPr algn="r">
                <a:spcBef>
                  <a:spcPts val="600"/>
                </a:spcBef>
                <a:buSzPct val="100000"/>
                <a:buFont typeface="Arial"/>
                <a:buNone/>
              </a:pPr>
              <a:t>‹N°›</a:t>
            </a:fld>
            <a:endParaRPr>
              <a:solidFill>
                <a:prstClr val="black"/>
              </a:solidFill>
            </a:endParaRPr>
          </a:p>
        </p:txBody>
      </p:sp>
      <p:sp>
        <p:nvSpPr>
          <p:cNvPr id="16"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dirty="0">
                <a:solidFill>
                  <a:prstClr val="black"/>
                </a:solidFill>
              </a:rPr>
              <a:t>L’émergence des </a:t>
            </a:r>
            <a:r>
              <a:rPr dirty="0" err="1">
                <a:solidFill>
                  <a:prstClr val="black"/>
                </a:solidFill>
              </a:rPr>
              <a:t>Fintech</a:t>
            </a:r>
            <a:r>
              <a:rPr dirty="0">
                <a:solidFill>
                  <a:prstClr val="black"/>
                </a:solidFill>
              </a:rPr>
              <a:t> en Afrique</a:t>
            </a:r>
          </a:p>
        </p:txBody>
      </p:sp>
    </p:spTree>
    <p:extLst>
      <p:ext uri="{BB962C8B-B14F-4D97-AF65-F5344CB8AC3E}">
        <p14:creationId xmlns:p14="http://schemas.microsoft.com/office/powerpoint/2010/main" val="161532184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40" y="5864230"/>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49"/>
            <a:ext cx="4195762"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290409236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dirty="0">
                <a:solidFill>
                  <a:prstClr val="black"/>
                </a:solidFill>
              </a:rPr>
              <a:t>© 2017 Deloitte</a:t>
            </a:r>
            <a:r>
              <a:rPr lang="fr-FR" dirty="0">
                <a:solidFill>
                  <a:prstClr val="black"/>
                </a:solidFill>
              </a:rPr>
              <a:t> </a:t>
            </a:r>
            <a:endParaRPr dirty="0">
              <a:solidFill>
                <a:prstClr val="black"/>
              </a:solidFill>
            </a:endParaRPr>
          </a:p>
        </p:txBody>
      </p:sp>
      <p:sp>
        <p:nvSpPr>
          <p:cNvPr id="1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a:solidFill>
                  <a:prstClr val="black"/>
                </a:solidFill>
              </a:rPr>
              <a:pPr algn="r">
                <a:spcBef>
                  <a:spcPts val="600"/>
                </a:spcBef>
                <a:buSzPct val="100000"/>
                <a:buFont typeface="Arial"/>
                <a:buNone/>
              </a:pPr>
              <a:t>‹N°›</a:t>
            </a:fld>
            <a:endParaRPr>
              <a:solidFill>
                <a:prstClr val="black"/>
              </a:solidFill>
            </a:endParaRPr>
          </a:p>
        </p:txBody>
      </p:sp>
      <p:sp>
        <p:nvSpPr>
          <p:cNvPr id="11"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dirty="0">
                <a:solidFill>
                  <a:prstClr val="black"/>
                </a:solidFill>
              </a:rPr>
              <a:t>L’émergence des </a:t>
            </a:r>
            <a:r>
              <a:rPr dirty="0" err="1">
                <a:solidFill>
                  <a:prstClr val="black"/>
                </a:solidFill>
              </a:rPr>
              <a:t>Fintech</a:t>
            </a:r>
            <a:r>
              <a:rPr dirty="0">
                <a:solidFill>
                  <a:prstClr val="black"/>
                </a:solidFill>
              </a:rPr>
              <a:t> en Afrique</a:t>
            </a:r>
          </a:p>
        </p:txBody>
      </p:sp>
    </p:spTree>
    <p:extLst>
      <p:ext uri="{BB962C8B-B14F-4D97-AF65-F5344CB8AC3E}">
        <p14:creationId xmlns:p14="http://schemas.microsoft.com/office/powerpoint/2010/main" val="278200118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043910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6"/>
            <a:ext cx="7772400" cy="1470025"/>
          </a:xfrm>
          <a:prstGeom prst="rect">
            <a:avLst/>
          </a:prstGeom>
        </p:spPr>
        <p:txBody>
          <a:bodyPr/>
          <a:lstStyle>
            <a:lvl1pPr>
              <a:defRPr>
                <a:solidFill>
                  <a:srgbClr val="114B93"/>
                </a:solidFill>
              </a:defRPr>
            </a:lvl1pPr>
          </a:lstStyle>
          <a:p>
            <a:r>
              <a:rPr lang="fr-FR"/>
              <a:t>Cliquez et modifiez le titre</a:t>
            </a: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Cliquez pour modifier le style des sous-titres du masque</a:t>
            </a:r>
          </a:p>
        </p:txBody>
      </p:sp>
    </p:spTree>
    <p:extLst>
      <p:ext uri="{BB962C8B-B14F-4D97-AF65-F5344CB8AC3E}">
        <p14:creationId xmlns:p14="http://schemas.microsoft.com/office/powerpoint/2010/main" val="12929223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252550" y="198536"/>
            <a:ext cx="6400799" cy="515576"/>
          </a:xfrm>
          <a:prstGeom prst="rect">
            <a:avLst/>
          </a:prstGeom>
        </p:spPr>
        <p:txBody>
          <a:bodyPr/>
          <a:lstStyle>
            <a:lvl1pPr>
              <a:defRPr>
                <a:solidFill>
                  <a:srgbClr val="114B93"/>
                </a:solidFill>
              </a:defRPr>
            </a:lvl1p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numéro de diapositive 5"/>
          <p:cNvSpPr>
            <a:spLocks noGrp="1"/>
          </p:cNvSpPr>
          <p:nvPr>
            <p:ph type="sldNum" sz="quarter" idx="12"/>
          </p:nvPr>
        </p:nvSpPr>
        <p:spPr/>
        <p:txBody>
          <a:bodyPr/>
          <a:lstStyle/>
          <a:p>
            <a:fld id="{91FE91C3-89B2-5646-B2B2-8F2D4682B10B}" type="slidenum">
              <a:rPr/>
              <a:pPr/>
              <a:t>‹N°›</a:t>
            </a:fld>
            <a:endParaRPr lang="fr-FR"/>
          </a:p>
        </p:txBody>
      </p:sp>
    </p:spTree>
    <p:extLst>
      <p:ext uri="{BB962C8B-B14F-4D97-AF65-F5344CB8AC3E}">
        <p14:creationId xmlns:p14="http://schemas.microsoft.com/office/powerpoint/2010/main" val="31489544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a:solidFill>
                  <a:prstClr val="white"/>
                </a:solidFill>
              </a:rPr>
              <a:t>© 2017 Deloitte</a:t>
            </a:r>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a:solidFill>
                  <a:prstClr val="white"/>
                </a:solidFill>
              </a:rPr>
              <a:pPr algn="r">
                <a:spcBef>
                  <a:spcPts val="600"/>
                </a:spcBef>
                <a:buSzPct val="100000"/>
                <a:buFont typeface="Arial"/>
                <a:buNone/>
              </a:pPr>
              <a:t>‹N°›</a:t>
            </a:fld>
            <a:endParaRPr>
              <a:solidFill>
                <a:prstClr val="white"/>
              </a:solidFill>
            </a:endParaRP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dirty="0">
                <a:solidFill>
                  <a:prstClr val="white"/>
                </a:solidFill>
              </a:rPr>
              <a:t>L’émergence des </a:t>
            </a:r>
            <a:r>
              <a:rPr dirty="0" err="1">
                <a:solidFill>
                  <a:prstClr val="white"/>
                </a:solidFill>
              </a:rPr>
              <a:t>Fintech</a:t>
            </a:r>
            <a:r>
              <a:rPr dirty="0">
                <a:solidFill>
                  <a:prstClr val="white"/>
                </a:solidFill>
              </a:rPr>
              <a:t> en Afrique</a:t>
            </a:r>
          </a:p>
        </p:txBody>
      </p:sp>
    </p:spTree>
    <p:extLst>
      <p:ext uri="{BB962C8B-B14F-4D97-AF65-F5344CB8AC3E}">
        <p14:creationId xmlns:p14="http://schemas.microsoft.com/office/powerpoint/2010/main" val="126308826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p:bg bwMode="gray">
      <p:bgPr>
        <a:solidFill>
          <a:srgbClr val="43B02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a:solidFill>
                  <a:prstClr val="white"/>
                </a:solidFill>
              </a:rPr>
              <a:t>© 2017 Deloitte</a:t>
            </a:r>
          </a:p>
        </p:txBody>
      </p:sp>
      <p:sp>
        <p:nvSpPr>
          <p:cNvPr id="1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a:solidFill>
                  <a:prstClr val="white"/>
                </a:solidFill>
              </a:rPr>
              <a:pPr algn="r">
                <a:spcBef>
                  <a:spcPts val="600"/>
                </a:spcBef>
                <a:buSzPct val="100000"/>
                <a:buFont typeface="Arial"/>
                <a:buNone/>
              </a:pPr>
              <a:t>‹N°›</a:t>
            </a:fld>
            <a:endParaRPr>
              <a:solidFill>
                <a:prstClr val="white"/>
              </a:solidFill>
            </a:endParaRPr>
          </a:p>
        </p:txBody>
      </p:sp>
      <p:sp>
        <p:nvSpPr>
          <p:cNvPr id="11"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dirty="0">
                <a:solidFill>
                  <a:prstClr val="white"/>
                </a:solidFill>
              </a:rPr>
              <a:t>L’émergence des </a:t>
            </a:r>
            <a:r>
              <a:rPr dirty="0" err="1">
                <a:solidFill>
                  <a:prstClr val="white"/>
                </a:solidFill>
              </a:rPr>
              <a:t>Fintech</a:t>
            </a:r>
            <a:r>
              <a:rPr dirty="0">
                <a:solidFill>
                  <a:prstClr val="white"/>
                </a:solidFill>
              </a:rPr>
              <a:t> en Afrique</a:t>
            </a:r>
          </a:p>
        </p:txBody>
      </p:sp>
    </p:spTree>
    <p:extLst>
      <p:ext uri="{BB962C8B-B14F-4D97-AF65-F5344CB8AC3E}">
        <p14:creationId xmlns:p14="http://schemas.microsoft.com/office/powerpoint/2010/main" val="413178759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1"/>
            <a:ext cx="790805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a:solidFill>
                  <a:prstClr val="white"/>
                </a:solidFill>
              </a:rPr>
              <a:t>© 2017 Deloitte</a:t>
            </a:r>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a:solidFill>
                  <a:prstClr val="white"/>
                </a:solidFill>
              </a:rPr>
              <a:pPr algn="r">
                <a:spcBef>
                  <a:spcPts val="600"/>
                </a:spcBef>
                <a:buSzPct val="100000"/>
                <a:buFont typeface="Arial"/>
                <a:buNone/>
              </a:pPr>
              <a:t>‹N°›</a:t>
            </a:fld>
            <a:endParaRPr>
              <a:solidFill>
                <a:prstClr val="white"/>
              </a:solidFill>
            </a:endParaRPr>
          </a:p>
        </p:txBody>
      </p:sp>
      <p:sp>
        <p:nvSpPr>
          <p:cNvPr id="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dirty="0">
                <a:solidFill>
                  <a:prstClr val="white"/>
                </a:solidFill>
              </a:rPr>
              <a:t>L’émergence des </a:t>
            </a:r>
            <a:r>
              <a:rPr dirty="0" err="1">
                <a:solidFill>
                  <a:prstClr val="white"/>
                </a:solidFill>
              </a:rPr>
              <a:t>Fintech</a:t>
            </a:r>
            <a:r>
              <a:rPr dirty="0">
                <a:solidFill>
                  <a:prstClr val="white"/>
                </a:solidFill>
              </a:rPr>
              <a:t> en Afrique</a:t>
            </a:r>
          </a:p>
        </p:txBody>
      </p:sp>
    </p:spTree>
    <p:extLst>
      <p:ext uri="{BB962C8B-B14F-4D97-AF65-F5344CB8AC3E}">
        <p14:creationId xmlns:p14="http://schemas.microsoft.com/office/powerpoint/2010/main" val="192927470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a:solidFill>
                  <a:prstClr val="white"/>
                </a:solidFill>
              </a:rPr>
              <a:t>© 2017 Deloitte</a:t>
            </a:r>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a:solidFill>
                  <a:prstClr val="white"/>
                </a:solidFill>
              </a:rPr>
              <a:pPr algn="r">
                <a:spcBef>
                  <a:spcPts val="600"/>
                </a:spcBef>
                <a:buSzPct val="100000"/>
                <a:buFont typeface="Arial"/>
                <a:buNone/>
              </a:pPr>
              <a:t>‹N°›</a:t>
            </a:fld>
            <a:endParaRPr>
              <a:solidFill>
                <a:prstClr val="white"/>
              </a:solidFill>
            </a:endParaRPr>
          </a:p>
        </p:txBody>
      </p:sp>
      <p:sp>
        <p:nvSpPr>
          <p:cNvPr id="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dirty="0">
                <a:solidFill>
                  <a:prstClr val="white"/>
                </a:solidFill>
              </a:rPr>
              <a:t>L’émergence des </a:t>
            </a:r>
            <a:r>
              <a:rPr dirty="0" err="1">
                <a:solidFill>
                  <a:prstClr val="white"/>
                </a:solidFill>
              </a:rPr>
              <a:t>Fintech</a:t>
            </a:r>
            <a:r>
              <a:rPr dirty="0">
                <a:solidFill>
                  <a:prstClr val="white"/>
                </a:solidFill>
              </a:rPr>
              <a:t> en Afrique</a:t>
            </a:r>
          </a:p>
        </p:txBody>
      </p:sp>
    </p:spTree>
    <p:extLst>
      <p:ext uri="{BB962C8B-B14F-4D97-AF65-F5344CB8AC3E}">
        <p14:creationId xmlns:p14="http://schemas.microsoft.com/office/powerpoint/2010/main" val="41037706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a:solidFill>
                  <a:prstClr val="white"/>
                </a:solidFill>
              </a:rPr>
              <a:t>© 2017 Deloitte</a:t>
            </a:r>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solidFill>
                  <a:schemeClr val="bg1"/>
                </a:solidFill>
              </a:defRPr>
            </a:lvl1pPr>
          </a:lstStyle>
          <a:p>
            <a:pPr algn="r">
              <a:spcBef>
                <a:spcPts val="600"/>
              </a:spcBef>
              <a:buSzPct val="100000"/>
              <a:buFont typeface="Arial"/>
              <a:buNone/>
            </a:pPr>
            <a:fld id="{4654C24A-AA93-4318-A7E9-AF587A936244}" type="slidenum">
              <a:rPr>
                <a:solidFill>
                  <a:prstClr val="white"/>
                </a:solidFill>
              </a:rPr>
              <a:pPr algn="r">
                <a:spcBef>
                  <a:spcPts val="600"/>
                </a:spcBef>
                <a:buSzPct val="100000"/>
                <a:buFont typeface="Arial"/>
                <a:buNone/>
              </a:pPr>
              <a:t>‹N°›</a:t>
            </a:fld>
            <a:endParaRPr>
              <a:solidFill>
                <a:prstClr val="white"/>
              </a:solidFill>
            </a:endParaRPr>
          </a:p>
        </p:txBody>
      </p:sp>
      <p:sp>
        <p:nvSpPr>
          <p:cNvPr id="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solidFill>
                  <a:schemeClr val="bg1"/>
                </a:solidFill>
              </a:defRPr>
            </a:lvl1pPr>
          </a:lstStyle>
          <a:p>
            <a:pPr algn="r">
              <a:buSzPct val="100000"/>
              <a:buFont typeface="Arial"/>
              <a:buNone/>
            </a:pPr>
            <a:r>
              <a:rPr dirty="0">
                <a:solidFill>
                  <a:prstClr val="white"/>
                </a:solidFill>
              </a:rPr>
              <a:t>L’émergence des </a:t>
            </a:r>
            <a:r>
              <a:rPr dirty="0" err="1">
                <a:solidFill>
                  <a:prstClr val="white"/>
                </a:solidFill>
              </a:rPr>
              <a:t>Fintech</a:t>
            </a:r>
            <a:r>
              <a:rPr dirty="0">
                <a:solidFill>
                  <a:prstClr val="white"/>
                </a:solidFill>
              </a:rPr>
              <a:t> en Afrique</a:t>
            </a:r>
          </a:p>
        </p:txBody>
      </p:sp>
    </p:spTree>
    <p:extLst>
      <p:ext uri="{BB962C8B-B14F-4D97-AF65-F5344CB8AC3E}">
        <p14:creationId xmlns:p14="http://schemas.microsoft.com/office/powerpoint/2010/main" val="326054780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6"/>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1047" name="think-cell Slide" r:id="rId47" imgW="270" imgH="270" progId="TCLayout.ActiveDocument.1">
                  <p:embed/>
                </p:oleObj>
              </mc:Choice>
              <mc:Fallback>
                <p:oleObj name="think-cell Slide" r:id="rId47" imgW="270" imgH="270" progId="TCLayout.ActiveDocument.1">
                  <p:embed/>
                  <p:pic>
                    <p:nvPicPr>
                      <p:cNvPr id="4" name="Object 3" hidden="1"/>
                      <p:cNvPicPr/>
                      <p:nvPr/>
                    </p:nvPicPr>
                    <p:blipFill>
                      <a:blip r:embed="rId48"/>
                      <a:stretch>
                        <a:fillRect/>
                      </a:stretch>
                    </p:blipFill>
                    <p:spPr>
                      <a:xfrm>
                        <a:off x="1590" y="1589"/>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40" y="317502"/>
            <a:ext cx="8391525"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376239" y="1665290"/>
            <a:ext cx="8391525" cy="4716463"/>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dirty="0">
                <a:solidFill>
                  <a:prstClr val="black"/>
                </a:solidFill>
              </a:rPr>
              <a:t>© 2017 Deloitte</a:t>
            </a:r>
            <a:r>
              <a:rPr lang="fr-FR" dirty="0">
                <a:solidFill>
                  <a:prstClr val="black"/>
                </a:solidFill>
              </a:rPr>
              <a:t> </a:t>
            </a:r>
            <a:endParaRPr dirty="0">
              <a:solidFill>
                <a:prstClr val="black"/>
              </a:solidFill>
            </a:endParaRPr>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a:solidFill>
                  <a:prstClr val="black"/>
                </a:solidFill>
              </a:rPr>
              <a:pPr algn="r">
                <a:spcBef>
                  <a:spcPts val="600"/>
                </a:spcBef>
                <a:buSzPct val="100000"/>
                <a:buFont typeface="Arial"/>
                <a:buNone/>
              </a:pPr>
              <a:t>‹N°›</a:t>
            </a:fld>
            <a:endParaRPr>
              <a:solidFill>
                <a:prstClr val="black"/>
              </a:solidFill>
            </a:endParaRPr>
          </a:p>
        </p:txBody>
      </p:sp>
      <p:sp>
        <p:nvSpPr>
          <p:cNvPr id="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dirty="0">
                <a:solidFill>
                  <a:prstClr val="black"/>
                </a:solidFill>
              </a:rPr>
              <a:t>L’émergence des </a:t>
            </a:r>
            <a:r>
              <a:rPr dirty="0" err="1">
                <a:solidFill>
                  <a:prstClr val="black"/>
                </a:solidFill>
              </a:rPr>
              <a:t>Fintech</a:t>
            </a:r>
            <a:r>
              <a:rPr dirty="0">
                <a:solidFill>
                  <a:prstClr val="black"/>
                </a:solidFill>
              </a:rPr>
              <a:t> en Afrique</a:t>
            </a:r>
          </a:p>
        </p:txBody>
      </p:sp>
    </p:spTree>
    <p:extLst>
      <p:ext uri="{BB962C8B-B14F-4D97-AF65-F5344CB8AC3E}">
        <p14:creationId xmlns:p14="http://schemas.microsoft.com/office/powerpoint/2010/main" val="3533311772"/>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41" r:id="rId38"/>
    <p:sldLayoutId id="2147483742" r:id="rId39"/>
    <p:sldLayoutId id="2147483743" r:id="rId40"/>
    <p:sldLayoutId id="2147483744" r:id="rId41"/>
    <p:sldLayoutId id="2147483746" r:id="rId42"/>
    <p:sldLayoutId id="2147483747" r:id="rId43"/>
  </p:sldLayoutIdLst>
  <p:transition>
    <p:fade/>
  </p:transition>
  <p:hf hdr="0"/>
  <p:txStyles>
    <p:titleStyle>
      <a:lvl1pPr algn="l" defTabSz="914377" rtl="0" eaLnBrk="1" latinLnBrk="0" hangingPunct="1">
        <a:spcBef>
          <a:spcPct val="0"/>
        </a:spcBef>
        <a:buNone/>
        <a:defRPr sz="2000" kern="1200">
          <a:solidFill>
            <a:schemeClr val="tx1"/>
          </a:solidFill>
          <a:latin typeface="+mj-lt"/>
          <a:ea typeface="+mj-ea"/>
          <a:cs typeface="+mj-cs"/>
        </a:defRPr>
      </a:lvl1pPr>
    </p:titleStyle>
    <p:body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file://localhost/Users/Alex/Documents/FREELANCE/EUROPLACE/Powerpoint_Masque_DEJEUNER_Maroc_CCI/production/img/Bande_multicolor-03.png" TargetMode="External"/><Relationship Id="rId3" Type="http://schemas.openxmlformats.org/officeDocument/2006/relationships/image" Target="file://localhost/Users/alex/Documents/FREELANCE/EUROPLACE/RAPPORT-AFRIQUE/PRODUCTION/PHASE4-PPT/NEW/IMG/FondVide-04.jpg" TargetMode="External"/><Relationship Id="rId7" Type="http://schemas.openxmlformats.org/officeDocument/2006/relationships/image" Target="../media/image6.png"/><Relationship Id="rId2" Type="http://schemas.openxmlformats.org/officeDocument/2006/relationships/image" Target="../media/image3.jpg"/><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image" Target="file://localhost/Users/Alex/Documents/FREELANCE/EUROPLACE/AfricaFinLab/Production/POWERPOINT/img/Logo_v3_avec_baseline.png" TargetMode="External"/><Relationship Id="rId4" Type="http://schemas.openxmlformats.org/officeDocument/2006/relationships/image" Target="../media/image4.png"/><Relationship Id="rId9" Type="http://schemas.openxmlformats.org/officeDocument/2006/relationships/image" Target="../media/image7.wmf"/></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3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8" Type="http://schemas.openxmlformats.org/officeDocument/2006/relationships/image" Target="file://localhost/Users/Alex/Documents/FREELANCE/EUROPLACE/Powerpoint_Masque_DEJEUNER_Maroc_CCI/production/img/Bande_multicolor-03.png" TargetMode="External"/><Relationship Id="rId3" Type="http://schemas.openxmlformats.org/officeDocument/2006/relationships/image" Target="file://localhost/Users/alex/Documents/FREELANCE/EUROPLACE/RAPPORT-AFRIQUE/PRODUCTION/PHASE4-PPT/NEW/IMG/FondVide-04.jpg" TargetMode="External"/><Relationship Id="rId7" Type="http://schemas.openxmlformats.org/officeDocument/2006/relationships/image" Target="../media/image6.png"/><Relationship Id="rId2" Type="http://schemas.openxmlformats.org/officeDocument/2006/relationships/image" Target="../media/image3.jpg"/><Relationship Id="rId1" Type="http://schemas.openxmlformats.org/officeDocument/2006/relationships/slideLayout" Target="../slideLayouts/slideLayout42.xml"/><Relationship Id="rId6" Type="http://schemas.openxmlformats.org/officeDocument/2006/relationships/image" Target="../media/image5.png"/><Relationship Id="rId5" Type="http://schemas.openxmlformats.org/officeDocument/2006/relationships/image" Target="file://localhost/Users/Alex/Documents/FREELANCE/EUROPLACE/AfricaFinLab/Production/POWERPOINT/img/Logo_v3_avec_baseline.png" TargetMode="External"/><Relationship Id="rId4" Type="http://schemas.openxmlformats.org/officeDocument/2006/relationships/image" Target="../media/image4.png"/><Relationship Id="rId9" Type="http://schemas.openxmlformats.org/officeDocument/2006/relationships/image" Target="../media/image7.w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xml.rels><?xml version="1.0" encoding="UTF-8" standalone="yes"?>
<Relationships xmlns="http://schemas.openxmlformats.org/package/2006/relationships"><Relationship Id="rId3" Type="http://schemas.openxmlformats.org/officeDocument/2006/relationships/image" Target="file://localhost/Users/Alex/Documents/FREELANCE/EUROPLACE/AfricaFinLab/Production/POWERPOINT/img/Icone-06.png" TargetMode="External"/><Relationship Id="rId7" Type="http://schemas.openxmlformats.org/officeDocument/2006/relationships/image" Target="file://localhost/Users/Alex/Documents/FREELANCE/EUROPLACE/AfricaFinLab/Production/POWERPOINT/img/Icone-08.png" TargetMode="External"/><Relationship Id="rId2" Type="http://schemas.openxmlformats.org/officeDocument/2006/relationships/image" Target="../media/image8.png"/><Relationship Id="rId1" Type="http://schemas.openxmlformats.org/officeDocument/2006/relationships/slideLayout" Target="../slideLayouts/slideLayout43.xml"/><Relationship Id="rId6" Type="http://schemas.openxmlformats.org/officeDocument/2006/relationships/image" Target="../media/image10.png"/><Relationship Id="rId5" Type="http://schemas.openxmlformats.org/officeDocument/2006/relationships/image" Target="file://localhost/Users/Alex/Documents/FREELANCE/EUROPLACE/AfricaFinLab/Production/POWERPOINT/img/Icone-07.png" TargetMode="Externa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3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FondVide-04.jpg" descr="/Users/alex/Documents/FREELANCE/EUROPLACE/RAPPORT-AFRIQUE/PRODUCTION/PHASE4-PPT/NEW/IMG/FondVide-04.jpg"/>
          <p:cNvPicPr>
            <a:picLocks noChangeAspect="1"/>
          </p:cNvPicPr>
          <p:nvPr/>
        </p:nvPicPr>
        <p:blipFill>
          <a:blip r:embed="rId2" r:link="rId3">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4" name="Titre 1"/>
          <p:cNvSpPr txBox="1">
            <a:spLocks/>
          </p:cNvSpPr>
          <p:nvPr/>
        </p:nvSpPr>
        <p:spPr>
          <a:xfrm>
            <a:off x="1115565" y="5996385"/>
            <a:ext cx="6912870" cy="663841"/>
          </a:xfrm>
          <a:prstGeom prst="rect">
            <a:avLst/>
          </a:prstGeom>
        </p:spPr>
        <p:txBody>
          <a:bodyPr vert="horz" lIns="91440" tIns="45720" rIns="91440" bIns="45720" rtlCol="0" anchor="t">
            <a:noAutofit/>
          </a:bodyPr>
          <a:lstStyle>
            <a:lvl1pPr algn="l" defTabSz="457200" rtl="0" eaLnBrk="1" latinLnBrk="0" hangingPunct="1">
              <a:spcBef>
                <a:spcPct val="0"/>
              </a:spcBef>
              <a:buNone/>
              <a:defRPr sz="2000" b="1" i="0" kern="1200">
                <a:solidFill>
                  <a:srgbClr val="800000"/>
                </a:solidFill>
                <a:latin typeface="Trebuchet MS"/>
                <a:ea typeface="+mj-ea"/>
                <a:cs typeface="Trebuchet MS"/>
              </a:defRPr>
            </a:lvl1pPr>
          </a:lstStyle>
          <a:p>
            <a:pPr algn="ctr">
              <a:lnSpc>
                <a:spcPct val="80000"/>
              </a:lnSpc>
            </a:pPr>
            <a:r>
              <a:rPr lang="fr-FR" sz="1600" spc="300" dirty="0">
                <a:solidFill>
                  <a:srgbClr val="173C6D"/>
                </a:solidFill>
              </a:rPr>
              <a:t>MERCREDI 27 SEPTEMBRE 2017</a:t>
            </a:r>
          </a:p>
        </p:txBody>
      </p:sp>
      <p:pic>
        <p:nvPicPr>
          <p:cNvPr id="15" name="AfricaFinLab_Logo_v1A-05.png"/>
          <p:cNvPicPr>
            <a:picLocks noChangeAspect="1"/>
          </p:cNvPicPr>
          <p:nvPr/>
        </p:nvPicPr>
        <p:blipFill>
          <a:blip r:embed="rId4" r:link="rId5" cstate="print">
            <a:extLst>
              <a:ext uri="{28A0092B-C50C-407E-A947-70E740481C1C}">
                <a14:useLocalDpi xmlns:a14="http://schemas.microsoft.com/office/drawing/2010/main"/>
              </a:ext>
            </a:extLst>
          </a:blip>
          <a:stretch>
            <a:fillRect/>
          </a:stretch>
        </p:blipFill>
        <p:spPr>
          <a:xfrm>
            <a:off x="6710508" y="161489"/>
            <a:ext cx="2264466" cy="1485900"/>
          </a:xfrm>
          <a:prstGeom prst="rect">
            <a:avLst/>
          </a:prstGeom>
        </p:spPr>
      </p:pic>
      <p:pic>
        <p:nvPicPr>
          <p:cNvPr id="31" name="Image 30" descr="globe1-09.png">
            <a:extLst>
              <a:ext uri="{FF2B5EF4-FFF2-40B4-BE49-F238E27FC236}">
                <a16:creationId xmlns:a16="http://schemas.microsoft.com/office/drawing/2014/main" id="{103792BA-DDD2-4BBE-B613-5BE9A982887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43459" y="71269"/>
            <a:ext cx="7057082" cy="5841382"/>
          </a:xfrm>
          <a:prstGeom prst="rect">
            <a:avLst/>
          </a:prstGeom>
        </p:spPr>
      </p:pic>
      <p:sp>
        <p:nvSpPr>
          <p:cNvPr id="32" name="Rectangle 31">
            <a:extLst>
              <a:ext uri="{FF2B5EF4-FFF2-40B4-BE49-F238E27FC236}">
                <a16:creationId xmlns:a16="http://schemas.microsoft.com/office/drawing/2014/main" id="{B416CE59-F27C-422E-8796-7C9C94F3A25E}"/>
              </a:ext>
            </a:extLst>
          </p:cNvPr>
          <p:cNvSpPr/>
          <p:nvPr/>
        </p:nvSpPr>
        <p:spPr>
          <a:xfrm>
            <a:off x="0" y="4483808"/>
            <a:ext cx="9144000" cy="1270035"/>
          </a:xfrm>
          <a:prstGeom prst="rect">
            <a:avLst/>
          </a:prstGeom>
          <a:solidFill>
            <a:schemeClr val="bg1"/>
          </a:solidFill>
          <a:ln w="603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114B93"/>
              </a:solidFill>
            </a:endParaRPr>
          </a:p>
        </p:txBody>
      </p:sp>
      <p:sp>
        <p:nvSpPr>
          <p:cNvPr id="33" name="Titre 1">
            <a:extLst>
              <a:ext uri="{FF2B5EF4-FFF2-40B4-BE49-F238E27FC236}">
                <a16:creationId xmlns:a16="http://schemas.microsoft.com/office/drawing/2014/main" id="{233868D3-4CDF-45EF-AABD-C73EBD44B8D3}"/>
              </a:ext>
            </a:extLst>
          </p:cNvPr>
          <p:cNvSpPr txBox="1">
            <a:spLocks/>
          </p:cNvSpPr>
          <p:nvPr/>
        </p:nvSpPr>
        <p:spPr>
          <a:xfrm>
            <a:off x="0" y="4604550"/>
            <a:ext cx="9144000" cy="1044104"/>
          </a:xfrm>
          <a:prstGeom prst="rect">
            <a:avLst/>
          </a:prstGeom>
        </p:spPr>
        <p:txBody>
          <a:bodyPr vert="horz" lIns="91440" tIns="45720" rIns="91440" bIns="45720" rtlCol="0" anchor="ctr">
            <a:noAutofit/>
          </a:bodyPr>
          <a:lstStyle>
            <a:lvl1pPr algn="l" defTabSz="457200" rtl="0" eaLnBrk="1" latinLnBrk="0" hangingPunct="1">
              <a:spcBef>
                <a:spcPct val="0"/>
              </a:spcBef>
              <a:buNone/>
              <a:defRPr sz="2000" b="1" i="0" kern="1200">
                <a:solidFill>
                  <a:srgbClr val="800000"/>
                </a:solidFill>
                <a:latin typeface="Trebuchet MS"/>
                <a:ea typeface="+mj-ea"/>
                <a:cs typeface="Trebuchet MS"/>
              </a:defRPr>
            </a:lvl1pPr>
          </a:lstStyle>
          <a:p>
            <a:pPr algn="ctr"/>
            <a:r>
              <a:rPr lang="fr-FR" sz="2700" u="sng" spc="300" dirty="0">
                <a:solidFill>
                  <a:srgbClr val="173C6D"/>
                </a:solidFill>
              </a:rPr>
              <a:t>COSOB</a:t>
            </a:r>
            <a:r>
              <a:rPr lang="fr-FR" sz="2700" spc="300" dirty="0">
                <a:solidFill>
                  <a:srgbClr val="173C6D"/>
                </a:solidFill>
              </a:rPr>
              <a:t> </a:t>
            </a:r>
          </a:p>
          <a:p>
            <a:pPr algn="ctr"/>
            <a:r>
              <a:rPr lang="fr-FR" sz="2700" spc="300" dirty="0">
                <a:solidFill>
                  <a:srgbClr val="173C6D"/>
                </a:solidFill>
              </a:rPr>
              <a:t>Financements Alternatifs</a:t>
            </a:r>
          </a:p>
          <a:p>
            <a:pPr algn="ctr"/>
            <a:r>
              <a:rPr lang="fr-FR" sz="2700" spc="300" dirty="0">
                <a:solidFill>
                  <a:srgbClr val="173C6D"/>
                </a:solidFill>
              </a:rPr>
              <a:t>L’enjeu des </a:t>
            </a:r>
            <a:r>
              <a:rPr lang="fr-FR" sz="2700" spc="300" dirty="0" err="1">
                <a:solidFill>
                  <a:srgbClr val="173C6D"/>
                </a:solidFill>
              </a:rPr>
              <a:t>FinTechs</a:t>
            </a:r>
            <a:r>
              <a:rPr lang="fr-FR" sz="2700" spc="300" dirty="0">
                <a:solidFill>
                  <a:srgbClr val="173C6D"/>
                </a:solidFill>
              </a:rPr>
              <a:t>, …. </a:t>
            </a:r>
            <a:r>
              <a:rPr lang="fr-FR" sz="2700" spc="300" dirty="0" err="1">
                <a:solidFill>
                  <a:srgbClr val="173C6D"/>
                </a:solidFill>
              </a:rPr>
              <a:t>enAfrique</a:t>
            </a:r>
            <a:r>
              <a:rPr lang="fr-FR" sz="2700" spc="300" dirty="0">
                <a:solidFill>
                  <a:srgbClr val="173C6D"/>
                </a:solidFill>
              </a:rPr>
              <a:t> </a:t>
            </a:r>
          </a:p>
        </p:txBody>
      </p:sp>
      <p:pic>
        <p:nvPicPr>
          <p:cNvPr id="34" name="Bande_multicolor-03.png" descr="/Users/Alex/Documents/FREELANCE/EUROPLACE/Powerpoint_Masque_DEJEUNER_Maroc_CCI/production/img/Bande_multicolor-03.png">
            <a:extLst>
              <a:ext uri="{FF2B5EF4-FFF2-40B4-BE49-F238E27FC236}">
                <a16:creationId xmlns:a16="http://schemas.microsoft.com/office/drawing/2014/main" id="{F1A0EBE3-626E-4F12-B8E8-42E4BB45D20C}"/>
              </a:ext>
            </a:extLst>
          </p:cNvPr>
          <p:cNvPicPr>
            <a:picLocks noChangeAspect="1"/>
          </p:cNvPicPr>
          <p:nvPr/>
        </p:nvPicPr>
        <p:blipFill>
          <a:blip r:embed="rId7" r:link="rId8" cstate="print">
            <a:extLst>
              <a:ext uri="{28A0092B-C50C-407E-A947-70E740481C1C}">
                <a14:useLocalDpi xmlns:a14="http://schemas.microsoft.com/office/drawing/2010/main"/>
              </a:ext>
            </a:extLst>
          </a:blip>
          <a:stretch>
            <a:fillRect/>
          </a:stretch>
        </p:blipFill>
        <p:spPr>
          <a:xfrm>
            <a:off x="0" y="5730351"/>
            <a:ext cx="9144000" cy="133953"/>
          </a:xfrm>
          <a:prstGeom prst="rect">
            <a:avLst/>
          </a:prstGeom>
        </p:spPr>
      </p:pic>
      <p:pic>
        <p:nvPicPr>
          <p:cNvPr id="35" name="Image 34">
            <a:extLst>
              <a:ext uri="{FF2B5EF4-FFF2-40B4-BE49-F238E27FC236}">
                <a16:creationId xmlns:a16="http://schemas.microsoft.com/office/drawing/2014/main" id="{4FFE8AA1-1B0D-436C-B08A-7892DA2C0B1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05969" y="115309"/>
            <a:ext cx="2583413" cy="1255490"/>
          </a:xfrm>
          <a:prstGeom prst="rect">
            <a:avLst/>
          </a:prstGeom>
        </p:spPr>
      </p:pic>
    </p:spTree>
    <p:extLst>
      <p:ext uri="{BB962C8B-B14F-4D97-AF65-F5344CB8AC3E}">
        <p14:creationId xmlns:p14="http://schemas.microsoft.com/office/powerpoint/2010/main" val="27368689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p:txBody>
          <a:bodyPr/>
          <a:lstStyle/>
          <a:p>
            <a:pPr>
              <a:spcBef>
                <a:spcPts val="600"/>
              </a:spcBef>
              <a:buSzPct val="100000"/>
              <a:buFont typeface="Arial"/>
              <a:buNone/>
            </a:pPr>
            <a:r>
              <a:rPr dirty="0">
                <a:solidFill>
                  <a:prstClr val="black"/>
                </a:solidFill>
                <a:latin typeface="+mj-lt"/>
              </a:rPr>
              <a:t>© 2017 Deloitte</a:t>
            </a:r>
            <a:r>
              <a:rPr lang="fr-FR" dirty="0">
                <a:solidFill>
                  <a:prstClr val="black"/>
                </a:solidFill>
                <a:latin typeface="+mj-lt"/>
              </a:rPr>
              <a:t> </a:t>
            </a:r>
            <a:endParaRPr dirty="0">
              <a:solidFill>
                <a:prstClr val="black"/>
              </a:solidFill>
              <a:latin typeface="+mj-lt"/>
            </a:endParaRPr>
          </a:p>
        </p:txBody>
      </p:sp>
      <p:sp>
        <p:nvSpPr>
          <p:cNvPr id="5" name="Slide Number Placeholder 4"/>
          <p:cNvSpPr>
            <a:spLocks noGrp="1"/>
          </p:cNvSpPr>
          <p:nvPr>
            <p:ph type="sldNum" sz="quarter" idx="4"/>
          </p:nvPr>
        </p:nvSpPr>
        <p:spPr/>
        <p:txBody>
          <a:bodyPr/>
          <a:lstStyle/>
          <a:p>
            <a:pPr algn="r">
              <a:spcBef>
                <a:spcPts val="600"/>
              </a:spcBef>
              <a:buSzPct val="100000"/>
              <a:buFont typeface="Arial"/>
              <a:buNone/>
            </a:pPr>
            <a:fld id="{4654C24A-AA93-4318-A7E9-AF587A936244}" type="slidenum">
              <a:rPr>
                <a:solidFill>
                  <a:prstClr val="black"/>
                </a:solidFill>
                <a:latin typeface="+mj-lt"/>
              </a:rPr>
              <a:pPr algn="r">
                <a:spcBef>
                  <a:spcPts val="600"/>
                </a:spcBef>
                <a:buSzPct val="100000"/>
                <a:buFont typeface="Arial"/>
                <a:buNone/>
              </a:pPr>
              <a:t>10</a:t>
            </a:fld>
            <a:endParaRPr>
              <a:solidFill>
                <a:prstClr val="black"/>
              </a:solidFill>
              <a:latin typeface="+mj-lt"/>
            </a:endParaRPr>
          </a:p>
        </p:txBody>
      </p:sp>
      <p:sp>
        <p:nvSpPr>
          <p:cNvPr id="979" name="Rectangle 978"/>
          <p:cNvSpPr/>
          <p:nvPr/>
        </p:nvSpPr>
        <p:spPr>
          <a:xfrm>
            <a:off x="4747165" y="6226433"/>
            <a:ext cx="1370888" cy="169277"/>
          </a:xfrm>
          <a:prstGeom prst="rect">
            <a:avLst/>
          </a:prstGeom>
        </p:spPr>
        <p:txBody>
          <a:bodyPr wrap="none">
            <a:spAutoFit/>
          </a:bodyPr>
          <a:lstStyle/>
          <a:p>
            <a:r>
              <a:rPr lang="en-US" sz="500" dirty="0">
                <a:latin typeface="+mj-lt"/>
              </a:rPr>
              <a:t>Source: Capital IQ and press articles</a:t>
            </a:r>
            <a:endParaRPr lang="fr-FR" sz="500" dirty="0">
              <a:latin typeface="+mj-lt"/>
            </a:endParaRPr>
          </a:p>
        </p:txBody>
      </p:sp>
      <p:sp>
        <p:nvSpPr>
          <p:cNvPr id="986" name="TextBox 985"/>
          <p:cNvSpPr txBox="1"/>
          <p:nvPr/>
        </p:nvSpPr>
        <p:spPr>
          <a:xfrm>
            <a:off x="4557584" y="1448137"/>
            <a:ext cx="4153792" cy="315076"/>
          </a:xfrm>
          <a:prstGeom prst="rect">
            <a:avLst/>
          </a:prstGeom>
          <a:solidFill>
            <a:schemeClr val="tx2"/>
          </a:solidFill>
        </p:spPr>
        <p:txBody>
          <a:bodyPr wrap="square" lIns="0" tIns="0" rIns="0" bIns="0" rtlCol="0" anchor="ctr">
            <a:noAutofit/>
          </a:bodyPr>
          <a:lstStyle/>
          <a:p>
            <a:pPr algn="ctr">
              <a:spcBef>
                <a:spcPts val="600"/>
              </a:spcBef>
              <a:buSzPct val="100000"/>
            </a:pPr>
            <a:r>
              <a:rPr lang="fr-FR" sz="1200" dirty="0">
                <a:solidFill>
                  <a:schemeClr val="bg1"/>
                </a:solidFill>
                <a:latin typeface="+mj-lt"/>
              </a:rPr>
              <a:t>Les 3 plus grands deals de </a:t>
            </a:r>
            <a:r>
              <a:rPr lang="fr-FR" sz="1200" dirty="0" err="1">
                <a:solidFill>
                  <a:schemeClr val="bg1"/>
                </a:solidFill>
                <a:latin typeface="+mj-lt"/>
              </a:rPr>
              <a:t>Fintech</a:t>
            </a:r>
            <a:r>
              <a:rPr lang="fr-FR" sz="1200" dirty="0">
                <a:solidFill>
                  <a:schemeClr val="bg1"/>
                </a:solidFill>
                <a:latin typeface="+mj-lt"/>
              </a:rPr>
              <a:t> en Afrique</a:t>
            </a:r>
          </a:p>
        </p:txBody>
      </p:sp>
      <p:sp>
        <p:nvSpPr>
          <p:cNvPr id="2" name="TextBox 1"/>
          <p:cNvSpPr txBox="1"/>
          <p:nvPr/>
        </p:nvSpPr>
        <p:spPr>
          <a:xfrm>
            <a:off x="5011477" y="4530327"/>
            <a:ext cx="746699" cy="215444"/>
          </a:xfrm>
          <a:prstGeom prst="rect">
            <a:avLst/>
          </a:prstGeom>
          <a:noFill/>
        </p:spPr>
        <p:txBody>
          <a:bodyPr wrap="square" lIns="0" tIns="0" rIns="0" bIns="0" rtlCol="0">
            <a:spAutoFit/>
          </a:bodyPr>
          <a:lstStyle/>
          <a:p>
            <a:pPr algn="ctr">
              <a:spcBef>
                <a:spcPts val="600"/>
              </a:spcBef>
              <a:buSzPct val="100000"/>
            </a:pPr>
            <a:r>
              <a:rPr lang="fr-FR" sz="1400" dirty="0">
                <a:solidFill>
                  <a:srgbClr val="313131"/>
                </a:solidFill>
                <a:latin typeface="+mj-lt"/>
              </a:rPr>
              <a:t>2010</a:t>
            </a:r>
          </a:p>
        </p:txBody>
      </p:sp>
      <p:sp>
        <p:nvSpPr>
          <p:cNvPr id="390" name="TextBox 389"/>
          <p:cNvSpPr txBox="1"/>
          <p:nvPr/>
        </p:nvSpPr>
        <p:spPr>
          <a:xfrm>
            <a:off x="6261131" y="4530327"/>
            <a:ext cx="746699" cy="215444"/>
          </a:xfrm>
          <a:prstGeom prst="rect">
            <a:avLst/>
          </a:prstGeom>
          <a:noFill/>
        </p:spPr>
        <p:txBody>
          <a:bodyPr wrap="square" lIns="0" tIns="0" rIns="0" bIns="0" rtlCol="0">
            <a:spAutoFit/>
          </a:bodyPr>
          <a:lstStyle/>
          <a:p>
            <a:pPr algn="ctr">
              <a:spcBef>
                <a:spcPts val="600"/>
              </a:spcBef>
              <a:buSzPct val="100000"/>
            </a:pPr>
            <a:r>
              <a:rPr lang="fr-FR" sz="1400" dirty="0">
                <a:solidFill>
                  <a:srgbClr val="313131"/>
                </a:solidFill>
                <a:latin typeface="+mj-lt"/>
              </a:rPr>
              <a:t>2015</a:t>
            </a:r>
          </a:p>
        </p:txBody>
      </p:sp>
      <p:sp>
        <p:nvSpPr>
          <p:cNvPr id="391" name="TextBox 390"/>
          <p:cNvSpPr txBox="1"/>
          <p:nvPr/>
        </p:nvSpPr>
        <p:spPr>
          <a:xfrm>
            <a:off x="7400471" y="4530327"/>
            <a:ext cx="746699" cy="215444"/>
          </a:xfrm>
          <a:prstGeom prst="rect">
            <a:avLst/>
          </a:prstGeom>
          <a:noFill/>
        </p:spPr>
        <p:txBody>
          <a:bodyPr wrap="square" lIns="0" tIns="0" rIns="0" bIns="0" rtlCol="0">
            <a:spAutoFit/>
          </a:bodyPr>
          <a:lstStyle/>
          <a:p>
            <a:pPr algn="ctr">
              <a:spcBef>
                <a:spcPts val="600"/>
              </a:spcBef>
              <a:buSzPct val="100000"/>
            </a:pPr>
            <a:r>
              <a:rPr lang="fr-FR" sz="1400" dirty="0">
                <a:solidFill>
                  <a:srgbClr val="313131"/>
                </a:solidFill>
                <a:latin typeface="+mj-lt"/>
              </a:rPr>
              <a:t>2016</a:t>
            </a:r>
          </a:p>
        </p:txBody>
      </p:sp>
      <p:pic>
        <p:nvPicPr>
          <p:cNvPr id="394" name="Picture 8" descr="Résultats de recherche d'images pour « NIGERIa flag icon png »"/>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11560" y="5357964"/>
            <a:ext cx="404141" cy="404141"/>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Résultats de recherche d'images pour « egypt flag icon »"/>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46769" y="5348972"/>
            <a:ext cx="403200" cy="40320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p:cNvGrpSpPr/>
          <p:nvPr/>
        </p:nvGrpSpPr>
        <p:grpSpPr>
          <a:xfrm>
            <a:off x="4912975" y="2116285"/>
            <a:ext cx="3509596" cy="2332236"/>
            <a:chOff x="-2570278" y="1529386"/>
            <a:chExt cx="3509596" cy="2332236"/>
          </a:xfrm>
        </p:grpSpPr>
        <p:grpSp>
          <p:nvGrpSpPr>
            <p:cNvPr id="30" name="Group 29"/>
            <p:cNvGrpSpPr/>
            <p:nvPr/>
          </p:nvGrpSpPr>
          <p:grpSpPr>
            <a:xfrm flipH="1">
              <a:off x="-2570278" y="1914966"/>
              <a:ext cx="1011325" cy="1946656"/>
              <a:chOff x="7879599" y="4331706"/>
              <a:chExt cx="1011325" cy="1946656"/>
            </a:xfrm>
          </p:grpSpPr>
          <p:grpSp>
            <p:nvGrpSpPr>
              <p:cNvPr id="31" name="Group 30"/>
              <p:cNvGrpSpPr/>
              <p:nvPr/>
            </p:nvGrpSpPr>
            <p:grpSpPr>
              <a:xfrm flipH="1">
                <a:off x="7910581" y="5836356"/>
                <a:ext cx="846685" cy="442006"/>
                <a:chOff x="3053434" y="2117883"/>
                <a:chExt cx="965410" cy="383205"/>
              </a:xfrm>
            </p:grpSpPr>
            <p:sp>
              <p:nvSpPr>
                <p:cNvPr id="176" name="Oval 175"/>
                <p:cNvSpPr/>
                <p:nvPr/>
              </p:nvSpPr>
              <p:spPr bwMode="gray">
                <a:xfrm rot="314824">
                  <a:off x="3054661" y="2353528"/>
                  <a:ext cx="369345" cy="119993"/>
                </a:xfrm>
                <a:prstGeom prst="ellipse">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nvGrpSpPr>
                <p:cNvPr id="177" name="Group 176"/>
                <p:cNvGrpSpPr/>
                <p:nvPr/>
              </p:nvGrpSpPr>
              <p:grpSpPr>
                <a:xfrm>
                  <a:off x="3053434" y="2117883"/>
                  <a:ext cx="965410" cy="383205"/>
                  <a:chOff x="6341321" y="4092970"/>
                  <a:chExt cx="965410" cy="383205"/>
                </a:xfrm>
              </p:grpSpPr>
              <p:sp>
                <p:nvSpPr>
                  <p:cNvPr id="180" name="Oval 179"/>
                  <p:cNvSpPr/>
                  <p:nvPr/>
                </p:nvSpPr>
                <p:spPr bwMode="gray">
                  <a:xfrm>
                    <a:off x="6341321" y="4304659"/>
                    <a:ext cx="965410" cy="171516"/>
                  </a:xfrm>
                  <a:prstGeom prst="ellipse">
                    <a:avLst/>
                  </a:prstGeom>
                  <a:solidFill>
                    <a:srgbClr val="E3E48D"/>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81" name="Oval 180"/>
                  <p:cNvSpPr/>
                  <p:nvPr/>
                </p:nvSpPr>
                <p:spPr bwMode="gray">
                  <a:xfrm>
                    <a:off x="6343128" y="4122976"/>
                    <a:ext cx="963601" cy="334149"/>
                  </a:xfrm>
                  <a:prstGeom prst="ellipse">
                    <a:avLst/>
                  </a:prstGeom>
                  <a:solidFill>
                    <a:srgbClr val="E3E48D"/>
                  </a:solidFill>
                  <a:ln w="19050" algn="ctr">
                    <a:solidFill>
                      <a:srgbClr val="E3E48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82" name="Oval 181"/>
                  <p:cNvSpPr/>
                  <p:nvPr/>
                </p:nvSpPr>
                <p:spPr bwMode="gray">
                  <a:xfrm>
                    <a:off x="6341321" y="4092970"/>
                    <a:ext cx="965410" cy="248633"/>
                  </a:xfrm>
                  <a:prstGeom prst="ellipse">
                    <a:avLst/>
                  </a:prstGeom>
                  <a:solidFill>
                    <a:srgbClr val="E3E48D"/>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cxnSp>
                <p:nvCxnSpPr>
                  <p:cNvPr id="183" name="Straight Connector 182"/>
                  <p:cNvCxnSpPr/>
                  <p:nvPr/>
                </p:nvCxnSpPr>
                <p:spPr>
                  <a:xfrm>
                    <a:off x="6396814" y="4269288"/>
                    <a:ext cx="0" cy="162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6481376" y="4311295"/>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6632000" y="4329694"/>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6787911" y="4339085"/>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6949106" y="4334321"/>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7075948" y="4325589"/>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7165795" y="4311295"/>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a:off x="7247713" y="4271090"/>
                    <a:ext cx="0" cy="162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a:off x="7306731" y="4213527"/>
                    <a:ext cx="0" cy="18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nvCxnSpPr>
                <p:spPr>
                  <a:xfrm>
                    <a:off x="6341321" y="4217612"/>
                    <a:ext cx="0" cy="18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8" name="Rectangle 177"/>
                <p:cNvSpPr/>
                <p:nvPr/>
              </p:nvSpPr>
              <p:spPr bwMode="gray">
                <a:xfrm>
                  <a:off x="3062288" y="2336208"/>
                  <a:ext cx="28800" cy="82232"/>
                </a:xfrm>
                <a:prstGeom prst="rect">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79" name="Rectangle 178"/>
                <p:cNvSpPr/>
                <p:nvPr/>
              </p:nvSpPr>
              <p:spPr bwMode="gray">
                <a:xfrm>
                  <a:off x="3978212" y="2331292"/>
                  <a:ext cx="32400" cy="82232"/>
                </a:xfrm>
                <a:prstGeom prst="rect">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grpSp>
            <p:nvGrpSpPr>
              <p:cNvPr id="32" name="Group 31"/>
              <p:cNvGrpSpPr/>
              <p:nvPr/>
            </p:nvGrpSpPr>
            <p:grpSpPr>
              <a:xfrm flipH="1">
                <a:off x="8044239" y="5660570"/>
                <a:ext cx="846685" cy="442006"/>
                <a:chOff x="3053434" y="2117883"/>
                <a:chExt cx="965410" cy="383205"/>
              </a:xfrm>
            </p:grpSpPr>
            <p:sp>
              <p:nvSpPr>
                <p:cNvPr id="159" name="Oval 158"/>
                <p:cNvSpPr/>
                <p:nvPr/>
              </p:nvSpPr>
              <p:spPr bwMode="gray">
                <a:xfrm rot="314824">
                  <a:off x="3054661" y="2353528"/>
                  <a:ext cx="369345" cy="119993"/>
                </a:xfrm>
                <a:prstGeom prst="ellipse">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nvGrpSpPr>
                <p:cNvPr id="160" name="Group 159"/>
                <p:cNvGrpSpPr/>
                <p:nvPr/>
              </p:nvGrpSpPr>
              <p:grpSpPr>
                <a:xfrm>
                  <a:off x="3053434" y="2117883"/>
                  <a:ext cx="965410" cy="383205"/>
                  <a:chOff x="6341321" y="4092970"/>
                  <a:chExt cx="965410" cy="383205"/>
                </a:xfrm>
              </p:grpSpPr>
              <p:sp>
                <p:nvSpPr>
                  <p:cNvPr id="163" name="Oval 162"/>
                  <p:cNvSpPr/>
                  <p:nvPr/>
                </p:nvSpPr>
                <p:spPr bwMode="gray">
                  <a:xfrm>
                    <a:off x="6341321" y="4304659"/>
                    <a:ext cx="965410" cy="171516"/>
                  </a:xfrm>
                  <a:prstGeom prst="ellipse">
                    <a:avLst/>
                  </a:prstGeom>
                  <a:solidFill>
                    <a:srgbClr val="E3E48D"/>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64" name="Oval 163"/>
                  <p:cNvSpPr/>
                  <p:nvPr/>
                </p:nvSpPr>
                <p:spPr bwMode="gray">
                  <a:xfrm>
                    <a:off x="6343128" y="4122976"/>
                    <a:ext cx="963601" cy="334149"/>
                  </a:xfrm>
                  <a:prstGeom prst="ellipse">
                    <a:avLst/>
                  </a:prstGeom>
                  <a:solidFill>
                    <a:srgbClr val="E3E48D"/>
                  </a:solidFill>
                  <a:ln w="19050" algn="ctr">
                    <a:solidFill>
                      <a:srgbClr val="E3E48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65" name="Oval 164"/>
                  <p:cNvSpPr/>
                  <p:nvPr/>
                </p:nvSpPr>
                <p:spPr bwMode="gray">
                  <a:xfrm>
                    <a:off x="6341321" y="4092970"/>
                    <a:ext cx="965410" cy="248633"/>
                  </a:xfrm>
                  <a:prstGeom prst="ellipse">
                    <a:avLst/>
                  </a:prstGeom>
                  <a:solidFill>
                    <a:srgbClr val="E3E48D"/>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cxnSp>
                <p:nvCxnSpPr>
                  <p:cNvPr id="166" name="Straight Connector 165"/>
                  <p:cNvCxnSpPr/>
                  <p:nvPr/>
                </p:nvCxnSpPr>
                <p:spPr>
                  <a:xfrm>
                    <a:off x="6396814" y="4269288"/>
                    <a:ext cx="0" cy="162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a:off x="6481376" y="4311295"/>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a:off x="6632000" y="4329694"/>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a:off x="6787911" y="4339085"/>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a:off x="6949106" y="4334321"/>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7075948" y="4325589"/>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7165795" y="4311295"/>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7247713" y="4271090"/>
                    <a:ext cx="0" cy="162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7306731" y="4213527"/>
                    <a:ext cx="0" cy="18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6341321" y="4217612"/>
                    <a:ext cx="0" cy="18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61" name="Rectangle 160"/>
                <p:cNvSpPr/>
                <p:nvPr/>
              </p:nvSpPr>
              <p:spPr bwMode="gray">
                <a:xfrm>
                  <a:off x="3062288" y="2336208"/>
                  <a:ext cx="28800" cy="82232"/>
                </a:xfrm>
                <a:prstGeom prst="rect">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62" name="Rectangle 161"/>
                <p:cNvSpPr/>
                <p:nvPr/>
              </p:nvSpPr>
              <p:spPr bwMode="gray">
                <a:xfrm>
                  <a:off x="3978212" y="2331292"/>
                  <a:ext cx="32400" cy="82232"/>
                </a:xfrm>
                <a:prstGeom prst="rect">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grpSp>
            <p:nvGrpSpPr>
              <p:cNvPr id="33" name="Group 32"/>
              <p:cNvGrpSpPr/>
              <p:nvPr/>
            </p:nvGrpSpPr>
            <p:grpSpPr>
              <a:xfrm flipH="1">
                <a:off x="7961503" y="5468044"/>
                <a:ext cx="846685" cy="442006"/>
                <a:chOff x="3053434" y="2117883"/>
                <a:chExt cx="965410" cy="383205"/>
              </a:xfrm>
            </p:grpSpPr>
            <p:sp>
              <p:nvSpPr>
                <p:cNvPr id="142" name="Oval 141"/>
                <p:cNvSpPr/>
                <p:nvPr/>
              </p:nvSpPr>
              <p:spPr bwMode="gray">
                <a:xfrm rot="314824">
                  <a:off x="3054661" y="2353528"/>
                  <a:ext cx="369345" cy="119993"/>
                </a:xfrm>
                <a:prstGeom prst="ellipse">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nvGrpSpPr>
                <p:cNvPr id="143" name="Group 142"/>
                <p:cNvGrpSpPr/>
                <p:nvPr/>
              </p:nvGrpSpPr>
              <p:grpSpPr>
                <a:xfrm>
                  <a:off x="3053434" y="2117883"/>
                  <a:ext cx="965410" cy="383205"/>
                  <a:chOff x="6341321" y="4092970"/>
                  <a:chExt cx="965410" cy="383205"/>
                </a:xfrm>
              </p:grpSpPr>
              <p:sp>
                <p:nvSpPr>
                  <p:cNvPr id="146" name="Oval 145"/>
                  <p:cNvSpPr/>
                  <p:nvPr/>
                </p:nvSpPr>
                <p:spPr bwMode="gray">
                  <a:xfrm>
                    <a:off x="6341321" y="4304659"/>
                    <a:ext cx="965410" cy="171516"/>
                  </a:xfrm>
                  <a:prstGeom prst="ellipse">
                    <a:avLst/>
                  </a:prstGeom>
                  <a:solidFill>
                    <a:srgbClr val="E3E48D"/>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47" name="Oval 146"/>
                  <p:cNvSpPr/>
                  <p:nvPr/>
                </p:nvSpPr>
                <p:spPr bwMode="gray">
                  <a:xfrm>
                    <a:off x="6343128" y="4122976"/>
                    <a:ext cx="963601" cy="334149"/>
                  </a:xfrm>
                  <a:prstGeom prst="ellipse">
                    <a:avLst/>
                  </a:prstGeom>
                  <a:solidFill>
                    <a:srgbClr val="E3E48D"/>
                  </a:solidFill>
                  <a:ln w="19050" algn="ctr">
                    <a:solidFill>
                      <a:srgbClr val="E3E48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48" name="Oval 147"/>
                  <p:cNvSpPr/>
                  <p:nvPr/>
                </p:nvSpPr>
                <p:spPr bwMode="gray">
                  <a:xfrm>
                    <a:off x="6341321" y="4092970"/>
                    <a:ext cx="965410" cy="248633"/>
                  </a:xfrm>
                  <a:prstGeom prst="ellipse">
                    <a:avLst/>
                  </a:prstGeom>
                  <a:solidFill>
                    <a:srgbClr val="E3E48D"/>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cxnSp>
                <p:nvCxnSpPr>
                  <p:cNvPr id="149" name="Straight Connector 148"/>
                  <p:cNvCxnSpPr/>
                  <p:nvPr/>
                </p:nvCxnSpPr>
                <p:spPr>
                  <a:xfrm>
                    <a:off x="6396814" y="4269288"/>
                    <a:ext cx="0" cy="162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6481376" y="4311295"/>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6632000" y="4329694"/>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a:off x="6787911" y="4339085"/>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a:off x="6949106" y="4334321"/>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7075948" y="4325589"/>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7165795" y="4311295"/>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a:off x="7247713" y="4271090"/>
                    <a:ext cx="0" cy="162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a:off x="7306731" y="4213527"/>
                    <a:ext cx="0" cy="18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6341321" y="4217612"/>
                    <a:ext cx="0" cy="18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4" name="Rectangle 143"/>
                <p:cNvSpPr/>
                <p:nvPr/>
              </p:nvSpPr>
              <p:spPr bwMode="gray">
                <a:xfrm>
                  <a:off x="3062288" y="2336208"/>
                  <a:ext cx="28800" cy="82232"/>
                </a:xfrm>
                <a:prstGeom prst="rect">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45" name="Rectangle 144"/>
                <p:cNvSpPr/>
                <p:nvPr/>
              </p:nvSpPr>
              <p:spPr bwMode="gray">
                <a:xfrm>
                  <a:off x="3978212" y="2331292"/>
                  <a:ext cx="32400" cy="82232"/>
                </a:xfrm>
                <a:prstGeom prst="rect">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grpSp>
            <p:nvGrpSpPr>
              <p:cNvPr id="34" name="Group 33"/>
              <p:cNvGrpSpPr/>
              <p:nvPr/>
            </p:nvGrpSpPr>
            <p:grpSpPr>
              <a:xfrm flipH="1">
                <a:off x="8040815" y="5263778"/>
                <a:ext cx="846685" cy="442006"/>
                <a:chOff x="3053434" y="2117883"/>
                <a:chExt cx="965410" cy="383205"/>
              </a:xfrm>
            </p:grpSpPr>
            <p:sp>
              <p:nvSpPr>
                <p:cNvPr id="125" name="Oval 124"/>
                <p:cNvSpPr/>
                <p:nvPr/>
              </p:nvSpPr>
              <p:spPr bwMode="gray">
                <a:xfrm rot="314824">
                  <a:off x="3054661" y="2353528"/>
                  <a:ext cx="369345" cy="119993"/>
                </a:xfrm>
                <a:prstGeom prst="ellipse">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nvGrpSpPr>
                <p:cNvPr id="126" name="Group 125"/>
                <p:cNvGrpSpPr/>
                <p:nvPr/>
              </p:nvGrpSpPr>
              <p:grpSpPr>
                <a:xfrm>
                  <a:off x="3053434" y="2117883"/>
                  <a:ext cx="965410" cy="383205"/>
                  <a:chOff x="6341321" y="4092970"/>
                  <a:chExt cx="965410" cy="383205"/>
                </a:xfrm>
              </p:grpSpPr>
              <p:sp>
                <p:nvSpPr>
                  <p:cNvPr id="129" name="Oval 128"/>
                  <p:cNvSpPr/>
                  <p:nvPr/>
                </p:nvSpPr>
                <p:spPr bwMode="gray">
                  <a:xfrm>
                    <a:off x="6341321" y="4304659"/>
                    <a:ext cx="965410" cy="171516"/>
                  </a:xfrm>
                  <a:prstGeom prst="ellipse">
                    <a:avLst/>
                  </a:prstGeom>
                  <a:solidFill>
                    <a:srgbClr val="E3E48D"/>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30" name="Oval 129"/>
                  <p:cNvSpPr/>
                  <p:nvPr/>
                </p:nvSpPr>
                <p:spPr bwMode="gray">
                  <a:xfrm>
                    <a:off x="6343128" y="4122976"/>
                    <a:ext cx="963601" cy="334149"/>
                  </a:xfrm>
                  <a:prstGeom prst="ellipse">
                    <a:avLst/>
                  </a:prstGeom>
                  <a:solidFill>
                    <a:srgbClr val="E3E48D"/>
                  </a:solidFill>
                  <a:ln w="19050" algn="ctr">
                    <a:solidFill>
                      <a:srgbClr val="E3E48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31" name="Oval 130"/>
                  <p:cNvSpPr/>
                  <p:nvPr/>
                </p:nvSpPr>
                <p:spPr bwMode="gray">
                  <a:xfrm>
                    <a:off x="6341321" y="4092970"/>
                    <a:ext cx="965410" cy="248633"/>
                  </a:xfrm>
                  <a:prstGeom prst="ellipse">
                    <a:avLst/>
                  </a:prstGeom>
                  <a:solidFill>
                    <a:srgbClr val="E3E48D"/>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cxnSp>
                <p:nvCxnSpPr>
                  <p:cNvPr id="132" name="Straight Connector 131"/>
                  <p:cNvCxnSpPr/>
                  <p:nvPr/>
                </p:nvCxnSpPr>
                <p:spPr>
                  <a:xfrm>
                    <a:off x="6396814" y="4269288"/>
                    <a:ext cx="0" cy="162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6481376" y="4311295"/>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6632000" y="4329694"/>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6787911" y="4339085"/>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6949106" y="4334321"/>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7075948" y="4325589"/>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7165795" y="4311295"/>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7247713" y="4271090"/>
                    <a:ext cx="0" cy="162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7306731" y="4213527"/>
                    <a:ext cx="0" cy="18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6341321" y="4217612"/>
                    <a:ext cx="0" cy="18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7" name="Rectangle 126"/>
                <p:cNvSpPr/>
                <p:nvPr/>
              </p:nvSpPr>
              <p:spPr bwMode="gray">
                <a:xfrm>
                  <a:off x="3062288" y="2336208"/>
                  <a:ext cx="28800" cy="82232"/>
                </a:xfrm>
                <a:prstGeom prst="rect">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28" name="Rectangle 127"/>
                <p:cNvSpPr/>
                <p:nvPr/>
              </p:nvSpPr>
              <p:spPr bwMode="gray">
                <a:xfrm>
                  <a:off x="3978212" y="2331292"/>
                  <a:ext cx="32400" cy="82232"/>
                </a:xfrm>
                <a:prstGeom prst="rect">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grpSp>
            <p:nvGrpSpPr>
              <p:cNvPr id="35" name="Group 34"/>
              <p:cNvGrpSpPr/>
              <p:nvPr/>
            </p:nvGrpSpPr>
            <p:grpSpPr>
              <a:xfrm flipH="1">
                <a:off x="7966131" y="5079204"/>
                <a:ext cx="846685" cy="442006"/>
                <a:chOff x="3053434" y="2117883"/>
                <a:chExt cx="965410" cy="383205"/>
              </a:xfrm>
            </p:grpSpPr>
            <p:sp>
              <p:nvSpPr>
                <p:cNvPr id="108" name="Oval 107"/>
                <p:cNvSpPr/>
                <p:nvPr/>
              </p:nvSpPr>
              <p:spPr bwMode="gray">
                <a:xfrm rot="314824">
                  <a:off x="3054661" y="2353528"/>
                  <a:ext cx="369345" cy="119993"/>
                </a:xfrm>
                <a:prstGeom prst="ellipse">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nvGrpSpPr>
                <p:cNvPr id="109" name="Group 108"/>
                <p:cNvGrpSpPr/>
                <p:nvPr/>
              </p:nvGrpSpPr>
              <p:grpSpPr>
                <a:xfrm>
                  <a:off x="3053434" y="2117883"/>
                  <a:ext cx="965410" cy="383205"/>
                  <a:chOff x="6341321" y="4092970"/>
                  <a:chExt cx="965410" cy="383205"/>
                </a:xfrm>
              </p:grpSpPr>
              <p:sp>
                <p:nvSpPr>
                  <p:cNvPr id="112" name="Oval 111"/>
                  <p:cNvSpPr/>
                  <p:nvPr/>
                </p:nvSpPr>
                <p:spPr bwMode="gray">
                  <a:xfrm>
                    <a:off x="6341321" y="4304659"/>
                    <a:ext cx="965410" cy="171516"/>
                  </a:xfrm>
                  <a:prstGeom prst="ellipse">
                    <a:avLst/>
                  </a:prstGeom>
                  <a:solidFill>
                    <a:srgbClr val="E3E48D"/>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13" name="Oval 112"/>
                  <p:cNvSpPr/>
                  <p:nvPr/>
                </p:nvSpPr>
                <p:spPr bwMode="gray">
                  <a:xfrm>
                    <a:off x="6343128" y="4122976"/>
                    <a:ext cx="963601" cy="334149"/>
                  </a:xfrm>
                  <a:prstGeom prst="ellipse">
                    <a:avLst/>
                  </a:prstGeom>
                  <a:solidFill>
                    <a:srgbClr val="E3E48D"/>
                  </a:solidFill>
                  <a:ln w="19050" algn="ctr">
                    <a:solidFill>
                      <a:srgbClr val="E3E48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14" name="Oval 113"/>
                  <p:cNvSpPr/>
                  <p:nvPr/>
                </p:nvSpPr>
                <p:spPr bwMode="gray">
                  <a:xfrm>
                    <a:off x="6341321" y="4092970"/>
                    <a:ext cx="965410" cy="248633"/>
                  </a:xfrm>
                  <a:prstGeom prst="ellipse">
                    <a:avLst/>
                  </a:prstGeom>
                  <a:solidFill>
                    <a:srgbClr val="E3E48D"/>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cxnSp>
                <p:nvCxnSpPr>
                  <p:cNvPr id="115" name="Straight Connector 114"/>
                  <p:cNvCxnSpPr/>
                  <p:nvPr/>
                </p:nvCxnSpPr>
                <p:spPr>
                  <a:xfrm>
                    <a:off x="6396814" y="4269288"/>
                    <a:ext cx="0" cy="162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6481376" y="4311295"/>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6632000" y="4329694"/>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6787911" y="4339085"/>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949106" y="4334321"/>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7075948" y="4325589"/>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7165795" y="4311295"/>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7247713" y="4271090"/>
                    <a:ext cx="0" cy="162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nvCxnSpPr>
                <p:spPr>
                  <a:xfrm>
                    <a:off x="7306731" y="4213527"/>
                    <a:ext cx="0" cy="18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6341321" y="4217612"/>
                    <a:ext cx="0" cy="18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10" name="Rectangle 109"/>
                <p:cNvSpPr/>
                <p:nvPr/>
              </p:nvSpPr>
              <p:spPr bwMode="gray">
                <a:xfrm>
                  <a:off x="3062288" y="2336208"/>
                  <a:ext cx="28800" cy="82232"/>
                </a:xfrm>
                <a:prstGeom prst="rect">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11" name="Rectangle 110"/>
                <p:cNvSpPr/>
                <p:nvPr/>
              </p:nvSpPr>
              <p:spPr bwMode="gray">
                <a:xfrm>
                  <a:off x="3978212" y="2331292"/>
                  <a:ext cx="32400" cy="82232"/>
                </a:xfrm>
                <a:prstGeom prst="rect">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grpSp>
            <p:nvGrpSpPr>
              <p:cNvPr id="36" name="Group 35"/>
              <p:cNvGrpSpPr/>
              <p:nvPr/>
            </p:nvGrpSpPr>
            <p:grpSpPr>
              <a:xfrm flipH="1">
                <a:off x="7879599" y="4885144"/>
                <a:ext cx="846685" cy="442006"/>
                <a:chOff x="3053434" y="2117883"/>
                <a:chExt cx="965410" cy="383205"/>
              </a:xfrm>
            </p:grpSpPr>
            <p:sp>
              <p:nvSpPr>
                <p:cNvPr id="91" name="Oval 90"/>
                <p:cNvSpPr/>
                <p:nvPr/>
              </p:nvSpPr>
              <p:spPr bwMode="gray">
                <a:xfrm rot="314824">
                  <a:off x="3054661" y="2353528"/>
                  <a:ext cx="369345" cy="119993"/>
                </a:xfrm>
                <a:prstGeom prst="ellipse">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nvGrpSpPr>
                <p:cNvPr id="92" name="Group 91"/>
                <p:cNvGrpSpPr/>
                <p:nvPr/>
              </p:nvGrpSpPr>
              <p:grpSpPr>
                <a:xfrm>
                  <a:off x="3053434" y="2117883"/>
                  <a:ext cx="965410" cy="383205"/>
                  <a:chOff x="6341321" y="4092970"/>
                  <a:chExt cx="965410" cy="383205"/>
                </a:xfrm>
              </p:grpSpPr>
              <p:sp>
                <p:nvSpPr>
                  <p:cNvPr id="95" name="Oval 94"/>
                  <p:cNvSpPr/>
                  <p:nvPr/>
                </p:nvSpPr>
                <p:spPr bwMode="gray">
                  <a:xfrm>
                    <a:off x="6341321" y="4304659"/>
                    <a:ext cx="965410" cy="171516"/>
                  </a:xfrm>
                  <a:prstGeom prst="ellipse">
                    <a:avLst/>
                  </a:prstGeom>
                  <a:solidFill>
                    <a:srgbClr val="E3E48D"/>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96" name="Oval 95"/>
                  <p:cNvSpPr/>
                  <p:nvPr/>
                </p:nvSpPr>
                <p:spPr bwMode="gray">
                  <a:xfrm>
                    <a:off x="6343128" y="4122976"/>
                    <a:ext cx="963601" cy="334149"/>
                  </a:xfrm>
                  <a:prstGeom prst="ellipse">
                    <a:avLst/>
                  </a:prstGeom>
                  <a:solidFill>
                    <a:srgbClr val="E3E48D"/>
                  </a:solidFill>
                  <a:ln w="19050" algn="ctr">
                    <a:solidFill>
                      <a:srgbClr val="E3E48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97" name="Oval 96"/>
                  <p:cNvSpPr/>
                  <p:nvPr/>
                </p:nvSpPr>
                <p:spPr bwMode="gray">
                  <a:xfrm>
                    <a:off x="6341321" y="4092970"/>
                    <a:ext cx="965410" cy="248633"/>
                  </a:xfrm>
                  <a:prstGeom prst="ellipse">
                    <a:avLst/>
                  </a:prstGeom>
                  <a:solidFill>
                    <a:srgbClr val="E3E48D"/>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cxnSp>
                <p:nvCxnSpPr>
                  <p:cNvPr id="98" name="Straight Connector 97"/>
                  <p:cNvCxnSpPr/>
                  <p:nvPr/>
                </p:nvCxnSpPr>
                <p:spPr>
                  <a:xfrm>
                    <a:off x="6396814" y="4269288"/>
                    <a:ext cx="0" cy="162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6481376" y="4311295"/>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6632000" y="4329694"/>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6787911" y="4339085"/>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6949106" y="4334321"/>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7075948" y="4325589"/>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7165795" y="4311295"/>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7247713" y="4271090"/>
                    <a:ext cx="0" cy="162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7306731" y="4213527"/>
                    <a:ext cx="0" cy="18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6341321" y="4217612"/>
                    <a:ext cx="0" cy="18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93" name="Rectangle 92"/>
                <p:cNvSpPr/>
                <p:nvPr/>
              </p:nvSpPr>
              <p:spPr bwMode="gray">
                <a:xfrm>
                  <a:off x="3062288" y="2336208"/>
                  <a:ext cx="28800" cy="82232"/>
                </a:xfrm>
                <a:prstGeom prst="rect">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94" name="Rectangle 93"/>
                <p:cNvSpPr/>
                <p:nvPr/>
              </p:nvSpPr>
              <p:spPr bwMode="gray">
                <a:xfrm>
                  <a:off x="3978212" y="2331292"/>
                  <a:ext cx="32400" cy="82232"/>
                </a:xfrm>
                <a:prstGeom prst="rect">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grpSp>
            <p:nvGrpSpPr>
              <p:cNvPr id="37" name="Group 36"/>
              <p:cNvGrpSpPr/>
              <p:nvPr/>
            </p:nvGrpSpPr>
            <p:grpSpPr>
              <a:xfrm flipH="1">
                <a:off x="7986525" y="4709359"/>
                <a:ext cx="846685" cy="442006"/>
                <a:chOff x="3053434" y="2117883"/>
                <a:chExt cx="965410" cy="383205"/>
              </a:xfrm>
            </p:grpSpPr>
            <p:sp>
              <p:nvSpPr>
                <p:cNvPr id="74" name="Oval 73"/>
                <p:cNvSpPr/>
                <p:nvPr/>
              </p:nvSpPr>
              <p:spPr bwMode="gray">
                <a:xfrm rot="314824">
                  <a:off x="3054661" y="2353528"/>
                  <a:ext cx="369345" cy="119993"/>
                </a:xfrm>
                <a:prstGeom prst="ellipse">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nvGrpSpPr>
                <p:cNvPr id="75" name="Group 74"/>
                <p:cNvGrpSpPr/>
                <p:nvPr/>
              </p:nvGrpSpPr>
              <p:grpSpPr>
                <a:xfrm>
                  <a:off x="3053434" y="2117883"/>
                  <a:ext cx="965410" cy="383205"/>
                  <a:chOff x="6341321" y="4092970"/>
                  <a:chExt cx="965410" cy="383205"/>
                </a:xfrm>
              </p:grpSpPr>
              <p:sp>
                <p:nvSpPr>
                  <p:cNvPr id="78" name="Oval 77"/>
                  <p:cNvSpPr/>
                  <p:nvPr/>
                </p:nvSpPr>
                <p:spPr bwMode="gray">
                  <a:xfrm>
                    <a:off x="6341321" y="4304659"/>
                    <a:ext cx="965410" cy="171516"/>
                  </a:xfrm>
                  <a:prstGeom prst="ellipse">
                    <a:avLst/>
                  </a:prstGeom>
                  <a:solidFill>
                    <a:srgbClr val="E3E48D"/>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79" name="Oval 78"/>
                  <p:cNvSpPr/>
                  <p:nvPr/>
                </p:nvSpPr>
                <p:spPr bwMode="gray">
                  <a:xfrm>
                    <a:off x="6343128" y="4122976"/>
                    <a:ext cx="963601" cy="334149"/>
                  </a:xfrm>
                  <a:prstGeom prst="ellipse">
                    <a:avLst/>
                  </a:prstGeom>
                  <a:solidFill>
                    <a:srgbClr val="E3E48D"/>
                  </a:solidFill>
                  <a:ln w="19050" algn="ctr">
                    <a:solidFill>
                      <a:srgbClr val="E3E48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80" name="Oval 79"/>
                  <p:cNvSpPr/>
                  <p:nvPr/>
                </p:nvSpPr>
                <p:spPr bwMode="gray">
                  <a:xfrm>
                    <a:off x="6341321" y="4092970"/>
                    <a:ext cx="965410" cy="248633"/>
                  </a:xfrm>
                  <a:prstGeom prst="ellipse">
                    <a:avLst/>
                  </a:prstGeom>
                  <a:solidFill>
                    <a:srgbClr val="E3E48D"/>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cxnSp>
                <p:nvCxnSpPr>
                  <p:cNvPr id="81" name="Straight Connector 80"/>
                  <p:cNvCxnSpPr/>
                  <p:nvPr/>
                </p:nvCxnSpPr>
                <p:spPr>
                  <a:xfrm>
                    <a:off x="6396814" y="4269288"/>
                    <a:ext cx="0" cy="162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6481376" y="4311295"/>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6632000" y="4329694"/>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6787911" y="4339085"/>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6949106" y="4334321"/>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7075948" y="4325589"/>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7165795" y="4311295"/>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7247713" y="4271090"/>
                    <a:ext cx="0" cy="162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7306731" y="4213527"/>
                    <a:ext cx="0" cy="18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6341321" y="4217612"/>
                    <a:ext cx="0" cy="18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6" name="Rectangle 75"/>
                <p:cNvSpPr/>
                <p:nvPr/>
              </p:nvSpPr>
              <p:spPr bwMode="gray">
                <a:xfrm>
                  <a:off x="3062288" y="2336208"/>
                  <a:ext cx="28800" cy="82232"/>
                </a:xfrm>
                <a:prstGeom prst="rect">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77" name="Rectangle 76"/>
                <p:cNvSpPr/>
                <p:nvPr/>
              </p:nvSpPr>
              <p:spPr bwMode="gray">
                <a:xfrm>
                  <a:off x="3978212" y="2331292"/>
                  <a:ext cx="32400" cy="82232"/>
                </a:xfrm>
                <a:prstGeom prst="rect">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grpSp>
            <p:nvGrpSpPr>
              <p:cNvPr id="38" name="Group 37"/>
              <p:cNvGrpSpPr/>
              <p:nvPr/>
            </p:nvGrpSpPr>
            <p:grpSpPr>
              <a:xfrm flipH="1">
                <a:off x="7928239" y="4517390"/>
                <a:ext cx="846685" cy="442006"/>
                <a:chOff x="3053434" y="2117883"/>
                <a:chExt cx="965410" cy="383205"/>
              </a:xfrm>
            </p:grpSpPr>
            <p:sp>
              <p:nvSpPr>
                <p:cNvPr id="57" name="Oval 56"/>
                <p:cNvSpPr/>
                <p:nvPr/>
              </p:nvSpPr>
              <p:spPr bwMode="gray">
                <a:xfrm rot="314824">
                  <a:off x="3054661" y="2353528"/>
                  <a:ext cx="369345" cy="119993"/>
                </a:xfrm>
                <a:prstGeom prst="ellipse">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nvGrpSpPr>
                <p:cNvPr id="58" name="Group 57"/>
                <p:cNvGrpSpPr/>
                <p:nvPr/>
              </p:nvGrpSpPr>
              <p:grpSpPr>
                <a:xfrm>
                  <a:off x="3053434" y="2117883"/>
                  <a:ext cx="965410" cy="383205"/>
                  <a:chOff x="6341321" y="4092970"/>
                  <a:chExt cx="965410" cy="383205"/>
                </a:xfrm>
              </p:grpSpPr>
              <p:sp>
                <p:nvSpPr>
                  <p:cNvPr id="61" name="Oval 60"/>
                  <p:cNvSpPr/>
                  <p:nvPr/>
                </p:nvSpPr>
                <p:spPr bwMode="gray">
                  <a:xfrm>
                    <a:off x="6341321" y="4304659"/>
                    <a:ext cx="965410" cy="171516"/>
                  </a:xfrm>
                  <a:prstGeom prst="ellipse">
                    <a:avLst/>
                  </a:prstGeom>
                  <a:solidFill>
                    <a:srgbClr val="E3E48D"/>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62" name="Oval 61"/>
                  <p:cNvSpPr/>
                  <p:nvPr/>
                </p:nvSpPr>
                <p:spPr bwMode="gray">
                  <a:xfrm>
                    <a:off x="6343128" y="4122976"/>
                    <a:ext cx="963601" cy="334149"/>
                  </a:xfrm>
                  <a:prstGeom prst="ellipse">
                    <a:avLst/>
                  </a:prstGeom>
                  <a:solidFill>
                    <a:srgbClr val="E3E48D"/>
                  </a:solidFill>
                  <a:ln w="19050" algn="ctr">
                    <a:solidFill>
                      <a:srgbClr val="E3E48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63" name="Oval 62"/>
                  <p:cNvSpPr/>
                  <p:nvPr/>
                </p:nvSpPr>
                <p:spPr bwMode="gray">
                  <a:xfrm>
                    <a:off x="6341321" y="4092970"/>
                    <a:ext cx="965410" cy="248633"/>
                  </a:xfrm>
                  <a:prstGeom prst="ellipse">
                    <a:avLst/>
                  </a:prstGeom>
                  <a:solidFill>
                    <a:srgbClr val="E3E48D"/>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cxnSp>
                <p:nvCxnSpPr>
                  <p:cNvPr id="64" name="Straight Connector 63"/>
                  <p:cNvCxnSpPr/>
                  <p:nvPr/>
                </p:nvCxnSpPr>
                <p:spPr>
                  <a:xfrm>
                    <a:off x="6396814" y="4269288"/>
                    <a:ext cx="0" cy="162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481376" y="4311295"/>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632000" y="4329694"/>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6787911" y="4339085"/>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6949106" y="4334321"/>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7075948" y="4325589"/>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7165795" y="4311295"/>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7247713" y="4271090"/>
                    <a:ext cx="0" cy="162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7306731" y="4213527"/>
                    <a:ext cx="0" cy="18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6341321" y="4217612"/>
                    <a:ext cx="0" cy="18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9" name="Rectangle 58"/>
                <p:cNvSpPr/>
                <p:nvPr/>
              </p:nvSpPr>
              <p:spPr bwMode="gray">
                <a:xfrm>
                  <a:off x="3062288" y="2336208"/>
                  <a:ext cx="28800" cy="82232"/>
                </a:xfrm>
                <a:prstGeom prst="rect">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60" name="Rectangle 59"/>
                <p:cNvSpPr/>
                <p:nvPr/>
              </p:nvSpPr>
              <p:spPr bwMode="gray">
                <a:xfrm>
                  <a:off x="3978212" y="2331292"/>
                  <a:ext cx="32400" cy="82232"/>
                </a:xfrm>
                <a:prstGeom prst="rect">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grpSp>
            <p:nvGrpSpPr>
              <p:cNvPr id="39" name="Group 38"/>
              <p:cNvGrpSpPr/>
              <p:nvPr/>
            </p:nvGrpSpPr>
            <p:grpSpPr>
              <a:xfrm flipH="1">
                <a:off x="8037758" y="4331706"/>
                <a:ext cx="846685" cy="442006"/>
                <a:chOff x="3053434" y="2117883"/>
                <a:chExt cx="965410" cy="383205"/>
              </a:xfrm>
            </p:grpSpPr>
            <p:sp>
              <p:nvSpPr>
                <p:cNvPr id="40" name="Oval 39"/>
                <p:cNvSpPr/>
                <p:nvPr/>
              </p:nvSpPr>
              <p:spPr bwMode="gray">
                <a:xfrm rot="314824">
                  <a:off x="3054661" y="2353528"/>
                  <a:ext cx="369345" cy="119993"/>
                </a:xfrm>
                <a:prstGeom prst="ellipse">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nvGrpSpPr>
                <p:cNvPr id="41" name="Group 40"/>
                <p:cNvGrpSpPr/>
                <p:nvPr/>
              </p:nvGrpSpPr>
              <p:grpSpPr>
                <a:xfrm>
                  <a:off x="3053434" y="2117883"/>
                  <a:ext cx="965410" cy="383205"/>
                  <a:chOff x="6341321" y="4092970"/>
                  <a:chExt cx="965410" cy="383205"/>
                </a:xfrm>
              </p:grpSpPr>
              <p:sp>
                <p:nvSpPr>
                  <p:cNvPr id="44" name="Oval 43"/>
                  <p:cNvSpPr/>
                  <p:nvPr/>
                </p:nvSpPr>
                <p:spPr bwMode="gray">
                  <a:xfrm>
                    <a:off x="6341321" y="4304659"/>
                    <a:ext cx="965410" cy="171516"/>
                  </a:xfrm>
                  <a:prstGeom prst="ellipse">
                    <a:avLst/>
                  </a:prstGeom>
                  <a:solidFill>
                    <a:srgbClr val="E3E48D"/>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45" name="Oval 44"/>
                  <p:cNvSpPr/>
                  <p:nvPr/>
                </p:nvSpPr>
                <p:spPr bwMode="gray">
                  <a:xfrm>
                    <a:off x="6343128" y="4122976"/>
                    <a:ext cx="963601" cy="334149"/>
                  </a:xfrm>
                  <a:prstGeom prst="ellipse">
                    <a:avLst/>
                  </a:prstGeom>
                  <a:solidFill>
                    <a:srgbClr val="E3E48D"/>
                  </a:solidFill>
                  <a:ln w="19050" algn="ctr">
                    <a:solidFill>
                      <a:srgbClr val="E3E48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46" name="Oval 45"/>
                  <p:cNvSpPr/>
                  <p:nvPr/>
                </p:nvSpPr>
                <p:spPr bwMode="gray">
                  <a:xfrm>
                    <a:off x="6341321" y="4092970"/>
                    <a:ext cx="965410" cy="248633"/>
                  </a:xfrm>
                  <a:prstGeom prst="ellipse">
                    <a:avLst/>
                  </a:prstGeom>
                  <a:solidFill>
                    <a:srgbClr val="E3E48D"/>
                  </a:solid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cxnSp>
                <p:nvCxnSpPr>
                  <p:cNvPr id="47" name="Straight Connector 46"/>
                  <p:cNvCxnSpPr/>
                  <p:nvPr/>
                </p:nvCxnSpPr>
                <p:spPr>
                  <a:xfrm>
                    <a:off x="6396814" y="4269288"/>
                    <a:ext cx="0" cy="162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6481376" y="4311295"/>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6632000" y="4329694"/>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6787911" y="4339085"/>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949106" y="4334321"/>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7075948" y="4325589"/>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7165795" y="4311295"/>
                    <a:ext cx="0" cy="13709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7247713" y="4271090"/>
                    <a:ext cx="0" cy="162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7306731" y="4213527"/>
                    <a:ext cx="0" cy="18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341321" y="4217612"/>
                    <a:ext cx="0" cy="18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2" name="Rectangle 41"/>
                <p:cNvSpPr/>
                <p:nvPr/>
              </p:nvSpPr>
              <p:spPr bwMode="gray">
                <a:xfrm>
                  <a:off x="3062288" y="2336208"/>
                  <a:ext cx="28800" cy="82232"/>
                </a:xfrm>
                <a:prstGeom prst="rect">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43" name="Rectangle 42"/>
                <p:cNvSpPr/>
                <p:nvPr/>
              </p:nvSpPr>
              <p:spPr bwMode="gray">
                <a:xfrm>
                  <a:off x="3978212" y="2331292"/>
                  <a:ext cx="32400" cy="82232"/>
                </a:xfrm>
                <a:prstGeom prst="rect">
                  <a:avLst/>
                </a:prstGeom>
                <a:solidFill>
                  <a:srgbClr val="E3E48D"/>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grpSp>
        <p:sp>
          <p:nvSpPr>
            <p:cNvPr id="193" name="Oval 192"/>
            <p:cNvSpPr/>
            <p:nvPr/>
          </p:nvSpPr>
          <p:spPr bwMode="gray">
            <a:xfrm rot="314824">
              <a:off x="-88474" y="3691420"/>
              <a:ext cx="323923" cy="138405"/>
            </a:xfrm>
            <a:prstGeom prst="ellipse">
              <a:avLst/>
            </a:prstGeom>
            <a:solidFill>
              <a:srgbClr val="E0F3B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nvGrpSpPr>
            <p:cNvPr id="194" name="Group 193"/>
            <p:cNvGrpSpPr/>
            <p:nvPr/>
          </p:nvGrpSpPr>
          <p:grpSpPr>
            <a:xfrm>
              <a:off x="-89551" y="3419616"/>
              <a:ext cx="846685" cy="442006"/>
              <a:chOff x="6341321" y="4092970"/>
              <a:chExt cx="965410" cy="383205"/>
            </a:xfrm>
            <a:solidFill>
              <a:srgbClr val="E0F3BF"/>
            </a:solidFill>
          </p:grpSpPr>
          <p:sp>
            <p:nvSpPr>
              <p:cNvPr id="195" name="Oval 194"/>
              <p:cNvSpPr/>
              <p:nvPr/>
            </p:nvSpPr>
            <p:spPr bwMode="gray">
              <a:xfrm>
                <a:off x="6341321" y="4304659"/>
                <a:ext cx="965410" cy="171516"/>
              </a:xfrm>
              <a:prstGeom prst="ellipse">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96" name="Oval 195"/>
              <p:cNvSpPr/>
              <p:nvPr/>
            </p:nvSpPr>
            <p:spPr bwMode="gray">
              <a:xfrm>
                <a:off x="6343128" y="4122976"/>
                <a:ext cx="963601" cy="334149"/>
              </a:xfrm>
              <a:prstGeom prst="ellipse">
                <a:avLst/>
              </a:prstGeom>
              <a:grpFill/>
              <a:ln w="19050" algn="ctr">
                <a:solidFill>
                  <a:srgbClr val="E3E48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97" name="Oval 196"/>
              <p:cNvSpPr/>
              <p:nvPr/>
            </p:nvSpPr>
            <p:spPr bwMode="gray">
              <a:xfrm>
                <a:off x="6341321" y="4092970"/>
                <a:ext cx="965410" cy="248633"/>
              </a:xfrm>
              <a:prstGeom prst="ellipse">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cxnSp>
            <p:nvCxnSpPr>
              <p:cNvPr id="198" name="Straight Connector 197"/>
              <p:cNvCxnSpPr/>
              <p:nvPr/>
            </p:nvCxnSpPr>
            <p:spPr>
              <a:xfrm>
                <a:off x="6396814" y="4269288"/>
                <a:ext cx="0" cy="162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a:off x="6481376" y="431129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p:nvCxnSpPr>
            <p:spPr>
              <a:xfrm>
                <a:off x="6632000" y="4329694"/>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p:nvCxnSpPr>
            <p:spPr>
              <a:xfrm>
                <a:off x="6787911" y="433908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p:cNvCxnSpPr/>
              <p:nvPr/>
            </p:nvCxnSpPr>
            <p:spPr>
              <a:xfrm>
                <a:off x="6949106" y="4334321"/>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7075948" y="4325589"/>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a:xfrm>
                <a:off x="7165795" y="431129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a:off x="7247713" y="4271090"/>
                <a:ext cx="0" cy="162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a:off x="7306731" y="4213527"/>
                <a:ext cx="0" cy="180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a:off x="6341321" y="4217612"/>
                <a:ext cx="0" cy="180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08" name="Rectangle 207"/>
            <p:cNvSpPr/>
            <p:nvPr/>
          </p:nvSpPr>
          <p:spPr bwMode="gray">
            <a:xfrm>
              <a:off x="-81785" y="3671442"/>
              <a:ext cx="25258" cy="94850"/>
            </a:xfrm>
            <a:prstGeom prst="rect">
              <a:avLst/>
            </a:prstGeom>
            <a:solidFill>
              <a:srgbClr val="E0F3B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209" name="Rectangle 208"/>
            <p:cNvSpPr/>
            <p:nvPr/>
          </p:nvSpPr>
          <p:spPr bwMode="gray">
            <a:xfrm>
              <a:off x="721500" y="3665771"/>
              <a:ext cx="28415" cy="94850"/>
            </a:xfrm>
            <a:prstGeom prst="rect">
              <a:avLst/>
            </a:prstGeom>
            <a:solidFill>
              <a:srgbClr val="E0F3B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210" name="Oval 209"/>
            <p:cNvSpPr/>
            <p:nvPr/>
          </p:nvSpPr>
          <p:spPr bwMode="gray">
            <a:xfrm rot="314824">
              <a:off x="-222132" y="3515634"/>
              <a:ext cx="323923" cy="138405"/>
            </a:xfrm>
            <a:prstGeom prst="ellipse">
              <a:avLst/>
            </a:prstGeom>
            <a:solidFill>
              <a:srgbClr val="E0F3B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nvGrpSpPr>
            <p:cNvPr id="211" name="Group 210"/>
            <p:cNvGrpSpPr/>
            <p:nvPr/>
          </p:nvGrpSpPr>
          <p:grpSpPr>
            <a:xfrm>
              <a:off x="-223208" y="3243831"/>
              <a:ext cx="846685" cy="442006"/>
              <a:chOff x="6341321" y="4092970"/>
              <a:chExt cx="965410" cy="383205"/>
            </a:xfrm>
            <a:solidFill>
              <a:srgbClr val="E0F3BF"/>
            </a:solidFill>
          </p:grpSpPr>
          <p:sp>
            <p:nvSpPr>
              <p:cNvPr id="212" name="Oval 211"/>
              <p:cNvSpPr/>
              <p:nvPr/>
            </p:nvSpPr>
            <p:spPr bwMode="gray">
              <a:xfrm>
                <a:off x="6341321" y="4304659"/>
                <a:ext cx="965410" cy="171516"/>
              </a:xfrm>
              <a:prstGeom prst="ellipse">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213" name="Oval 212"/>
              <p:cNvSpPr/>
              <p:nvPr/>
            </p:nvSpPr>
            <p:spPr bwMode="gray">
              <a:xfrm>
                <a:off x="6343128" y="4122976"/>
                <a:ext cx="963601" cy="334149"/>
              </a:xfrm>
              <a:prstGeom prst="ellipse">
                <a:avLst/>
              </a:prstGeom>
              <a:grpFill/>
              <a:ln w="19050" algn="ctr">
                <a:solidFill>
                  <a:srgbClr val="E3E48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214" name="Oval 213"/>
              <p:cNvSpPr/>
              <p:nvPr/>
            </p:nvSpPr>
            <p:spPr bwMode="gray">
              <a:xfrm>
                <a:off x="6341321" y="4092970"/>
                <a:ext cx="965410" cy="248633"/>
              </a:xfrm>
              <a:prstGeom prst="ellipse">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cxnSp>
            <p:nvCxnSpPr>
              <p:cNvPr id="215" name="Straight Connector 214"/>
              <p:cNvCxnSpPr/>
              <p:nvPr/>
            </p:nvCxnSpPr>
            <p:spPr>
              <a:xfrm>
                <a:off x="6396814" y="4269288"/>
                <a:ext cx="0" cy="162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a:off x="6481376" y="431129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p:nvPr/>
            </p:nvCxnSpPr>
            <p:spPr>
              <a:xfrm>
                <a:off x="6632000" y="4329694"/>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6787911" y="433908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a:off x="6949106" y="4334321"/>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7075948" y="4325589"/>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p:nvCxnSpPr>
            <p:spPr>
              <a:xfrm>
                <a:off x="7165795" y="431129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a:xfrm>
                <a:off x="7247713" y="4271090"/>
                <a:ext cx="0" cy="162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a:off x="7306731" y="4213527"/>
                <a:ext cx="0" cy="180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6341321" y="4217612"/>
                <a:ext cx="0" cy="180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25" name="Rectangle 224"/>
            <p:cNvSpPr/>
            <p:nvPr/>
          </p:nvSpPr>
          <p:spPr bwMode="gray">
            <a:xfrm>
              <a:off x="-215443" y="3495657"/>
              <a:ext cx="25258" cy="94850"/>
            </a:xfrm>
            <a:prstGeom prst="rect">
              <a:avLst/>
            </a:prstGeom>
            <a:solidFill>
              <a:srgbClr val="E0F3B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226" name="Rectangle 225"/>
            <p:cNvSpPr/>
            <p:nvPr/>
          </p:nvSpPr>
          <p:spPr bwMode="gray">
            <a:xfrm>
              <a:off x="587842" y="3489986"/>
              <a:ext cx="28415" cy="94850"/>
            </a:xfrm>
            <a:prstGeom prst="rect">
              <a:avLst/>
            </a:prstGeom>
            <a:solidFill>
              <a:srgbClr val="E0F3B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227" name="Oval 226"/>
            <p:cNvSpPr/>
            <p:nvPr/>
          </p:nvSpPr>
          <p:spPr bwMode="gray">
            <a:xfrm rot="314824">
              <a:off x="-139395" y="3323108"/>
              <a:ext cx="323923" cy="138405"/>
            </a:xfrm>
            <a:prstGeom prst="ellipse">
              <a:avLst/>
            </a:prstGeom>
            <a:solidFill>
              <a:srgbClr val="E0F3B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nvGrpSpPr>
            <p:cNvPr id="228" name="Group 227"/>
            <p:cNvGrpSpPr/>
            <p:nvPr/>
          </p:nvGrpSpPr>
          <p:grpSpPr>
            <a:xfrm>
              <a:off x="-140472" y="3051304"/>
              <a:ext cx="846685" cy="442006"/>
              <a:chOff x="6341321" y="4092970"/>
              <a:chExt cx="965410" cy="383205"/>
            </a:xfrm>
            <a:solidFill>
              <a:srgbClr val="E0F3BF"/>
            </a:solidFill>
          </p:grpSpPr>
          <p:sp>
            <p:nvSpPr>
              <p:cNvPr id="229" name="Oval 228"/>
              <p:cNvSpPr/>
              <p:nvPr/>
            </p:nvSpPr>
            <p:spPr bwMode="gray">
              <a:xfrm>
                <a:off x="6341321" y="4304659"/>
                <a:ext cx="965410" cy="171516"/>
              </a:xfrm>
              <a:prstGeom prst="ellipse">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230" name="Oval 229"/>
              <p:cNvSpPr/>
              <p:nvPr/>
            </p:nvSpPr>
            <p:spPr bwMode="gray">
              <a:xfrm>
                <a:off x="6343128" y="4122976"/>
                <a:ext cx="963601" cy="334149"/>
              </a:xfrm>
              <a:prstGeom prst="ellipse">
                <a:avLst/>
              </a:prstGeom>
              <a:grpFill/>
              <a:ln w="19050" algn="ctr">
                <a:solidFill>
                  <a:srgbClr val="E3E48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231" name="Oval 230"/>
              <p:cNvSpPr/>
              <p:nvPr/>
            </p:nvSpPr>
            <p:spPr bwMode="gray">
              <a:xfrm>
                <a:off x="6341321" y="4092970"/>
                <a:ext cx="965410" cy="248633"/>
              </a:xfrm>
              <a:prstGeom prst="ellipse">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cxnSp>
            <p:nvCxnSpPr>
              <p:cNvPr id="232" name="Straight Connector 231"/>
              <p:cNvCxnSpPr/>
              <p:nvPr/>
            </p:nvCxnSpPr>
            <p:spPr>
              <a:xfrm>
                <a:off x="6396814" y="4269288"/>
                <a:ext cx="0" cy="162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p:cNvCxnSpPr/>
              <p:nvPr/>
            </p:nvCxnSpPr>
            <p:spPr>
              <a:xfrm>
                <a:off x="6481376" y="431129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p:nvCxnSpPr>
            <p:spPr>
              <a:xfrm>
                <a:off x="6632000" y="4329694"/>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a:off x="6787911" y="433908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nvCxnSpPr>
            <p:spPr>
              <a:xfrm>
                <a:off x="6949106" y="4334321"/>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nvCxnSpPr>
            <p:spPr>
              <a:xfrm>
                <a:off x="7075948" y="4325589"/>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nvCxnSpPr>
            <p:spPr>
              <a:xfrm>
                <a:off x="7165795" y="431129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p:cNvCxnSpPr/>
              <p:nvPr/>
            </p:nvCxnSpPr>
            <p:spPr>
              <a:xfrm>
                <a:off x="7247713" y="4271090"/>
                <a:ext cx="0" cy="162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p:nvCxnSpPr>
            <p:spPr>
              <a:xfrm>
                <a:off x="7306731" y="4213527"/>
                <a:ext cx="0" cy="180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p:nvCxnSpPr>
            <p:spPr>
              <a:xfrm>
                <a:off x="6341321" y="4217612"/>
                <a:ext cx="0" cy="180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42" name="Rectangle 241"/>
            <p:cNvSpPr/>
            <p:nvPr/>
          </p:nvSpPr>
          <p:spPr bwMode="gray">
            <a:xfrm>
              <a:off x="-132706" y="3303130"/>
              <a:ext cx="25258" cy="94850"/>
            </a:xfrm>
            <a:prstGeom prst="rect">
              <a:avLst/>
            </a:prstGeom>
            <a:solidFill>
              <a:srgbClr val="E0F3B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243" name="Rectangle 242"/>
            <p:cNvSpPr/>
            <p:nvPr/>
          </p:nvSpPr>
          <p:spPr bwMode="gray">
            <a:xfrm>
              <a:off x="670578" y="3297460"/>
              <a:ext cx="28415" cy="94850"/>
            </a:xfrm>
            <a:prstGeom prst="rect">
              <a:avLst/>
            </a:prstGeom>
            <a:solidFill>
              <a:srgbClr val="E0F3B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244" name="Oval 243"/>
            <p:cNvSpPr/>
            <p:nvPr/>
          </p:nvSpPr>
          <p:spPr bwMode="gray">
            <a:xfrm rot="314824">
              <a:off x="-218708" y="3118842"/>
              <a:ext cx="323923" cy="138405"/>
            </a:xfrm>
            <a:prstGeom prst="ellipse">
              <a:avLst/>
            </a:prstGeom>
            <a:solidFill>
              <a:srgbClr val="E0F3B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nvGrpSpPr>
            <p:cNvPr id="245" name="Group 244"/>
            <p:cNvGrpSpPr/>
            <p:nvPr/>
          </p:nvGrpSpPr>
          <p:grpSpPr>
            <a:xfrm>
              <a:off x="-219785" y="2847038"/>
              <a:ext cx="846685" cy="442006"/>
              <a:chOff x="6341321" y="4092970"/>
              <a:chExt cx="965410" cy="383205"/>
            </a:xfrm>
            <a:solidFill>
              <a:srgbClr val="E0F3BF"/>
            </a:solidFill>
          </p:grpSpPr>
          <p:sp>
            <p:nvSpPr>
              <p:cNvPr id="246" name="Oval 245"/>
              <p:cNvSpPr/>
              <p:nvPr/>
            </p:nvSpPr>
            <p:spPr bwMode="gray">
              <a:xfrm>
                <a:off x="6341321" y="4304659"/>
                <a:ext cx="965410" cy="171516"/>
              </a:xfrm>
              <a:prstGeom prst="ellipse">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247" name="Oval 246"/>
              <p:cNvSpPr/>
              <p:nvPr/>
            </p:nvSpPr>
            <p:spPr bwMode="gray">
              <a:xfrm>
                <a:off x="6343128" y="4122976"/>
                <a:ext cx="963601" cy="334149"/>
              </a:xfrm>
              <a:prstGeom prst="ellipse">
                <a:avLst/>
              </a:prstGeom>
              <a:grpFill/>
              <a:ln w="19050" algn="ctr">
                <a:solidFill>
                  <a:srgbClr val="E3E48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248" name="Oval 247"/>
              <p:cNvSpPr/>
              <p:nvPr/>
            </p:nvSpPr>
            <p:spPr bwMode="gray">
              <a:xfrm>
                <a:off x="6341321" y="4092970"/>
                <a:ext cx="965410" cy="248633"/>
              </a:xfrm>
              <a:prstGeom prst="ellipse">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cxnSp>
            <p:nvCxnSpPr>
              <p:cNvPr id="249" name="Straight Connector 248"/>
              <p:cNvCxnSpPr/>
              <p:nvPr/>
            </p:nvCxnSpPr>
            <p:spPr>
              <a:xfrm>
                <a:off x="6396814" y="4269288"/>
                <a:ext cx="0" cy="162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0" name="Straight Connector 249"/>
              <p:cNvCxnSpPr/>
              <p:nvPr/>
            </p:nvCxnSpPr>
            <p:spPr>
              <a:xfrm>
                <a:off x="6481376" y="431129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p:cNvCxnSpPr/>
              <p:nvPr/>
            </p:nvCxnSpPr>
            <p:spPr>
              <a:xfrm>
                <a:off x="6632000" y="4329694"/>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p:cNvCxnSpPr/>
              <p:nvPr/>
            </p:nvCxnSpPr>
            <p:spPr>
              <a:xfrm>
                <a:off x="6787911" y="433908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p:cNvCxnSpPr/>
              <p:nvPr/>
            </p:nvCxnSpPr>
            <p:spPr>
              <a:xfrm>
                <a:off x="6949106" y="4334321"/>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4" name="Straight Connector 253"/>
              <p:cNvCxnSpPr/>
              <p:nvPr/>
            </p:nvCxnSpPr>
            <p:spPr>
              <a:xfrm>
                <a:off x="7075948" y="4325589"/>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p:nvCxnSpPr>
            <p:spPr>
              <a:xfrm>
                <a:off x="7165795" y="431129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6" name="Straight Connector 255"/>
              <p:cNvCxnSpPr/>
              <p:nvPr/>
            </p:nvCxnSpPr>
            <p:spPr>
              <a:xfrm>
                <a:off x="7247713" y="4271090"/>
                <a:ext cx="0" cy="162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p:nvCxnSpPr>
            <p:spPr>
              <a:xfrm>
                <a:off x="7306731" y="4213527"/>
                <a:ext cx="0" cy="180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p:nvCxnSpPr>
            <p:spPr>
              <a:xfrm>
                <a:off x="6341321" y="4217612"/>
                <a:ext cx="0" cy="180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9" name="Rectangle 258"/>
            <p:cNvSpPr/>
            <p:nvPr/>
          </p:nvSpPr>
          <p:spPr bwMode="gray">
            <a:xfrm>
              <a:off x="-212019" y="3098864"/>
              <a:ext cx="25258" cy="94850"/>
            </a:xfrm>
            <a:prstGeom prst="rect">
              <a:avLst/>
            </a:prstGeom>
            <a:solidFill>
              <a:srgbClr val="E0F3B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260" name="Rectangle 259"/>
            <p:cNvSpPr/>
            <p:nvPr/>
          </p:nvSpPr>
          <p:spPr bwMode="gray">
            <a:xfrm>
              <a:off x="591266" y="3093194"/>
              <a:ext cx="28415" cy="94850"/>
            </a:xfrm>
            <a:prstGeom prst="rect">
              <a:avLst/>
            </a:prstGeom>
            <a:solidFill>
              <a:srgbClr val="E0F3B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261" name="Oval 260"/>
            <p:cNvSpPr/>
            <p:nvPr/>
          </p:nvSpPr>
          <p:spPr bwMode="gray">
            <a:xfrm rot="314824">
              <a:off x="-144023" y="2934268"/>
              <a:ext cx="323923" cy="138405"/>
            </a:xfrm>
            <a:prstGeom prst="ellipse">
              <a:avLst/>
            </a:prstGeom>
            <a:solidFill>
              <a:srgbClr val="E0F3B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262" name="Rectangle 261"/>
            <p:cNvSpPr/>
            <p:nvPr/>
          </p:nvSpPr>
          <p:spPr bwMode="gray">
            <a:xfrm>
              <a:off x="-137334" y="2914290"/>
              <a:ext cx="25258" cy="94850"/>
            </a:xfrm>
            <a:prstGeom prst="rect">
              <a:avLst/>
            </a:prstGeom>
            <a:solidFill>
              <a:srgbClr val="E0F3B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263" name="Rectangle 262"/>
            <p:cNvSpPr/>
            <p:nvPr/>
          </p:nvSpPr>
          <p:spPr>
            <a:xfrm>
              <a:off x="-2525614" y="1529386"/>
              <a:ext cx="928459" cy="307777"/>
            </a:xfrm>
            <a:prstGeom prst="rect">
              <a:avLst/>
            </a:prstGeom>
          </p:spPr>
          <p:txBody>
            <a:bodyPr wrap="none">
              <a:spAutoFit/>
            </a:bodyPr>
            <a:lstStyle/>
            <a:p>
              <a:r>
                <a:rPr lang="fr-FR" sz="1400" b="1" dirty="0">
                  <a:latin typeface="+mj-lt"/>
                </a:rPr>
                <a:t>110 M$</a:t>
              </a:r>
            </a:p>
          </p:txBody>
        </p:sp>
        <p:sp>
          <p:nvSpPr>
            <p:cNvPr id="264" name="Rectangle 263"/>
            <p:cNvSpPr/>
            <p:nvPr/>
          </p:nvSpPr>
          <p:spPr>
            <a:xfrm>
              <a:off x="-1356636" y="1887970"/>
              <a:ext cx="928459" cy="307777"/>
            </a:xfrm>
            <a:prstGeom prst="rect">
              <a:avLst/>
            </a:prstGeom>
          </p:spPr>
          <p:txBody>
            <a:bodyPr wrap="none">
              <a:spAutoFit/>
            </a:bodyPr>
            <a:lstStyle/>
            <a:p>
              <a:r>
                <a:rPr lang="fr-FR" sz="1400" b="1" dirty="0">
                  <a:latin typeface="+mj-lt"/>
                </a:rPr>
                <a:t>100 M$</a:t>
              </a:r>
            </a:p>
          </p:txBody>
        </p:sp>
        <p:sp>
          <p:nvSpPr>
            <p:cNvPr id="265" name="Rectangle 264"/>
            <p:cNvSpPr/>
            <p:nvPr/>
          </p:nvSpPr>
          <p:spPr>
            <a:xfrm>
              <a:off x="-181502" y="2462178"/>
              <a:ext cx="1120820" cy="307777"/>
            </a:xfrm>
            <a:prstGeom prst="rect">
              <a:avLst/>
            </a:prstGeom>
          </p:spPr>
          <p:txBody>
            <a:bodyPr wrap="none">
              <a:spAutoFit/>
            </a:bodyPr>
            <a:lstStyle/>
            <a:p>
              <a:r>
                <a:rPr lang="fr-FR" sz="1400" b="1" dirty="0">
                  <a:latin typeface="+mj-lt"/>
                </a:rPr>
                <a:t>75,26 M$</a:t>
              </a:r>
            </a:p>
          </p:txBody>
        </p:sp>
        <p:grpSp>
          <p:nvGrpSpPr>
            <p:cNvPr id="266" name="Group 265"/>
            <p:cNvGrpSpPr/>
            <p:nvPr/>
          </p:nvGrpSpPr>
          <p:grpSpPr>
            <a:xfrm>
              <a:off x="-1415033" y="2270704"/>
              <a:ext cx="971142" cy="1590918"/>
              <a:chOff x="6310376" y="3939761"/>
              <a:chExt cx="971142" cy="1590918"/>
            </a:xfrm>
          </p:grpSpPr>
          <p:grpSp>
            <p:nvGrpSpPr>
              <p:cNvPr id="267" name="Group 266"/>
              <p:cNvGrpSpPr/>
              <p:nvPr/>
            </p:nvGrpSpPr>
            <p:grpSpPr>
              <a:xfrm>
                <a:off x="6434833" y="5088673"/>
                <a:ext cx="846685" cy="442006"/>
                <a:chOff x="3053434" y="2117883"/>
                <a:chExt cx="965410" cy="383205"/>
              </a:xfrm>
              <a:solidFill>
                <a:schemeClr val="accent6">
                  <a:lumMod val="20000"/>
                  <a:lumOff val="80000"/>
                </a:schemeClr>
              </a:solidFill>
            </p:grpSpPr>
            <p:sp>
              <p:nvSpPr>
                <p:cNvPr id="376" name="Oval 375"/>
                <p:cNvSpPr/>
                <p:nvPr/>
              </p:nvSpPr>
              <p:spPr bwMode="gray">
                <a:xfrm rot="314824">
                  <a:off x="3054661" y="2353528"/>
                  <a:ext cx="369345" cy="119993"/>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nvGrpSpPr>
                <p:cNvPr id="377" name="Group 376"/>
                <p:cNvGrpSpPr/>
                <p:nvPr/>
              </p:nvGrpSpPr>
              <p:grpSpPr>
                <a:xfrm>
                  <a:off x="3053434" y="2117883"/>
                  <a:ext cx="965410" cy="383205"/>
                  <a:chOff x="6341321" y="4092970"/>
                  <a:chExt cx="965410" cy="383205"/>
                </a:xfrm>
                <a:grpFill/>
              </p:grpSpPr>
              <p:sp>
                <p:nvSpPr>
                  <p:cNvPr id="380" name="Oval 379"/>
                  <p:cNvSpPr/>
                  <p:nvPr/>
                </p:nvSpPr>
                <p:spPr bwMode="gray">
                  <a:xfrm>
                    <a:off x="6341321" y="4304659"/>
                    <a:ext cx="965410" cy="171516"/>
                  </a:xfrm>
                  <a:prstGeom prst="ellipse">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381" name="Oval 380"/>
                  <p:cNvSpPr/>
                  <p:nvPr/>
                </p:nvSpPr>
                <p:spPr bwMode="gray">
                  <a:xfrm>
                    <a:off x="6343128" y="4122976"/>
                    <a:ext cx="963601" cy="334149"/>
                  </a:xfrm>
                  <a:prstGeom prst="ellipse">
                    <a:avLst/>
                  </a:prstGeom>
                  <a:grpFill/>
                  <a:ln w="19050" algn="ctr">
                    <a:solidFill>
                      <a:srgbClr val="E3E48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382" name="Oval 381"/>
                  <p:cNvSpPr/>
                  <p:nvPr/>
                </p:nvSpPr>
                <p:spPr bwMode="gray">
                  <a:xfrm>
                    <a:off x="6341321" y="4092970"/>
                    <a:ext cx="965410" cy="248633"/>
                  </a:xfrm>
                  <a:prstGeom prst="ellipse">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cxnSp>
                <p:nvCxnSpPr>
                  <p:cNvPr id="383" name="Straight Connector 382"/>
                  <p:cNvCxnSpPr/>
                  <p:nvPr/>
                </p:nvCxnSpPr>
                <p:spPr>
                  <a:xfrm>
                    <a:off x="6396814" y="4269288"/>
                    <a:ext cx="0" cy="162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4" name="Straight Connector 383"/>
                  <p:cNvCxnSpPr/>
                  <p:nvPr/>
                </p:nvCxnSpPr>
                <p:spPr>
                  <a:xfrm>
                    <a:off x="6481376" y="431129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p:cNvCxnSpPr/>
                  <p:nvPr/>
                </p:nvCxnSpPr>
                <p:spPr>
                  <a:xfrm>
                    <a:off x="6632000" y="4329694"/>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p:cNvCxnSpPr/>
                  <p:nvPr/>
                </p:nvCxnSpPr>
                <p:spPr>
                  <a:xfrm>
                    <a:off x="6787911" y="433908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7" name="Straight Connector 386"/>
                  <p:cNvCxnSpPr/>
                  <p:nvPr/>
                </p:nvCxnSpPr>
                <p:spPr>
                  <a:xfrm>
                    <a:off x="6949106" y="4334321"/>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8" name="Straight Connector 387"/>
                  <p:cNvCxnSpPr/>
                  <p:nvPr/>
                </p:nvCxnSpPr>
                <p:spPr>
                  <a:xfrm>
                    <a:off x="7075948" y="4325589"/>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9" name="Straight Connector 388"/>
                  <p:cNvCxnSpPr/>
                  <p:nvPr/>
                </p:nvCxnSpPr>
                <p:spPr>
                  <a:xfrm>
                    <a:off x="7165795" y="431129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2" name="Straight Connector 391"/>
                  <p:cNvCxnSpPr/>
                  <p:nvPr/>
                </p:nvCxnSpPr>
                <p:spPr>
                  <a:xfrm>
                    <a:off x="7247713" y="4271090"/>
                    <a:ext cx="0" cy="162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5" name="Straight Connector 394"/>
                  <p:cNvCxnSpPr/>
                  <p:nvPr/>
                </p:nvCxnSpPr>
                <p:spPr>
                  <a:xfrm>
                    <a:off x="7306731" y="4213527"/>
                    <a:ext cx="0" cy="180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7" name="Straight Connector 396"/>
                  <p:cNvCxnSpPr/>
                  <p:nvPr/>
                </p:nvCxnSpPr>
                <p:spPr>
                  <a:xfrm>
                    <a:off x="6341321" y="4217612"/>
                    <a:ext cx="0" cy="180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78" name="Rectangle 377"/>
                <p:cNvSpPr/>
                <p:nvPr/>
              </p:nvSpPr>
              <p:spPr bwMode="gray">
                <a:xfrm>
                  <a:off x="3062288" y="2336208"/>
                  <a:ext cx="28800" cy="8223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379" name="Rectangle 378"/>
                <p:cNvSpPr/>
                <p:nvPr/>
              </p:nvSpPr>
              <p:spPr bwMode="gray">
                <a:xfrm>
                  <a:off x="3978212" y="2331292"/>
                  <a:ext cx="32400" cy="8223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grpSp>
            <p:nvGrpSpPr>
              <p:cNvPr id="268" name="Group 267"/>
              <p:cNvGrpSpPr/>
              <p:nvPr/>
            </p:nvGrpSpPr>
            <p:grpSpPr>
              <a:xfrm>
                <a:off x="6325232" y="4912888"/>
                <a:ext cx="846685" cy="442006"/>
                <a:chOff x="3053434" y="2117883"/>
                <a:chExt cx="965410" cy="383205"/>
              </a:xfrm>
              <a:solidFill>
                <a:schemeClr val="accent6">
                  <a:lumMod val="20000"/>
                  <a:lumOff val="80000"/>
                </a:schemeClr>
              </a:solidFill>
            </p:grpSpPr>
            <p:sp>
              <p:nvSpPr>
                <p:cNvPr id="359" name="Oval 358"/>
                <p:cNvSpPr/>
                <p:nvPr/>
              </p:nvSpPr>
              <p:spPr bwMode="gray">
                <a:xfrm rot="314824">
                  <a:off x="3054661" y="2353528"/>
                  <a:ext cx="369345" cy="119993"/>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nvGrpSpPr>
                <p:cNvPr id="360" name="Group 359"/>
                <p:cNvGrpSpPr/>
                <p:nvPr/>
              </p:nvGrpSpPr>
              <p:grpSpPr>
                <a:xfrm>
                  <a:off x="3053434" y="2117883"/>
                  <a:ext cx="965410" cy="383205"/>
                  <a:chOff x="6341321" y="4092970"/>
                  <a:chExt cx="965410" cy="383205"/>
                </a:xfrm>
                <a:grpFill/>
              </p:grpSpPr>
              <p:sp>
                <p:nvSpPr>
                  <p:cNvPr id="363" name="Oval 362"/>
                  <p:cNvSpPr/>
                  <p:nvPr/>
                </p:nvSpPr>
                <p:spPr bwMode="gray">
                  <a:xfrm>
                    <a:off x="6341321" y="4304659"/>
                    <a:ext cx="965410" cy="171516"/>
                  </a:xfrm>
                  <a:prstGeom prst="ellipse">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364" name="Oval 363"/>
                  <p:cNvSpPr/>
                  <p:nvPr/>
                </p:nvSpPr>
                <p:spPr bwMode="gray">
                  <a:xfrm>
                    <a:off x="6343128" y="4122976"/>
                    <a:ext cx="963601" cy="334149"/>
                  </a:xfrm>
                  <a:prstGeom prst="ellipse">
                    <a:avLst/>
                  </a:prstGeom>
                  <a:grpFill/>
                  <a:ln w="19050" algn="ctr">
                    <a:solidFill>
                      <a:srgbClr val="E3E48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365" name="Oval 364"/>
                  <p:cNvSpPr/>
                  <p:nvPr/>
                </p:nvSpPr>
                <p:spPr bwMode="gray">
                  <a:xfrm>
                    <a:off x="6341321" y="4092970"/>
                    <a:ext cx="965410" cy="248633"/>
                  </a:xfrm>
                  <a:prstGeom prst="ellipse">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cxnSp>
                <p:nvCxnSpPr>
                  <p:cNvPr id="366" name="Straight Connector 365"/>
                  <p:cNvCxnSpPr/>
                  <p:nvPr/>
                </p:nvCxnSpPr>
                <p:spPr>
                  <a:xfrm>
                    <a:off x="6396814" y="4269288"/>
                    <a:ext cx="0" cy="162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7" name="Straight Connector 366"/>
                  <p:cNvCxnSpPr/>
                  <p:nvPr/>
                </p:nvCxnSpPr>
                <p:spPr>
                  <a:xfrm>
                    <a:off x="6481376" y="431129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8" name="Straight Connector 367"/>
                  <p:cNvCxnSpPr/>
                  <p:nvPr/>
                </p:nvCxnSpPr>
                <p:spPr>
                  <a:xfrm>
                    <a:off x="6632000" y="4329694"/>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9" name="Straight Connector 368"/>
                  <p:cNvCxnSpPr/>
                  <p:nvPr/>
                </p:nvCxnSpPr>
                <p:spPr>
                  <a:xfrm>
                    <a:off x="6787911" y="433908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0" name="Straight Connector 369"/>
                  <p:cNvCxnSpPr/>
                  <p:nvPr/>
                </p:nvCxnSpPr>
                <p:spPr>
                  <a:xfrm>
                    <a:off x="6949106" y="4334321"/>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1" name="Straight Connector 370"/>
                  <p:cNvCxnSpPr/>
                  <p:nvPr/>
                </p:nvCxnSpPr>
                <p:spPr>
                  <a:xfrm>
                    <a:off x="7075948" y="4325589"/>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2" name="Straight Connector 371"/>
                  <p:cNvCxnSpPr/>
                  <p:nvPr/>
                </p:nvCxnSpPr>
                <p:spPr>
                  <a:xfrm>
                    <a:off x="7165795" y="431129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3" name="Straight Connector 372"/>
                  <p:cNvCxnSpPr/>
                  <p:nvPr/>
                </p:nvCxnSpPr>
                <p:spPr>
                  <a:xfrm>
                    <a:off x="7247713" y="4271090"/>
                    <a:ext cx="0" cy="162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4" name="Straight Connector 373"/>
                  <p:cNvCxnSpPr/>
                  <p:nvPr/>
                </p:nvCxnSpPr>
                <p:spPr>
                  <a:xfrm>
                    <a:off x="7306731" y="4213527"/>
                    <a:ext cx="0" cy="180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5" name="Straight Connector 374"/>
                  <p:cNvCxnSpPr/>
                  <p:nvPr/>
                </p:nvCxnSpPr>
                <p:spPr>
                  <a:xfrm>
                    <a:off x="6341321" y="4217612"/>
                    <a:ext cx="0" cy="180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61" name="Rectangle 360"/>
                <p:cNvSpPr/>
                <p:nvPr/>
              </p:nvSpPr>
              <p:spPr bwMode="gray">
                <a:xfrm>
                  <a:off x="3062288" y="2336208"/>
                  <a:ext cx="28800" cy="8223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362" name="Rectangle 361"/>
                <p:cNvSpPr/>
                <p:nvPr/>
              </p:nvSpPr>
              <p:spPr bwMode="gray">
                <a:xfrm>
                  <a:off x="3978212" y="2331292"/>
                  <a:ext cx="32400" cy="8223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grpSp>
            <p:nvGrpSpPr>
              <p:cNvPr id="269" name="Group 268"/>
              <p:cNvGrpSpPr/>
              <p:nvPr/>
            </p:nvGrpSpPr>
            <p:grpSpPr>
              <a:xfrm>
                <a:off x="6407969" y="4720362"/>
                <a:ext cx="846685" cy="442006"/>
                <a:chOff x="3053434" y="2117883"/>
                <a:chExt cx="965410" cy="383205"/>
              </a:xfrm>
              <a:solidFill>
                <a:schemeClr val="accent6">
                  <a:lumMod val="20000"/>
                  <a:lumOff val="80000"/>
                </a:schemeClr>
              </a:solidFill>
            </p:grpSpPr>
            <p:sp>
              <p:nvSpPr>
                <p:cNvPr id="342" name="Oval 341"/>
                <p:cNvSpPr/>
                <p:nvPr/>
              </p:nvSpPr>
              <p:spPr bwMode="gray">
                <a:xfrm rot="314824">
                  <a:off x="3054661" y="2353528"/>
                  <a:ext cx="369345" cy="119993"/>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nvGrpSpPr>
                <p:cNvPr id="343" name="Group 342"/>
                <p:cNvGrpSpPr/>
                <p:nvPr/>
              </p:nvGrpSpPr>
              <p:grpSpPr>
                <a:xfrm>
                  <a:off x="3053434" y="2117883"/>
                  <a:ext cx="965410" cy="383205"/>
                  <a:chOff x="6341321" y="4092970"/>
                  <a:chExt cx="965410" cy="383205"/>
                </a:xfrm>
                <a:grpFill/>
              </p:grpSpPr>
              <p:sp>
                <p:nvSpPr>
                  <p:cNvPr id="346" name="Oval 345"/>
                  <p:cNvSpPr/>
                  <p:nvPr/>
                </p:nvSpPr>
                <p:spPr bwMode="gray">
                  <a:xfrm>
                    <a:off x="6341321" y="4304659"/>
                    <a:ext cx="965410" cy="171516"/>
                  </a:xfrm>
                  <a:prstGeom prst="ellipse">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347" name="Oval 346"/>
                  <p:cNvSpPr/>
                  <p:nvPr/>
                </p:nvSpPr>
                <p:spPr bwMode="gray">
                  <a:xfrm>
                    <a:off x="6343128" y="4122976"/>
                    <a:ext cx="963601" cy="334149"/>
                  </a:xfrm>
                  <a:prstGeom prst="ellipse">
                    <a:avLst/>
                  </a:prstGeom>
                  <a:grpFill/>
                  <a:ln w="19050" algn="ctr">
                    <a:solidFill>
                      <a:srgbClr val="E3E48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348" name="Oval 347"/>
                  <p:cNvSpPr/>
                  <p:nvPr/>
                </p:nvSpPr>
                <p:spPr bwMode="gray">
                  <a:xfrm>
                    <a:off x="6341321" y="4092970"/>
                    <a:ext cx="965410" cy="248633"/>
                  </a:xfrm>
                  <a:prstGeom prst="ellipse">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cxnSp>
                <p:nvCxnSpPr>
                  <p:cNvPr id="349" name="Straight Connector 348"/>
                  <p:cNvCxnSpPr/>
                  <p:nvPr/>
                </p:nvCxnSpPr>
                <p:spPr>
                  <a:xfrm>
                    <a:off x="6396814" y="4269288"/>
                    <a:ext cx="0" cy="162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0" name="Straight Connector 349"/>
                  <p:cNvCxnSpPr/>
                  <p:nvPr/>
                </p:nvCxnSpPr>
                <p:spPr>
                  <a:xfrm>
                    <a:off x="6481376" y="431129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1" name="Straight Connector 350"/>
                  <p:cNvCxnSpPr/>
                  <p:nvPr/>
                </p:nvCxnSpPr>
                <p:spPr>
                  <a:xfrm>
                    <a:off x="6632000" y="4329694"/>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2" name="Straight Connector 351"/>
                  <p:cNvCxnSpPr/>
                  <p:nvPr/>
                </p:nvCxnSpPr>
                <p:spPr>
                  <a:xfrm>
                    <a:off x="6787911" y="433908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3" name="Straight Connector 352"/>
                  <p:cNvCxnSpPr/>
                  <p:nvPr/>
                </p:nvCxnSpPr>
                <p:spPr>
                  <a:xfrm>
                    <a:off x="6949106" y="4334321"/>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4" name="Straight Connector 353"/>
                  <p:cNvCxnSpPr/>
                  <p:nvPr/>
                </p:nvCxnSpPr>
                <p:spPr>
                  <a:xfrm>
                    <a:off x="7075948" y="4325589"/>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5" name="Straight Connector 354"/>
                  <p:cNvCxnSpPr/>
                  <p:nvPr/>
                </p:nvCxnSpPr>
                <p:spPr>
                  <a:xfrm>
                    <a:off x="7165795" y="431129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6" name="Straight Connector 355"/>
                  <p:cNvCxnSpPr/>
                  <p:nvPr/>
                </p:nvCxnSpPr>
                <p:spPr>
                  <a:xfrm>
                    <a:off x="7247713" y="4271090"/>
                    <a:ext cx="0" cy="162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7" name="Straight Connector 356"/>
                  <p:cNvCxnSpPr/>
                  <p:nvPr/>
                </p:nvCxnSpPr>
                <p:spPr>
                  <a:xfrm>
                    <a:off x="7306731" y="4213527"/>
                    <a:ext cx="0" cy="180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8" name="Straight Connector 357"/>
                  <p:cNvCxnSpPr/>
                  <p:nvPr/>
                </p:nvCxnSpPr>
                <p:spPr>
                  <a:xfrm>
                    <a:off x="6341321" y="4217612"/>
                    <a:ext cx="0" cy="180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44" name="Rectangle 343"/>
                <p:cNvSpPr/>
                <p:nvPr/>
              </p:nvSpPr>
              <p:spPr bwMode="gray">
                <a:xfrm>
                  <a:off x="3062288" y="2336208"/>
                  <a:ext cx="28800" cy="8223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345" name="Rectangle 344"/>
                <p:cNvSpPr/>
                <p:nvPr/>
              </p:nvSpPr>
              <p:spPr bwMode="gray">
                <a:xfrm>
                  <a:off x="3978212" y="2331292"/>
                  <a:ext cx="32400" cy="8223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grpSp>
            <p:nvGrpSpPr>
              <p:cNvPr id="270" name="Group 269"/>
              <p:cNvGrpSpPr/>
              <p:nvPr/>
            </p:nvGrpSpPr>
            <p:grpSpPr>
              <a:xfrm>
                <a:off x="6328656" y="4516096"/>
                <a:ext cx="846685" cy="442006"/>
                <a:chOff x="3053434" y="2117883"/>
                <a:chExt cx="965410" cy="383205"/>
              </a:xfrm>
              <a:solidFill>
                <a:schemeClr val="accent6">
                  <a:lumMod val="20000"/>
                  <a:lumOff val="80000"/>
                </a:schemeClr>
              </a:solidFill>
            </p:grpSpPr>
            <p:sp>
              <p:nvSpPr>
                <p:cNvPr id="325" name="Oval 324"/>
                <p:cNvSpPr/>
                <p:nvPr/>
              </p:nvSpPr>
              <p:spPr bwMode="gray">
                <a:xfrm rot="314824">
                  <a:off x="3054661" y="2353528"/>
                  <a:ext cx="369345" cy="119993"/>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nvGrpSpPr>
                <p:cNvPr id="326" name="Group 325"/>
                <p:cNvGrpSpPr/>
                <p:nvPr/>
              </p:nvGrpSpPr>
              <p:grpSpPr>
                <a:xfrm>
                  <a:off x="3053434" y="2117883"/>
                  <a:ext cx="965410" cy="383205"/>
                  <a:chOff x="6341321" y="4092970"/>
                  <a:chExt cx="965410" cy="383205"/>
                </a:xfrm>
                <a:grpFill/>
              </p:grpSpPr>
              <p:sp>
                <p:nvSpPr>
                  <p:cNvPr id="329" name="Oval 328"/>
                  <p:cNvSpPr/>
                  <p:nvPr/>
                </p:nvSpPr>
                <p:spPr bwMode="gray">
                  <a:xfrm>
                    <a:off x="6341321" y="4304659"/>
                    <a:ext cx="965410" cy="171516"/>
                  </a:xfrm>
                  <a:prstGeom prst="ellipse">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330" name="Oval 329"/>
                  <p:cNvSpPr/>
                  <p:nvPr/>
                </p:nvSpPr>
                <p:spPr bwMode="gray">
                  <a:xfrm>
                    <a:off x="6343128" y="4122976"/>
                    <a:ext cx="963601" cy="334149"/>
                  </a:xfrm>
                  <a:prstGeom prst="ellipse">
                    <a:avLst/>
                  </a:prstGeom>
                  <a:grpFill/>
                  <a:ln w="19050" algn="ctr">
                    <a:solidFill>
                      <a:srgbClr val="E3E48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331" name="Oval 330"/>
                  <p:cNvSpPr/>
                  <p:nvPr/>
                </p:nvSpPr>
                <p:spPr bwMode="gray">
                  <a:xfrm>
                    <a:off x="6341321" y="4092970"/>
                    <a:ext cx="965410" cy="248633"/>
                  </a:xfrm>
                  <a:prstGeom prst="ellipse">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cxnSp>
                <p:nvCxnSpPr>
                  <p:cNvPr id="332" name="Straight Connector 331"/>
                  <p:cNvCxnSpPr/>
                  <p:nvPr/>
                </p:nvCxnSpPr>
                <p:spPr>
                  <a:xfrm>
                    <a:off x="6396814" y="4269288"/>
                    <a:ext cx="0" cy="162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3" name="Straight Connector 332"/>
                  <p:cNvCxnSpPr/>
                  <p:nvPr/>
                </p:nvCxnSpPr>
                <p:spPr>
                  <a:xfrm>
                    <a:off x="6481376" y="431129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4" name="Straight Connector 333"/>
                  <p:cNvCxnSpPr/>
                  <p:nvPr/>
                </p:nvCxnSpPr>
                <p:spPr>
                  <a:xfrm>
                    <a:off x="6632000" y="4329694"/>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5" name="Straight Connector 334"/>
                  <p:cNvCxnSpPr/>
                  <p:nvPr/>
                </p:nvCxnSpPr>
                <p:spPr>
                  <a:xfrm>
                    <a:off x="6787911" y="433908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6" name="Straight Connector 335"/>
                  <p:cNvCxnSpPr/>
                  <p:nvPr/>
                </p:nvCxnSpPr>
                <p:spPr>
                  <a:xfrm>
                    <a:off x="6949106" y="4334321"/>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7" name="Straight Connector 336"/>
                  <p:cNvCxnSpPr/>
                  <p:nvPr/>
                </p:nvCxnSpPr>
                <p:spPr>
                  <a:xfrm>
                    <a:off x="7075948" y="4325589"/>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8" name="Straight Connector 337"/>
                  <p:cNvCxnSpPr/>
                  <p:nvPr/>
                </p:nvCxnSpPr>
                <p:spPr>
                  <a:xfrm>
                    <a:off x="7165795" y="431129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9" name="Straight Connector 338"/>
                  <p:cNvCxnSpPr/>
                  <p:nvPr/>
                </p:nvCxnSpPr>
                <p:spPr>
                  <a:xfrm>
                    <a:off x="7247713" y="4271090"/>
                    <a:ext cx="0" cy="162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0" name="Straight Connector 339"/>
                  <p:cNvCxnSpPr/>
                  <p:nvPr/>
                </p:nvCxnSpPr>
                <p:spPr>
                  <a:xfrm>
                    <a:off x="7306731" y="4213527"/>
                    <a:ext cx="0" cy="180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1" name="Straight Connector 340"/>
                  <p:cNvCxnSpPr/>
                  <p:nvPr/>
                </p:nvCxnSpPr>
                <p:spPr>
                  <a:xfrm>
                    <a:off x="6341321" y="4217612"/>
                    <a:ext cx="0" cy="180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27" name="Rectangle 326"/>
                <p:cNvSpPr/>
                <p:nvPr/>
              </p:nvSpPr>
              <p:spPr bwMode="gray">
                <a:xfrm>
                  <a:off x="3062288" y="2336208"/>
                  <a:ext cx="28800" cy="8223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328" name="Rectangle 327"/>
                <p:cNvSpPr/>
                <p:nvPr/>
              </p:nvSpPr>
              <p:spPr bwMode="gray">
                <a:xfrm>
                  <a:off x="3978212" y="2331292"/>
                  <a:ext cx="32400" cy="8223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grpSp>
            <p:nvGrpSpPr>
              <p:cNvPr id="271" name="Group 270"/>
              <p:cNvGrpSpPr/>
              <p:nvPr/>
            </p:nvGrpSpPr>
            <p:grpSpPr>
              <a:xfrm>
                <a:off x="6403341" y="4331521"/>
                <a:ext cx="846685" cy="442006"/>
                <a:chOff x="3053434" y="2117883"/>
                <a:chExt cx="965410" cy="383205"/>
              </a:xfrm>
              <a:solidFill>
                <a:schemeClr val="accent6">
                  <a:lumMod val="20000"/>
                  <a:lumOff val="80000"/>
                </a:schemeClr>
              </a:solidFill>
            </p:grpSpPr>
            <p:sp>
              <p:nvSpPr>
                <p:cNvPr id="308" name="Oval 307"/>
                <p:cNvSpPr/>
                <p:nvPr/>
              </p:nvSpPr>
              <p:spPr bwMode="gray">
                <a:xfrm rot="314824">
                  <a:off x="3054661" y="2353528"/>
                  <a:ext cx="369345" cy="119993"/>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nvGrpSpPr>
                <p:cNvPr id="309" name="Group 308"/>
                <p:cNvGrpSpPr/>
                <p:nvPr/>
              </p:nvGrpSpPr>
              <p:grpSpPr>
                <a:xfrm>
                  <a:off x="3053434" y="2117883"/>
                  <a:ext cx="965410" cy="383205"/>
                  <a:chOff x="6341321" y="4092970"/>
                  <a:chExt cx="965410" cy="383205"/>
                </a:xfrm>
                <a:grpFill/>
              </p:grpSpPr>
              <p:sp>
                <p:nvSpPr>
                  <p:cNvPr id="312" name="Oval 311"/>
                  <p:cNvSpPr/>
                  <p:nvPr/>
                </p:nvSpPr>
                <p:spPr bwMode="gray">
                  <a:xfrm>
                    <a:off x="6341321" y="4304659"/>
                    <a:ext cx="965410" cy="171516"/>
                  </a:xfrm>
                  <a:prstGeom prst="ellipse">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313" name="Oval 312"/>
                  <p:cNvSpPr/>
                  <p:nvPr/>
                </p:nvSpPr>
                <p:spPr bwMode="gray">
                  <a:xfrm>
                    <a:off x="6343128" y="4122976"/>
                    <a:ext cx="963601" cy="334149"/>
                  </a:xfrm>
                  <a:prstGeom prst="ellipse">
                    <a:avLst/>
                  </a:prstGeom>
                  <a:grpFill/>
                  <a:ln w="19050" algn="ctr">
                    <a:solidFill>
                      <a:srgbClr val="E3E48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314" name="Oval 313"/>
                  <p:cNvSpPr/>
                  <p:nvPr/>
                </p:nvSpPr>
                <p:spPr bwMode="gray">
                  <a:xfrm>
                    <a:off x="6341321" y="4092970"/>
                    <a:ext cx="965410" cy="248633"/>
                  </a:xfrm>
                  <a:prstGeom prst="ellipse">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cxnSp>
                <p:nvCxnSpPr>
                  <p:cNvPr id="315" name="Straight Connector 314"/>
                  <p:cNvCxnSpPr/>
                  <p:nvPr/>
                </p:nvCxnSpPr>
                <p:spPr>
                  <a:xfrm>
                    <a:off x="6396814" y="4269288"/>
                    <a:ext cx="0" cy="162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6" name="Straight Connector 315"/>
                  <p:cNvCxnSpPr/>
                  <p:nvPr/>
                </p:nvCxnSpPr>
                <p:spPr>
                  <a:xfrm>
                    <a:off x="6481376" y="431129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7" name="Straight Connector 316"/>
                  <p:cNvCxnSpPr/>
                  <p:nvPr/>
                </p:nvCxnSpPr>
                <p:spPr>
                  <a:xfrm>
                    <a:off x="6632000" y="4329694"/>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8" name="Straight Connector 317"/>
                  <p:cNvCxnSpPr/>
                  <p:nvPr/>
                </p:nvCxnSpPr>
                <p:spPr>
                  <a:xfrm>
                    <a:off x="6787911" y="433908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9" name="Straight Connector 318"/>
                  <p:cNvCxnSpPr/>
                  <p:nvPr/>
                </p:nvCxnSpPr>
                <p:spPr>
                  <a:xfrm>
                    <a:off x="6949106" y="4334321"/>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0" name="Straight Connector 319"/>
                  <p:cNvCxnSpPr/>
                  <p:nvPr/>
                </p:nvCxnSpPr>
                <p:spPr>
                  <a:xfrm>
                    <a:off x="7075948" y="4325589"/>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1" name="Straight Connector 320"/>
                  <p:cNvCxnSpPr/>
                  <p:nvPr/>
                </p:nvCxnSpPr>
                <p:spPr>
                  <a:xfrm>
                    <a:off x="7165795" y="431129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2" name="Straight Connector 321"/>
                  <p:cNvCxnSpPr/>
                  <p:nvPr/>
                </p:nvCxnSpPr>
                <p:spPr>
                  <a:xfrm>
                    <a:off x="7247713" y="4271090"/>
                    <a:ext cx="0" cy="162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3" name="Straight Connector 322"/>
                  <p:cNvCxnSpPr/>
                  <p:nvPr/>
                </p:nvCxnSpPr>
                <p:spPr>
                  <a:xfrm>
                    <a:off x="7306731" y="4213527"/>
                    <a:ext cx="0" cy="180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4" name="Straight Connector 323"/>
                  <p:cNvCxnSpPr/>
                  <p:nvPr/>
                </p:nvCxnSpPr>
                <p:spPr>
                  <a:xfrm>
                    <a:off x="6341321" y="4217612"/>
                    <a:ext cx="0" cy="180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10" name="Rectangle 309"/>
                <p:cNvSpPr/>
                <p:nvPr/>
              </p:nvSpPr>
              <p:spPr bwMode="gray">
                <a:xfrm>
                  <a:off x="3062288" y="2336208"/>
                  <a:ext cx="28800" cy="8223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311" name="Rectangle 310"/>
                <p:cNvSpPr/>
                <p:nvPr/>
              </p:nvSpPr>
              <p:spPr bwMode="gray">
                <a:xfrm>
                  <a:off x="3978212" y="2331292"/>
                  <a:ext cx="32400" cy="8223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grpSp>
            <p:nvGrpSpPr>
              <p:cNvPr id="272" name="Group 271"/>
              <p:cNvGrpSpPr/>
              <p:nvPr/>
            </p:nvGrpSpPr>
            <p:grpSpPr>
              <a:xfrm>
                <a:off x="6310376" y="4135846"/>
                <a:ext cx="846685" cy="442006"/>
                <a:chOff x="3053434" y="2117883"/>
                <a:chExt cx="965410" cy="383205"/>
              </a:xfrm>
              <a:solidFill>
                <a:schemeClr val="accent6">
                  <a:lumMod val="20000"/>
                  <a:lumOff val="80000"/>
                </a:schemeClr>
              </a:solidFill>
            </p:grpSpPr>
            <p:sp>
              <p:nvSpPr>
                <p:cNvPr id="291" name="Oval 290"/>
                <p:cNvSpPr/>
                <p:nvPr/>
              </p:nvSpPr>
              <p:spPr bwMode="gray">
                <a:xfrm rot="314824">
                  <a:off x="3054661" y="2353528"/>
                  <a:ext cx="369345" cy="119993"/>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nvGrpSpPr>
                <p:cNvPr id="292" name="Group 291"/>
                <p:cNvGrpSpPr/>
                <p:nvPr/>
              </p:nvGrpSpPr>
              <p:grpSpPr>
                <a:xfrm>
                  <a:off x="3053434" y="2117883"/>
                  <a:ext cx="965410" cy="383205"/>
                  <a:chOff x="6341321" y="4092970"/>
                  <a:chExt cx="965410" cy="383205"/>
                </a:xfrm>
                <a:grpFill/>
              </p:grpSpPr>
              <p:sp>
                <p:nvSpPr>
                  <p:cNvPr id="295" name="Oval 294"/>
                  <p:cNvSpPr/>
                  <p:nvPr/>
                </p:nvSpPr>
                <p:spPr bwMode="gray">
                  <a:xfrm>
                    <a:off x="6341321" y="4304659"/>
                    <a:ext cx="965410" cy="171516"/>
                  </a:xfrm>
                  <a:prstGeom prst="ellipse">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296" name="Oval 295"/>
                  <p:cNvSpPr/>
                  <p:nvPr/>
                </p:nvSpPr>
                <p:spPr bwMode="gray">
                  <a:xfrm>
                    <a:off x="6343128" y="4122976"/>
                    <a:ext cx="963601" cy="334149"/>
                  </a:xfrm>
                  <a:prstGeom prst="ellipse">
                    <a:avLst/>
                  </a:prstGeom>
                  <a:grpFill/>
                  <a:ln w="19050" algn="ctr">
                    <a:solidFill>
                      <a:srgbClr val="E3E48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297" name="Oval 296"/>
                  <p:cNvSpPr/>
                  <p:nvPr/>
                </p:nvSpPr>
                <p:spPr bwMode="gray">
                  <a:xfrm>
                    <a:off x="6341321" y="4092970"/>
                    <a:ext cx="965410" cy="248633"/>
                  </a:xfrm>
                  <a:prstGeom prst="ellipse">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cxnSp>
                <p:nvCxnSpPr>
                  <p:cNvPr id="298" name="Straight Connector 297"/>
                  <p:cNvCxnSpPr/>
                  <p:nvPr/>
                </p:nvCxnSpPr>
                <p:spPr>
                  <a:xfrm>
                    <a:off x="6396814" y="4269288"/>
                    <a:ext cx="0" cy="162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9" name="Straight Connector 298"/>
                  <p:cNvCxnSpPr/>
                  <p:nvPr/>
                </p:nvCxnSpPr>
                <p:spPr>
                  <a:xfrm>
                    <a:off x="6481376" y="431129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0" name="Straight Connector 299"/>
                  <p:cNvCxnSpPr/>
                  <p:nvPr/>
                </p:nvCxnSpPr>
                <p:spPr>
                  <a:xfrm>
                    <a:off x="6632000" y="4329694"/>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1" name="Straight Connector 300"/>
                  <p:cNvCxnSpPr/>
                  <p:nvPr/>
                </p:nvCxnSpPr>
                <p:spPr>
                  <a:xfrm>
                    <a:off x="6787911" y="433908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2" name="Straight Connector 301"/>
                  <p:cNvCxnSpPr/>
                  <p:nvPr/>
                </p:nvCxnSpPr>
                <p:spPr>
                  <a:xfrm>
                    <a:off x="6949106" y="4334321"/>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3" name="Straight Connector 302"/>
                  <p:cNvCxnSpPr/>
                  <p:nvPr/>
                </p:nvCxnSpPr>
                <p:spPr>
                  <a:xfrm>
                    <a:off x="7075948" y="4325589"/>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p:nvPr/>
                </p:nvCxnSpPr>
                <p:spPr>
                  <a:xfrm>
                    <a:off x="7165795" y="431129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5" name="Straight Connector 304"/>
                  <p:cNvCxnSpPr/>
                  <p:nvPr/>
                </p:nvCxnSpPr>
                <p:spPr>
                  <a:xfrm>
                    <a:off x="7247713" y="4271090"/>
                    <a:ext cx="0" cy="162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6" name="Straight Connector 305"/>
                  <p:cNvCxnSpPr/>
                  <p:nvPr/>
                </p:nvCxnSpPr>
                <p:spPr>
                  <a:xfrm>
                    <a:off x="7306731" y="4213527"/>
                    <a:ext cx="0" cy="180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p:nvPr/>
                </p:nvCxnSpPr>
                <p:spPr>
                  <a:xfrm>
                    <a:off x="6341321" y="4217612"/>
                    <a:ext cx="0" cy="180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3" name="Rectangle 292"/>
                <p:cNvSpPr/>
                <p:nvPr/>
              </p:nvSpPr>
              <p:spPr bwMode="gray">
                <a:xfrm>
                  <a:off x="3062288" y="2336208"/>
                  <a:ext cx="28800" cy="8223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294" name="Rectangle 293"/>
                <p:cNvSpPr/>
                <p:nvPr/>
              </p:nvSpPr>
              <p:spPr bwMode="gray">
                <a:xfrm>
                  <a:off x="3978212" y="2331292"/>
                  <a:ext cx="32400" cy="8223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grpSp>
            <p:nvGrpSpPr>
              <p:cNvPr id="273" name="Group 272"/>
              <p:cNvGrpSpPr/>
              <p:nvPr/>
            </p:nvGrpSpPr>
            <p:grpSpPr>
              <a:xfrm>
                <a:off x="6418347" y="3939761"/>
                <a:ext cx="846685" cy="442006"/>
                <a:chOff x="3053434" y="2117883"/>
                <a:chExt cx="965410" cy="383205"/>
              </a:xfrm>
              <a:solidFill>
                <a:schemeClr val="accent6">
                  <a:lumMod val="20000"/>
                  <a:lumOff val="80000"/>
                </a:schemeClr>
              </a:solidFill>
            </p:grpSpPr>
            <p:sp>
              <p:nvSpPr>
                <p:cNvPr id="274" name="Oval 273"/>
                <p:cNvSpPr/>
                <p:nvPr/>
              </p:nvSpPr>
              <p:spPr bwMode="gray">
                <a:xfrm rot="314824">
                  <a:off x="3054661" y="2353528"/>
                  <a:ext cx="369345" cy="119993"/>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nvGrpSpPr>
                <p:cNvPr id="275" name="Group 274"/>
                <p:cNvGrpSpPr/>
                <p:nvPr/>
              </p:nvGrpSpPr>
              <p:grpSpPr>
                <a:xfrm>
                  <a:off x="3053434" y="2117883"/>
                  <a:ext cx="965410" cy="383205"/>
                  <a:chOff x="6341321" y="4092970"/>
                  <a:chExt cx="965410" cy="383205"/>
                </a:xfrm>
                <a:grpFill/>
              </p:grpSpPr>
              <p:sp>
                <p:nvSpPr>
                  <p:cNvPr id="278" name="Oval 277"/>
                  <p:cNvSpPr/>
                  <p:nvPr/>
                </p:nvSpPr>
                <p:spPr bwMode="gray">
                  <a:xfrm>
                    <a:off x="6341321" y="4304659"/>
                    <a:ext cx="965410" cy="171516"/>
                  </a:xfrm>
                  <a:prstGeom prst="ellipse">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279" name="Oval 278"/>
                  <p:cNvSpPr/>
                  <p:nvPr/>
                </p:nvSpPr>
                <p:spPr bwMode="gray">
                  <a:xfrm>
                    <a:off x="6343128" y="4122976"/>
                    <a:ext cx="963601" cy="334149"/>
                  </a:xfrm>
                  <a:prstGeom prst="ellipse">
                    <a:avLst/>
                  </a:prstGeom>
                  <a:grpFill/>
                  <a:ln w="19050" algn="ctr">
                    <a:solidFill>
                      <a:srgbClr val="E3E48D"/>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280" name="Oval 279"/>
                  <p:cNvSpPr/>
                  <p:nvPr/>
                </p:nvSpPr>
                <p:spPr bwMode="gray">
                  <a:xfrm>
                    <a:off x="6341321" y="4092970"/>
                    <a:ext cx="965410" cy="248633"/>
                  </a:xfrm>
                  <a:prstGeom prst="ellipse">
                    <a:avLst/>
                  </a:prstGeom>
                  <a:grpFill/>
                  <a:ln w="19050"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cxnSp>
                <p:nvCxnSpPr>
                  <p:cNvPr id="281" name="Straight Connector 280"/>
                  <p:cNvCxnSpPr/>
                  <p:nvPr/>
                </p:nvCxnSpPr>
                <p:spPr>
                  <a:xfrm>
                    <a:off x="6396814" y="4269288"/>
                    <a:ext cx="0" cy="162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p:cNvCxnSpPr/>
                  <p:nvPr/>
                </p:nvCxnSpPr>
                <p:spPr>
                  <a:xfrm>
                    <a:off x="6481376" y="431129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3" name="Straight Connector 282"/>
                  <p:cNvCxnSpPr/>
                  <p:nvPr/>
                </p:nvCxnSpPr>
                <p:spPr>
                  <a:xfrm>
                    <a:off x="6632000" y="4329694"/>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4" name="Straight Connector 283"/>
                  <p:cNvCxnSpPr/>
                  <p:nvPr/>
                </p:nvCxnSpPr>
                <p:spPr>
                  <a:xfrm>
                    <a:off x="6787911" y="433908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5" name="Straight Connector 284"/>
                  <p:cNvCxnSpPr/>
                  <p:nvPr/>
                </p:nvCxnSpPr>
                <p:spPr>
                  <a:xfrm>
                    <a:off x="6949106" y="4334321"/>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6" name="Straight Connector 285"/>
                  <p:cNvCxnSpPr/>
                  <p:nvPr/>
                </p:nvCxnSpPr>
                <p:spPr>
                  <a:xfrm>
                    <a:off x="7075948" y="4325589"/>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p:cNvCxnSpPr/>
                  <p:nvPr/>
                </p:nvCxnSpPr>
                <p:spPr>
                  <a:xfrm>
                    <a:off x="7165795" y="4311295"/>
                    <a:ext cx="0" cy="13709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p:cNvCxnSpPr/>
                  <p:nvPr/>
                </p:nvCxnSpPr>
                <p:spPr>
                  <a:xfrm>
                    <a:off x="7247713" y="4271090"/>
                    <a:ext cx="0" cy="162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p:cNvCxnSpPr/>
                  <p:nvPr/>
                </p:nvCxnSpPr>
                <p:spPr>
                  <a:xfrm>
                    <a:off x="7306731" y="4213527"/>
                    <a:ext cx="0" cy="180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p:cNvCxnSpPr/>
                  <p:nvPr/>
                </p:nvCxnSpPr>
                <p:spPr>
                  <a:xfrm>
                    <a:off x="6341321" y="4217612"/>
                    <a:ext cx="0" cy="18000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76" name="Rectangle 275"/>
                <p:cNvSpPr/>
                <p:nvPr/>
              </p:nvSpPr>
              <p:spPr bwMode="gray">
                <a:xfrm>
                  <a:off x="3062288" y="2336208"/>
                  <a:ext cx="28800" cy="8223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277" name="Rectangle 276"/>
                <p:cNvSpPr/>
                <p:nvPr/>
              </p:nvSpPr>
              <p:spPr bwMode="gray">
                <a:xfrm>
                  <a:off x="3978212" y="2331292"/>
                  <a:ext cx="32400" cy="82232"/>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grpSp>
      </p:grpSp>
      <p:grpSp>
        <p:nvGrpSpPr>
          <p:cNvPr id="7" name="Group 6"/>
          <p:cNvGrpSpPr/>
          <p:nvPr/>
        </p:nvGrpSpPr>
        <p:grpSpPr>
          <a:xfrm>
            <a:off x="676872" y="1452393"/>
            <a:ext cx="2988000" cy="2988000"/>
            <a:chOff x="5157211" y="970544"/>
            <a:chExt cx="2988000" cy="2988000"/>
          </a:xfrm>
        </p:grpSpPr>
        <p:grpSp>
          <p:nvGrpSpPr>
            <p:cNvPr id="405" name="Groupe 8"/>
            <p:cNvGrpSpPr/>
            <p:nvPr/>
          </p:nvGrpSpPr>
          <p:grpSpPr>
            <a:xfrm>
              <a:off x="5157211" y="970544"/>
              <a:ext cx="2988000" cy="2988000"/>
              <a:chOff x="793133" y="3307362"/>
              <a:chExt cx="2864224" cy="2850777"/>
            </a:xfrm>
          </p:grpSpPr>
          <p:pic>
            <p:nvPicPr>
              <p:cNvPr id="406"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3171" t="13995" r="14017" b="13534"/>
              <a:stretch/>
            </p:blipFill>
            <p:spPr bwMode="auto">
              <a:xfrm>
                <a:off x="793133" y="3307362"/>
                <a:ext cx="2864224" cy="2850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7" name="Ellipse 7"/>
              <p:cNvSpPr/>
              <p:nvPr/>
            </p:nvSpPr>
            <p:spPr bwMode="gray">
              <a:xfrm>
                <a:off x="1090626" y="3608949"/>
                <a:ext cx="2196000" cy="21960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grpSp>
        <p:sp>
          <p:nvSpPr>
            <p:cNvPr id="411" name="Rectangle 2"/>
            <p:cNvSpPr txBox="1">
              <a:spLocks noChangeArrowheads="1"/>
            </p:cNvSpPr>
            <p:nvPr/>
          </p:nvSpPr>
          <p:spPr>
            <a:xfrm>
              <a:off x="5676046" y="1903297"/>
              <a:ext cx="1890441" cy="1508105"/>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400" b="1" kern="1200">
                  <a:solidFill>
                    <a:schemeClr val="tx2"/>
                  </a:solidFill>
                  <a:latin typeface="+mn-lt"/>
                  <a:ea typeface="+mj-ea"/>
                  <a:cs typeface="+mj-cs"/>
                </a:defRPr>
              </a:lvl1pPr>
            </a:lstStyle>
            <a:p>
              <a:pPr algn="ctr"/>
              <a:r>
                <a:rPr lang="fr-FR" sz="1400" dirty="0">
                  <a:solidFill>
                    <a:schemeClr val="accent1"/>
                  </a:solidFill>
                  <a:latin typeface="+mj-lt"/>
                </a:rPr>
                <a:t>L’Afrique du Sud </a:t>
              </a:r>
            </a:p>
            <a:p>
              <a:pPr algn="ctr"/>
              <a:r>
                <a:rPr lang="fr-FR" sz="1400" b="0" dirty="0">
                  <a:solidFill>
                    <a:prstClr val="black">
                      <a:lumMod val="75000"/>
                      <a:lumOff val="25000"/>
                    </a:prstClr>
                  </a:solidFill>
                  <a:latin typeface="+mj-lt"/>
                </a:rPr>
                <a:t>leader continental en matière de </a:t>
              </a:r>
              <a:r>
                <a:rPr lang="fr-FR" sz="1400" b="0" dirty="0" err="1">
                  <a:solidFill>
                    <a:prstClr val="black">
                      <a:lumMod val="75000"/>
                      <a:lumOff val="25000"/>
                    </a:prstClr>
                  </a:solidFill>
                  <a:latin typeface="+mj-lt"/>
                </a:rPr>
                <a:t>Fintech</a:t>
              </a:r>
              <a:r>
                <a:rPr lang="fr-FR" sz="1400" b="0" dirty="0">
                  <a:solidFill>
                    <a:prstClr val="black">
                      <a:lumMod val="75000"/>
                      <a:lumOff val="25000"/>
                    </a:prstClr>
                  </a:solidFill>
                  <a:latin typeface="+mj-lt"/>
                </a:rPr>
                <a:t> grâce à l’étendue et la qualité de son infrastructure Internet</a:t>
              </a:r>
              <a:endParaRPr lang="en-US" sz="1400" b="0" dirty="0">
                <a:solidFill>
                  <a:prstClr val="black">
                    <a:lumMod val="75000"/>
                    <a:lumOff val="25000"/>
                  </a:prstClr>
                </a:solidFill>
                <a:latin typeface="+mj-lt"/>
              </a:endParaRPr>
            </a:p>
          </p:txBody>
        </p:sp>
        <p:pic>
          <p:nvPicPr>
            <p:cNvPr id="402" name="Picture 4" descr="Résultats de recherche d'images pour « south africa flag icon »"/>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33013" y="1405533"/>
              <a:ext cx="436396" cy="436396"/>
            </a:xfrm>
            <a:prstGeom prst="rect">
              <a:avLst/>
            </a:prstGeom>
            <a:noFill/>
            <a:extLst>
              <a:ext uri="{909E8E84-426E-40DD-AFC4-6F175D3DCCD1}">
                <a14:hiddenFill xmlns:a14="http://schemas.microsoft.com/office/drawing/2010/main">
                  <a:solidFill>
                    <a:srgbClr val="FFFFFF"/>
                  </a:solidFill>
                </a14:hiddenFill>
              </a:ext>
            </a:extLst>
          </p:spPr>
        </p:pic>
      </p:grpSp>
      <p:sp>
        <p:nvSpPr>
          <p:cNvPr id="398" name="Title 2"/>
          <p:cNvSpPr>
            <a:spLocks noGrp="1"/>
          </p:cNvSpPr>
          <p:nvPr>
            <p:ph type="title"/>
          </p:nvPr>
        </p:nvSpPr>
        <p:spPr>
          <a:xfrm>
            <a:off x="376239" y="317500"/>
            <a:ext cx="8391525" cy="334101"/>
          </a:xfrm>
        </p:spPr>
        <p:txBody>
          <a:bodyPr/>
          <a:lstStyle/>
          <a:p>
            <a:r>
              <a:rPr lang="fr-FR" dirty="0"/>
              <a:t>La </a:t>
            </a:r>
            <a:r>
              <a:rPr lang="fr-FR" dirty="0" err="1"/>
              <a:t>Fintech</a:t>
            </a:r>
            <a:r>
              <a:rPr lang="fr-FR" dirty="0"/>
              <a:t> en Afrique</a:t>
            </a:r>
          </a:p>
        </p:txBody>
      </p:sp>
      <p:sp>
        <p:nvSpPr>
          <p:cNvPr id="399" name="Text Placeholder 8"/>
          <p:cNvSpPr>
            <a:spLocks noGrp="1"/>
          </p:cNvSpPr>
          <p:nvPr>
            <p:ph type="body" sz="quarter" idx="13"/>
          </p:nvPr>
        </p:nvSpPr>
        <p:spPr>
          <a:xfrm>
            <a:off x="376237" y="651601"/>
            <a:ext cx="8638973" cy="355250"/>
          </a:xfrm>
        </p:spPr>
        <p:txBody>
          <a:bodyPr/>
          <a:lstStyle/>
          <a:p>
            <a:r>
              <a:rPr lang="fr-FR" sz="1800" dirty="0">
                <a:latin typeface="+mj-lt"/>
              </a:rPr>
              <a:t>Et quelques </a:t>
            </a:r>
            <a:r>
              <a:rPr lang="fr-FR" sz="1800" dirty="0" err="1">
                <a:latin typeface="+mj-lt"/>
              </a:rPr>
              <a:t>success</a:t>
            </a:r>
            <a:r>
              <a:rPr lang="fr-FR" sz="1800" dirty="0">
                <a:latin typeface="+mj-lt"/>
              </a:rPr>
              <a:t> stories devenues mondiales </a:t>
            </a:r>
          </a:p>
        </p:txBody>
      </p:sp>
      <p:sp>
        <p:nvSpPr>
          <p:cNvPr id="400" name="Date Placeholder 5"/>
          <p:cNvSpPr>
            <a:spLocks noGrp="1"/>
          </p:cNvSpPr>
          <p:nvPr>
            <p:ph type="dt" sz="half" idx="2"/>
          </p:nvPr>
        </p:nvSpPr>
        <p:spPr>
          <a:xfrm>
            <a:off x="4751388" y="6477000"/>
            <a:ext cx="3672420" cy="100156"/>
          </a:xfrm>
        </p:spPr>
        <p:txBody>
          <a:bodyPr/>
          <a:lstStyle/>
          <a:p>
            <a:pPr algn="r">
              <a:buSzPct val="100000"/>
              <a:buFont typeface="Arial"/>
              <a:buNone/>
            </a:pPr>
            <a:r>
              <a:rPr lang="fr-FR" dirty="0">
                <a:solidFill>
                  <a:prstClr val="black"/>
                </a:solidFill>
                <a:latin typeface="+mj-lt"/>
              </a:rPr>
              <a:t>Afrique : conduire l’innovation </a:t>
            </a:r>
            <a:r>
              <a:rPr lang="fr-FR" dirty="0" err="1">
                <a:solidFill>
                  <a:prstClr val="black"/>
                </a:solidFill>
                <a:latin typeface="+mj-lt"/>
              </a:rPr>
              <a:t>FinTech</a:t>
            </a:r>
            <a:endParaRPr lang="fr-FR" dirty="0">
              <a:solidFill>
                <a:prstClr val="black"/>
              </a:solidFill>
              <a:latin typeface="+mj-lt"/>
            </a:endParaRPr>
          </a:p>
        </p:txBody>
      </p:sp>
      <p:grpSp>
        <p:nvGrpSpPr>
          <p:cNvPr id="3" name="Group 2"/>
          <p:cNvGrpSpPr/>
          <p:nvPr/>
        </p:nvGrpSpPr>
        <p:grpSpPr>
          <a:xfrm>
            <a:off x="554182" y="4453896"/>
            <a:ext cx="2935988" cy="1804495"/>
            <a:chOff x="554182" y="4396746"/>
            <a:chExt cx="2935988" cy="1804495"/>
          </a:xfrm>
        </p:grpSpPr>
        <p:sp>
          <p:nvSpPr>
            <p:cNvPr id="417" name="Rounded Rectangle 416"/>
            <p:cNvSpPr/>
            <p:nvPr/>
          </p:nvSpPr>
          <p:spPr bwMode="gray">
            <a:xfrm>
              <a:off x="554182" y="4396746"/>
              <a:ext cx="2935988" cy="1804495"/>
            </a:xfrm>
            <a:prstGeom prst="roundRect">
              <a:avLst>
                <a:gd name="adj" fmla="val 0"/>
              </a:avLst>
            </a:prstGeom>
            <a:pattFill prst="ltDnDiag">
              <a:fgClr>
                <a:schemeClr val="bg1">
                  <a:lumMod val="85000"/>
                </a:schemeClr>
              </a:fgClr>
              <a:bgClr>
                <a:schemeClr val="bg1"/>
              </a:bgClr>
            </a:pattFill>
            <a:ln w="28575" algn="ctr">
              <a:noFill/>
              <a:miter lim="800000"/>
              <a:headEnd/>
              <a:tailEnd/>
            </a:ln>
          </p:spPr>
          <p:txBody>
            <a:bodyPr wrap="square" lIns="88900" tIns="88900" rIns="88900" bIns="88900" rtlCol="0" anchor="t"/>
            <a:lstStyle/>
            <a:p>
              <a:pPr algn="ctr">
                <a:spcBef>
                  <a:spcPts val="600"/>
                </a:spcBef>
                <a:buSzPct val="100000"/>
              </a:pPr>
              <a:endParaRPr lang="fr-FR" sz="900" b="1" dirty="0">
                <a:solidFill>
                  <a:prstClr val="black"/>
                </a:solidFill>
                <a:latin typeface="+mj-lt"/>
              </a:endParaRPr>
            </a:p>
          </p:txBody>
        </p:sp>
        <p:sp>
          <p:nvSpPr>
            <p:cNvPr id="8" name="TextBox 7"/>
            <p:cNvSpPr txBox="1"/>
            <p:nvPr/>
          </p:nvSpPr>
          <p:spPr>
            <a:xfrm>
              <a:off x="676872" y="4808513"/>
              <a:ext cx="2636012" cy="1000274"/>
            </a:xfrm>
            <a:prstGeom prst="rect">
              <a:avLst/>
            </a:prstGeom>
            <a:noFill/>
          </p:spPr>
          <p:txBody>
            <a:bodyPr wrap="square" lIns="0" tIns="0" rIns="0" bIns="0" rtlCol="0">
              <a:spAutoFit/>
            </a:bodyPr>
            <a:lstStyle/>
            <a:p>
              <a:pPr marL="203200" indent="-203200">
                <a:spcBef>
                  <a:spcPts val="600"/>
                </a:spcBef>
                <a:buSzPct val="100000"/>
                <a:buFont typeface="Arial"/>
                <a:buChar char="•"/>
              </a:pPr>
              <a:r>
                <a:rPr lang="fr-FR" sz="1200" dirty="0">
                  <a:solidFill>
                    <a:srgbClr val="313131"/>
                  </a:solidFill>
                  <a:latin typeface="+mj-lt"/>
                </a:rPr>
                <a:t>Flux de transactions : </a:t>
              </a:r>
              <a:r>
                <a:rPr lang="fr-FR" sz="1200" b="1" dirty="0">
                  <a:solidFill>
                    <a:srgbClr val="313131"/>
                  </a:solidFill>
                  <a:latin typeface="+mj-lt"/>
                </a:rPr>
                <a:t>2,4 milliards $</a:t>
              </a:r>
            </a:p>
            <a:p>
              <a:pPr marL="203200" indent="-203200">
                <a:spcBef>
                  <a:spcPts val="600"/>
                </a:spcBef>
                <a:buSzPct val="100000"/>
                <a:buFont typeface="Arial"/>
                <a:buChar char="•"/>
              </a:pPr>
              <a:r>
                <a:rPr lang="fr-FR" sz="1200" dirty="0">
                  <a:solidFill>
                    <a:srgbClr val="313131"/>
                  </a:solidFill>
                  <a:latin typeface="+mj-lt"/>
                </a:rPr>
                <a:t>Cotée au </a:t>
              </a:r>
              <a:r>
                <a:rPr lang="fr-FR" sz="1200" b="1" dirty="0">
                  <a:solidFill>
                    <a:srgbClr val="313131"/>
                  </a:solidFill>
                  <a:latin typeface="+mj-lt"/>
                </a:rPr>
                <a:t>London Stock Exchange </a:t>
              </a:r>
              <a:r>
                <a:rPr lang="fr-FR" sz="1200" dirty="0">
                  <a:solidFill>
                    <a:srgbClr val="313131"/>
                  </a:solidFill>
                  <a:latin typeface="+mj-lt"/>
                </a:rPr>
                <a:t>avec une valorisation de 1 milliard $ </a:t>
              </a:r>
            </a:p>
          </p:txBody>
        </p:sp>
        <p:sp>
          <p:nvSpPr>
            <p:cNvPr id="401" name="Rectangle 400"/>
            <p:cNvSpPr/>
            <p:nvPr/>
          </p:nvSpPr>
          <p:spPr bwMode="gray">
            <a:xfrm>
              <a:off x="1407356" y="4501126"/>
              <a:ext cx="1317173" cy="252000"/>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b="1" dirty="0" err="1">
                  <a:latin typeface="+mj-lt"/>
                </a:rPr>
                <a:t>Interswitch</a:t>
              </a:r>
              <a:endParaRPr lang="fr-FR" sz="1200" b="1" dirty="0">
                <a:latin typeface="+mj-lt"/>
              </a:endParaRPr>
            </a:p>
          </p:txBody>
        </p:sp>
      </p:grpSp>
      <p:sp>
        <p:nvSpPr>
          <p:cNvPr id="403" name="Rectangle 402"/>
          <p:cNvSpPr/>
          <p:nvPr/>
        </p:nvSpPr>
        <p:spPr bwMode="gray">
          <a:xfrm>
            <a:off x="4718334" y="4972349"/>
            <a:ext cx="1317173" cy="252000"/>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err="1">
                <a:latin typeface="+mj-lt"/>
              </a:rPr>
              <a:t>Interswitch</a:t>
            </a:r>
            <a:endParaRPr lang="fr-FR" sz="1200" dirty="0">
              <a:latin typeface="+mj-lt"/>
            </a:endParaRPr>
          </a:p>
        </p:txBody>
      </p:sp>
      <p:sp>
        <p:nvSpPr>
          <p:cNvPr id="410" name="Rectangle 409"/>
          <p:cNvSpPr/>
          <p:nvPr/>
        </p:nvSpPr>
        <p:spPr bwMode="gray">
          <a:xfrm>
            <a:off x="5989783" y="4972267"/>
            <a:ext cx="1317173" cy="252000"/>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err="1">
                <a:latin typeface="+mj-lt"/>
              </a:rPr>
              <a:t>Fawry</a:t>
            </a:r>
            <a:endParaRPr lang="fr-FR" sz="1200" dirty="0">
              <a:latin typeface="+mj-lt"/>
            </a:endParaRPr>
          </a:p>
        </p:txBody>
      </p:sp>
      <p:sp>
        <p:nvSpPr>
          <p:cNvPr id="412" name="Rectangle 411"/>
          <p:cNvSpPr/>
          <p:nvPr/>
        </p:nvSpPr>
        <p:spPr bwMode="gray">
          <a:xfrm>
            <a:off x="7155044" y="4974002"/>
            <a:ext cx="1317173" cy="252000"/>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err="1">
                <a:latin typeface="+mj-lt"/>
              </a:rPr>
              <a:t>Vanso</a:t>
            </a:r>
            <a:endParaRPr lang="fr-FR" sz="1200" dirty="0">
              <a:latin typeface="+mj-lt"/>
            </a:endParaRPr>
          </a:p>
        </p:txBody>
      </p:sp>
      <p:sp>
        <p:nvSpPr>
          <p:cNvPr id="9" name="Half Frame 8"/>
          <p:cNvSpPr/>
          <p:nvPr/>
        </p:nvSpPr>
        <p:spPr bwMode="gray">
          <a:xfrm rot="8100000">
            <a:off x="3713966" y="5179250"/>
            <a:ext cx="525780" cy="525780"/>
          </a:xfrm>
          <a:prstGeom prst="halfFrame">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pic>
        <p:nvPicPr>
          <p:cNvPr id="396" name="Picture 8" descr="Résultats de recherche d'images pour « NIGERIa flag icon png »"/>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74850" y="5348031"/>
            <a:ext cx="404141" cy="4041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399819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FondVide-04.jpg" descr="/Users/alex/Documents/FREELANCE/EUROPLACE/RAPPORT-AFRIQUE/PRODUCTION/PHASE4-PPT/NEW/IMG/FondVide-04.jpg"/>
          <p:cNvPicPr>
            <a:picLocks noChangeAspect="1"/>
          </p:cNvPicPr>
          <p:nvPr/>
        </p:nvPicPr>
        <p:blipFill>
          <a:blip r:embed="rId2" r:link="rId3">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4" name="Titre 1"/>
          <p:cNvSpPr txBox="1">
            <a:spLocks/>
          </p:cNvSpPr>
          <p:nvPr/>
        </p:nvSpPr>
        <p:spPr>
          <a:xfrm>
            <a:off x="1115565" y="5996385"/>
            <a:ext cx="6912870" cy="663841"/>
          </a:xfrm>
          <a:prstGeom prst="rect">
            <a:avLst/>
          </a:prstGeom>
        </p:spPr>
        <p:txBody>
          <a:bodyPr vert="horz" lIns="91440" tIns="45720" rIns="91440" bIns="45720" rtlCol="0" anchor="t">
            <a:noAutofit/>
          </a:bodyPr>
          <a:lstStyle>
            <a:lvl1pPr algn="l" defTabSz="457200" rtl="0" eaLnBrk="1" latinLnBrk="0" hangingPunct="1">
              <a:spcBef>
                <a:spcPct val="0"/>
              </a:spcBef>
              <a:buNone/>
              <a:defRPr sz="2000" b="1" i="0" kern="1200">
                <a:solidFill>
                  <a:srgbClr val="800000"/>
                </a:solidFill>
                <a:latin typeface="Trebuchet MS"/>
                <a:ea typeface="+mj-ea"/>
                <a:cs typeface="Trebuchet MS"/>
              </a:defRPr>
            </a:lvl1pPr>
          </a:lstStyle>
          <a:p>
            <a:pPr algn="ctr">
              <a:lnSpc>
                <a:spcPct val="80000"/>
              </a:lnSpc>
            </a:pPr>
            <a:r>
              <a:rPr lang="fr-FR" sz="1600" spc="300" dirty="0">
                <a:solidFill>
                  <a:srgbClr val="173C6D"/>
                </a:solidFill>
              </a:rPr>
              <a:t>MERCREDI 27 SEPTEMBRE 2017</a:t>
            </a:r>
          </a:p>
        </p:txBody>
      </p:sp>
      <p:pic>
        <p:nvPicPr>
          <p:cNvPr id="15" name="AfricaFinLab_Logo_v1A-05.png"/>
          <p:cNvPicPr>
            <a:picLocks noChangeAspect="1"/>
          </p:cNvPicPr>
          <p:nvPr/>
        </p:nvPicPr>
        <p:blipFill>
          <a:blip r:embed="rId4" r:link="rId5" cstate="print">
            <a:extLst>
              <a:ext uri="{28A0092B-C50C-407E-A947-70E740481C1C}">
                <a14:useLocalDpi xmlns:a14="http://schemas.microsoft.com/office/drawing/2010/main"/>
              </a:ext>
            </a:extLst>
          </a:blip>
          <a:stretch>
            <a:fillRect/>
          </a:stretch>
        </p:blipFill>
        <p:spPr>
          <a:xfrm>
            <a:off x="6710508" y="161489"/>
            <a:ext cx="2264466" cy="1485900"/>
          </a:xfrm>
          <a:prstGeom prst="rect">
            <a:avLst/>
          </a:prstGeom>
        </p:spPr>
      </p:pic>
      <p:pic>
        <p:nvPicPr>
          <p:cNvPr id="31" name="Image 30" descr="globe1-09.png">
            <a:extLst>
              <a:ext uri="{FF2B5EF4-FFF2-40B4-BE49-F238E27FC236}">
                <a16:creationId xmlns:a16="http://schemas.microsoft.com/office/drawing/2014/main" id="{103792BA-DDD2-4BBE-B613-5BE9A982887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43459" y="71269"/>
            <a:ext cx="7057082" cy="5841382"/>
          </a:xfrm>
          <a:prstGeom prst="rect">
            <a:avLst/>
          </a:prstGeom>
        </p:spPr>
      </p:pic>
      <p:sp>
        <p:nvSpPr>
          <p:cNvPr id="32" name="Rectangle 31">
            <a:extLst>
              <a:ext uri="{FF2B5EF4-FFF2-40B4-BE49-F238E27FC236}">
                <a16:creationId xmlns:a16="http://schemas.microsoft.com/office/drawing/2014/main" id="{B416CE59-F27C-422E-8796-7C9C94F3A25E}"/>
              </a:ext>
            </a:extLst>
          </p:cNvPr>
          <p:cNvSpPr/>
          <p:nvPr/>
        </p:nvSpPr>
        <p:spPr>
          <a:xfrm>
            <a:off x="0" y="4483808"/>
            <a:ext cx="9144000" cy="1270035"/>
          </a:xfrm>
          <a:prstGeom prst="rect">
            <a:avLst/>
          </a:prstGeom>
          <a:solidFill>
            <a:schemeClr val="bg1"/>
          </a:solidFill>
          <a:ln w="603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rgbClr val="114B93"/>
              </a:solidFill>
            </a:endParaRPr>
          </a:p>
        </p:txBody>
      </p:sp>
      <p:sp>
        <p:nvSpPr>
          <p:cNvPr id="33" name="Titre 1">
            <a:extLst>
              <a:ext uri="{FF2B5EF4-FFF2-40B4-BE49-F238E27FC236}">
                <a16:creationId xmlns:a16="http://schemas.microsoft.com/office/drawing/2014/main" id="{233868D3-4CDF-45EF-AABD-C73EBD44B8D3}"/>
              </a:ext>
            </a:extLst>
          </p:cNvPr>
          <p:cNvSpPr txBox="1">
            <a:spLocks/>
          </p:cNvSpPr>
          <p:nvPr/>
        </p:nvSpPr>
        <p:spPr>
          <a:xfrm>
            <a:off x="0" y="4604550"/>
            <a:ext cx="9144000" cy="1044104"/>
          </a:xfrm>
          <a:prstGeom prst="rect">
            <a:avLst/>
          </a:prstGeom>
        </p:spPr>
        <p:txBody>
          <a:bodyPr vert="horz" lIns="91440" tIns="45720" rIns="91440" bIns="45720" rtlCol="0" anchor="ctr">
            <a:noAutofit/>
          </a:bodyPr>
          <a:lstStyle>
            <a:lvl1pPr algn="l" defTabSz="457200" rtl="0" eaLnBrk="1" latinLnBrk="0" hangingPunct="1">
              <a:spcBef>
                <a:spcPct val="0"/>
              </a:spcBef>
              <a:buNone/>
              <a:defRPr sz="2000" b="1" i="0" kern="1200">
                <a:solidFill>
                  <a:srgbClr val="800000"/>
                </a:solidFill>
                <a:latin typeface="Trebuchet MS"/>
                <a:ea typeface="+mj-ea"/>
                <a:cs typeface="Trebuchet MS"/>
              </a:defRPr>
            </a:lvl1pPr>
          </a:lstStyle>
          <a:p>
            <a:pPr algn="ctr"/>
            <a:r>
              <a:rPr lang="fr-FR" sz="2700" u="sng" spc="300" dirty="0">
                <a:solidFill>
                  <a:srgbClr val="173C6D"/>
                </a:solidFill>
              </a:rPr>
              <a:t>COSOB</a:t>
            </a:r>
            <a:r>
              <a:rPr lang="fr-FR" sz="2700" spc="300" dirty="0">
                <a:solidFill>
                  <a:srgbClr val="173C6D"/>
                </a:solidFill>
              </a:rPr>
              <a:t> </a:t>
            </a:r>
          </a:p>
          <a:p>
            <a:pPr algn="ctr"/>
            <a:r>
              <a:rPr lang="fr-FR" sz="2700" spc="300" dirty="0">
                <a:solidFill>
                  <a:srgbClr val="173C6D"/>
                </a:solidFill>
              </a:rPr>
              <a:t>Financements Alternatifs</a:t>
            </a:r>
          </a:p>
          <a:p>
            <a:pPr algn="ctr"/>
            <a:r>
              <a:rPr lang="fr-FR" sz="2700" spc="300" dirty="0">
                <a:solidFill>
                  <a:srgbClr val="173C6D"/>
                </a:solidFill>
              </a:rPr>
              <a:t>L’enjeu des </a:t>
            </a:r>
            <a:r>
              <a:rPr lang="fr-FR" sz="2700" spc="300" dirty="0" err="1">
                <a:solidFill>
                  <a:srgbClr val="173C6D"/>
                </a:solidFill>
              </a:rPr>
              <a:t>FinTechs</a:t>
            </a:r>
            <a:r>
              <a:rPr lang="fr-FR" sz="2700" spc="300" dirty="0">
                <a:solidFill>
                  <a:srgbClr val="173C6D"/>
                </a:solidFill>
              </a:rPr>
              <a:t>, …. </a:t>
            </a:r>
            <a:r>
              <a:rPr lang="fr-FR" sz="2700" spc="300" dirty="0" err="1">
                <a:solidFill>
                  <a:srgbClr val="173C6D"/>
                </a:solidFill>
              </a:rPr>
              <a:t>enAfrique</a:t>
            </a:r>
            <a:r>
              <a:rPr lang="fr-FR" sz="2700" spc="300" dirty="0">
                <a:solidFill>
                  <a:srgbClr val="173C6D"/>
                </a:solidFill>
              </a:rPr>
              <a:t> </a:t>
            </a:r>
          </a:p>
        </p:txBody>
      </p:sp>
      <p:pic>
        <p:nvPicPr>
          <p:cNvPr id="34" name="Bande_multicolor-03.png" descr="/Users/Alex/Documents/FREELANCE/EUROPLACE/Powerpoint_Masque_DEJEUNER_Maroc_CCI/production/img/Bande_multicolor-03.png">
            <a:extLst>
              <a:ext uri="{FF2B5EF4-FFF2-40B4-BE49-F238E27FC236}">
                <a16:creationId xmlns:a16="http://schemas.microsoft.com/office/drawing/2014/main" id="{F1A0EBE3-626E-4F12-B8E8-42E4BB45D20C}"/>
              </a:ext>
            </a:extLst>
          </p:cNvPr>
          <p:cNvPicPr>
            <a:picLocks noChangeAspect="1"/>
          </p:cNvPicPr>
          <p:nvPr/>
        </p:nvPicPr>
        <p:blipFill>
          <a:blip r:embed="rId7" r:link="rId8" cstate="print">
            <a:extLst>
              <a:ext uri="{28A0092B-C50C-407E-A947-70E740481C1C}">
                <a14:useLocalDpi xmlns:a14="http://schemas.microsoft.com/office/drawing/2010/main"/>
              </a:ext>
            </a:extLst>
          </a:blip>
          <a:stretch>
            <a:fillRect/>
          </a:stretch>
        </p:blipFill>
        <p:spPr>
          <a:xfrm>
            <a:off x="0" y="5730351"/>
            <a:ext cx="9144000" cy="133953"/>
          </a:xfrm>
          <a:prstGeom prst="rect">
            <a:avLst/>
          </a:prstGeom>
        </p:spPr>
      </p:pic>
      <p:pic>
        <p:nvPicPr>
          <p:cNvPr id="35" name="Image 34">
            <a:extLst>
              <a:ext uri="{FF2B5EF4-FFF2-40B4-BE49-F238E27FC236}">
                <a16:creationId xmlns:a16="http://schemas.microsoft.com/office/drawing/2014/main" id="{4FFE8AA1-1B0D-436C-B08A-7892DA2C0B1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05969" y="115309"/>
            <a:ext cx="2583413" cy="1255490"/>
          </a:xfrm>
          <a:prstGeom prst="rect">
            <a:avLst/>
          </a:prstGeom>
        </p:spPr>
      </p:pic>
    </p:spTree>
    <p:extLst>
      <p:ext uri="{BB962C8B-B14F-4D97-AF65-F5344CB8AC3E}">
        <p14:creationId xmlns:p14="http://schemas.microsoft.com/office/powerpoint/2010/main" val="13661571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91FE91C3-89B2-5646-B2B2-8F2D4682B10B}" type="slidenum">
              <a:rPr lang="fr-FR" smtClean="0"/>
              <a:pPr/>
              <a:t>2</a:t>
            </a:fld>
            <a:endParaRPr lang="fr-FR"/>
          </a:p>
        </p:txBody>
      </p:sp>
      <p:sp>
        <p:nvSpPr>
          <p:cNvPr id="3" name="Titre 1"/>
          <p:cNvSpPr>
            <a:spLocks noGrp="1"/>
          </p:cNvSpPr>
          <p:nvPr>
            <p:ph type="title"/>
          </p:nvPr>
        </p:nvSpPr>
        <p:spPr>
          <a:xfrm>
            <a:off x="172749" y="107578"/>
            <a:ext cx="8472487" cy="515576"/>
          </a:xfrm>
        </p:spPr>
        <p:txBody>
          <a:bodyPr/>
          <a:lstStyle/>
          <a:p>
            <a:r>
              <a:rPr lang="fr-FR" b="1" dirty="0">
                <a:solidFill>
                  <a:srgbClr val="173C6D"/>
                </a:solidFill>
              </a:rPr>
              <a:t>Afrique : Etats des lieux …. Nécessaire développement de financements alternatifs</a:t>
            </a:r>
          </a:p>
        </p:txBody>
      </p:sp>
      <p:sp>
        <p:nvSpPr>
          <p:cNvPr id="4" name="Rectangle 3"/>
          <p:cNvSpPr/>
          <p:nvPr/>
        </p:nvSpPr>
        <p:spPr>
          <a:xfrm>
            <a:off x="111484" y="3865590"/>
            <a:ext cx="8595016" cy="1600438"/>
          </a:xfrm>
          <a:prstGeom prst="rect">
            <a:avLst/>
          </a:prstGeom>
        </p:spPr>
        <p:txBody>
          <a:bodyPr wrap="square">
            <a:spAutoFit/>
          </a:bodyPr>
          <a:lstStyle/>
          <a:p>
            <a:pPr marL="534988" indent="-177800">
              <a:buFont typeface="Wingdings" panose="05000000000000000000" pitchFamily="2" charset="2"/>
              <a:buChar char="v"/>
            </a:pPr>
            <a:r>
              <a:rPr lang="fr-FR" sz="1400" b="1" dirty="0">
                <a:solidFill>
                  <a:srgbClr val="005477"/>
                </a:solidFill>
              </a:rPr>
              <a:t> Besoins des financements des économies africaines importants: </a:t>
            </a:r>
            <a:r>
              <a:rPr lang="fr-FR" sz="1400" dirty="0">
                <a:solidFill>
                  <a:srgbClr val="005477"/>
                </a:solidFill>
              </a:rPr>
              <a:t>Estimés par la CNUCED entre 600Md$ et 1200 Md$ pour les dix années à venir. Les défis sont nombreux: </a:t>
            </a:r>
          </a:p>
          <a:p>
            <a:pPr marL="1100138" lvl="1" indent="-285750">
              <a:buFont typeface="Arial" panose="020B0604020202020204" pitchFamily="34" charset="0"/>
              <a:buChar char="•"/>
            </a:pPr>
            <a:r>
              <a:rPr lang="fr-FR" sz="1400" dirty="0">
                <a:solidFill>
                  <a:srgbClr val="005477"/>
                </a:solidFill>
              </a:rPr>
              <a:t>Démographie importante</a:t>
            </a:r>
          </a:p>
          <a:p>
            <a:pPr marL="1100138" lvl="1" indent="-285750">
              <a:buFont typeface="Arial" panose="020B0604020202020204" pitchFamily="34" charset="0"/>
              <a:buChar char="•"/>
            </a:pPr>
            <a:r>
              <a:rPr lang="fr-FR" sz="1400" dirty="0">
                <a:solidFill>
                  <a:srgbClr val="005477"/>
                </a:solidFill>
              </a:rPr>
              <a:t>Urbanisation croissante et montée en puissance de la jeunesse</a:t>
            </a:r>
          </a:p>
          <a:p>
            <a:pPr marL="1100138" lvl="1" indent="-285750">
              <a:buFont typeface="Arial" panose="020B0604020202020204" pitchFamily="34" charset="0"/>
              <a:buChar char="•"/>
            </a:pPr>
            <a:r>
              <a:rPr lang="fr-FR" sz="1400" dirty="0">
                <a:solidFill>
                  <a:srgbClr val="005477"/>
                </a:solidFill>
              </a:rPr>
              <a:t>Dépendance des marchés des matières premières, même si celle-ci à tendance à se réduire</a:t>
            </a:r>
          </a:p>
        </p:txBody>
      </p:sp>
      <p:sp>
        <p:nvSpPr>
          <p:cNvPr id="8" name="Rectangle 7">
            <a:extLst>
              <a:ext uri="{FF2B5EF4-FFF2-40B4-BE49-F238E27FC236}">
                <a16:creationId xmlns:a16="http://schemas.microsoft.com/office/drawing/2014/main" id="{0482C43D-3119-4A30-BAAB-AB6C8E1D905F}"/>
              </a:ext>
            </a:extLst>
          </p:cNvPr>
          <p:cNvSpPr/>
          <p:nvPr/>
        </p:nvSpPr>
        <p:spPr>
          <a:xfrm>
            <a:off x="0" y="5710857"/>
            <a:ext cx="8672092" cy="738664"/>
          </a:xfrm>
          <a:prstGeom prst="rect">
            <a:avLst/>
          </a:prstGeom>
        </p:spPr>
        <p:txBody>
          <a:bodyPr wrap="square">
            <a:spAutoFit/>
          </a:bodyPr>
          <a:lstStyle/>
          <a:p>
            <a:pPr marL="700088" indent="-342900">
              <a:buFont typeface="Wingdings" panose="05000000000000000000" pitchFamily="2" charset="2"/>
              <a:buChar char="v"/>
            </a:pPr>
            <a:r>
              <a:rPr lang="fr-FR" sz="1400" b="1" dirty="0">
                <a:solidFill>
                  <a:srgbClr val="005477"/>
                </a:solidFill>
              </a:rPr>
              <a:t>Les sources de financement traditionnels des économies ne pourront pas faire face durablement à l’importance des besoins </a:t>
            </a:r>
            <a:r>
              <a:rPr lang="fr-FR" sz="1400" dirty="0">
                <a:solidFill>
                  <a:srgbClr val="005477"/>
                </a:solidFill>
              </a:rPr>
              <a:t>: aide au développement, financement bancaire, dépenses publiques, etc.</a:t>
            </a:r>
          </a:p>
        </p:txBody>
      </p:sp>
      <p:sp>
        <p:nvSpPr>
          <p:cNvPr id="25" name="Rectangle 24">
            <a:extLst>
              <a:ext uri="{FF2B5EF4-FFF2-40B4-BE49-F238E27FC236}">
                <a16:creationId xmlns:a16="http://schemas.microsoft.com/office/drawing/2014/main" id="{1F683367-9170-4784-8BDE-B031523E74B7}"/>
              </a:ext>
            </a:extLst>
          </p:cNvPr>
          <p:cNvSpPr/>
          <p:nvPr/>
        </p:nvSpPr>
        <p:spPr>
          <a:xfrm>
            <a:off x="0" y="955659"/>
            <a:ext cx="8365231" cy="954107"/>
          </a:xfrm>
          <a:prstGeom prst="rect">
            <a:avLst/>
          </a:prstGeom>
        </p:spPr>
        <p:txBody>
          <a:bodyPr wrap="square">
            <a:spAutoFit/>
          </a:bodyPr>
          <a:lstStyle/>
          <a:p>
            <a:pPr marL="534988" indent="-177800">
              <a:buFont typeface="Wingdings" panose="05000000000000000000" pitchFamily="2" charset="2"/>
              <a:buChar char="v"/>
            </a:pPr>
            <a:r>
              <a:rPr lang="fr-FR" sz="1400" b="1" dirty="0">
                <a:solidFill>
                  <a:srgbClr val="005477"/>
                </a:solidFill>
              </a:rPr>
              <a:t> En 2016, la croissance africaine a ralenti (2%), essentiellement, à cause de la baisse des prix des matières premières. </a:t>
            </a:r>
            <a:r>
              <a:rPr lang="fr-FR" sz="1400" dirty="0">
                <a:solidFill>
                  <a:srgbClr val="005477"/>
                </a:solidFill>
              </a:rPr>
              <a:t>Pour les pays, moins dépendants des matières premières la croissance est supérieur à 5%. </a:t>
            </a:r>
          </a:p>
          <a:p>
            <a:pPr marL="1100138" lvl="1" indent="-285750">
              <a:buFont typeface="Arial" panose="020B0604020202020204" pitchFamily="34" charset="0"/>
              <a:buChar char="•"/>
            </a:pPr>
            <a:endParaRPr lang="fr-FR" sz="1400" dirty="0">
              <a:solidFill>
                <a:srgbClr val="005477"/>
              </a:solidFill>
            </a:endParaRPr>
          </a:p>
        </p:txBody>
      </p:sp>
      <p:sp>
        <p:nvSpPr>
          <p:cNvPr id="26" name="Rectangle 25">
            <a:extLst>
              <a:ext uri="{FF2B5EF4-FFF2-40B4-BE49-F238E27FC236}">
                <a16:creationId xmlns:a16="http://schemas.microsoft.com/office/drawing/2014/main" id="{881DD71B-3B1E-408B-A47A-F6741DD67CBB}"/>
              </a:ext>
            </a:extLst>
          </p:cNvPr>
          <p:cNvSpPr/>
          <p:nvPr/>
        </p:nvSpPr>
        <p:spPr>
          <a:xfrm>
            <a:off x="-1" y="1891400"/>
            <a:ext cx="8365231" cy="1815882"/>
          </a:xfrm>
          <a:prstGeom prst="rect">
            <a:avLst/>
          </a:prstGeom>
        </p:spPr>
        <p:txBody>
          <a:bodyPr wrap="square">
            <a:spAutoFit/>
          </a:bodyPr>
          <a:lstStyle/>
          <a:p>
            <a:pPr marL="534988" indent="-177800">
              <a:buFont typeface="Wingdings" panose="05000000000000000000" pitchFamily="2" charset="2"/>
              <a:buChar char="v"/>
            </a:pPr>
            <a:r>
              <a:rPr lang="fr-FR" sz="1400" b="1" dirty="0">
                <a:solidFill>
                  <a:srgbClr val="005477"/>
                </a:solidFill>
              </a:rPr>
              <a:t> La dynamique en Afrique: </a:t>
            </a:r>
          </a:p>
          <a:p>
            <a:pPr marL="1100138" lvl="1" indent="-285750">
              <a:buClr>
                <a:schemeClr val="bg1"/>
              </a:buClr>
              <a:buFont typeface="Arial" panose="020B0604020202020204" pitchFamily="34" charset="0"/>
              <a:buChar char="•"/>
            </a:pPr>
            <a:r>
              <a:rPr lang="fr-FR" sz="1400" dirty="0">
                <a:solidFill>
                  <a:srgbClr val="005477"/>
                </a:solidFill>
              </a:rPr>
              <a:t>- Croissance africaine de plus en plus endogène, portée par l'investissement domestique, notamment en infrastructures et le développement d'une classe moyenne, qui a plus que doublé en 20 ans, qui s'urbanise, consomme, entreprend et crée des entreprises.</a:t>
            </a:r>
          </a:p>
          <a:p>
            <a:pPr marL="1100138" lvl="1" indent="-285750">
              <a:buClr>
                <a:schemeClr val="bg1"/>
              </a:buClr>
              <a:buFont typeface="Arial" panose="020B0604020202020204" pitchFamily="34" charset="0"/>
              <a:buChar char="•"/>
            </a:pPr>
            <a:r>
              <a:rPr lang="fr-FR" sz="1400" dirty="0">
                <a:solidFill>
                  <a:srgbClr val="005477"/>
                </a:solidFill>
              </a:rPr>
              <a:t>- Economies africaines, qui se diversifient: secteurs des biens de consommation, des télécommunications ou encore des services financiers se développent.</a:t>
            </a:r>
          </a:p>
        </p:txBody>
      </p:sp>
    </p:spTree>
    <p:extLst>
      <p:ext uri="{BB962C8B-B14F-4D97-AF65-F5344CB8AC3E}">
        <p14:creationId xmlns:p14="http://schemas.microsoft.com/office/powerpoint/2010/main" val="26781842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riangle isocèle 56"/>
          <p:cNvSpPr/>
          <p:nvPr/>
        </p:nvSpPr>
        <p:spPr>
          <a:xfrm rot="10800000">
            <a:off x="3851189" y="2663786"/>
            <a:ext cx="1462216" cy="3445123"/>
          </a:xfrm>
          <a:prstGeom prst="triangle">
            <a:avLst/>
          </a:prstGeom>
          <a:solidFill>
            <a:srgbClr val="4B9B4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60" name="Triangle isocèle 59"/>
          <p:cNvSpPr/>
          <p:nvPr/>
        </p:nvSpPr>
        <p:spPr>
          <a:xfrm rot="10800000">
            <a:off x="6775385" y="2663786"/>
            <a:ext cx="1462216" cy="3445123"/>
          </a:xfrm>
          <a:prstGeom prst="triangle">
            <a:avLst/>
          </a:prstGeom>
          <a:solidFill>
            <a:srgbClr val="CE18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2" name="Triangle isocèle 1"/>
          <p:cNvSpPr/>
          <p:nvPr/>
        </p:nvSpPr>
        <p:spPr>
          <a:xfrm rot="10800000">
            <a:off x="994781" y="2663786"/>
            <a:ext cx="1462216" cy="3445123"/>
          </a:xfrm>
          <a:prstGeom prst="triangle">
            <a:avLst/>
          </a:prstGeom>
          <a:solidFill>
            <a:srgbClr val="173C6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30" name="Rectangle à coins arrondis 29"/>
          <p:cNvSpPr/>
          <p:nvPr/>
        </p:nvSpPr>
        <p:spPr>
          <a:xfrm>
            <a:off x="402946" y="1978640"/>
            <a:ext cx="2637009" cy="686347"/>
          </a:xfrm>
          <a:prstGeom prst="roundRect">
            <a:avLst/>
          </a:prstGeom>
          <a:solidFill>
            <a:schemeClr val="bg1"/>
          </a:solidFill>
          <a:ln w="25400" cmpd="sng">
            <a:solidFill>
              <a:srgbClr val="173C6D"/>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100" b="1" dirty="0">
                <a:solidFill>
                  <a:srgbClr val="173C6D"/>
                </a:solidFill>
              </a:rPr>
              <a:t>Accompagner le développement des marchés des capitaux africains</a:t>
            </a:r>
            <a:endParaRPr lang="en-US" sz="1100" b="1" dirty="0">
              <a:solidFill>
                <a:srgbClr val="173C6D"/>
              </a:solidFill>
            </a:endParaRPr>
          </a:p>
        </p:txBody>
      </p:sp>
      <p:sp>
        <p:nvSpPr>
          <p:cNvPr id="50" name="Rectangle à coins arrondis 49"/>
          <p:cNvSpPr/>
          <p:nvPr/>
        </p:nvSpPr>
        <p:spPr>
          <a:xfrm>
            <a:off x="6134939" y="1973220"/>
            <a:ext cx="2778152" cy="693266"/>
          </a:xfrm>
          <a:prstGeom prst="roundRect">
            <a:avLst/>
          </a:prstGeom>
          <a:solidFill>
            <a:schemeClr val="bg1"/>
          </a:solidFill>
          <a:ln w="25400" cmpd="sng">
            <a:solidFill>
              <a:srgbClr val="CE1829"/>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100" b="1" dirty="0">
                <a:solidFill>
                  <a:srgbClr val="CE1829"/>
                </a:solidFill>
              </a:rPr>
              <a:t>Créer un cadre pour le développement des compétences, en innovation/ finance digitale</a:t>
            </a:r>
            <a:endParaRPr lang="en-US" sz="1100" b="1" dirty="0">
              <a:solidFill>
                <a:srgbClr val="CE1829"/>
              </a:solidFill>
            </a:endParaRPr>
          </a:p>
        </p:txBody>
      </p:sp>
      <p:sp>
        <p:nvSpPr>
          <p:cNvPr id="58" name="Rectangle à coins arrondis 57"/>
          <p:cNvSpPr/>
          <p:nvPr/>
        </p:nvSpPr>
        <p:spPr>
          <a:xfrm>
            <a:off x="3248232" y="1971926"/>
            <a:ext cx="2663562" cy="705590"/>
          </a:xfrm>
          <a:prstGeom prst="roundRect">
            <a:avLst/>
          </a:prstGeom>
          <a:solidFill>
            <a:schemeClr val="bg1"/>
          </a:solidFill>
          <a:ln w="25400" cmpd="sng">
            <a:solidFill>
              <a:srgbClr val="4B9B48"/>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100" b="1" dirty="0">
                <a:solidFill>
                  <a:srgbClr val="4B9B48"/>
                </a:solidFill>
              </a:rPr>
              <a:t>Soutenir la digitalisation de la finance, en particulier le développement des </a:t>
            </a:r>
            <a:r>
              <a:rPr lang="fr-FR" sz="1100" b="1" dirty="0" err="1">
                <a:solidFill>
                  <a:srgbClr val="4B9B48"/>
                </a:solidFill>
              </a:rPr>
              <a:t>FinTech</a:t>
            </a:r>
            <a:endParaRPr lang="en-US" sz="1100" b="1" dirty="0">
              <a:solidFill>
                <a:srgbClr val="4B9B48"/>
              </a:solidFill>
            </a:endParaRPr>
          </a:p>
        </p:txBody>
      </p:sp>
      <p:sp>
        <p:nvSpPr>
          <p:cNvPr id="38" name="Titre 1"/>
          <p:cNvSpPr txBox="1">
            <a:spLocks/>
          </p:cNvSpPr>
          <p:nvPr/>
        </p:nvSpPr>
        <p:spPr>
          <a:xfrm>
            <a:off x="264586" y="135036"/>
            <a:ext cx="4598744" cy="515576"/>
          </a:xfrm>
          <a:prstGeom prst="rect">
            <a:avLst/>
          </a:prstGeom>
        </p:spPr>
        <p:txBody>
          <a:bodyPr vert="horz" lIns="91440" tIns="45720" rIns="91440" bIns="45720" rtlCol="0" anchor="ctr">
            <a:noAutofit/>
          </a:bodyPr>
          <a:lstStyle>
            <a:lvl1pPr algn="l" defTabSz="457200" rtl="0" eaLnBrk="1" latinLnBrk="0" hangingPunct="1">
              <a:spcBef>
                <a:spcPct val="0"/>
              </a:spcBef>
              <a:buNone/>
              <a:defRPr sz="2000" b="1" i="0" kern="1200">
                <a:solidFill>
                  <a:srgbClr val="114B93"/>
                </a:solidFill>
                <a:latin typeface="+mj-lt"/>
                <a:ea typeface="+mj-ea"/>
                <a:cs typeface="Arial" pitchFamily="34" charset="0"/>
              </a:defRPr>
            </a:lvl1pPr>
          </a:lstStyle>
          <a:p>
            <a:r>
              <a:rPr lang="fr-FR" dirty="0" err="1">
                <a:solidFill>
                  <a:srgbClr val="173C6D"/>
                </a:solidFill>
              </a:rPr>
              <a:t>Africa</a:t>
            </a:r>
            <a:r>
              <a:rPr lang="fr-FR" dirty="0">
                <a:solidFill>
                  <a:srgbClr val="173C6D"/>
                </a:solidFill>
              </a:rPr>
              <a:t> </a:t>
            </a:r>
            <a:r>
              <a:rPr lang="fr-FR" dirty="0" err="1">
                <a:solidFill>
                  <a:srgbClr val="173C6D"/>
                </a:solidFill>
              </a:rPr>
              <a:t>FinLab</a:t>
            </a:r>
            <a:r>
              <a:rPr lang="fr-FR" dirty="0">
                <a:solidFill>
                  <a:srgbClr val="173C6D"/>
                </a:solidFill>
              </a:rPr>
              <a:t>: Axes d’actions</a:t>
            </a:r>
          </a:p>
        </p:txBody>
      </p:sp>
      <p:sp>
        <p:nvSpPr>
          <p:cNvPr id="39" name="Rectangle 38"/>
          <p:cNvSpPr/>
          <p:nvPr/>
        </p:nvSpPr>
        <p:spPr>
          <a:xfrm>
            <a:off x="560294" y="763972"/>
            <a:ext cx="8075705" cy="323165"/>
          </a:xfrm>
          <a:prstGeom prst="rect">
            <a:avLst/>
          </a:prstGeom>
        </p:spPr>
        <p:txBody>
          <a:bodyPr wrap="square">
            <a:spAutoFit/>
          </a:bodyPr>
          <a:lstStyle/>
          <a:p>
            <a:pPr lvl="0" algn="ctr">
              <a:spcBef>
                <a:spcPct val="0"/>
              </a:spcBef>
              <a:defRPr/>
            </a:pPr>
            <a:r>
              <a:rPr lang="fr-FR" sz="1500" b="1" dirty="0">
                <a:solidFill>
                  <a:schemeClr val="bg1"/>
                </a:solidFill>
                <a:latin typeface="+mj-lt"/>
                <a:cs typeface="Arial" panose="020B0604020202020204" pitchFamily="34" charset="0"/>
              </a:rPr>
              <a:t>3 Pôles d’Expertises</a:t>
            </a:r>
          </a:p>
        </p:txBody>
      </p:sp>
      <p:sp>
        <p:nvSpPr>
          <p:cNvPr id="46" name="Rectangle à coins arrondis 59"/>
          <p:cNvSpPr/>
          <p:nvPr/>
        </p:nvSpPr>
        <p:spPr>
          <a:xfrm>
            <a:off x="3646019" y="4292401"/>
            <a:ext cx="1867988" cy="836369"/>
          </a:xfrm>
          <a:prstGeom prst="roundRect">
            <a:avLst/>
          </a:prstGeom>
          <a:solidFill>
            <a:schemeClr val="bg1"/>
          </a:solidFill>
          <a:ln w="12700">
            <a:solidFill>
              <a:srgbClr val="4B9B48"/>
            </a:solidFill>
          </a:ln>
          <a:effectLst/>
        </p:spPr>
        <p:style>
          <a:lnRef idx="1">
            <a:schemeClr val="accent1"/>
          </a:lnRef>
          <a:fillRef idx="3">
            <a:schemeClr val="accent1"/>
          </a:fillRef>
          <a:effectRef idx="2">
            <a:schemeClr val="accent1"/>
          </a:effectRef>
          <a:fontRef idx="minor">
            <a:schemeClr val="lt1"/>
          </a:fontRef>
        </p:style>
        <p:txBody>
          <a:bodyPr tIns="36000" rtlCol="0" anchor="ctr"/>
          <a:lstStyle/>
          <a:p>
            <a:pPr algn="ctr"/>
            <a:endParaRPr lang="fr-FR" sz="1100" b="1" dirty="0">
              <a:solidFill>
                <a:srgbClr val="4B9B48"/>
              </a:solidFill>
            </a:endParaRPr>
          </a:p>
          <a:p>
            <a:pPr algn="ctr"/>
            <a:r>
              <a:rPr lang="fr-FR" sz="1100" b="1" dirty="0">
                <a:solidFill>
                  <a:srgbClr val="4B9B48"/>
                </a:solidFill>
              </a:rPr>
              <a:t>Ateliers et conférences sur la finance digitale</a:t>
            </a:r>
          </a:p>
          <a:p>
            <a:pPr algn="ctr"/>
            <a:endParaRPr lang="fr-FR" sz="1100" b="1" dirty="0">
              <a:solidFill>
                <a:srgbClr val="4B9B48"/>
              </a:solidFill>
            </a:endParaRPr>
          </a:p>
        </p:txBody>
      </p:sp>
      <p:sp>
        <p:nvSpPr>
          <p:cNvPr id="51" name="Rectangle à coins arrondis 59"/>
          <p:cNvSpPr/>
          <p:nvPr/>
        </p:nvSpPr>
        <p:spPr>
          <a:xfrm>
            <a:off x="3646019" y="3335826"/>
            <a:ext cx="1867988" cy="836369"/>
          </a:xfrm>
          <a:prstGeom prst="roundRect">
            <a:avLst/>
          </a:prstGeom>
          <a:solidFill>
            <a:schemeClr val="bg1"/>
          </a:solidFill>
          <a:ln w="12700">
            <a:solidFill>
              <a:srgbClr val="4B9B48"/>
            </a:solidFill>
          </a:ln>
          <a:effectLst/>
        </p:spPr>
        <p:style>
          <a:lnRef idx="1">
            <a:schemeClr val="accent1"/>
          </a:lnRef>
          <a:fillRef idx="3">
            <a:schemeClr val="accent1"/>
          </a:fillRef>
          <a:effectRef idx="2">
            <a:schemeClr val="accent1"/>
          </a:effectRef>
          <a:fontRef idx="minor">
            <a:schemeClr val="lt1"/>
          </a:fontRef>
        </p:style>
        <p:txBody>
          <a:bodyPr tIns="36000" rtlCol="0" anchor="ctr"/>
          <a:lstStyle/>
          <a:p>
            <a:pPr algn="ctr"/>
            <a:r>
              <a:rPr lang="fr-FR" sz="1100" b="1" dirty="0">
                <a:solidFill>
                  <a:srgbClr val="4B9B48"/>
                </a:solidFill>
              </a:rPr>
              <a:t>Soutien au développement d’Ecosystèmes favorables aux </a:t>
            </a:r>
            <a:r>
              <a:rPr lang="fr-FR" sz="1100" b="1" dirty="0" err="1">
                <a:solidFill>
                  <a:srgbClr val="4B9B48"/>
                </a:solidFill>
              </a:rPr>
              <a:t>FinTechs</a:t>
            </a:r>
            <a:r>
              <a:rPr lang="fr-FR" sz="1100" b="1" dirty="0">
                <a:solidFill>
                  <a:srgbClr val="4B9B48"/>
                </a:solidFill>
              </a:rPr>
              <a:t> </a:t>
            </a:r>
          </a:p>
        </p:txBody>
      </p:sp>
      <p:sp>
        <p:nvSpPr>
          <p:cNvPr id="54" name="Rectangle à coins arrondis 59"/>
          <p:cNvSpPr/>
          <p:nvPr/>
        </p:nvSpPr>
        <p:spPr>
          <a:xfrm>
            <a:off x="3646019" y="5284171"/>
            <a:ext cx="1867988" cy="836369"/>
          </a:xfrm>
          <a:prstGeom prst="roundRect">
            <a:avLst/>
          </a:prstGeom>
          <a:solidFill>
            <a:schemeClr val="bg1"/>
          </a:solidFill>
          <a:ln w="12700">
            <a:solidFill>
              <a:srgbClr val="4B9B48"/>
            </a:solidFill>
          </a:ln>
          <a:effectLst/>
        </p:spPr>
        <p:style>
          <a:lnRef idx="1">
            <a:schemeClr val="accent1"/>
          </a:lnRef>
          <a:fillRef idx="3">
            <a:schemeClr val="accent1"/>
          </a:fillRef>
          <a:effectRef idx="2">
            <a:schemeClr val="accent1"/>
          </a:effectRef>
          <a:fontRef idx="minor">
            <a:schemeClr val="lt1"/>
          </a:fontRef>
        </p:style>
        <p:txBody>
          <a:bodyPr tIns="36000" rtlCol="0" anchor="ctr"/>
          <a:lstStyle/>
          <a:p>
            <a:pPr algn="ctr"/>
            <a:r>
              <a:rPr lang="fr-FR" sz="1100" b="1" dirty="0">
                <a:solidFill>
                  <a:srgbClr val="4B9B48"/>
                </a:solidFill>
              </a:rPr>
              <a:t>Accompagnement de porteurs de projets </a:t>
            </a:r>
            <a:r>
              <a:rPr lang="fr-FR" sz="1100" b="1" dirty="0" err="1">
                <a:solidFill>
                  <a:srgbClr val="4B9B48"/>
                </a:solidFill>
              </a:rPr>
              <a:t>FinTech</a:t>
            </a:r>
            <a:endParaRPr lang="fr-FR" sz="1100" b="1" dirty="0">
              <a:solidFill>
                <a:srgbClr val="4B9B48"/>
              </a:solidFill>
            </a:endParaRPr>
          </a:p>
        </p:txBody>
      </p:sp>
      <p:sp>
        <p:nvSpPr>
          <p:cNvPr id="56" name="Rectangle à coins arrondis 59"/>
          <p:cNvSpPr/>
          <p:nvPr/>
        </p:nvSpPr>
        <p:spPr>
          <a:xfrm>
            <a:off x="800305" y="3320712"/>
            <a:ext cx="1842246" cy="836369"/>
          </a:xfrm>
          <a:prstGeom prst="roundRect">
            <a:avLst/>
          </a:prstGeom>
          <a:solidFill>
            <a:schemeClr val="bg1"/>
          </a:solidFill>
          <a:ln w="12700">
            <a:solidFill>
              <a:srgbClr val="173C6D"/>
            </a:solidFill>
          </a:ln>
          <a:effectLst/>
        </p:spPr>
        <p:style>
          <a:lnRef idx="1">
            <a:schemeClr val="accent1"/>
          </a:lnRef>
          <a:fillRef idx="3">
            <a:schemeClr val="accent1"/>
          </a:fillRef>
          <a:effectRef idx="2">
            <a:schemeClr val="accent1"/>
          </a:effectRef>
          <a:fontRef idx="minor">
            <a:schemeClr val="lt1"/>
          </a:fontRef>
        </p:style>
        <p:txBody>
          <a:bodyPr tIns="36000" rtlCol="0" anchor="ctr"/>
          <a:lstStyle/>
          <a:p>
            <a:pPr algn="ctr"/>
            <a:r>
              <a:rPr lang="fr-FR" sz="1100" b="1" dirty="0">
                <a:solidFill>
                  <a:srgbClr val="173C6D"/>
                </a:solidFill>
              </a:rPr>
              <a:t>Observatoire du Financement des Entreprises et des Marchés Financiers Africains</a:t>
            </a:r>
          </a:p>
        </p:txBody>
      </p:sp>
      <p:sp>
        <p:nvSpPr>
          <p:cNvPr id="64" name="Rectangle à coins arrondis 59"/>
          <p:cNvSpPr/>
          <p:nvPr/>
        </p:nvSpPr>
        <p:spPr>
          <a:xfrm>
            <a:off x="800305" y="4292401"/>
            <a:ext cx="1842246" cy="836369"/>
          </a:xfrm>
          <a:prstGeom prst="roundRect">
            <a:avLst/>
          </a:prstGeom>
          <a:solidFill>
            <a:schemeClr val="bg1"/>
          </a:solidFill>
          <a:ln w="12700">
            <a:solidFill>
              <a:srgbClr val="173C6D"/>
            </a:solidFill>
          </a:ln>
          <a:effectLst/>
        </p:spPr>
        <p:style>
          <a:lnRef idx="1">
            <a:schemeClr val="accent1"/>
          </a:lnRef>
          <a:fillRef idx="3">
            <a:schemeClr val="accent1"/>
          </a:fillRef>
          <a:effectRef idx="2">
            <a:schemeClr val="accent1"/>
          </a:effectRef>
          <a:fontRef idx="minor">
            <a:schemeClr val="lt1"/>
          </a:fontRef>
        </p:style>
        <p:txBody>
          <a:bodyPr tIns="36000" rtlCol="0" anchor="ctr"/>
          <a:lstStyle/>
          <a:p>
            <a:pPr algn="ctr"/>
            <a:r>
              <a:rPr lang="fr-FR" sz="1100" b="1" dirty="0">
                <a:solidFill>
                  <a:srgbClr val="173C6D"/>
                </a:solidFill>
              </a:rPr>
              <a:t>Fonds d’investissement dans les Bourses africaines</a:t>
            </a:r>
          </a:p>
        </p:txBody>
      </p:sp>
      <p:sp>
        <p:nvSpPr>
          <p:cNvPr id="67" name="Rectangle à coins arrondis 59"/>
          <p:cNvSpPr/>
          <p:nvPr/>
        </p:nvSpPr>
        <p:spPr>
          <a:xfrm>
            <a:off x="800305" y="5270317"/>
            <a:ext cx="1842246" cy="836369"/>
          </a:xfrm>
          <a:prstGeom prst="roundRect">
            <a:avLst/>
          </a:prstGeom>
          <a:solidFill>
            <a:schemeClr val="bg1"/>
          </a:solidFill>
          <a:ln w="12700">
            <a:solidFill>
              <a:srgbClr val="173C6D"/>
            </a:solidFill>
          </a:ln>
          <a:effectLst/>
        </p:spPr>
        <p:style>
          <a:lnRef idx="1">
            <a:schemeClr val="accent1"/>
          </a:lnRef>
          <a:fillRef idx="3">
            <a:schemeClr val="accent1"/>
          </a:fillRef>
          <a:effectRef idx="2">
            <a:schemeClr val="accent1"/>
          </a:effectRef>
          <a:fontRef idx="minor">
            <a:schemeClr val="lt1"/>
          </a:fontRef>
        </p:style>
        <p:txBody>
          <a:bodyPr tIns="36000" rtlCol="0" anchor="ctr"/>
          <a:lstStyle/>
          <a:p>
            <a:pPr algn="ctr"/>
            <a:endParaRPr lang="fr-FR" sz="1100" b="1" dirty="0">
              <a:solidFill>
                <a:srgbClr val="173C6D"/>
              </a:solidFill>
            </a:endParaRPr>
          </a:p>
          <a:p>
            <a:pPr algn="ctr"/>
            <a:r>
              <a:rPr lang="fr-FR" sz="1100" b="1" dirty="0">
                <a:solidFill>
                  <a:srgbClr val="173C6D"/>
                </a:solidFill>
              </a:rPr>
              <a:t>Promotion internationale des marchés de capitaux africains</a:t>
            </a:r>
          </a:p>
          <a:p>
            <a:pPr algn="ctr"/>
            <a:endParaRPr lang="fr-FR" sz="1100" b="1" dirty="0">
              <a:solidFill>
                <a:srgbClr val="173C6D"/>
              </a:solidFill>
            </a:endParaRPr>
          </a:p>
        </p:txBody>
      </p:sp>
      <p:sp>
        <p:nvSpPr>
          <p:cNvPr id="73" name="Rectangle à coins arrondis 59"/>
          <p:cNvSpPr/>
          <p:nvPr/>
        </p:nvSpPr>
        <p:spPr>
          <a:xfrm>
            <a:off x="6639092" y="3335826"/>
            <a:ext cx="1758079" cy="836369"/>
          </a:xfrm>
          <a:prstGeom prst="roundRect">
            <a:avLst/>
          </a:prstGeom>
          <a:solidFill>
            <a:schemeClr val="bg1"/>
          </a:solidFill>
          <a:ln w="12700">
            <a:solidFill>
              <a:srgbClr val="CE1829"/>
            </a:solidFill>
          </a:ln>
          <a:effectLst/>
        </p:spPr>
        <p:style>
          <a:lnRef idx="1">
            <a:schemeClr val="accent1"/>
          </a:lnRef>
          <a:fillRef idx="3">
            <a:schemeClr val="accent1"/>
          </a:fillRef>
          <a:effectRef idx="2">
            <a:schemeClr val="accent1"/>
          </a:effectRef>
          <a:fontRef idx="minor">
            <a:schemeClr val="lt1"/>
          </a:fontRef>
        </p:style>
        <p:txBody>
          <a:bodyPr tIns="36000" rtlCol="0" anchor="ctr"/>
          <a:lstStyle/>
          <a:p>
            <a:pPr algn="ctr"/>
            <a:r>
              <a:rPr lang="fr-FR" sz="1100" b="1" dirty="0">
                <a:solidFill>
                  <a:srgbClr val="CE1829"/>
                </a:solidFill>
              </a:rPr>
              <a:t>Modules de formation en finance digitale</a:t>
            </a:r>
          </a:p>
        </p:txBody>
      </p:sp>
      <p:sp>
        <p:nvSpPr>
          <p:cNvPr id="76" name="Rectangle à coins arrondis 59"/>
          <p:cNvSpPr/>
          <p:nvPr/>
        </p:nvSpPr>
        <p:spPr>
          <a:xfrm>
            <a:off x="6647909" y="4307515"/>
            <a:ext cx="1758079" cy="836369"/>
          </a:xfrm>
          <a:prstGeom prst="roundRect">
            <a:avLst/>
          </a:prstGeom>
          <a:solidFill>
            <a:schemeClr val="bg1"/>
          </a:solidFill>
          <a:ln w="12700">
            <a:solidFill>
              <a:srgbClr val="CE1829"/>
            </a:solidFill>
          </a:ln>
          <a:effectLst/>
        </p:spPr>
        <p:style>
          <a:lnRef idx="1">
            <a:schemeClr val="accent1"/>
          </a:lnRef>
          <a:fillRef idx="3">
            <a:schemeClr val="accent1"/>
          </a:fillRef>
          <a:effectRef idx="2">
            <a:schemeClr val="accent1"/>
          </a:effectRef>
          <a:fontRef idx="minor">
            <a:schemeClr val="lt1"/>
          </a:fontRef>
        </p:style>
        <p:txBody>
          <a:bodyPr tIns="36000" rtlCol="0" anchor="ctr"/>
          <a:lstStyle/>
          <a:p>
            <a:pPr algn="ctr"/>
            <a:endParaRPr lang="fr-FR" sz="1100" b="1" dirty="0">
              <a:solidFill>
                <a:srgbClr val="CE1829"/>
              </a:solidFill>
            </a:endParaRPr>
          </a:p>
          <a:p>
            <a:pPr algn="ctr"/>
            <a:r>
              <a:rPr lang="fr-FR" sz="1100" b="1" dirty="0">
                <a:solidFill>
                  <a:srgbClr val="CE1829"/>
                </a:solidFill>
              </a:rPr>
              <a:t>Modules de Formations « </a:t>
            </a:r>
            <a:r>
              <a:rPr lang="fr-FR" sz="1100" b="1" dirty="0" err="1">
                <a:solidFill>
                  <a:srgbClr val="CE1829"/>
                </a:solidFill>
              </a:rPr>
              <a:t>Risk</a:t>
            </a:r>
            <a:r>
              <a:rPr lang="fr-FR" sz="1100" b="1" dirty="0">
                <a:solidFill>
                  <a:srgbClr val="CE1829"/>
                </a:solidFill>
              </a:rPr>
              <a:t> » : maitrise et gestion des risques </a:t>
            </a:r>
          </a:p>
          <a:p>
            <a:pPr algn="ctr"/>
            <a:endParaRPr lang="fr-FR" sz="1100" b="1" dirty="0">
              <a:solidFill>
                <a:srgbClr val="CE1829"/>
              </a:solidFill>
            </a:endParaRPr>
          </a:p>
        </p:txBody>
      </p:sp>
      <p:sp>
        <p:nvSpPr>
          <p:cNvPr id="77" name="Rectangle à coins arrondis 59"/>
          <p:cNvSpPr/>
          <p:nvPr/>
        </p:nvSpPr>
        <p:spPr>
          <a:xfrm>
            <a:off x="6649169" y="5285431"/>
            <a:ext cx="1758079" cy="836369"/>
          </a:xfrm>
          <a:prstGeom prst="roundRect">
            <a:avLst/>
          </a:prstGeom>
          <a:solidFill>
            <a:schemeClr val="bg1"/>
          </a:solidFill>
          <a:ln w="12700">
            <a:solidFill>
              <a:srgbClr val="CE1829"/>
            </a:solidFill>
          </a:ln>
          <a:effectLst/>
        </p:spPr>
        <p:style>
          <a:lnRef idx="1">
            <a:schemeClr val="accent1"/>
          </a:lnRef>
          <a:fillRef idx="3">
            <a:schemeClr val="accent1"/>
          </a:fillRef>
          <a:effectRef idx="2">
            <a:schemeClr val="accent1"/>
          </a:effectRef>
          <a:fontRef idx="minor">
            <a:schemeClr val="lt1"/>
          </a:fontRef>
        </p:style>
        <p:txBody>
          <a:bodyPr tIns="36000" rtlCol="0" anchor="ctr"/>
          <a:lstStyle/>
          <a:p>
            <a:pPr algn="ctr"/>
            <a:r>
              <a:rPr lang="fr-FR" sz="1100" b="1" dirty="0">
                <a:solidFill>
                  <a:srgbClr val="CE1829"/>
                </a:solidFill>
              </a:rPr>
              <a:t>Développement de </a:t>
            </a:r>
            <a:r>
              <a:rPr lang="fr-FR" sz="1100" b="1" dirty="0" err="1">
                <a:solidFill>
                  <a:srgbClr val="CE1829"/>
                </a:solidFill>
              </a:rPr>
              <a:t>Mooc</a:t>
            </a:r>
            <a:r>
              <a:rPr lang="fr-FR" sz="1100" b="1" dirty="0">
                <a:solidFill>
                  <a:srgbClr val="CE1829"/>
                </a:solidFill>
              </a:rPr>
              <a:t> et e-learning</a:t>
            </a:r>
          </a:p>
        </p:txBody>
      </p:sp>
      <p:sp>
        <p:nvSpPr>
          <p:cNvPr id="78" name="Rectangle : coins arrondis 77"/>
          <p:cNvSpPr/>
          <p:nvPr/>
        </p:nvSpPr>
        <p:spPr>
          <a:xfrm>
            <a:off x="400242" y="2838832"/>
            <a:ext cx="8401922" cy="268941"/>
          </a:xfrm>
          <a:prstGeom prst="roundRect">
            <a:avLst>
              <a:gd name="adj" fmla="val 28965"/>
            </a:avLst>
          </a:prstGeom>
          <a:solidFill>
            <a:srgbClr val="005477"/>
          </a:solid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tIns="36000" rtlCol="0" anchor="ctr"/>
          <a:lstStyle/>
          <a:p>
            <a:pPr algn="ctr" defTabSz="914400"/>
            <a:r>
              <a:rPr lang="fr-FR" sz="1200" b="1" kern="0" spc="300" dirty="0">
                <a:solidFill>
                  <a:schemeClr val="bg1"/>
                </a:solidFill>
              </a:rPr>
              <a:t>INITIATIVES ET PROJETS</a:t>
            </a:r>
          </a:p>
        </p:txBody>
      </p:sp>
      <p:sp>
        <p:nvSpPr>
          <p:cNvPr id="23" name="Rectangle à coins arrondis 59"/>
          <p:cNvSpPr/>
          <p:nvPr/>
        </p:nvSpPr>
        <p:spPr>
          <a:xfrm>
            <a:off x="797314" y="1383485"/>
            <a:ext cx="1837765" cy="667322"/>
          </a:xfrm>
          <a:prstGeom prst="roundRect">
            <a:avLst/>
          </a:prstGeom>
          <a:solidFill>
            <a:srgbClr val="173C6D"/>
          </a:solidFill>
          <a:ln w="12700">
            <a:solidFill>
              <a:srgbClr val="173C6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fr-FR" sz="1400" dirty="0">
              <a:solidFill>
                <a:srgbClr val="57AA35"/>
              </a:solidFill>
            </a:endParaRPr>
          </a:p>
        </p:txBody>
      </p:sp>
      <p:sp>
        <p:nvSpPr>
          <p:cNvPr id="24" name="Rectangle à coins arrondis 59"/>
          <p:cNvSpPr/>
          <p:nvPr/>
        </p:nvSpPr>
        <p:spPr>
          <a:xfrm>
            <a:off x="1344094" y="1518498"/>
            <a:ext cx="1417241" cy="36338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r>
              <a:rPr lang="fr-FR" sz="1600" b="1" dirty="0">
                <a:solidFill>
                  <a:schemeClr val="bg1"/>
                </a:solidFill>
              </a:rPr>
              <a:t>FINANCER</a:t>
            </a:r>
            <a:endParaRPr lang="fr-FR" sz="1600" b="1" kern="0" dirty="0">
              <a:solidFill>
                <a:schemeClr val="bg1"/>
              </a:solidFill>
            </a:endParaRPr>
          </a:p>
        </p:txBody>
      </p:sp>
      <p:sp>
        <p:nvSpPr>
          <p:cNvPr id="25" name="Rectangle à coins arrondis 59"/>
          <p:cNvSpPr/>
          <p:nvPr/>
        </p:nvSpPr>
        <p:spPr>
          <a:xfrm>
            <a:off x="3653118" y="1376015"/>
            <a:ext cx="1837765" cy="667322"/>
          </a:xfrm>
          <a:prstGeom prst="roundRect">
            <a:avLst/>
          </a:prstGeom>
          <a:solidFill>
            <a:srgbClr val="4B9B48"/>
          </a:solidFill>
          <a:ln w="12700">
            <a:solidFill>
              <a:srgbClr val="4B9B48"/>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fr-FR" sz="1400" dirty="0">
              <a:solidFill>
                <a:srgbClr val="57AA35"/>
              </a:solidFill>
            </a:endParaRPr>
          </a:p>
        </p:txBody>
      </p:sp>
      <p:sp>
        <p:nvSpPr>
          <p:cNvPr id="26" name="Rectangle à coins arrondis 59"/>
          <p:cNvSpPr/>
          <p:nvPr/>
        </p:nvSpPr>
        <p:spPr>
          <a:xfrm>
            <a:off x="4142305" y="1518498"/>
            <a:ext cx="1473406" cy="36338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r>
              <a:rPr lang="fr-FR" sz="1600" b="1" dirty="0">
                <a:solidFill>
                  <a:schemeClr val="bg1"/>
                </a:solidFill>
              </a:rPr>
              <a:t>INNOVER</a:t>
            </a:r>
            <a:endParaRPr lang="fr-FR" sz="1600" b="1" kern="0" dirty="0">
              <a:solidFill>
                <a:schemeClr val="bg1"/>
              </a:solidFill>
            </a:endParaRPr>
          </a:p>
        </p:txBody>
      </p:sp>
      <p:sp>
        <p:nvSpPr>
          <p:cNvPr id="27" name="Rectangle à coins arrondis 59"/>
          <p:cNvSpPr/>
          <p:nvPr/>
        </p:nvSpPr>
        <p:spPr>
          <a:xfrm>
            <a:off x="6568224" y="1376014"/>
            <a:ext cx="1837765" cy="667322"/>
          </a:xfrm>
          <a:prstGeom prst="roundRect">
            <a:avLst/>
          </a:prstGeom>
          <a:solidFill>
            <a:srgbClr val="CE1829"/>
          </a:solidFill>
          <a:ln w="12700">
            <a:solidFill>
              <a:srgbClr val="CA232A"/>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fr-FR" sz="1400" dirty="0">
              <a:solidFill>
                <a:srgbClr val="57AA35"/>
              </a:solidFill>
            </a:endParaRPr>
          </a:p>
        </p:txBody>
      </p:sp>
      <p:sp>
        <p:nvSpPr>
          <p:cNvPr id="28" name="Rectangle à coins arrondis 59"/>
          <p:cNvSpPr/>
          <p:nvPr/>
        </p:nvSpPr>
        <p:spPr>
          <a:xfrm>
            <a:off x="7207364" y="1518498"/>
            <a:ext cx="1280855" cy="36338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r>
              <a:rPr lang="fr-FR" sz="1600" b="1" dirty="0">
                <a:solidFill>
                  <a:schemeClr val="bg1"/>
                </a:solidFill>
              </a:rPr>
              <a:t>FORMER</a:t>
            </a:r>
            <a:endParaRPr lang="fr-FR" sz="1600" b="1" kern="0" dirty="0">
              <a:solidFill>
                <a:schemeClr val="bg1"/>
              </a:solidFill>
            </a:endParaRPr>
          </a:p>
        </p:txBody>
      </p:sp>
      <p:pic>
        <p:nvPicPr>
          <p:cNvPr id="29" name="Icone-06.png" descr="/Users/Alex/Documents/FREELANCE/EUROPLACE/AfricaFinLab/Production/POWERPOINT/img/Icone-06.png"/>
          <p:cNvPicPr>
            <a:picLocks noChangeAspect="1"/>
          </p:cNvPicPr>
          <p:nvPr/>
        </p:nvPicPr>
        <p:blipFill>
          <a:blip r:embed="rId2" r:link="rId3" cstate="print">
            <a:extLst>
              <a:ext uri="{28A0092B-C50C-407E-A947-70E740481C1C}">
                <a14:useLocalDpi xmlns:a14="http://schemas.microsoft.com/office/drawing/2010/main"/>
              </a:ext>
            </a:extLst>
          </a:blip>
          <a:stretch>
            <a:fillRect/>
          </a:stretch>
        </p:blipFill>
        <p:spPr>
          <a:xfrm>
            <a:off x="3833916" y="1478831"/>
            <a:ext cx="427587" cy="447630"/>
          </a:xfrm>
          <a:prstGeom prst="rect">
            <a:avLst/>
          </a:prstGeom>
        </p:spPr>
      </p:pic>
      <p:pic>
        <p:nvPicPr>
          <p:cNvPr id="31" name="Icone-07.png" descr="/Users/Alex/Documents/FREELANCE/EUROPLACE/AfricaFinLab/Production/POWERPOINT/img/Icone-07.png"/>
          <p:cNvPicPr>
            <a:picLocks noChangeAspect="1"/>
          </p:cNvPicPr>
          <p:nvPr/>
        </p:nvPicPr>
        <p:blipFill>
          <a:blip r:embed="rId4" r:link="rId5" cstate="print">
            <a:extLst>
              <a:ext uri="{28A0092B-C50C-407E-A947-70E740481C1C}">
                <a14:useLocalDpi xmlns:a14="http://schemas.microsoft.com/office/drawing/2010/main"/>
              </a:ext>
            </a:extLst>
          </a:blip>
          <a:stretch>
            <a:fillRect/>
          </a:stretch>
        </p:blipFill>
        <p:spPr>
          <a:xfrm>
            <a:off x="6762890" y="1540219"/>
            <a:ext cx="492636" cy="357600"/>
          </a:xfrm>
          <a:prstGeom prst="rect">
            <a:avLst/>
          </a:prstGeom>
        </p:spPr>
      </p:pic>
      <p:pic>
        <p:nvPicPr>
          <p:cNvPr id="32" name="Icone-08.png" descr="/Users/Alex/Documents/FREELANCE/EUROPLACE/AfricaFinLab/Production/POWERPOINT/img/Icone-08.png"/>
          <p:cNvPicPr>
            <a:picLocks noChangeAspect="1"/>
          </p:cNvPicPr>
          <p:nvPr/>
        </p:nvPicPr>
        <p:blipFill>
          <a:blip r:embed="rId6" r:link="rId7" cstate="print">
            <a:extLst>
              <a:ext uri="{28A0092B-C50C-407E-A947-70E740481C1C}">
                <a14:useLocalDpi xmlns:a14="http://schemas.microsoft.com/office/drawing/2010/main"/>
              </a:ext>
            </a:extLst>
          </a:blip>
          <a:stretch>
            <a:fillRect/>
          </a:stretch>
        </p:blipFill>
        <p:spPr>
          <a:xfrm>
            <a:off x="1007994" y="1490517"/>
            <a:ext cx="392055" cy="410433"/>
          </a:xfrm>
          <a:prstGeom prst="rect">
            <a:avLst/>
          </a:prstGeom>
        </p:spPr>
      </p:pic>
      <p:sp>
        <p:nvSpPr>
          <p:cNvPr id="40" name="Ellipse 39"/>
          <p:cNvSpPr/>
          <p:nvPr/>
        </p:nvSpPr>
        <p:spPr>
          <a:xfrm>
            <a:off x="1686938" y="3277742"/>
            <a:ext cx="80760" cy="80760"/>
          </a:xfrm>
          <a:prstGeom prst="ellipse">
            <a:avLst/>
          </a:prstGeom>
          <a:solidFill>
            <a:schemeClr val="bg1"/>
          </a:solidFill>
          <a:ln w="12700" cmpd="sng">
            <a:solidFill>
              <a:srgbClr val="173C6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41" name="Ellipse 40"/>
          <p:cNvSpPr/>
          <p:nvPr/>
        </p:nvSpPr>
        <p:spPr>
          <a:xfrm>
            <a:off x="1686938" y="4253187"/>
            <a:ext cx="80760" cy="80760"/>
          </a:xfrm>
          <a:prstGeom prst="ellipse">
            <a:avLst/>
          </a:prstGeom>
          <a:solidFill>
            <a:schemeClr val="bg1"/>
          </a:solidFill>
          <a:ln w="12700" cmpd="sng">
            <a:solidFill>
              <a:srgbClr val="173C6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43" name="Ellipse 42"/>
          <p:cNvSpPr/>
          <p:nvPr/>
        </p:nvSpPr>
        <p:spPr>
          <a:xfrm>
            <a:off x="1686938" y="5227160"/>
            <a:ext cx="80760" cy="80760"/>
          </a:xfrm>
          <a:prstGeom prst="ellipse">
            <a:avLst/>
          </a:prstGeom>
          <a:solidFill>
            <a:schemeClr val="bg1"/>
          </a:solidFill>
          <a:ln w="12700" cmpd="sng">
            <a:solidFill>
              <a:srgbClr val="173C6D"/>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44" name="Ellipse 43"/>
          <p:cNvSpPr/>
          <p:nvPr/>
        </p:nvSpPr>
        <p:spPr>
          <a:xfrm>
            <a:off x="4542213" y="3287742"/>
            <a:ext cx="80760" cy="80760"/>
          </a:xfrm>
          <a:prstGeom prst="ellipse">
            <a:avLst/>
          </a:prstGeom>
          <a:solidFill>
            <a:schemeClr val="bg1"/>
          </a:solidFill>
          <a:ln w="12700" cmpd="sng">
            <a:solidFill>
              <a:srgbClr val="4B9B48"/>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45" name="Ellipse 44"/>
          <p:cNvSpPr/>
          <p:nvPr/>
        </p:nvSpPr>
        <p:spPr>
          <a:xfrm>
            <a:off x="4542213" y="4253187"/>
            <a:ext cx="80760" cy="80760"/>
          </a:xfrm>
          <a:prstGeom prst="ellipse">
            <a:avLst/>
          </a:prstGeom>
          <a:solidFill>
            <a:schemeClr val="bg1"/>
          </a:solidFill>
          <a:ln w="12700" cmpd="sng">
            <a:solidFill>
              <a:srgbClr val="4B9B48"/>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49" name="Ellipse 48"/>
          <p:cNvSpPr/>
          <p:nvPr/>
        </p:nvSpPr>
        <p:spPr>
          <a:xfrm>
            <a:off x="4542213" y="5237160"/>
            <a:ext cx="80760" cy="80760"/>
          </a:xfrm>
          <a:prstGeom prst="ellipse">
            <a:avLst/>
          </a:prstGeom>
          <a:solidFill>
            <a:schemeClr val="bg1"/>
          </a:solidFill>
          <a:ln w="12700" cmpd="sng">
            <a:solidFill>
              <a:srgbClr val="4B9B48"/>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2" name="Ellipse 51"/>
          <p:cNvSpPr/>
          <p:nvPr/>
        </p:nvSpPr>
        <p:spPr>
          <a:xfrm>
            <a:off x="7462552" y="3287742"/>
            <a:ext cx="80760" cy="80760"/>
          </a:xfrm>
          <a:prstGeom prst="ellipse">
            <a:avLst/>
          </a:prstGeom>
          <a:solidFill>
            <a:schemeClr val="bg1"/>
          </a:solidFill>
          <a:ln w="12700" cmpd="sng">
            <a:solidFill>
              <a:srgbClr val="CE182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3" name="Ellipse 52"/>
          <p:cNvSpPr/>
          <p:nvPr/>
        </p:nvSpPr>
        <p:spPr>
          <a:xfrm>
            <a:off x="7462552" y="4253187"/>
            <a:ext cx="80760" cy="80760"/>
          </a:xfrm>
          <a:prstGeom prst="ellipse">
            <a:avLst/>
          </a:prstGeom>
          <a:solidFill>
            <a:schemeClr val="bg1"/>
          </a:solidFill>
          <a:ln w="12700" cmpd="sng">
            <a:solidFill>
              <a:srgbClr val="CE182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5" name="Ellipse 54"/>
          <p:cNvSpPr/>
          <p:nvPr/>
        </p:nvSpPr>
        <p:spPr>
          <a:xfrm>
            <a:off x="7462552" y="5237160"/>
            <a:ext cx="80760" cy="80760"/>
          </a:xfrm>
          <a:prstGeom prst="ellipse">
            <a:avLst/>
          </a:prstGeom>
          <a:solidFill>
            <a:schemeClr val="bg1"/>
          </a:solidFill>
          <a:ln w="12700" cmpd="sng">
            <a:solidFill>
              <a:srgbClr val="CE182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62" name="Espace réservé du numéro de diapositive 1"/>
          <p:cNvSpPr>
            <a:spLocks noGrp="1"/>
          </p:cNvSpPr>
          <p:nvPr>
            <p:ph type="sldNum" sz="quarter" idx="12"/>
          </p:nvPr>
        </p:nvSpPr>
        <p:spPr>
          <a:xfrm>
            <a:off x="8728363" y="6346632"/>
            <a:ext cx="284787" cy="365125"/>
          </a:xfrm>
        </p:spPr>
        <p:txBody>
          <a:bodyPr/>
          <a:lstStyle/>
          <a:p>
            <a:fld id="{91FE91C3-89B2-5646-B2B2-8F2D4682B10B}" type="slidenum">
              <a:rPr lang="fr-FR" smtClean="0"/>
              <a:pPr/>
              <a:t>3</a:t>
            </a:fld>
            <a:endParaRPr lang="fr-FR"/>
          </a:p>
        </p:txBody>
      </p:sp>
    </p:spTree>
    <p:extLst>
      <p:ext uri="{BB962C8B-B14F-4D97-AF65-F5344CB8AC3E}">
        <p14:creationId xmlns:p14="http://schemas.microsoft.com/office/powerpoint/2010/main" val="38185324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a:t>La </a:t>
            </a:r>
            <a:r>
              <a:rPr lang="fr-FR" dirty="0" err="1"/>
              <a:t>Fintech</a:t>
            </a:r>
            <a:r>
              <a:rPr lang="fr-FR" dirty="0"/>
              <a:t> dans le monde</a:t>
            </a:r>
          </a:p>
        </p:txBody>
      </p:sp>
      <p:sp>
        <p:nvSpPr>
          <p:cNvPr id="4" name="Footer Placeholder 3"/>
          <p:cNvSpPr>
            <a:spLocks noGrp="1"/>
          </p:cNvSpPr>
          <p:nvPr>
            <p:ph type="ftr" sz="quarter" idx="3"/>
          </p:nvPr>
        </p:nvSpPr>
        <p:spPr/>
        <p:txBody>
          <a:bodyPr/>
          <a:lstStyle/>
          <a:p>
            <a:pPr>
              <a:spcBef>
                <a:spcPts val="600"/>
              </a:spcBef>
              <a:buSzPct val="100000"/>
              <a:buFont typeface="Arial"/>
              <a:buNone/>
            </a:pPr>
            <a:r>
              <a:rPr lang="fr-FR" dirty="0">
                <a:solidFill>
                  <a:prstClr val="black"/>
                </a:solidFill>
                <a:latin typeface="+mj-lt"/>
              </a:rPr>
              <a:t>© 2017 Deloitte </a:t>
            </a:r>
          </a:p>
        </p:txBody>
      </p:sp>
      <p:sp>
        <p:nvSpPr>
          <p:cNvPr id="5" name="Slide Number Placeholder 4"/>
          <p:cNvSpPr>
            <a:spLocks noGrp="1"/>
          </p:cNvSpPr>
          <p:nvPr>
            <p:ph type="sldNum" sz="quarter" idx="4"/>
          </p:nvPr>
        </p:nvSpPr>
        <p:spPr/>
        <p:txBody>
          <a:bodyPr/>
          <a:lstStyle/>
          <a:p>
            <a:pPr algn="r">
              <a:spcBef>
                <a:spcPts val="600"/>
              </a:spcBef>
              <a:buSzPct val="100000"/>
              <a:buFont typeface="Arial"/>
              <a:buNone/>
            </a:pPr>
            <a:fld id="{4654C24A-AA93-4318-A7E9-AF587A936244}" type="slidenum">
              <a:rPr lang="fr-FR" smtClean="0">
                <a:solidFill>
                  <a:prstClr val="black"/>
                </a:solidFill>
                <a:latin typeface="+mj-lt"/>
              </a:rPr>
              <a:pPr algn="r">
                <a:spcBef>
                  <a:spcPts val="600"/>
                </a:spcBef>
                <a:buSzPct val="100000"/>
                <a:buFont typeface="Arial"/>
                <a:buNone/>
              </a:pPr>
              <a:t>4</a:t>
            </a:fld>
            <a:endParaRPr lang="fr-FR">
              <a:solidFill>
                <a:prstClr val="black"/>
              </a:solidFill>
              <a:latin typeface="+mj-lt"/>
            </a:endParaRPr>
          </a:p>
        </p:txBody>
      </p:sp>
      <p:sp>
        <p:nvSpPr>
          <p:cNvPr id="6" name="Date Placeholder 5"/>
          <p:cNvSpPr>
            <a:spLocks noGrp="1"/>
          </p:cNvSpPr>
          <p:nvPr>
            <p:ph type="dt" sz="half" idx="2"/>
          </p:nvPr>
        </p:nvSpPr>
        <p:spPr>
          <a:xfrm>
            <a:off x="4751388" y="6477000"/>
            <a:ext cx="3672420" cy="100156"/>
          </a:xfrm>
        </p:spPr>
        <p:txBody>
          <a:bodyPr/>
          <a:lstStyle/>
          <a:p>
            <a:pPr algn="r">
              <a:buSzPct val="100000"/>
              <a:buFont typeface="Arial"/>
              <a:buNone/>
            </a:pPr>
            <a:r>
              <a:rPr lang="fr-FR" dirty="0">
                <a:solidFill>
                  <a:prstClr val="black"/>
                </a:solidFill>
                <a:latin typeface="+mj-lt"/>
              </a:rPr>
              <a:t>Afrique : conduire l’innovation </a:t>
            </a:r>
            <a:r>
              <a:rPr lang="fr-FR" dirty="0" err="1">
                <a:solidFill>
                  <a:prstClr val="black"/>
                </a:solidFill>
                <a:latin typeface="+mj-lt"/>
              </a:rPr>
              <a:t>FinTech</a:t>
            </a:r>
            <a:endParaRPr lang="fr-FR" dirty="0">
              <a:solidFill>
                <a:prstClr val="black"/>
              </a:solidFill>
              <a:latin typeface="+mj-lt"/>
            </a:endParaRPr>
          </a:p>
        </p:txBody>
      </p:sp>
      <p:sp>
        <p:nvSpPr>
          <p:cNvPr id="275" name="Text Placeholder 8"/>
          <p:cNvSpPr>
            <a:spLocks noGrp="1"/>
          </p:cNvSpPr>
          <p:nvPr>
            <p:ph type="body" sz="quarter" idx="13"/>
          </p:nvPr>
        </p:nvSpPr>
        <p:spPr>
          <a:xfrm>
            <a:off x="376237" y="651601"/>
            <a:ext cx="8638973" cy="355250"/>
          </a:xfrm>
        </p:spPr>
        <p:txBody>
          <a:bodyPr/>
          <a:lstStyle/>
          <a:p>
            <a:r>
              <a:rPr lang="fr-FR" sz="1800" dirty="0">
                <a:latin typeface="+mj-lt"/>
              </a:rPr>
              <a:t>Un croissance soutenue, portée par l’Amérique </a:t>
            </a:r>
          </a:p>
        </p:txBody>
      </p:sp>
      <p:sp>
        <p:nvSpPr>
          <p:cNvPr id="277" name="Text Placeholder 3"/>
          <p:cNvSpPr txBox="1">
            <a:spLocks/>
          </p:cNvSpPr>
          <p:nvPr/>
        </p:nvSpPr>
        <p:spPr bwMode="gray">
          <a:xfrm>
            <a:off x="4922521" y="1740400"/>
            <a:ext cx="3845243" cy="251275"/>
          </a:xfrm>
          <a:prstGeom prst="rect">
            <a:avLst/>
          </a:prstGeom>
          <a:solidFill>
            <a:srgbClr val="DDEFE8"/>
          </a:solidFill>
          <a:ln>
            <a:noFill/>
          </a:ln>
        </p:spPr>
        <p:txBody>
          <a:bodyPr vert="horz" wrap="square" lIns="0" tIns="0" rIns="0" bIns="0" rtlCol="0" anchor="ctr">
            <a:noAutofit/>
          </a:bodyPr>
          <a:lstStyle/>
          <a:p>
            <a:pPr marL="0" lvl="1" algn="ctr" defTabSz="914378">
              <a:spcBef>
                <a:spcPts val="900"/>
              </a:spcBef>
              <a:buSzPct val="100000"/>
              <a:defRPr/>
            </a:pPr>
            <a:r>
              <a:rPr lang="fr-FR" sz="1050" dirty="0">
                <a:latin typeface="+mj-lt"/>
              </a:rPr>
              <a:t>Estimation des investissements </a:t>
            </a:r>
            <a:r>
              <a:rPr lang="fr-FR" sz="1050" dirty="0" err="1">
                <a:latin typeface="+mj-lt"/>
              </a:rPr>
              <a:t>FinTech</a:t>
            </a:r>
            <a:r>
              <a:rPr lang="fr-FR" sz="1050" dirty="0">
                <a:latin typeface="+mj-lt"/>
              </a:rPr>
              <a:t> par région</a:t>
            </a:r>
          </a:p>
        </p:txBody>
      </p:sp>
      <p:sp>
        <p:nvSpPr>
          <p:cNvPr id="301" name="Text Placeholder 3"/>
          <p:cNvSpPr txBox="1">
            <a:spLocks/>
          </p:cNvSpPr>
          <p:nvPr/>
        </p:nvSpPr>
        <p:spPr bwMode="gray">
          <a:xfrm>
            <a:off x="376237" y="1740400"/>
            <a:ext cx="4375151" cy="251275"/>
          </a:xfrm>
          <a:prstGeom prst="rect">
            <a:avLst/>
          </a:prstGeom>
          <a:solidFill>
            <a:schemeClr val="accent1">
              <a:lumMod val="20000"/>
              <a:lumOff val="80000"/>
            </a:schemeClr>
          </a:solidFill>
          <a:ln>
            <a:noFill/>
          </a:ln>
        </p:spPr>
        <p:txBody>
          <a:bodyPr vert="horz" wrap="square" lIns="0" tIns="0" rIns="0" bIns="0" rtlCol="0" anchor="ctr">
            <a:noAutofit/>
          </a:bodyPr>
          <a:lstStyle/>
          <a:p>
            <a:pPr marL="0" lvl="1" algn="ctr" defTabSz="914378">
              <a:spcBef>
                <a:spcPts val="900"/>
              </a:spcBef>
              <a:buSzPct val="100000"/>
              <a:defRPr/>
            </a:pPr>
            <a:r>
              <a:rPr lang="fr-FR" sz="1050" dirty="0">
                <a:latin typeface="+mj-lt"/>
              </a:rPr>
              <a:t>Croissance des investissements dans les </a:t>
            </a:r>
            <a:r>
              <a:rPr lang="fr-FR" sz="1050" dirty="0" err="1">
                <a:latin typeface="+mj-lt"/>
              </a:rPr>
              <a:t>FinTechs</a:t>
            </a:r>
            <a:endParaRPr lang="fr-FR" sz="1050" dirty="0">
              <a:latin typeface="+mj-lt"/>
            </a:endParaRPr>
          </a:p>
        </p:txBody>
      </p:sp>
      <p:graphicFrame>
        <p:nvGraphicFramePr>
          <p:cNvPr id="302" name="Chart Placeholder 25"/>
          <p:cNvGraphicFramePr>
            <a:graphicFrameLocks/>
          </p:cNvGraphicFramePr>
          <p:nvPr>
            <p:extLst>
              <p:ext uri="{D42A27DB-BD31-4B8C-83A1-F6EECF244321}">
                <p14:modId xmlns:p14="http://schemas.microsoft.com/office/powerpoint/2010/main" val="3658904839"/>
              </p:ext>
            </p:extLst>
          </p:nvPr>
        </p:nvGraphicFramePr>
        <p:xfrm>
          <a:off x="395288" y="2113233"/>
          <a:ext cx="4356100" cy="3995737"/>
        </p:xfrm>
        <a:graphic>
          <a:graphicData uri="http://schemas.openxmlformats.org/drawingml/2006/chart">
            <c:chart xmlns:c="http://schemas.openxmlformats.org/drawingml/2006/chart" xmlns:r="http://schemas.openxmlformats.org/officeDocument/2006/relationships" r:id="rId3"/>
          </a:graphicData>
        </a:graphic>
      </p:graphicFrame>
      <p:grpSp>
        <p:nvGrpSpPr>
          <p:cNvPr id="319" name="Group 318"/>
          <p:cNvGrpSpPr/>
          <p:nvPr/>
        </p:nvGrpSpPr>
        <p:grpSpPr>
          <a:xfrm>
            <a:off x="5123351" y="3254628"/>
            <a:ext cx="3475357" cy="1748770"/>
            <a:chOff x="5457773" y="3016308"/>
            <a:chExt cx="3275548" cy="1822771"/>
          </a:xfrm>
        </p:grpSpPr>
        <p:sp>
          <p:nvSpPr>
            <p:cNvPr id="320" name="Freeform 13"/>
            <p:cNvSpPr>
              <a:spLocks noEditPoints="1"/>
            </p:cNvSpPr>
            <p:nvPr/>
          </p:nvSpPr>
          <p:spPr bwMode="auto">
            <a:xfrm>
              <a:off x="7214863" y="3051613"/>
              <a:ext cx="1518458" cy="626332"/>
            </a:xfrm>
            <a:custGeom>
              <a:avLst/>
              <a:gdLst>
                <a:gd name="T0" fmla="*/ 946 w 2418"/>
                <a:gd name="T1" fmla="*/ 206 h 958"/>
                <a:gd name="T2" fmla="*/ 1986 w 2418"/>
                <a:gd name="T3" fmla="*/ 336 h 958"/>
                <a:gd name="T4" fmla="*/ 1570 w 2418"/>
                <a:gd name="T5" fmla="*/ 302 h 958"/>
                <a:gd name="T6" fmla="*/ 1320 w 2418"/>
                <a:gd name="T7" fmla="*/ 174 h 958"/>
                <a:gd name="T8" fmla="*/ 860 w 2418"/>
                <a:gd name="T9" fmla="*/ 248 h 958"/>
                <a:gd name="T10" fmla="*/ 822 w 2418"/>
                <a:gd name="T11" fmla="*/ 350 h 958"/>
                <a:gd name="T12" fmla="*/ 692 w 2418"/>
                <a:gd name="T13" fmla="*/ 356 h 958"/>
                <a:gd name="T14" fmla="*/ 344 w 2418"/>
                <a:gd name="T15" fmla="*/ 422 h 958"/>
                <a:gd name="T16" fmla="*/ 204 w 2418"/>
                <a:gd name="T17" fmla="*/ 342 h 958"/>
                <a:gd name="T18" fmla="*/ 114 w 2418"/>
                <a:gd name="T19" fmla="*/ 632 h 958"/>
                <a:gd name="T20" fmla="*/ 302 w 2418"/>
                <a:gd name="T21" fmla="*/ 920 h 958"/>
                <a:gd name="T22" fmla="*/ 536 w 2418"/>
                <a:gd name="T23" fmla="*/ 764 h 958"/>
                <a:gd name="T24" fmla="*/ 886 w 2418"/>
                <a:gd name="T25" fmla="*/ 770 h 958"/>
                <a:gd name="T26" fmla="*/ 1412 w 2418"/>
                <a:gd name="T27" fmla="*/ 764 h 958"/>
                <a:gd name="T28" fmla="*/ 1672 w 2418"/>
                <a:gd name="T29" fmla="*/ 856 h 958"/>
                <a:gd name="T30" fmla="*/ 1814 w 2418"/>
                <a:gd name="T31" fmla="*/ 584 h 958"/>
                <a:gd name="T32" fmla="*/ 1982 w 2418"/>
                <a:gd name="T33" fmla="*/ 584 h 958"/>
                <a:gd name="T34" fmla="*/ 2052 w 2418"/>
                <a:gd name="T35" fmla="*/ 574 h 958"/>
                <a:gd name="T36" fmla="*/ 2326 w 2418"/>
                <a:gd name="T37" fmla="*/ 456 h 958"/>
                <a:gd name="T38" fmla="*/ 2284 w 2418"/>
                <a:gd name="T39" fmla="*/ 296 h 958"/>
                <a:gd name="T40" fmla="*/ 1466 w 2418"/>
                <a:gd name="T41" fmla="*/ 248 h 958"/>
                <a:gd name="T42" fmla="*/ 1530 w 2418"/>
                <a:gd name="T43" fmla="*/ 260 h 958"/>
                <a:gd name="T44" fmla="*/ 4 w 2418"/>
                <a:gd name="T45" fmla="*/ 682 h 958"/>
                <a:gd name="T46" fmla="*/ 536 w 2418"/>
                <a:gd name="T47" fmla="*/ 16 h 958"/>
                <a:gd name="T48" fmla="*/ 536 w 2418"/>
                <a:gd name="T49" fmla="*/ 26 h 958"/>
                <a:gd name="T50" fmla="*/ 524 w 2418"/>
                <a:gd name="T51" fmla="*/ 32 h 958"/>
                <a:gd name="T52" fmla="*/ 512 w 2418"/>
                <a:gd name="T53" fmla="*/ 42 h 958"/>
                <a:gd name="T54" fmla="*/ 442 w 2418"/>
                <a:gd name="T55" fmla="*/ 54 h 958"/>
                <a:gd name="T56" fmla="*/ 1710 w 2418"/>
                <a:gd name="T57" fmla="*/ 174 h 958"/>
                <a:gd name="T58" fmla="*/ 800 w 2418"/>
                <a:gd name="T59" fmla="*/ 242 h 958"/>
                <a:gd name="T60" fmla="*/ 1516 w 2418"/>
                <a:gd name="T61" fmla="*/ 270 h 958"/>
                <a:gd name="T62" fmla="*/ 710 w 2418"/>
                <a:gd name="T63" fmla="*/ 406 h 958"/>
                <a:gd name="T64" fmla="*/ 546 w 2418"/>
                <a:gd name="T65" fmla="*/ 12 h 958"/>
                <a:gd name="T66" fmla="*/ 1034 w 2418"/>
                <a:gd name="T67" fmla="*/ 38 h 958"/>
                <a:gd name="T68" fmla="*/ 604 w 2418"/>
                <a:gd name="T69" fmla="*/ 26 h 958"/>
                <a:gd name="T70" fmla="*/ 454 w 2418"/>
                <a:gd name="T71" fmla="*/ 32 h 958"/>
                <a:gd name="T72" fmla="*/ 362 w 2418"/>
                <a:gd name="T73" fmla="*/ 38 h 958"/>
                <a:gd name="T74" fmla="*/ 512 w 2418"/>
                <a:gd name="T75" fmla="*/ 48 h 958"/>
                <a:gd name="T76" fmla="*/ 1104 w 2418"/>
                <a:gd name="T77" fmla="*/ 86 h 958"/>
                <a:gd name="T78" fmla="*/ 806 w 2418"/>
                <a:gd name="T79" fmla="*/ 70 h 958"/>
                <a:gd name="T80" fmla="*/ 1174 w 2418"/>
                <a:gd name="T81" fmla="*/ 86 h 958"/>
                <a:gd name="T82" fmla="*/ 1240 w 2418"/>
                <a:gd name="T83" fmla="*/ 128 h 958"/>
                <a:gd name="T84" fmla="*/ 664 w 2418"/>
                <a:gd name="T85" fmla="*/ 140 h 958"/>
                <a:gd name="T86" fmla="*/ 546 w 2418"/>
                <a:gd name="T87" fmla="*/ 216 h 958"/>
                <a:gd name="T88" fmla="*/ 508 w 2418"/>
                <a:gd name="T89" fmla="*/ 216 h 958"/>
                <a:gd name="T90" fmla="*/ 1104 w 2418"/>
                <a:gd name="T91" fmla="*/ 146 h 958"/>
                <a:gd name="T92" fmla="*/ 1078 w 2418"/>
                <a:gd name="T93" fmla="*/ 162 h 958"/>
                <a:gd name="T94" fmla="*/ 1672 w 2418"/>
                <a:gd name="T95" fmla="*/ 168 h 958"/>
                <a:gd name="T96" fmla="*/ 1748 w 2418"/>
                <a:gd name="T97" fmla="*/ 194 h 958"/>
                <a:gd name="T98" fmla="*/ 1808 w 2418"/>
                <a:gd name="T99" fmla="*/ 180 h 958"/>
                <a:gd name="T100" fmla="*/ 952 w 2418"/>
                <a:gd name="T101" fmla="*/ 194 h 958"/>
                <a:gd name="T102" fmla="*/ 1716 w 2418"/>
                <a:gd name="T103" fmla="*/ 216 h 958"/>
                <a:gd name="T104" fmla="*/ 1728 w 2418"/>
                <a:gd name="T105" fmla="*/ 238 h 958"/>
                <a:gd name="T106" fmla="*/ 464 w 2418"/>
                <a:gd name="T107" fmla="*/ 288 h 958"/>
                <a:gd name="T108" fmla="*/ 502 w 2418"/>
                <a:gd name="T109" fmla="*/ 276 h 958"/>
                <a:gd name="T110" fmla="*/ 838 w 2418"/>
                <a:gd name="T111" fmla="*/ 248 h 958"/>
                <a:gd name="T112" fmla="*/ 2008 w 2418"/>
                <a:gd name="T113" fmla="*/ 308 h 958"/>
                <a:gd name="T114" fmla="*/ 2004 w 2418"/>
                <a:gd name="T115" fmla="*/ 342 h 958"/>
                <a:gd name="T116" fmla="*/ 324 w 2418"/>
                <a:gd name="T117" fmla="*/ 406 h 958"/>
                <a:gd name="T118" fmla="*/ 1662 w 2418"/>
                <a:gd name="T119" fmla="*/ 682 h 958"/>
                <a:gd name="T120" fmla="*/ 1736 w 2418"/>
                <a:gd name="T121" fmla="*/ 704 h 958"/>
                <a:gd name="T122" fmla="*/ 1754 w 2418"/>
                <a:gd name="T123" fmla="*/ 850 h 958"/>
                <a:gd name="T124" fmla="*/ 1842 w 2418"/>
                <a:gd name="T125" fmla="*/ 866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18" h="958">
                  <a:moveTo>
                    <a:pt x="758" y="710"/>
                  </a:moveTo>
                  <a:lnTo>
                    <a:pt x="764" y="710"/>
                  </a:lnTo>
                  <a:lnTo>
                    <a:pt x="766" y="704"/>
                  </a:lnTo>
                  <a:lnTo>
                    <a:pt x="758" y="704"/>
                  </a:lnTo>
                  <a:lnTo>
                    <a:pt x="758" y="710"/>
                  </a:lnTo>
                  <a:lnTo>
                    <a:pt x="758" y="710"/>
                  </a:lnTo>
                  <a:lnTo>
                    <a:pt x="758" y="710"/>
                  </a:lnTo>
                  <a:close/>
                  <a:moveTo>
                    <a:pt x="1682" y="698"/>
                  </a:moveTo>
                  <a:lnTo>
                    <a:pt x="1678" y="704"/>
                  </a:lnTo>
                  <a:lnTo>
                    <a:pt x="1682" y="704"/>
                  </a:lnTo>
                  <a:lnTo>
                    <a:pt x="1682" y="698"/>
                  </a:lnTo>
                  <a:lnTo>
                    <a:pt x="1682" y="698"/>
                  </a:lnTo>
                  <a:lnTo>
                    <a:pt x="1682" y="698"/>
                  </a:lnTo>
                  <a:close/>
                  <a:moveTo>
                    <a:pt x="242" y="878"/>
                  </a:moveTo>
                  <a:lnTo>
                    <a:pt x="242" y="884"/>
                  </a:lnTo>
                  <a:lnTo>
                    <a:pt x="248" y="884"/>
                  </a:lnTo>
                  <a:lnTo>
                    <a:pt x="248" y="878"/>
                  </a:lnTo>
                  <a:lnTo>
                    <a:pt x="242" y="878"/>
                  </a:lnTo>
                  <a:lnTo>
                    <a:pt x="242" y="878"/>
                  </a:lnTo>
                  <a:lnTo>
                    <a:pt x="242" y="878"/>
                  </a:lnTo>
                  <a:close/>
                  <a:moveTo>
                    <a:pt x="122" y="548"/>
                  </a:moveTo>
                  <a:lnTo>
                    <a:pt x="118" y="548"/>
                  </a:lnTo>
                  <a:lnTo>
                    <a:pt x="118" y="552"/>
                  </a:lnTo>
                  <a:lnTo>
                    <a:pt x="122" y="552"/>
                  </a:lnTo>
                  <a:lnTo>
                    <a:pt x="122" y="548"/>
                  </a:lnTo>
                  <a:lnTo>
                    <a:pt x="122" y="548"/>
                  </a:lnTo>
                  <a:lnTo>
                    <a:pt x="122" y="548"/>
                  </a:lnTo>
                  <a:close/>
                  <a:moveTo>
                    <a:pt x="492" y="774"/>
                  </a:moveTo>
                  <a:lnTo>
                    <a:pt x="496" y="770"/>
                  </a:lnTo>
                  <a:lnTo>
                    <a:pt x="492" y="770"/>
                  </a:lnTo>
                  <a:lnTo>
                    <a:pt x="492" y="774"/>
                  </a:lnTo>
                  <a:lnTo>
                    <a:pt x="492" y="774"/>
                  </a:lnTo>
                  <a:lnTo>
                    <a:pt x="492" y="774"/>
                  </a:lnTo>
                  <a:close/>
                  <a:moveTo>
                    <a:pt x="1554" y="276"/>
                  </a:moveTo>
                  <a:lnTo>
                    <a:pt x="1548" y="276"/>
                  </a:lnTo>
                  <a:lnTo>
                    <a:pt x="1548" y="282"/>
                  </a:lnTo>
                  <a:lnTo>
                    <a:pt x="1554" y="282"/>
                  </a:lnTo>
                  <a:lnTo>
                    <a:pt x="1554" y="276"/>
                  </a:lnTo>
                  <a:lnTo>
                    <a:pt x="1554" y="276"/>
                  </a:lnTo>
                  <a:lnTo>
                    <a:pt x="1554" y="276"/>
                  </a:lnTo>
                  <a:close/>
                  <a:moveTo>
                    <a:pt x="176" y="324"/>
                  </a:moveTo>
                  <a:lnTo>
                    <a:pt x="172" y="324"/>
                  </a:lnTo>
                  <a:lnTo>
                    <a:pt x="172" y="330"/>
                  </a:lnTo>
                  <a:lnTo>
                    <a:pt x="176" y="330"/>
                  </a:lnTo>
                  <a:lnTo>
                    <a:pt x="176" y="324"/>
                  </a:lnTo>
                  <a:lnTo>
                    <a:pt x="176" y="324"/>
                  </a:lnTo>
                  <a:lnTo>
                    <a:pt x="176" y="324"/>
                  </a:lnTo>
                  <a:close/>
                  <a:moveTo>
                    <a:pt x="1982" y="542"/>
                  </a:moveTo>
                  <a:lnTo>
                    <a:pt x="1982" y="548"/>
                  </a:lnTo>
                  <a:lnTo>
                    <a:pt x="1986" y="548"/>
                  </a:lnTo>
                  <a:lnTo>
                    <a:pt x="1986" y="542"/>
                  </a:lnTo>
                  <a:lnTo>
                    <a:pt x="1982" y="542"/>
                  </a:lnTo>
                  <a:lnTo>
                    <a:pt x="1982" y="542"/>
                  </a:lnTo>
                  <a:lnTo>
                    <a:pt x="1982" y="542"/>
                  </a:lnTo>
                  <a:close/>
                  <a:moveTo>
                    <a:pt x="1672" y="698"/>
                  </a:moveTo>
                  <a:lnTo>
                    <a:pt x="1662" y="698"/>
                  </a:lnTo>
                  <a:lnTo>
                    <a:pt x="1662" y="704"/>
                  </a:lnTo>
                  <a:lnTo>
                    <a:pt x="1672" y="704"/>
                  </a:lnTo>
                  <a:lnTo>
                    <a:pt x="1672" y="698"/>
                  </a:lnTo>
                  <a:lnTo>
                    <a:pt x="1672" y="698"/>
                  </a:lnTo>
                  <a:lnTo>
                    <a:pt x="1672" y="698"/>
                  </a:lnTo>
                  <a:close/>
                  <a:moveTo>
                    <a:pt x="596" y="710"/>
                  </a:moveTo>
                  <a:lnTo>
                    <a:pt x="596" y="704"/>
                  </a:lnTo>
                  <a:lnTo>
                    <a:pt x="590" y="704"/>
                  </a:lnTo>
                  <a:lnTo>
                    <a:pt x="590" y="710"/>
                  </a:lnTo>
                  <a:lnTo>
                    <a:pt x="596" y="710"/>
                  </a:lnTo>
                  <a:lnTo>
                    <a:pt x="596" y="710"/>
                  </a:lnTo>
                  <a:lnTo>
                    <a:pt x="596" y="710"/>
                  </a:lnTo>
                  <a:close/>
                  <a:moveTo>
                    <a:pt x="936" y="216"/>
                  </a:moveTo>
                  <a:lnTo>
                    <a:pt x="940" y="216"/>
                  </a:lnTo>
                  <a:lnTo>
                    <a:pt x="940" y="210"/>
                  </a:lnTo>
                  <a:lnTo>
                    <a:pt x="936" y="210"/>
                  </a:lnTo>
                  <a:lnTo>
                    <a:pt x="936" y="216"/>
                  </a:lnTo>
                  <a:lnTo>
                    <a:pt x="936" y="216"/>
                  </a:lnTo>
                  <a:lnTo>
                    <a:pt x="936" y="216"/>
                  </a:lnTo>
                  <a:close/>
                  <a:moveTo>
                    <a:pt x="336" y="356"/>
                  </a:moveTo>
                  <a:lnTo>
                    <a:pt x="336" y="362"/>
                  </a:lnTo>
                  <a:lnTo>
                    <a:pt x="340" y="362"/>
                  </a:lnTo>
                  <a:lnTo>
                    <a:pt x="340" y="356"/>
                  </a:lnTo>
                  <a:lnTo>
                    <a:pt x="336" y="356"/>
                  </a:lnTo>
                  <a:lnTo>
                    <a:pt x="336" y="356"/>
                  </a:lnTo>
                  <a:lnTo>
                    <a:pt x="336" y="356"/>
                  </a:lnTo>
                  <a:close/>
                  <a:moveTo>
                    <a:pt x="940" y="200"/>
                  </a:moveTo>
                  <a:lnTo>
                    <a:pt x="940" y="206"/>
                  </a:lnTo>
                  <a:lnTo>
                    <a:pt x="946" y="206"/>
                  </a:lnTo>
                  <a:lnTo>
                    <a:pt x="946" y="200"/>
                  </a:lnTo>
                  <a:lnTo>
                    <a:pt x="940" y="200"/>
                  </a:lnTo>
                  <a:lnTo>
                    <a:pt x="940" y="200"/>
                  </a:lnTo>
                  <a:lnTo>
                    <a:pt x="940" y="200"/>
                  </a:lnTo>
                  <a:close/>
                  <a:moveTo>
                    <a:pt x="2338" y="390"/>
                  </a:moveTo>
                  <a:lnTo>
                    <a:pt x="2338" y="396"/>
                  </a:lnTo>
                  <a:lnTo>
                    <a:pt x="2344" y="396"/>
                  </a:lnTo>
                  <a:lnTo>
                    <a:pt x="2338" y="390"/>
                  </a:lnTo>
                  <a:lnTo>
                    <a:pt x="2338" y="390"/>
                  </a:lnTo>
                  <a:lnTo>
                    <a:pt x="2338" y="390"/>
                  </a:lnTo>
                  <a:close/>
                  <a:moveTo>
                    <a:pt x="2398" y="410"/>
                  </a:moveTo>
                  <a:lnTo>
                    <a:pt x="2392" y="410"/>
                  </a:lnTo>
                  <a:lnTo>
                    <a:pt x="2392" y="406"/>
                  </a:lnTo>
                  <a:lnTo>
                    <a:pt x="2380" y="406"/>
                  </a:lnTo>
                  <a:lnTo>
                    <a:pt x="2380" y="402"/>
                  </a:lnTo>
                  <a:lnTo>
                    <a:pt x="2378" y="402"/>
                  </a:lnTo>
                  <a:lnTo>
                    <a:pt x="2372" y="406"/>
                  </a:lnTo>
                  <a:lnTo>
                    <a:pt x="2360" y="406"/>
                  </a:lnTo>
                  <a:lnTo>
                    <a:pt x="2360" y="396"/>
                  </a:lnTo>
                  <a:lnTo>
                    <a:pt x="2344" y="396"/>
                  </a:lnTo>
                  <a:lnTo>
                    <a:pt x="2344" y="402"/>
                  </a:lnTo>
                  <a:lnTo>
                    <a:pt x="2350" y="402"/>
                  </a:lnTo>
                  <a:lnTo>
                    <a:pt x="2354" y="406"/>
                  </a:lnTo>
                  <a:lnTo>
                    <a:pt x="2350" y="406"/>
                  </a:lnTo>
                  <a:lnTo>
                    <a:pt x="2350" y="416"/>
                  </a:lnTo>
                  <a:lnTo>
                    <a:pt x="2344" y="416"/>
                  </a:lnTo>
                  <a:lnTo>
                    <a:pt x="2344" y="410"/>
                  </a:lnTo>
                  <a:lnTo>
                    <a:pt x="2338" y="410"/>
                  </a:lnTo>
                  <a:lnTo>
                    <a:pt x="2338" y="406"/>
                  </a:lnTo>
                  <a:lnTo>
                    <a:pt x="2344" y="406"/>
                  </a:lnTo>
                  <a:lnTo>
                    <a:pt x="2344" y="402"/>
                  </a:lnTo>
                  <a:lnTo>
                    <a:pt x="2338" y="402"/>
                  </a:lnTo>
                  <a:lnTo>
                    <a:pt x="2338" y="396"/>
                  </a:lnTo>
                  <a:lnTo>
                    <a:pt x="2332" y="396"/>
                  </a:lnTo>
                  <a:lnTo>
                    <a:pt x="2332" y="384"/>
                  </a:lnTo>
                  <a:lnTo>
                    <a:pt x="2324" y="378"/>
                  </a:lnTo>
                  <a:lnTo>
                    <a:pt x="2318" y="378"/>
                  </a:lnTo>
                  <a:lnTo>
                    <a:pt x="2318" y="374"/>
                  </a:lnTo>
                  <a:lnTo>
                    <a:pt x="2306" y="374"/>
                  </a:lnTo>
                  <a:lnTo>
                    <a:pt x="2306" y="368"/>
                  </a:lnTo>
                  <a:lnTo>
                    <a:pt x="2296" y="368"/>
                  </a:lnTo>
                  <a:lnTo>
                    <a:pt x="2296" y="362"/>
                  </a:lnTo>
                  <a:lnTo>
                    <a:pt x="2284" y="362"/>
                  </a:lnTo>
                  <a:lnTo>
                    <a:pt x="2284" y="356"/>
                  </a:lnTo>
                  <a:lnTo>
                    <a:pt x="2272" y="356"/>
                  </a:lnTo>
                  <a:lnTo>
                    <a:pt x="2272" y="350"/>
                  </a:lnTo>
                  <a:lnTo>
                    <a:pt x="2268" y="350"/>
                  </a:lnTo>
                  <a:lnTo>
                    <a:pt x="2264" y="348"/>
                  </a:lnTo>
                  <a:lnTo>
                    <a:pt x="2258" y="348"/>
                  </a:lnTo>
                  <a:lnTo>
                    <a:pt x="2252" y="342"/>
                  </a:lnTo>
                  <a:lnTo>
                    <a:pt x="2252" y="348"/>
                  </a:lnTo>
                  <a:lnTo>
                    <a:pt x="2246" y="348"/>
                  </a:lnTo>
                  <a:lnTo>
                    <a:pt x="2246" y="342"/>
                  </a:lnTo>
                  <a:lnTo>
                    <a:pt x="2240" y="342"/>
                  </a:lnTo>
                  <a:lnTo>
                    <a:pt x="2236" y="336"/>
                  </a:lnTo>
                  <a:lnTo>
                    <a:pt x="2214" y="336"/>
                  </a:lnTo>
                  <a:lnTo>
                    <a:pt x="2214" y="330"/>
                  </a:lnTo>
                  <a:lnTo>
                    <a:pt x="2176" y="330"/>
                  </a:lnTo>
                  <a:lnTo>
                    <a:pt x="2176" y="324"/>
                  </a:lnTo>
                  <a:lnTo>
                    <a:pt x="2170" y="324"/>
                  </a:lnTo>
                  <a:lnTo>
                    <a:pt x="2170" y="330"/>
                  </a:lnTo>
                  <a:lnTo>
                    <a:pt x="2164" y="330"/>
                  </a:lnTo>
                  <a:lnTo>
                    <a:pt x="2164" y="324"/>
                  </a:lnTo>
                  <a:lnTo>
                    <a:pt x="2144" y="324"/>
                  </a:lnTo>
                  <a:lnTo>
                    <a:pt x="2144" y="320"/>
                  </a:lnTo>
                  <a:lnTo>
                    <a:pt x="2132" y="320"/>
                  </a:lnTo>
                  <a:lnTo>
                    <a:pt x="2132" y="336"/>
                  </a:lnTo>
                  <a:lnTo>
                    <a:pt x="2138" y="336"/>
                  </a:lnTo>
                  <a:lnTo>
                    <a:pt x="2138" y="350"/>
                  </a:lnTo>
                  <a:lnTo>
                    <a:pt x="2132" y="350"/>
                  </a:lnTo>
                  <a:lnTo>
                    <a:pt x="2132" y="356"/>
                  </a:lnTo>
                  <a:lnTo>
                    <a:pt x="2116" y="356"/>
                  </a:lnTo>
                  <a:lnTo>
                    <a:pt x="2116" y="348"/>
                  </a:lnTo>
                  <a:lnTo>
                    <a:pt x="2100" y="348"/>
                  </a:lnTo>
                  <a:lnTo>
                    <a:pt x="2100" y="336"/>
                  </a:lnTo>
                  <a:lnTo>
                    <a:pt x="2008" y="336"/>
                  </a:lnTo>
                  <a:lnTo>
                    <a:pt x="2008" y="356"/>
                  </a:lnTo>
                  <a:lnTo>
                    <a:pt x="2004" y="356"/>
                  </a:lnTo>
                  <a:lnTo>
                    <a:pt x="2004" y="362"/>
                  </a:lnTo>
                  <a:lnTo>
                    <a:pt x="1998" y="362"/>
                  </a:lnTo>
                  <a:lnTo>
                    <a:pt x="2004" y="356"/>
                  </a:lnTo>
                  <a:lnTo>
                    <a:pt x="2004" y="348"/>
                  </a:lnTo>
                  <a:lnTo>
                    <a:pt x="1998" y="348"/>
                  </a:lnTo>
                  <a:lnTo>
                    <a:pt x="1998" y="336"/>
                  </a:lnTo>
                  <a:lnTo>
                    <a:pt x="1986" y="336"/>
                  </a:lnTo>
                  <a:lnTo>
                    <a:pt x="1982" y="330"/>
                  </a:lnTo>
                  <a:lnTo>
                    <a:pt x="1982" y="324"/>
                  </a:lnTo>
                  <a:lnTo>
                    <a:pt x="1986" y="320"/>
                  </a:lnTo>
                  <a:lnTo>
                    <a:pt x="1986" y="308"/>
                  </a:lnTo>
                  <a:lnTo>
                    <a:pt x="1976" y="308"/>
                  </a:lnTo>
                  <a:lnTo>
                    <a:pt x="1970" y="302"/>
                  </a:lnTo>
                  <a:lnTo>
                    <a:pt x="1964" y="302"/>
                  </a:lnTo>
                  <a:lnTo>
                    <a:pt x="1958" y="296"/>
                  </a:lnTo>
                  <a:lnTo>
                    <a:pt x="1898" y="296"/>
                  </a:lnTo>
                  <a:lnTo>
                    <a:pt x="1898" y="302"/>
                  </a:lnTo>
                  <a:lnTo>
                    <a:pt x="1872" y="302"/>
                  </a:lnTo>
                  <a:lnTo>
                    <a:pt x="1872" y="296"/>
                  </a:lnTo>
                  <a:lnTo>
                    <a:pt x="1868" y="296"/>
                  </a:lnTo>
                  <a:lnTo>
                    <a:pt x="1868" y="292"/>
                  </a:lnTo>
                  <a:lnTo>
                    <a:pt x="1862" y="292"/>
                  </a:lnTo>
                  <a:lnTo>
                    <a:pt x="1856" y="288"/>
                  </a:lnTo>
                  <a:lnTo>
                    <a:pt x="1850" y="292"/>
                  </a:lnTo>
                  <a:lnTo>
                    <a:pt x="1850" y="288"/>
                  </a:lnTo>
                  <a:lnTo>
                    <a:pt x="1836" y="288"/>
                  </a:lnTo>
                  <a:lnTo>
                    <a:pt x="1836" y="282"/>
                  </a:lnTo>
                  <a:lnTo>
                    <a:pt x="1830" y="282"/>
                  </a:lnTo>
                  <a:lnTo>
                    <a:pt x="1830" y="276"/>
                  </a:lnTo>
                  <a:lnTo>
                    <a:pt x="1836" y="276"/>
                  </a:lnTo>
                  <a:lnTo>
                    <a:pt x="1842" y="282"/>
                  </a:lnTo>
                  <a:lnTo>
                    <a:pt x="1842" y="270"/>
                  </a:lnTo>
                  <a:lnTo>
                    <a:pt x="1830" y="270"/>
                  </a:lnTo>
                  <a:lnTo>
                    <a:pt x="1830" y="266"/>
                  </a:lnTo>
                  <a:lnTo>
                    <a:pt x="1802" y="266"/>
                  </a:lnTo>
                  <a:lnTo>
                    <a:pt x="1796" y="270"/>
                  </a:lnTo>
                  <a:lnTo>
                    <a:pt x="1786" y="282"/>
                  </a:lnTo>
                  <a:lnTo>
                    <a:pt x="1782" y="282"/>
                  </a:lnTo>
                  <a:lnTo>
                    <a:pt x="1776" y="288"/>
                  </a:lnTo>
                  <a:lnTo>
                    <a:pt x="1776" y="282"/>
                  </a:lnTo>
                  <a:lnTo>
                    <a:pt x="1770" y="282"/>
                  </a:lnTo>
                  <a:lnTo>
                    <a:pt x="1776" y="276"/>
                  </a:lnTo>
                  <a:lnTo>
                    <a:pt x="1782" y="276"/>
                  </a:lnTo>
                  <a:lnTo>
                    <a:pt x="1782" y="270"/>
                  </a:lnTo>
                  <a:lnTo>
                    <a:pt x="1796" y="270"/>
                  </a:lnTo>
                  <a:lnTo>
                    <a:pt x="1796" y="266"/>
                  </a:lnTo>
                  <a:lnTo>
                    <a:pt x="1790" y="260"/>
                  </a:lnTo>
                  <a:lnTo>
                    <a:pt x="1776" y="260"/>
                  </a:lnTo>
                  <a:lnTo>
                    <a:pt x="1776" y="266"/>
                  </a:lnTo>
                  <a:lnTo>
                    <a:pt x="1770" y="266"/>
                  </a:lnTo>
                  <a:lnTo>
                    <a:pt x="1770" y="270"/>
                  </a:lnTo>
                  <a:lnTo>
                    <a:pt x="1764" y="270"/>
                  </a:lnTo>
                  <a:lnTo>
                    <a:pt x="1758" y="270"/>
                  </a:lnTo>
                  <a:lnTo>
                    <a:pt x="1758" y="266"/>
                  </a:lnTo>
                  <a:lnTo>
                    <a:pt x="1764" y="266"/>
                  </a:lnTo>
                  <a:lnTo>
                    <a:pt x="1764" y="270"/>
                  </a:lnTo>
                  <a:lnTo>
                    <a:pt x="1770" y="266"/>
                  </a:lnTo>
                  <a:lnTo>
                    <a:pt x="1770" y="260"/>
                  </a:lnTo>
                  <a:lnTo>
                    <a:pt x="1758" y="260"/>
                  </a:lnTo>
                  <a:lnTo>
                    <a:pt x="1754" y="254"/>
                  </a:lnTo>
                  <a:lnTo>
                    <a:pt x="1722" y="254"/>
                  </a:lnTo>
                  <a:lnTo>
                    <a:pt x="1722" y="248"/>
                  </a:lnTo>
                  <a:lnTo>
                    <a:pt x="1710" y="248"/>
                  </a:lnTo>
                  <a:lnTo>
                    <a:pt x="1710" y="254"/>
                  </a:lnTo>
                  <a:lnTo>
                    <a:pt x="1716" y="254"/>
                  </a:lnTo>
                  <a:lnTo>
                    <a:pt x="1716" y="260"/>
                  </a:lnTo>
                  <a:lnTo>
                    <a:pt x="1694" y="260"/>
                  </a:lnTo>
                  <a:lnTo>
                    <a:pt x="1688" y="266"/>
                  </a:lnTo>
                  <a:lnTo>
                    <a:pt x="1688" y="270"/>
                  </a:lnTo>
                  <a:lnTo>
                    <a:pt x="1694" y="270"/>
                  </a:lnTo>
                  <a:lnTo>
                    <a:pt x="1700" y="266"/>
                  </a:lnTo>
                  <a:lnTo>
                    <a:pt x="1704" y="270"/>
                  </a:lnTo>
                  <a:lnTo>
                    <a:pt x="1700" y="270"/>
                  </a:lnTo>
                  <a:lnTo>
                    <a:pt x="1700" y="288"/>
                  </a:lnTo>
                  <a:lnTo>
                    <a:pt x="1672" y="288"/>
                  </a:lnTo>
                  <a:lnTo>
                    <a:pt x="1672" y="296"/>
                  </a:lnTo>
                  <a:lnTo>
                    <a:pt x="1668" y="292"/>
                  </a:lnTo>
                  <a:lnTo>
                    <a:pt x="1662" y="288"/>
                  </a:lnTo>
                  <a:lnTo>
                    <a:pt x="1624" y="288"/>
                  </a:lnTo>
                  <a:lnTo>
                    <a:pt x="1624" y="292"/>
                  </a:lnTo>
                  <a:lnTo>
                    <a:pt x="1618" y="288"/>
                  </a:lnTo>
                  <a:lnTo>
                    <a:pt x="1602" y="288"/>
                  </a:lnTo>
                  <a:lnTo>
                    <a:pt x="1602" y="276"/>
                  </a:lnTo>
                  <a:lnTo>
                    <a:pt x="1596" y="276"/>
                  </a:lnTo>
                  <a:lnTo>
                    <a:pt x="1590" y="282"/>
                  </a:lnTo>
                  <a:lnTo>
                    <a:pt x="1590" y="296"/>
                  </a:lnTo>
                  <a:lnTo>
                    <a:pt x="1586" y="296"/>
                  </a:lnTo>
                  <a:lnTo>
                    <a:pt x="1580" y="302"/>
                  </a:lnTo>
                  <a:lnTo>
                    <a:pt x="1574" y="308"/>
                  </a:lnTo>
                  <a:lnTo>
                    <a:pt x="1574" y="302"/>
                  </a:lnTo>
                  <a:lnTo>
                    <a:pt x="1570" y="296"/>
                  </a:lnTo>
                  <a:lnTo>
                    <a:pt x="1570" y="302"/>
                  </a:lnTo>
                  <a:lnTo>
                    <a:pt x="1564" y="302"/>
                  </a:lnTo>
                  <a:lnTo>
                    <a:pt x="1564" y="296"/>
                  </a:lnTo>
                  <a:lnTo>
                    <a:pt x="1554" y="296"/>
                  </a:lnTo>
                  <a:lnTo>
                    <a:pt x="1554" y="288"/>
                  </a:lnTo>
                  <a:lnTo>
                    <a:pt x="1542" y="288"/>
                  </a:lnTo>
                  <a:lnTo>
                    <a:pt x="1542" y="276"/>
                  </a:lnTo>
                  <a:lnTo>
                    <a:pt x="1536" y="276"/>
                  </a:lnTo>
                  <a:lnTo>
                    <a:pt x="1536" y="270"/>
                  </a:lnTo>
                  <a:lnTo>
                    <a:pt x="1530" y="270"/>
                  </a:lnTo>
                  <a:lnTo>
                    <a:pt x="1530" y="266"/>
                  </a:lnTo>
                  <a:lnTo>
                    <a:pt x="1520" y="266"/>
                  </a:lnTo>
                  <a:lnTo>
                    <a:pt x="1520" y="260"/>
                  </a:lnTo>
                  <a:lnTo>
                    <a:pt x="1516" y="260"/>
                  </a:lnTo>
                  <a:lnTo>
                    <a:pt x="1516" y="270"/>
                  </a:lnTo>
                  <a:lnTo>
                    <a:pt x="1510" y="266"/>
                  </a:lnTo>
                  <a:lnTo>
                    <a:pt x="1494" y="266"/>
                  </a:lnTo>
                  <a:lnTo>
                    <a:pt x="1494" y="260"/>
                  </a:lnTo>
                  <a:lnTo>
                    <a:pt x="1482" y="260"/>
                  </a:lnTo>
                  <a:lnTo>
                    <a:pt x="1476" y="254"/>
                  </a:lnTo>
                  <a:lnTo>
                    <a:pt x="1456" y="254"/>
                  </a:lnTo>
                  <a:lnTo>
                    <a:pt x="1456" y="248"/>
                  </a:lnTo>
                  <a:lnTo>
                    <a:pt x="1412" y="248"/>
                  </a:lnTo>
                  <a:lnTo>
                    <a:pt x="1408" y="242"/>
                  </a:lnTo>
                  <a:lnTo>
                    <a:pt x="1402" y="242"/>
                  </a:lnTo>
                  <a:lnTo>
                    <a:pt x="1396" y="238"/>
                  </a:lnTo>
                  <a:lnTo>
                    <a:pt x="1408" y="238"/>
                  </a:lnTo>
                  <a:lnTo>
                    <a:pt x="1402" y="234"/>
                  </a:lnTo>
                  <a:lnTo>
                    <a:pt x="1374" y="234"/>
                  </a:lnTo>
                  <a:lnTo>
                    <a:pt x="1374" y="228"/>
                  </a:lnTo>
                  <a:lnTo>
                    <a:pt x="1348" y="228"/>
                  </a:lnTo>
                  <a:lnTo>
                    <a:pt x="1348" y="234"/>
                  </a:lnTo>
                  <a:lnTo>
                    <a:pt x="1326" y="234"/>
                  </a:lnTo>
                  <a:lnTo>
                    <a:pt x="1326" y="238"/>
                  </a:lnTo>
                  <a:lnTo>
                    <a:pt x="1320" y="238"/>
                  </a:lnTo>
                  <a:lnTo>
                    <a:pt x="1326" y="234"/>
                  </a:lnTo>
                  <a:lnTo>
                    <a:pt x="1326" y="228"/>
                  </a:lnTo>
                  <a:lnTo>
                    <a:pt x="1294" y="228"/>
                  </a:lnTo>
                  <a:lnTo>
                    <a:pt x="1288" y="222"/>
                  </a:lnTo>
                  <a:lnTo>
                    <a:pt x="1276" y="222"/>
                  </a:lnTo>
                  <a:lnTo>
                    <a:pt x="1276" y="228"/>
                  </a:lnTo>
                  <a:lnTo>
                    <a:pt x="1282" y="228"/>
                  </a:lnTo>
                  <a:lnTo>
                    <a:pt x="1282" y="234"/>
                  </a:lnTo>
                  <a:lnTo>
                    <a:pt x="1276" y="234"/>
                  </a:lnTo>
                  <a:lnTo>
                    <a:pt x="1276" y="238"/>
                  </a:lnTo>
                  <a:lnTo>
                    <a:pt x="1250" y="238"/>
                  </a:lnTo>
                  <a:lnTo>
                    <a:pt x="1250" y="242"/>
                  </a:lnTo>
                  <a:lnTo>
                    <a:pt x="1222" y="242"/>
                  </a:lnTo>
                  <a:lnTo>
                    <a:pt x="1222" y="248"/>
                  </a:lnTo>
                  <a:lnTo>
                    <a:pt x="1218" y="248"/>
                  </a:lnTo>
                  <a:lnTo>
                    <a:pt x="1212" y="254"/>
                  </a:lnTo>
                  <a:lnTo>
                    <a:pt x="1206" y="254"/>
                  </a:lnTo>
                  <a:lnTo>
                    <a:pt x="1212" y="248"/>
                  </a:lnTo>
                  <a:lnTo>
                    <a:pt x="1218" y="248"/>
                  </a:lnTo>
                  <a:lnTo>
                    <a:pt x="1218" y="238"/>
                  </a:lnTo>
                  <a:lnTo>
                    <a:pt x="1234" y="238"/>
                  </a:lnTo>
                  <a:lnTo>
                    <a:pt x="1240" y="234"/>
                  </a:lnTo>
                  <a:lnTo>
                    <a:pt x="1246" y="234"/>
                  </a:lnTo>
                  <a:lnTo>
                    <a:pt x="1250" y="228"/>
                  </a:lnTo>
                  <a:lnTo>
                    <a:pt x="1260" y="228"/>
                  </a:lnTo>
                  <a:lnTo>
                    <a:pt x="1260" y="222"/>
                  </a:lnTo>
                  <a:lnTo>
                    <a:pt x="1266" y="222"/>
                  </a:lnTo>
                  <a:lnTo>
                    <a:pt x="1266" y="216"/>
                  </a:lnTo>
                  <a:lnTo>
                    <a:pt x="1276" y="216"/>
                  </a:lnTo>
                  <a:lnTo>
                    <a:pt x="1276" y="210"/>
                  </a:lnTo>
                  <a:lnTo>
                    <a:pt x="1288" y="210"/>
                  </a:lnTo>
                  <a:lnTo>
                    <a:pt x="1288" y="206"/>
                  </a:lnTo>
                  <a:lnTo>
                    <a:pt x="1294" y="206"/>
                  </a:lnTo>
                  <a:lnTo>
                    <a:pt x="1294" y="200"/>
                  </a:lnTo>
                  <a:lnTo>
                    <a:pt x="1308" y="200"/>
                  </a:lnTo>
                  <a:lnTo>
                    <a:pt x="1308" y="194"/>
                  </a:lnTo>
                  <a:lnTo>
                    <a:pt x="1314" y="194"/>
                  </a:lnTo>
                  <a:lnTo>
                    <a:pt x="1320" y="188"/>
                  </a:lnTo>
                  <a:lnTo>
                    <a:pt x="1326" y="188"/>
                  </a:lnTo>
                  <a:lnTo>
                    <a:pt x="1326" y="182"/>
                  </a:lnTo>
                  <a:lnTo>
                    <a:pt x="1332" y="182"/>
                  </a:lnTo>
                  <a:lnTo>
                    <a:pt x="1326" y="180"/>
                  </a:lnTo>
                  <a:lnTo>
                    <a:pt x="1332" y="180"/>
                  </a:lnTo>
                  <a:lnTo>
                    <a:pt x="1332" y="168"/>
                  </a:lnTo>
                  <a:lnTo>
                    <a:pt x="1326" y="168"/>
                  </a:lnTo>
                  <a:lnTo>
                    <a:pt x="1326" y="156"/>
                  </a:lnTo>
                  <a:lnTo>
                    <a:pt x="1320" y="162"/>
                  </a:lnTo>
                  <a:lnTo>
                    <a:pt x="1320" y="168"/>
                  </a:lnTo>
                  <a:lnTo>
                    <a:pt x="1314" y="168"/>
                  </a:lnTo>
                  <a:lnTo>
                    <a:pt x="1314" y="174"/>
                  </a:lnTo>
                  <a:lnTo>
                    <a:pt x="1320" y="174"/>
                  </a:lnTo>
                  <a:lnTo>
                    <a:pt x="1320" y="180"/>
                  </a:lnTo>
                  <a:lnTo>
                    <a:pt x="1314" y="180"/>
                  </a:lnTo>
                  <a:lnTo>
                    <a:pt x="1314" y="174"/>
                  </a:lnTo>
                  <a:lnTo>
                    <a:pt x="1308" y="174"/>
                  </a:lnTo>
                  <a:lnTo>
                    <a:pt x="1308" y="168"/>
                  </a:lnTo>
                  <a:lnTo>
                    <a:pt x="1314" y="168"/>
                  </a:lnTo>
                  <a:lnTo>
                    <a:pt x="1314" y="156"/>
                  </a:lnTo>
                  <a:lnTo>
                    <a:pt x="1308" y="152"/>
                  </a:lnTo>
                  <a:lnTo>
                    <a:pt x="1300" y="152"/>
                  </a:lnTo>
                  <a:lnTo>
                    <a:pt x="1300" y="146"/>
                  </a:lnTo>
                  <a:lnTo>
                    <a:pt x="1250" y="146"/>
                  </a:lnTo>
                  <a:lnTo>
                    <a:pt x="1250" y="152"/>
                  </a:lnTo>
                  <a:lnTo>
                    <a:pt x="1234" y="152"/>
                  </a:lnTo>
                  <a:lnTo>
                    <a:pt x="1234" y="140"/>
                  </a:lnTo>
                  <a:lnTo>
                    <a:pt x="1218" y="140"/>
                  </a:lnTo>
                  <a:lnTo>
                    <a:pt x="1218" y="134"/>
                  </a:lnTo>
                  <a:lnTo>
                    <a:pt x="1206" y="134"/>
                  </a:lnTo>
                  <a:lnTo>
                    <a:pt x="1206" y="128"/>
                  </a:lnTo>
                  <a:lnTo>
                    <a:pt x="1218" y="128"/>
                  </a:lnTo>
                  <a:lnTo>
                    <a:pt x="1218" y="124"/>
                  </a:lnTo>
                  <a:lnTo>
                    <a:pt x="1206" y="124"/>
                  </a:lnTo>
                  <a:lnTo>
                    <a:pt x="1206" y="120"/>
                  </a:lnTo>
                  <a:lnTo>
                    <a:pt x="1180" y="120"/>
                  </a:lnTo>
                  <a:lnTo>
                    <a:pt x="1180" y="124"/>
                  </a:lnTo>
                  <a:lnTo>
                    <a:pt x="1168" y="124"/>
                  </a:lnTo>
                  <a:lnTo>
                    <a:pt x="1168" y="128"/>
                  </a:lnTo>
                  <a:lnTo>
                    <a:pt x="1162" y="128"/>
                  </a:lnTo>
                  <a:lnTo>
                    <a:pt x="1158" y="134"/>
                  </a:lnTo>
                  <a:lnTo>
                    <a:pt x="1152" y="134"/>
                  </a:lnTo>
                  <a:lnTo>
                    <a:pt x="1152" y="140"/>
                  </a:lnTo>
                  <a:lnTo>
                    <a:pt x="1146" y="140"/>
                  </a:lnTo>
                  <a:lnTo>
                    <a:pt x="1146" y="146"/>
                  </a:lnTo>
                  <a:lnTo>
                    <a:pt x="1152" y="146"/>
                  </a:lnTo>
                  <a:lnTo>
                    <a:pt x="1152" y="152"/>
                  </a:lnTo>
                  <a:lnTo>
                    <a:pt x="1120" y="152"/>
                  </a:lnTo>
                  <a:lnTo>
                    <a:pt x="1120" y="156"/>
                  </a:lnTo>
                  <a:lnTo>
                    <a:pt x="1132" y="156"/>
                  </a:lnTo>
                  <a:lnTo>
                    <a:pt x="1132" y="162"/>
                  </a:lnTo>
                  <a:lnTo>
                    <a:pt x="1136" y="162"/>
                  </a:lnTo>
                  <a:lnTo>
                    <a:pt x="1136" y="168"/>
                  </a:lnTo>
                  <a:lnTo>
                    <a:pt x="1132" y="174"/>
                  </a:lnTo>
                  <a:lnTo>
                    <a:pt x="1132" y="162"/>
                  </a:lnTo>
                  <a:lnTo>
                    <a:pt x="1120" y="162"/>
                  </a:lnTo>
                  <a:lnTo>
                    <a:pt x="1120" y="156"/>
                  </a:lnTo>
                  <a:lnTo>
                    <a:pt x="1114" y="162"/>
                  </a:lnTo>
                  <a:lnTo>
                    <a:pt x="1108" y="162"/>
                  </a:lnTo>
                  <a:lnTo>
                    <a:pt x="1108" y="168"/>
                  </a:lnTo>
                  <a:lnTo>
                    <a:pt x="1082" y="168"/>
                  </a:lnTo>
                  <a:lnTo>
                    <a:pt x="1078" y="162"/>
                  </a:lnTo>
                  <a:lnTo>
                    <a:pt x="1060" y="162"/>
                  </a:lnTo>
                  <a:lnTo>
                    <a:pt x="1066" y="168"/>
                  </a:lnTo>
                  <a:lnTo>
                    <a:pt x="1054" y="168"/>
                  </a:lnTo>
                  <a:lnTo>
                    <a:pt x="1050" y="162"/>
                  </a:lnTo>
                  <a:lnTo>
                    <a:pt x="1044" y="162"/>
                  </a:lnTo>
                  <a:lnTo>
                    <a:pt x="1044" y="174"/>
                  </a:lnTo>
                  <a:lnTo>
                    <a:pt x="1018" y="174"/>
                  </a:lnTo>
                  <a:lnTo>
                    <a:pt x="1018" y="180"/>
                  </a:lnTo>
                  <a:lnTo>
                    <a:pt x="990" y="180"/>
                  </a:lnTo>
                  <a:lnTo>
                    <a:pt x="984" y="182"/>
                  </a:lnTo>
                  <a:lnTo>
                    <a:pt x="984" y="180"/>
                  </a:lnTo>
                  <a:lnTo>
                    <a:pt x="980" y="180"/>
                  </a:lnTo>
                  <a:lnTo>
                    <a:pt x="980" y="182"/>
                  </a:lnTo>
                  <a:lnTo>
                    <a:pt x="974" y="182"/>
                  </a:lnTo>
                  <a:lnTo>
                    <a:pt x="968" y="188"/>
                  </a:lnTo>
                  <a:lnTo>
                    <a:pt x="964" y="188"/>
                  </a:lnTo>
                  <a:lnTo>
                    <a:pt x="964" y="194"/>
                  </a:lnTo>
                  <a:lnTo>
                    <a:pt x="958" y="194"/>
                  </a:lnTo>
                  <a:lnTo>
                    <a:pt x="958" y="200"/>
                  </a:lnTo>
                  <a:lnTo>
                    <a:pt x="952" y="200"/>
                  </a:lnTo>
                  <a:lnTo>
                    <a:pt x="952" y="206"/>
                  </a:lnTo>
                  <a:lnTo>
                    <a:pt x="946" y="206"/>
                  </a:lnTo>
                  <a:lnTo>
                    <a:pt x="946" y="210"/>
                  </a:lnTo>
                  <a:lnTo>
                    <a:pt x="940" y="210"/>
                  </a:lnTo>
                  <a:lnTo>
                    <a:pt x="946" y="216"/>
                  </a:lnTo>
                  <a:lnTo>
                    <a:pt x="952" y="210"/>
                  </a:lnTo>
                  <a:lnTo>
                    <a:pt x="958" y="210"/>
                  </a:lnTo>
                  <a:lnTo>
                    <a:pt x="952" y="216"/>
                  </a:lnTo>
                  <a:lnTo>
                    <a:pt x="958" y="216"/>
                  </a:lnTo>
                  <a:lnTo>
                    <a:pt x="958" y="234"/>
                  </a:lnTo>
                  <a:lnTo>
                    <a:pt x="946" y="234"/>
                  </a:lnTo>
                  <a:lnTo>
                    <a:pt x="946" y="228"/>
                  </a:lnTo>
                  <a:lnTo>
                    <a:pt x="876" y="228"/>
                  </a:lnTo>
                  <a:lnTo>
                    <a:pt x="872" y="234"/>
                  </a:lnTo>
                  <a:lnTo>
                    <a:pt x="860" y="234"/>
                  </a:lnTo>
                  <a:lnTo>
                    <a:pt x="860" y="248"/>
                  </a:lnTo>
                  <a:lnTo>
                    <a:pt x="866" y="248"/>
                  </a:lnTo>
                  <a:lnTo>
                    <a:pt x="860" y="254"/>
                  </a:lnTo>
                  <a:lnTo>
                    <a:pt x="860" y="260"/>
                  </a:lnTo>
                  <a:lnTo>
                    <a:pt x="872" y="260"/>
                  </a:lnTo>
                  <a:lnTo>
                    <a:pt x="872" y="266"/>
                  </a:lnTo>
                  <a:lnTo>
                    <a:pt x="880" y="266"/>
                  </a:lnTo>
                  <a:lnTo>
                    <a:pt x="880" y="276"/>
                  </a:lnTo>
                  <a:lnTo>
                    <a:pt x="904" y="276"/>
                  </a:lnTo>
                  <a:lnTo>
                    <a:pt x="904" y="288"/>
                  </a:lnTo>
                  <a:lnTo>
                    <a:pt x="898" y="288"/>
                  </a:lnTo>
                  <a:lnTo>
                    <a:pt x="898" y="296"/>
                  </a:lnTo>
                  <a:lnTo>
                    <a:pt x="904" y="302"/>
                  </a:lnTo>
                  <a:lnTo>
                    <a:pt x="904" y="308"/>
                  </a:lnTo>
                  <a:lnTo>
                    <a:pt x="908" y="308"/>
                  </a:lnTo>
                  <a:lnTo>
                    <a:pt x="908" y="314"/>
                  </a:lnTo>
                  <a:lnTo>
                    <a:pt x="904" y="314"/>
                  </a:lnTo>
                  <a:lnTo>
                    <a:pt x="904" y="320"/>
                  </a:lnTo>
                  <a:lnTo>
                    <a:pt x="892" y="320"/>
                  </a:lnTo>
                  <a:lnTo>
                    <a:pt x="898" y="314"/>
                  </a:lnTo>
                  <a:lnTo>
                    <a:pt x="898" y="296"/>
                  </a:lnTo>
                  <a:lnTo>
                    <a:pt x="892" y="296"/>
                  </a:lnTo>
                  <a:lnTo>
                    <a:pt x="886" y="302"/>
                  </a:lnTo>
                  <a:lnTo>
                    <a:pt x="886" y="308"/>
                  </a:lnTo>
                  <a:lnTo>
                    <a:pt x="880" y="302"/>
                  </a:lnTo>
                  <a:lnTo>
                    <a:pt x="880" y="292"/>
                  </a:lnTo>
                  <a:lnTo>
                    <a:pt x="892" y="292"/>
                  </a:lnTo>
                  <a:lnTo>
                    <a:pt x="892" y="288"/>
                  </a:lnTo>
                  <a:lnTo>
                    <a:pt x="898" y="288"/>
                  </a:lnTo>
                  <a:lnTo>
                    <a:pt x="898" y="282"/>
                  </a:lnTo>
                  <a:lnTo>
                    <a:pt x="872" y="282"/>
                  </a:lnTo>
                  <a:lnTo>
                    <a:pt x="872" y="276"/>
                  </a:lnTo>
                  <a:lnTo>
                    <a:pt x="866" y="276"/>
                  </a:lnTo>
                  <a:lnTo>
                    <a:pt x="866" y="270"/>
                  </a:lnTo>
                  <a:lnTo>
                    <a:pt x="854" y="270"/>
                  </a:lnTo>
                  <a:lnTo>
                    <a:pt x="850" y="266"/>
                  </a:lnTo>
                  <a:lnTo>
                    <a:pt x="844" y="260"/>
                  </a:lnTo>
                  <a:lnTo>
                    <a:pt x="826" y="260"/>
                  </a:lnTo>
                  <a:lnTo>
                    <a:pt x="826" y="266"/>
                  </a:lnTo>
                  <a:lnTo>
                    <a:pt x="822" y="266"/>
                  </a:lnTo>
                  <a:lnTo>
                    <a:pt x="822" y="270"/>
                  </a:lnTo>
                  <a:lnTo>
                    <a:pt x="818" y="270"/>
                  </a:lnTo>
                  <a:lnTo>
                    <a:pt x="818" y="276"/>
                  </a:lnTo>
                  <a:lnTo>
                    <a:pt x="800" y="276"/>
                  </a:lnTo>
                  <a:lnTo>
                    <a:pt x="800" y="288"/>
                  </a:lnTo>
                  <a:lnTo>
                    <a:pt x="812" y="288"/>
                  </a:lnTo>
                  <a:lnTo>
                    <a:pt x="812" y="292"/>
                  </a:lnTo>
                  <a:lnTo>
                    <a:pt x="826" y="292"/>
                  </a:lnTo>
                  <a:lnTo>
                    <a:pt x="826" y="296"/>
                  </a:lnTo>
                  <a:lnTo>
                    <a:pt x="832" y="296"/>
                  </a:lnTo>
                  <a:lnTo>
                    <a:pt x="838" y="302"/>
                  </a:lnTo>
                  <a:lnTo>
                    <a:pt x="826" y="302"/>
                  </a:lnTo>
                  <a:lnTo>
                    <a:pt x="822" y="296"/>
                  </a:lnTo>
                  <a:lnTo>
                    <a:pt x="800" y="296"/>
                  </a:lnTo>
                  <a:lnTo>
                    <a:pt x="794" y="292"/>
                  </a:lnTo>
                  <a:lnTo>
                    <a:pt x="790" y="292"/>
                  </a:lnTo>
                  <a:lnTo>
                    <a:pt x="790" y="282"/>
                  </a:lnTo>
                  <a:lnTo>
                    <a:pt x="784" y="282"/>
                  </a:lnTo>
                  <a:lnTo>
                    <a:pt x="784" y="276"/>
                  </a:lnTo>
                  <a:lnTo>
                    <a:pt x="790" y="276"/>
                  </a:lnTo>
                  <a:lnTo>
                    <a:pt x="790" y="248"/>
                  </a:lnTo>
                  <a:lnTo>
                    <a:pt x="778" y="248"/>
                  </a:lnTo>
                  <a:lnTo>
                    <a:pt x="778" y="254"/>
                  </a:lnTo>
                  <a:lnTo>
                    <a:pt x="784" y="254"/>
                  </a:lnTo>
                  <a:lnTo>
                    <a:pt x="784" y="270"/>
                  </a:lnTo>
                  <a:lnTo>
                    <a:pt x="778" y="270"/>
                  </a:lnTo>
                  <a:lnTo>
                    <a:pt x="778" y="276"/>
                  </a:lnTo>
                  <a:lnTo>
                    <a:pt x="764" y="276"/>
                  </a:lnTo>
                  <a:lnTo>
                    <a:pt x="764" y="288"/>
                  </a:lnTo>
                  <a:lnTo>
                    <a:pt x="758" y="288"/>
                  </a:lnTo>
                  <a:lnTo>
                    <a:pt x="758" y="292"/>
                  </a:lnTo>
                  <a:lnTo>
                    <a:pt x="764" y="292"/>
                  </a:lnTo>
                  <a:lnTo>
                    <a:pt x="764" y="296"/>
                  </a:lnTo>
                  <a:lnTo>
                    <a:pt x="766" y="296"/>
                  </a:lnTo>
                  <a:lnTo>
                    <a:pt x="766" y="308"/>
                  </a:lnTo>
                  <a:lnTo>
                    <a:pt x="772" y="308"/>
                  </a:lnTo>
                  <a:lnTo>
                    <a:pt x="772" y="314"/>
                  </a:lnTo>
                  <a:lnTo>
                    <a:pt x="766" y="314"/>
                  </a:lnTo>
                  <a:lnTo>
                    <a:pt x="766" y="320"/>
                  </a:lnTo>
                  <a:lnTo>
                    <a:pt x="764" y="330"/>
                  </a:lnTo>
                  <a:lnTo>
                    <a:pt x="764" y="336"/>
                  </a:lnTo>
                  <a:lnTo>
                    <a:pt x="766" y="336"/>
                  </a:lnTo>
                  <a:lnTo>
                    <a:pt x="766" y="348"/>
                  </a:lnTo>
                  <a:lnTo>
                    <a:pt x="812" y="348"/>
                  </a:lnTo>
                  <a:lnTo>
                    <a:pt x="812" y="350"/>
                  </a:lnTo>
                  <a:lnTo>
                    <a:pt x="822" y="350"/>
                  </a:lnTo>
                  <a:lnTo>
                    <a:pt x="822" y="368"/>
                  </a:lnTo>
                  <a:lnTo>
                    <a:pt x="818" y="368"/>
                  </a:lnTo>
                  <a:lnTo>
                    <a:pt x="818" y="384"/>
                  </a:lnTo>
                  <a:lnTo>
                    <a:pt x="812" y="384"/>
                  </a:lnTo>
                  <a:lnTo>
                    <a:pt x="812" y="356"/>
                  </a:lnTo>
                  <a:lnTo>
                    <a:pt x="806" y="356"/>
                  </a:lnTo>
                  <a:lnTo>
                    <a:pt x="806" y="350"/>
                  </a:lnTo>
                  <a:lnTo>
                    <a:pt x="790" y="350"/>
                  </a:lnTo>
                  <a:lnTo>
                    <a:pt x="784" y="356"/>
                  </a:lnTo>
                  <a:lnTo>
                    <a:pt x="772" y="356"/>
                  </a:lnTo>
                  <a:lnTo>
                    <a:pt x="772" y="368"/>
                  </a:lnTo>
                  <a:lnTo>
                    <a:pt x="778" y="368"/>
                  </a:lnTo>
                  <a:lnTo>
                    <a:pt x="778" y="384"/>
                  </a:lnTo>
                  <a:lnTo>
                    <a:pt x="772" y="384"/>
                  </a:lnTo>
                  <a:lnTo>
                    <a:pt x="772" y="390"/>
                  </a:lnTo>
                  <a:lnTo>
                    <a:pt x="766" y="390"/>
                  </a:lnTo>
                  <a:lnTo>
                    <a:pt x="766" y="402"/>
                  </a:lnTo>
                  <a:lnTo>
                    <a:pt x="764" y="406"/>
                  </a:lnTo>
                  <a:lnTo>
                    <a:pt x="752" y="406"/>
                  </a:lnTo>
                  <a:lnTo>
                    <a:pt x="752" y="410"/>
                  </a:lnTo>
                  <a:lnTo>
                    <a:pt x="746" y="410"/>
                  </a:lnTo>
                  <a:lnTo>
                    <a:pt x="746" y="416"/>
                  </a:lnTo>
                  <a:lnTo>
                    <a:pt x="710" y="416"/>
                  </a:lnTo>
                  <a:lnTo>
                    <a:pt x="710" y="410"/>
                  </a:lnTo>
                  <a:lnTo>
                    <a:pt x="698" y="410"/>
                  </a:lnTo>
                  <a:lnTo>
                    <a:pt x="698" y="406"/>
                  </a:lnTo>
                  <a:lnTo>
                    <a:pt x="718" y="406"/>
                  </a:lnTo>
                  <a:lnTo>
                    <a:pt x="718" y="410"/>
                  </a:lnTo>
                  <a:lnTo>
                    <a:pt x="730" y="410"/>
                  </a:lnTo>
                  <a:lnTo>
                    <a:pt x="730" y="402"/>
                  </a:lnTo>
                  <a:lnTo>
                    <a:pt x="736" y="406"/>
                  </a:lnTo>
                  <a:lnTo>
                    <a:pt x="736" y="402"/>
                  </a:lnTo>
                  <a:lnTo>
                    <a:pt x="740" y="402"/>
                  </a:lnTo>
                  <a:lnTo>
                    <a:pt x="740" y="396"/>
                  </a:lnTo>
                  <a:lnTo>
                    <a:pt x="746" y="396"/>
                  </a:lnTo>
                  <a:lnTo>
                    <a:pt x="746" y="384"/>
                  </a:lnTo>
                  <a:lnTo>
                    <a:pt x="758" y="384"/>
                  </a:lnTo>
                  <a:lnTo>
                    <a:pt x="758" y="368"/>
                  </a:lnTo>
                  <a:lnTo>
                    <a:pt x="764" y="368"/>
                  </a:lnTo>
                  <a:lnTo>
                    <a:pt x="764" y="356"/>
                  </a:lnTo>
                  <a:lnTo>
                    <a:pt x="752" y="356"/>
                  </a:lnTo>
                  <a:lnTo>
                    <a:pt x="752" y="350"/>
                  </a:lnTo>
                  <a:lnTo>
                    <a:pt x="746" y="350"/>
                  </a:lnTo>
                  <a:lnTo>
                    <a:pt x="746" y="348"/>
                  </a:lnTo>
                  <a:lnTo>
                    <a:pt x="752" y="342"/>
                  </a:lnTo>
                  <a:lnTo>
                    <a:pt x="752" y="330"/>
                  </a:lnTo>
                  <a:lnTo>
                    <a:pt x="746" y="324"/>
                  </a:lnTo>
                  <a:lnTo>
                    <a:pt x="746" y="314"/>
                  </a:lnTo>
                  <a:lnTo>
                    <a:pt x="752" y="314"/>
                  </a:lnTo>
                  <a:lnTo>
                    <a:pt x="752" y="296"/>
                  </a:lnTo>
                  <a:lnTo>
                    <a:pt x="746" y="296"/>
                  </a:lnTo>
                  <a:lnTo>
                    <a:pt x="740" y="292"/>
                  </a:lnTo>
                  <a:lnTo>
                    <a:pt x="740" y="288"/>
                  </a:lnTo>
                  <a:lnTo>
                    <a:pt x="746" y="282"/>
                  </a:lnTo>
                  <a:lnTo>
                    <a:pt x="740" y="282"/>
                  </a:lnTo>
                  <a:lnTo>
                    <a:pt x="740" y="276"/>
                  </a:lnTo>
                  <a:lnTo>
                    <a:pt x="746" y="276"/>
                  </a:lnTo>
                  <a:lnTo>
                    <a:pt x="752" y="270"/>
                  </a:lnTo>
                  <a:lnTo>
                    <a:pt x="752" y="254"/>
                  </a:lnTo>
                  <a:lnTo>
                    <a:pt x="746" y="254"/>
                  </a:lnTo>
                  <a:lnTo>
                    <a:pt x="740" y="248"/>
                  </a:lnTo>
                  <a:lnTo>
                    <a:pt x="704" y="248"/>
                  </a:lnTo>
                  <a:lnTo>
                    <a:pt x="704" y="254"/>
                  </a:lnTo>
                  <a:lnTo>
                    <a:pt x="698" y="254"/>
                  </a:lnTo>
                  <a:lnTo>
                    <a:pt x="698" y="260"/>
                  </a:lnTo>
                  <a:lnTo>
                    <a:pt x="692" y="266"/>
                  </a:lnTo>
                  <a:lnTo>
                    <a:pt x="692" y="276"/>
                  </a:lnTo>
                  <a:lnTo>
                    <a:pt x="686" y="282"/>
                  </a:lnTo>
                  <a:lnTo>
                    <a:pt x="686" y="288"/>
                  </a:lnTo>
                  <a:lnTo>
                    <a:pt x="676" y="288"/>
                  </a:lnTo>
                  <a:lnTo>
                    <a:pt x="676" y="292"/>
                  </a:lnTo>
                  <a:lnTo>
                    <a:pt x="670" y="292"/>
                  </a:lnTo>
                  <a:lnTo>
                    <a:pt x="670" y="296"/>
                  </a:lnTo>
                  <a:lnTo>
                    <a:pt x="664" y="296"/>
                  </a:lnTo>
                  <a:lnTo>
                    <a:pt x="664" y="308"/>
                  </a:lnTo>
                  <a:lnTo>
                    <a:pt x="670" y="302"/>
                  </a:lnTo>
                  <a:lnTo>
                    <a:pt x="670" y="324"/>
                  </a:lnTo>
                  <a:lnTo>
                    <a:pt x="664" y="336"/>
                  </a:lnTo>
                  <a:lnTo>
                    <a:pt x="680" y="336"/>
                  </a:lnTo>
                  <a:lnTo>
                    <a:pt x="680" y="348"/>
                  </a:lnTo>
                  <a:lnTo>
                    <a:pt x="692" y="348"/>
                  </a:lnTo>
                  <a:lnTo>
                    <a:pt x="692" y="350"/>
                  </a:lnTo>
                  <a:lnTo>
                    <a:pt x="698" y="350"/>
                  </a:lnTo>
                  <a:lnTo>
                    <a:pt x="698" y="356"/>
                  </a:lnTo>
                  <a:lnTo>
                    <a:pt x="692" y="356"/>
                  </a:lnTo>
                  <a:lnTo>
                    <a:pt x="692" y="368"/>
                  </a:lnTo>
                  <a:lnTo>
                    <a:pt x="680" y="368"/>
                  </a:lnTo>
                  <a:lnTo>
                    <a:pt x="680" y="362"/>
                  </a:lnTo>
                  <a:lnTo>
                    <a:pt x="676" y="356"/>
                  </a:lnTo>
                  <a:lnTo>
                    <a:pt x="670" y="356"/>
                  </a:lnTo>
                  <a:lnTo>
                    <a:pt x="670" y="350"/>
                  </a:lnTo>
                  <a:lnTo>
                    <a:pt x="658" y="350"/>
                  </a:lnTo>
                  <a:lnTo>
                    <a:pt x="658" y="348"/>
                  </a:lnTo>
                  <a:lnTo>
                    <a:pt x="644" y="348"/>
                  </a:lnTo>
                  <a:lnTo>
                    <a:pt x="638" y="342"/>
                  </a:lnTo>
                  <a:lnTo>
                    <a:pt x="632" y="342"/>
                  </a:lnTo>
                  <a:lnTo>
                    <a:pt x="632" y="336"/>
                  </a:lnTo>
                  <a:lnTo>
                    <a:pt x="596" y="336"/>
                  </a:lnTo>
                  <a:lnTo>
                    <a:pt x="596" y="330"/>
                  </a:lnTo>
                  <a:lnTo>
                    <a:pt x="578" y="330"/>
                  </a:lnTo>
                  <a:lnTo>
                    <a:pt x="578" y="336"/>
                  </a:lnTo>
                  <a:lnTo>
                    <a:pt x="572" y="336"/>
                  </a:lnTo>
                  <a:lnTo>
                    <a:pt x="572" y="342"/>
                  </a:lnTo>
                  <a:lnTo>
                    <a:pt x="578" y="348"/>
                  </a:lnTo>
                  <a:lnTo>
                    <a:pt x="584" y="348"/>
                  </a:lnTo>
                  <a:lnTo>
                    <a:pt x="584" y="356"/>
                  </a:lnTo>
                  <a:lnTo>
                    <a:pt x="568" y="356"/>
                  </a:lnTo>
                  <a:lnTo>
                    <a:pt x="568" y="362"/>
                  </a:lnTo>
                  <a:lnTo>
                    <a:pt x="572" y="362"/>
                  </a:lnTo>
                  <a:lnTo>
                    <a:pt x="568" y="368"/>
                  </a:lnTo>
                  <a:lnTo>
                    <a:pt x="556" y="368"/>
                  </a:lnTo>
                  <a:lnTo>
                    <a:pt x="556" y="356"/>
                  </a:lnTo>
                  <a:lnTo>
                    <a:pt x="562" y="356"/>
                  </a:lnTo>
                  <a:lnTo>
                    <a:pt x="556" y="350"/>
                  </a:lnTo>
                  <a:lnTo>
                    <a:pt x="546" y="350"/>
                  </a:lnTo>
                  <a:lnTo>
                    <a:pt x="546" y="356"/>
                  </a:lnTo>
                  <a:lnTo>
                    <a:pt x="536" y="356"/>
                  </a:lnTo>
                  <a:lnTo>
                    <a:pt x="536" y="362"/>
                  </a:lnTo>
                  <a:lnTo>
                    <a:pt x="524" y="362"/>
                  </a:lnTo>
                  <a:lnTo>
                    <a:pt x="524" y="356"/>
                  </a:lnTo>
                  <a:lnTo>
                    <a:pt x="512" y="356"/>
                  </a:lnTo>
                  <a:lnTo>
                    <a:pt x="508" y="362"/>
                  </a:lnTo>
                  <a:lnTo>
                    <a:pt x="502" y="362"/>
                  </a:lnTo>
                  <a:lnTo>
                    <a:pt x="502" y="368"/>
                  </a:lnTo>
                  <a:lnTo>
                    <a:pt x="486" y="368"/>
                  </a:lnTo>
                  <a:lnTo>
                    <a:pt x="486" y="362"/>
                  </a:lnTo>
                  <a:lnTo>
                    <a:pt x="482" y="362"/>
                  </a:lnTo>
                  <a:lnTo>
                    <a:pt x="482" y="356"/>
                  </a:lnTo>
                  <a:lnTo>
                    <a:pt x="458" y="356"/>
                  </a:lnTo>
                  <a:lnTo>
                    <a:pt x="464" y="362"/>
                  </a:lnTo>
                  <a:lnTo>
                    <a:pt x="464" y="368"/>
                  </a:lnTo>
                  <a:lnTo>
                    <a:pt x="458" y="368"/>
                  </a:lnTo>
                  <a:lnTo>
                    <a:pt x="464" y="362"/>
                  </a:lnTo>
                  <a:lnTo>
                    <a:pt x="454" y="362"/>
                  </a:lnTo>
                  <a:lnTo>
                    <a:pt x="454" y="368"/>
                  </a:lnTo>
                  <a:lnTo>
                    <a:pt x="432" y="368"/>
                  </a:lnTo>
                  <a:lnTo>
                    <a:pt x="432" y="374"/>
                  </a:lnTo>
                  <a:lnTo>
                    <a:pt x="426" y="374"/>
                  </a:lnTo>
                  <a:lnTo>
                    <a:pt x="422" y="378"/>
                  </a:lnTo>
                  <a:lnTo>
                    <a:pt x="410" y="378"/>
                  </a:lnTo>
                  <a:lnTo>
                    <a:pt x="410" y="384"/>
                  </a:lnTo>
                  <a:lnTo>
                    <a:pt x="394" y="384"/>
                  </a:lnTo>
                  <a:lnTo>
                    <a:pt x="398" y="390"/>
                  </a:lnTo>
                  <a:lnTo>
                    <a:pt x="398" y="396"/>
                  </a:lnTo>
                  <a:lnTo>
                    <a:pt x="394" y="396"/>
                  </a:lnTo>
                  <a:lnTo>
                    <a:pt x="394" y="406"/>
                  </a:lnTo>
                  <a:lnTo>
                    <a:pt x="372" y="406"/>
                  </a:lnTo>
                  <a:lnTo>
                    <a:pt x="368" y="402"/>
                  </a:lnTo>
                  <a:lnTo>
                    <a:pt x="368" y="396"/>
                  </a:lnTo>
                  <a:lnTo>
                    <a:pt x="356" y="396"/>
                  </a:lnTo>
                  <a:lnTo>
                    <a:pt x="356" y="390"/>
                  </a:lnTo>
                  <a:lnTo>
                    <a:pt x="362" y="390"/>
                  </a:lnTo>
                  <a:lnTo>
                    <a:pt x="362" y="384"/>
                  </a:lnTo>
                  <a:lnTo>
                    <a:pt x="384" y="384"/>
                  </a:lnTo>
                  <a:lnTo>
                    <a:pt x="384" y="374"/>
                  </a:lnTo>
                  <a:lnTo>
                    <a:pt x="378" y="368"/>
                  </a:lnTo>
                  <a:lnTo>
                    <a:pt x="372" y="368"/>
                  </a:lnTo>
                  <a:lnTo>
                    <a:pt x="372" y="362"/>
                  </a:lnTo>
                  <a:lnTo>
                    <a:pt x="340" y="362"/>
                  </a:lnTo>
                  <a:lnTo>
                    <a:pt x="340" y="368"/>
                  </a:lnTo>
                  <a:lnTo>
                    <a:pt x="344" y="368"/>
                  </a:lnTo>
                  <a:lnTo>
                    <a:pt x="344" y="384"/>
                  </a:lnTo>
                  <a:lnTo>
                    <a:pt x="340" y="390"/>
                  </a:lnTo>
                  <a:lnTo>
                    <a:pt x="340" y="396"/>
                  </a:lnTo>
                  <a:lnTo>
                    <a:pt x="344" y="396"/>
                  </a:lnTo>
                  <a:lnTo>
                    <a:pt x="344" y="402"/>
                  </a:lnTo>
                  <a:lnTo>
                    <a:pt x="350" y="402"/>
                  </a:lnTo>
                  <a:lnTo>
                    <a:pt x="350" y="406"/>
                  </a:lnTo>
                  <a:lnTo>
                    <a:pt x="344" y="410"/>
                  </a:lnTo>
                  <a:lnTo>
                    <a:pt x="344" y="422"/>
                  </a:lnTo>
                  <a:lnTo>
                    <a:pt x="340" y="416"/>
                  </a:lnTo>
                  <a:lnTo>
                    <a:pt x="336" y="422"/>
                  </a:lnTo>
                  <a:lnTo>
                    <a:pt x="336" y="416"/>
                  </a:lnTo>
                  <a:lnTo>
                    <a:pt x="324" y="416"/>
                  </a:lnTo>
                  <a:lnTo>
                    <a:pt x="324" y="410"/>
                  </a:lnTo>
                  <a:lnTo>
                    <a:pt x="318" y="410"/>
                  </a:lnTo>
                  <a:lnTo>
                    <a:pt x="318" y="416"/>
                  </a:lnTo>
                  <a:lnTo>
                    <a:pt x="312" y="416"/>
                  </a:lnTo>
                  <a:lnTo>
                    <a:pt x="308" y="422"/>
                  </a:lnTo>
                  <a:lnTo>
                    <a:pt x="302" y="422"/>
                  </a:lnTo>
                  <a:lnTo>
                    <a:pt x="302" y="428"/>
                  </a:lnTo>
                  <a:lnTo>
                    <a:pt x="296" y="428"/>
                  </a:lnTo>
                  <a:lnTo>
                    <a:pt x="296" y="434"/>
                  </a:lnTo>
                  <a:lnTo>
                    <a:pt x="284" y="434"/>
                  </a:lnTo>
                  <a:lnTo>
                    <a:pt x="284" y="450"/>
                  </a:lnTo>
                  <a:lnTo>
                    <a:pt x="290" y="450"/>
                  </a:lnTo>
                  <a:lnTo>
                    <a:pt x="290" y="456"/>
                  </a:lnTo>
                  <a:lnTo>
                    <a:pt x="296" y="456"/>
                  </a:lnTo>
                  <a:lnTo>
                    <a:pt x="296" y="460"/>
                  </a:lnTo>
                  <a:lnTo>
                    <a:pt x="276" y="460"/>
                  </a:lnTo>
                  <a:lnTo>
                    <a:pt x="276" y="456"/>
                  </a:lnTo>
                  <a:lnTo>
                    <a:pt x="258" y="456"/>
                  </a:lnTo>
                  <a:lnTo>
                    <a:pt x="254" y="450"/>
                  </a:lnTo>
                  <a:lnTo>
                    <a:pt x="254" y="444"/>
                  </a:lnTo>
                  <a:lnTo>
                    <a:pt x="242" y="444"/>
                  </a:lnTo>
                  <a:lnTo>
                    <a:pt x="242" y="450"/>
                  </a:lnTo>
                  <a:lnTo>
                    <a:pt x="236" y="456"/>
                  </a:lnTo>
                  <a:lnTo>
                    <a:pt x="242" y="460"/>
                  </a:lnTo>
                  <a:lnTo>
                    <a:pt x="248" y="464"/>
                  </a:lnTo>
                  <a:lnTo>
                    <a:pt x="258" y="464"/>
                  </a:lnTo>
                  <a:lnTo>
                    <a:pt x="258" y="476"/>
                  </a:lnTo>
                  <a:lnTo>
                    <a:pt x="236" y="476"/>
                  </a:lnTo>
                  <a:lnTo>
                    <a:pt x="236" y="470"/>
                  </a:lnTo>
                  <a:lnTo>
                    <a:pt x="230" y="464"/>
                  </a:lnTo>
                  <a:lnTo>
                    <a:pt x="216" y="464"/>
                  </a:lnTo>
                  <a:lnTo>
                    <a:pt x="216" y="444"/>
                  </a:lnTo>
                  <a:lnTo>
                    <a:pt x="204" y="444"/>
                  </a:lnTo>
                  <a:lnTo>
                    <a:pt x="210" y="438"/>
                  </a:lnTo>
                  <a:lnTo>
                    <a:pt x="216" y="438"/>
                  </a:lnTo>
                  <a:lnTo>
                    <a:pt x="216" y="428"/>
                  </a:lnTo>
                  <a:lnTo>
                    <a:pt x="210" y="422"/>
                  </a:lnTo>
                  <a:lnTo>
                    <a:pt x="204" y="422"/>
                  </a:lnTo>
                  <a:lnTo>
                    <a:pt x="204" y="416"/>
                  </a:lnTo>
                  <a:lnTo>
                    <a:pt x="200" y="416"/>
                  </a:lnTo>
                  <a:lnTo>
                    <a:pt x="200" y="410"/>
                  </a:lnTo>
                  <a:lnTo>
                    <a:pt x="194" y="410"/>
                  </a:lnTo>
                  <a:lnTo>
                    <a:pt x="194" y="416"/>
                  </a:lnTo>
                  <a:lnTo>
                    <a:pt x="188" y="410"/>
                  </a:lnTo>
                  <a:lnTo>
                    <a:pt x="188" y="406"/>
                  </a:lnTo>
                  <a:lnTo>
                    <a:pt x="176" y="406"/>
                  </a:lnTo>
                  <a:lnTo>
                    <a:pt x="176" y="396"/>
                  </a:lnTo>
                  <a:lnTo>
                    <a:pt x="182" y="396"/>
                  </a:lnTo>
                  <a:lnTo>
                    <a:pt x="182" y="402"/>
                  </a:lnTo>
                  <a:lnTo>
                    <a:pt x="188" y="402"/>
                  </a:lnTo>
                  <a:lnTo>
                    <a:pt x="188" y="406"/>
                  </a:lnTo>
                  <a:lnTo>
                    <a:pt x="204" y="406"/>
                  </a:lnTo>
                  <a:lnTo>
                    <a:pt x="204" y="410"/>
                  </a:lnTo>
                  <a:lnTo>
                    <a:pt x="216" y="410"/>
                  </a:lnTo>
                  <a:lnTo>
                    <a:pt x="222" y="416"/>
                  </a:lnTo>
                  <a:lnTo>
                    <a:pt x="254" y="416"/>
                  </a:lnTo>
                  <a:lnTo>
                    <a:pt x="254" y="422"/>
                  </a:lnTo>
                  <a:lnTo>
                    <a:pt x="276" y="422"/>
                  </a:lnTo>
                  <a:lnTo>
                    <a:pt x="282" y="416"/>
                  </a:lnTo>
                  <a:lnTo>
                    <a:pt x="296" y="416"/>
                  </a:lnTo>
                  <a:lnTo>
                    <a:pt x="302" y="410"/>
                  </a:lnTo>
                  <a:lnTo>
                    <a:pt x="302" y="406"/>
                  </a:lnTo>
                  <a:lnTo>
                    <a:pt x="308" y="406"/>
                  </a:lnTo>
                  <a:lnTo>
                    <a:pt x="308" y="396"/>
                  </a:lnTo>
                  <a:lnTo>
                    <a:pt x="302" y="396"/>
                  </a:lnTo>
                  <a:lnTo>
                    <a:pt x="302" y="384"/>
                  </a:lnTo>
                  <a:lnTo>
                    <a:pt x="290" y="384"/>
                  </a:lnTo>
                  <a:lnTo>
                    <a:pt x="290" y="378"/>
                  </a:lnTo>
                  <a:lnTo>
                    <a:pt x="284" y="378"/>
                  </a:lnTo>
                  <a:lnTo>
                    <a:pt x="284" y="374"/>
                  </a:lnTo>
                  <a:lnTo>
                    <a:pt x="282" y="374"/>
                  </a:lnTo>
                  <a:lnTo>
                    <a:pt x="276" y="368"/>
                  </a:lnTo>
                  <a:lnTo>
                    <a:pt x="264" y="368"/>
                  </a:lnTo>
                  <a:lnTo>
                    <a:pt x="258" y="362"/>
                  </a:lnTo>
                  <a:lnTo>
                    <a:pt x="258" y="356"/>
                  </a:lnTo>
                  <a:lnTo>
                    <a:pt x="248" y="356"/>
                  </a:lnTo>
                  <a:lnTo>
                    <a:pt x="242" y="350"/>
                  </a:lnTo>
                  <a:lnTo>
                    <a:pt x="236" y="350"/>
                  </a:lnTo>
                  <a:lnTo>
                    <a:pt x="236" y="348"/>
                  </a:lnTo>
                  <a:lnTo>
                    <a:pt x="204" y="348"/>
                  </a:lnTo>
                  <a:lnTo>
                    <a:pt x="204" y="342"/>
                  </a:lnTo>
                  <a:lnTo>
                    <a:pt x="200" y="342"/>
                  </a:lnTo>
                  <a:lnTo>
                    <a:pt x="200" y="348"/>
                  </a:lnTo>
                  <a:lnTo>
                    <a:pt x="194" y="348"/>
                  </a:lnTo>
                  <a:lnTo>
                    <a:pt x="194" y="342"/>
                  </a:lnTo>
                  <a:lnTo>
                    <a:pt x="188" y="342"/>
                  </a:lnTo>
                  <a:lnTo>
                    <a:pt x="188" y="348"/>
                  </a:lnTo>
                  <a:lnTo>
                    <a:pt x="182" y="348"/>
                  </a:lnTo>
                  <a:lnTo>
                    <a:pt x="188" y="342"/>
                  </a:lnTo>
                  <a:lnTo>
                    <a:pt x="188" y="330"/>
                  </a:lnTo>
                  <a:lnTo>
                    <a:pt x="176" y="330"/>
                  </a:lnTo>
                  <a:lnTo>
                    <a:pt x="176" y="336"/>
                  </a:lnTo>
                  <a:lnTo>
                    <a:pt x="172" y="330"/>
                  </a:lnTo>
                  <a:lnTo>
                    <a:pt x="168" y="330"/>
                  </a:lnTo>
                  <a:lnTo>
                    <a:pt x="168" y="336"/>
                  </a:lnTo>
                  <a:lnTo>
                    <a:pt x="156" y="330"/>
                  </a:lnTo>
                  <a:lnTo>
                    <a:pt x="156" y="336"/>
                  </a:lnTo>
                  <a:lnTo>
                    <a:pt x="144" y="336"/>
                  </a:lnTo>
                  <a:lnTo>
                    <a:pt x="144" y="342"/>
                  </a:lnTo>
                  <a:lnTo>
                    <a:pt x="140" y="342"/>
                  </a:lnTo>
                  <a:lnTo>
                    <a:pt x="134" y="348"/>
                  </a:lnTo>
                  <a:lnTo>
                    <a:pt x="128" y="348"/>
                  </a:lnTo>
                  <a:lnTo>
                    <a:pt x="128" y="350"/>
                  </a:lnTo>
                  <a:lnTo>
                    <a:pt x="122" y="350"/>
                  </a:lnTo>
                  <a:lnTo>
                    <a:pt x="122" y="356"/>
                  </a:lnTo>
                  <a:lnTo>
                    <a:pt x="128" y="356"/>
                  </a:lnTo>
                  <a:lnTo>
                    <a:pt x="122" y="362"/>
                  </a:lnTo>
                  <a:lnTo>
                    <a:pt x="122" y="368"/>
                  </a:lnTo>
                  <a:lnTo>
                    <a:pt x="128" y="368"/>
                  </a:lnTo>
                  <a:lnTo>
                    <a:pt x="134" y="374"/>
                  </a:lnTo>
                  <a:lnTo>
                    <a:pt x="140" y="374"/>
                  </a:lnTo>
                  <a:lnTo>
                    <a:pt x="140" y="378"/>
                  </a:lnTo>
                  <a:lnTo>
                    <a:pt x="144" y="384"/>
                  </a:lnTo>
                  <a:lnTo>
                    <a:pt x="144" y="390"/>
                  </a:lnTo>
                  <a:lnTo>
                    <a:pt x="140" y="396"/>
                  </a:lnTo>
                  <a:lnTo>
                    <a:pt x="134" y="402"/>
                  </a:lnTo>
                  <a:lnTo>
                    <a:pt x="128" y="402"/>
                  </a:lnTo>
                  <a:lnTo>
                    <a:pt x="128" y="406"/>
                  </a:lnTo>
                  <a:lnTo>
                    <a:pt x="134" y="406"/>
                  </a:lnTo>
                  <a:lnTo>
                    <a:pt x="140" y="410"/>
                  </a:lnTo>
                  <a:lnTo>
                    <a:pt x="140" y="416"/>
                  </a:lnTo>
                  <a:lnTo>
                    <a:pt x="144" y="416"/>
                  </a:lnTo>
                  <a:lnTo>
                    <a:pt x="144" y="450"/>
                  </a:lnTo>
                  <a:lnTo>
                    <a:pt x="140" y="450"/>
                  </a:lnTo>
                  <a:lnTo>
                    <a:pt x="140" y="456"/>
                  </a:lnTo>
                  <a:lnTo>
                    <a:pt x="150" y="456"/>
                  </a:lnTo>
                  <a:lnTo>
                    <a:pt x="144" y="460"/>
                  </a:lnTo>
                  <a:lnTo>
                    <a:pt x="144" y="464"/>
                  </a:lnTo>
                  <a:lnTo>
                    <a:pt x="156" y="464"/>
                  </a:lnTo>
                  <a:lnTo>
                    <a:pt x="156" y="476"/>
                  </a:lnTo>
                  <a:lnTo>
                    <a:pt x="144" y="476"/>
                  </a:lnTo>
                  <a:lnTo>
                    <a:pt x="156" y="488"/>
                  </a:lnTo>
                  <a:lnTo>
                    <a:pt x="156" y="492"/>
                  </a:lnTo>
                  <a:lnTo>
                    <a:pt x="168" y="492"/>
                  </a:lnTo>
                  <a:lnTo>
                    <a:pt x="168" y="510"/>
                  </a:lnTo>
                  <a:lnTo>
                    <a:pt x="162" y="514"/>
                  </a:lnTo>
                  <a:lnTo>
                    <a:pt x="156" y="514"/>
                  </a:lnTo>
                  <a:lnTo>
                    <a:pt x="150" y="520"/>
                  </a:lnTo>
                  <a:lnTo>
                    <a:pt x="150" y="524"/>
                  </a:lnTo>
                  <a:lnTo>
                    <a:pt x="144" y="524"/>
                  </a:lnTo>
                  <a:lnTo>
                    <a:pt x="144" y="530"/>
                  </a:lnTo>
                  <a:lnTo>
                    <a:pt x="140" y="536"/>
                  </a:lnTo>
                  <a:lnTo>
                    <a:pt x="128" y="536"/>
                  </a:lnTo>
                  <a:lnTo>
                    <a:pt x="128" y="558"/>
                  </a:lnTo>
                  <a:lnTo>
                    <a:pt x="144" y="558"/>
                  </a:lnTo>
                  <a:lnTo>
                    <a:pt x="144" y="564"/>
                  </a:lnTo>
                  <a:lnTo>
                    <a:pt x="150" y="568"/>
                  </a:lnTo>
                  <a:lnTo>
                    <a:pt x="140" y="568"/>
                  </a:lnTo>
                  <a:lnTo>
                    <a:pt x="134" y="564"/>
                  </a:lnTo>
                  <a:lnTo>
                    <a:pt x="128" y="568"/>
                  </a:lnTo>
                  <a:lnTo>
                    <a:pt x="128" y="574"/>
                  </a:lnTo>
                  <a:lnTo>
                    <a:pt x="122" y="568"/>
                  </a:lnTo>
                  <a:lnTo>
                    <a:pt x="122" y="574"/>
                  </a:lnTo>
                  <a:lnTo>
                    <a:pt x="118" y="574"/>
                  </a:lnTo>
                  <a:lnTo>
                    <a:pt x="118" y="584"/>
                  </a:lnTo>
                  <a:lnTo>
                    <a:pt x="114" y="584"/>
                  </a:lnTo>
                  <a:lnTo>
                    <a:pt x="114" y="590"/>
                  </a:lnTo>
                  <a:lnTo>
                    <a:pt x="108" y="590"/>
                  </a:lnTo>
                  <a:lnTo>
                    <a:pt x="108" y="606"/>
                  </a:lnTo>
                  <a:lnTo>
                    <a:pt x="114" y="606"/>
                  </a:lnTo>
                  <a:lnTo>
                    <a:pt x="114" y="618"/>
                  </a:lnTo>
                  <a:lnTo>
                    <a:pt x="108" y="618"/>
                  </a:lnTo>
                  <a:lnTo>
                    <a:pt x="108" y="622"/>
                  </a:lnTo>
                  <a:lnTo>
                    <a:pt x="114" y="622"/>
                  </a:lnTo>
                  <a:lnTo>
                    <a:pt x="118" y="628"/>
                  </a:lnTo>
                  <a:lnTo>
                    <a:pt x="114" y="632"/>
                  </a:lnTo>
                  <a:lnTo>
                    <a:pt x="118" y="632"/>
                  </a:lnTo>
                  <a:lnTo>
                    <a:pt x="118" y="656"/>
                  </a:lnTo>
                  <a:lnTo>
                    <a:pt x="140" y="656"/>
                  </a:lnTo>
                  <a:lnTo>
                    <a:pt x="134" y="660"/>
                  </a:lnTo>
                  <a:lnTo>
                    <a:pt x="144" y="660"/>
                  </a:lnTo>
                  <a:lnTo>
                    <a:pt x="144" y="656"/>
                  </a:lnTo>
                  <a:lnTo>
                    <a:pt x="150" y="656"/>
                  </a:lnTo>
                  <a:lnTo>
                    <a:pt x="156" y="660"/>
                  </a:lnTo>
                  <a:lnTo>
                    <a:pt x="156" y="672"/>
                  </a:lnTo>
                  <a:lnTo>
                    <a:pt x="162" y="672"/>
                  </a:lnTo>
                  <a:lnTo>
                    <a:pt x="162" y="676"/>
                  </a:lnTo>
                  <a:lnTo>
                    <a:pt x="156" y="676"/>
                  </a:lnTo>
                  <a:lnTo>
                    <a:pt x="156" y="682"/>
                  </a:lnTo>
                  <a:lnTo>
                    <a:pt x="162" y="682"/>
                  </a:lnTo>
                  <a:lnTo>
                    <a:pt x="162" y="688"/>
                  </a:lnTo>
                  <a:lnTo>
                    <a:pt x="168" y="688"/>
                  </a:lnTo>
                  <a:lnTo>
                    <a:pt x="168" y="692"/>
                  </a:lnTo>
                  <a:lnTo>
                    <a:pt x="172" y="692"/>
                  </a:lnTo>
                  <a:lnTo>
                    <a:pt x="172" y="704"/>
                  </a:lnTo>
                  <a:lnTo>
                    <a:pt x="176" y="704"/>
                  </a:lnTo>
                  <a:lnTo>
                    <a:pt x="176" y="710"/>
                  </a:lnTo>
                  <a:lnTo>
                    <a:pt x="182" y="710"/>
                  </a:lnTo>
                  <a:lnTo>
                    <a:pt x="182" y="716"/>
                  </a:lnTo>
                  <a:lnTo>
                    <a:pt x="168" y="716"/>
                  </a:lnTo>
                  <a:lnTo>
                    <a:pt x="168" y="736"/>
                  </a:lnTo>
                  <a:lnTo>
                    <a:pt x="172" y="736"/>
                  </a:lnTo>
                  <a:lnTo>
                    <a:pt x="172" y="742"/>
                  </a:lnTo>
                  <a:lnTo>
                    <a:pt x="176" y="742"/>
                  </a:lnTo>
                  <a:lnTo>
                    <a:pt x="176" y="736"/>
                  </a:lnTo>
                  <a:lnTo>
                    <a:pt x="188" y="736"/>
                  </a:lnTo>
                  <a:lnTo>
                    <a:pt x="188" y="730"/>
                  </a:lnTo>
                  <a:lnTo>
                    <a:pt x="194" y="730"/>
                  </a:lnTo>
                  <a:lnTo>
                    <a:pt x="194" y="736"/>
                  </a:lnTo>
                  <a:lnTo>
                    <a:pt x="200" y="736"/>
                  </a:lnTo>
                  <a:lnTo>
                    <a:pt x="200" y="730"/>
                  </a:lnTo>
                  <a:lnTo>
                    <a:pt x="204" y="736"/>
                  </a:lnTo>
                  <a:lnTo>
                    <a:pt x="204" y="742"/>
                  </a:lnTo>
                  <a:lnTo>
                    <a:pt x="210" y="746"/>
                  </a:lnTo>
                  <a:lnTo>
                    <a:pt x="204" y="746"/>
                  </a:lnTo>
                  <a:lnTo>
                    <a:pt x="204" y="758"/>
                  </a:lnTo>
                  <a:lnTo>
                    <a:pt x="216" y="758"/>
                  </a:lnTo>
                  <a:lnTo>
                    <a:pt x="216" y="764"/>
                  </a:lnTo>
                  <a:lnTo>
                    <a:pt x="228" y="764"/>
                  </a:lnTo>
                  <a:lnTo>
                    <a:pt x="228" y="770"/>
                  </a:lnTo>
                  <a:lnTo>
                    <a:pt x="222" y="770"/>
                  </a:lnTo>
                  <a:lnTo>
                    <a:pt x="222" y="774"/>
                  </a:lnTo>
                  <a:lnTo>
                    <a:pt x="254" y="774"/>
                  </a:lnTo>
                  <a:lnTo>
                    <a:pt x="254" y="780"/>
                  </a:lnTo>
                  <a:lnTo>
                    <a:pt x="258" y="780"/>
                  </a:lnTo>
                  <a:lnTo>
                    <a:pt x="258" y="784"/>
                  </a:lnTo>
                  <a:lnTo>
                    <a:pt x="276" y="784"/>
                  </a:lnTo>
                  <a:lnTo>
                    <a:pt x="276" y="790"/>
                  </a:lnTo>
                  <a:lnTo>
                    <a:pt x="284" y="790"/>
                  </a:lnTo>
                  <a:lnTo>
                    <a:pt x="284" y="830"/>
                  </a:lnTo>
                  <a:lnTo>
                    <a:pt x="270" y="830"/>
                  </a:lnTo>
                  <a:lnTo>
                    <a:pt x="270" y="834"/>
                  </a:lnTo>
                  <a:lnTo>
                    <a:pt x="264" y="834"/>
                  </a:lnTo>
                  <a:lnTo>
                    <a:pt x="264" y="844"/>
                  </a:lnTo>
                  <a:lnTo>
                    <a:pt x="270" y="844"/>
                  </a:lnTo>
                  <a:lnTo>
                    <a:pt x="270" y="838"/>
                  </a:lnTo>
                  <a:lnTo>
                    <a:pt x="276" y="838"/>
                  </a:lnTo>
                  <a:lnTo>
                    <a:pt x="276" y="850"/>
                  </a:lnTo>
                  <a:lnTo>
                    <a:pt x="254" y="850"/>
                  </a:lnTo>
                  <a:lnTo>
                    <a:pt x="258" y="856"/>
                  </a:lnTo>
                  <a:lnTo>
                    <a:pt x="258" y="866"/>
                  </a:lnTo>
                  <a:lnTo>
                    <a:pt x="264" y="860"/>
                  </a:lnTo>
                  <a:lnTo>
                    <a:pt x="264" y="866"/>
                  </a:lnTo>
                  <a:lnTo>
                    <a:pt x="258" y="866"/>
                  </a:lnTo>
                  <a:lnTo>
                    <a:pt x="258" y="872"/>
                  </a:lnTo>
                  <a:lnTo>
                    <a:pt x="254" y="872"/>
                  </a:lnTo>
                  <a:lnTo>
                    <a:pt x="254" y="878"/>
                  </a:lnTo>
                  <a:lnTo>
                    <a:pt x="248" y="878"/>
                  </a:lnTo>
                  <a:lnTo>
                    <a:pt x="254" y="884"/>
                  </a:lnTo>
                  <a:lnTo>
                    <a:pt x="248" y="884"/>
                  </a:lnTo>
                  <a:lnTo>
                    <a:pt x="254" y="888"/>
                  </a:lnTo>
                  <a:lnTo>
                    <a:pt x="254" y="892"/>
                  </a:lnTo>
                  <a:lnTo>
                    <a:pt x="258" y="892"/>
                  </a:lnTo>
                  <a:lnTo>
                    <a:pt x="264" y="898"/>
                  </a:lnTo>
                  <a:lnTo>
                    <a:pt x="270" y="898"/>
                  </a:lnTo>
                  <a:lnTo>
                    <a:pt x="276" y="904"/>
                  </a:lnTo>
                  <a:lnTo>
                    <a:pt x="276" y="910"/>
                  </a:lnTo>
                  <a:lnTo>
                    <a:pt x="282" y="910"/>
                  </a:lnTo>
                  <a:lnTo>
                    <a:pt x="284" y="914"/>
                  </a:lnTo>
                  <a:lnTo>
                    <a:pt x="302" y="914"/>
                  </a:lnTo>
                  <a:lnTo>
                    <a:pt x="302" y="920"/>
                  </a:lnTo>
                  <a:lnTo>
                    <a:pt x="330" y="920"/>
                  </a:lnTo>
                  <a:lnTo>
                    <a:pt x="336" y="926"/>
                  </a:lnTo>
                  <a:lnTo>
                    <a:pt x="336" y="932"/>
                  </a:lnTo>
                  <a:lnTo>
                    <a:pt x="372" y="932"/>
                  </a:lnTo>
                  <a:lnTo>
                    <a:pt x="372" y="938"/>
                  </a:lnTo>
                  <a:lnTo>
                    <a:pt x="368" y="938"/>
                  </a:lnTo>
                  <a:lnTo>
                    <a:pt x="368" y="942"/>
                  </a:lnTo>
                  <a:lnTo>
                    <a:pt x="378" y="942"/>
                  </a:lnTo>
                  <a:lnTo>
                    <a:pt x="378" y="946"/>
                  </a:lnTo>
                  <a:lnTo>
                    <a:pt x="384" y="946"/>
                  </a:lnTo>
                  <a:lnTo>
                    <a:pt x="384" y="952"/>
                  </a:lnTo>
                  <a:lnTo>
                    <a:pt x="390" y="952"/>
                  </a:lnTo>
                  <a:lnTo>
                    <a:pt x="390" y="958"/>
                  </a:lnTo>
                  <a:lnTo>
                    <a:pt x="398" y="958"/>
                  </a:lnTo>
                  <a:lnTo>
                    <a:pt x="398" y="952"/>
                  </a:lnTo>
                  <a:lnTo>
                    <a:pt x="410" y="952"/>
                  </a:lnTo>
                  <a:lnTo>
                    <a:pt x="410" y="942"/>
                  </a:lnTo>
                  <a:lnTo>
                    <a:pt x="416" y="942"/>
                  </a:lnTo>
                  <a:lnTo>
                    <a:pt x="422" y="938"/>
                  </a:lnTo>
                  <a:lnTo>
                    <a:pt x="426" y="932"/>
                  </a:lnTo>
                  <a:lnTo>
                    <a:pt x="422" y="926"/>
                  </a:lnTo>
                  <a:lnTo>
                    <a:pt x="422" y="914"/>
                  </a:lnTo>
                  <a:lnTo>
                    <a:pt x="416" y="910"/>
                  </a:lnTo>
                  <a:lnTo>
                    <a:pt x="416" y="898"/>
                  </a:lnTo>
                  <a:lnTo>
                    <a:pt x="410" y="892"/>
                  </a:lnTo>
                  <a:lnTo>
                    <a:pt x="410" y="884"/>
                  </a:lnTo>
                  <a:lnTo>
                    <a:pt x="416" y="884"/>
                  </a:lnTo>
                  <a:lnTo>
                    <a:pt x="422" y="878"/>
                  </a:lnTo>
                  <a:lnTo>
                    <a:pt x="422" y="872"/>
                  </a:lnTo>
                  <a:lnTo>
                    <a:pt x="432" y="872"/>
                  </a:lnTo>
                  <a:lnTo>
                    <a:pt x="432" y="866"/>
                  </a:lnTo>
                  <a:lnTo>
                    <a:pt x="426" y="866"/>
                  </a:lnTo>
                  <a:lnTo>
                    <a:pt x="416" y="856"/>
                  </a:lnTo>
                  <a:lnTo>
                    <a:pt x="410" y="856"/>
                  </a:lnTo>
                  <a:lnTo>
                    <a:pt x="410" y="850"/>
                  </a:lnTo>
                  <a:lnTo>
                    <a:pt x="416" y="850"/>
                  </a:lnTo>
                  <a:lnTo>
                    <a:pt x="410" y="844"/>
                  </a:lnTo>
                  <a:lnTo>
                    <a:pt x="410" y="838"/>
                  </a:lnTo>
                  <a:lnTo>
                    <a:pt x="404" y="834"/>
                  </a:lnTo>
                  <a:lnTo>
                    <a:pt x="404" y="830"/>
                  </a:lnTo>
                  <a:lnTo>
                    <a:pt x="390" y="830"/>
                  </a:lnTo>
                  <a:lnTo>
                    <a:pt x="390" y="818"/>
                  </a:lnTo>
                  <a:lnTo>
                    <a:pt x="384" y="818"/>
                  </a:lnTo>
                  <a:lnTo>
                    <a:pt x="378" y="812"/>
                  </a:lnTo>
                  <a:lnTo>
                    <a:pt x="384" y="812"/>
                  </a:lnTo>
                  <a:lnTo>
                    <a:pt x="384" y="784"/>
                  </a:lnTo>
                  <a:lnTo>
                    <a:pt x="394" y="784"/>
                  </a:lnTo>
                  <a:lnTo>
                    <a:pt x="394" y="780"/>
                  </a:lnTo>
                  <a:lnTo>
                    <a:pt x="390" y="780"/>
                  </a:lnTo>
                  <a:lnTo>
                    <a:pt x="394" y="774"/>
                  </a:lnTo>
                  <a:lnTo>
                    <a:pt x="398" y="774"/>
                  </a:lnTo>
                  <a:lnTo>
                    <a:pt x="398" y="780"/>
                  </a:lnTo>
                  <a:lnTo>
                    <a:pt x="404" y="780"/>
                  </a:lnTo>
                  <a:lnTo>
                    <a:pt x="404" y="784"/>
                  </a:lnTo>
                  <a:lnTo>
                    <a:pt x="410" y="790"/>
                  </a:lnTo>
                  <a:lnTo>
                    <a:pt x="410" y="784"/>
                  </a:lnTo>
                  <a:lnTo>
                    <a:pt x="416" y="784"/>
                  </a:lnTo>
                  <a:lnTo>
                    <a:pt x="416" y="780"/>
                  </a:lnTo>
                  <a:lnTo>
                    <a:pt x="410" y="780"/>
                  </a:lnTo>
                  <a:lnTo>
                    <a:pt x="410" y="770"/>
                  </a:lnTo>
                  <a:lnTo>
                    <a:pt x="416" y="770"/>
                  </a:lnTo>
                  <a:lnTo>
                    <a:pt x="416" y="764"/>
                  </a:lnTo>
                  <a:lnTo>
                    <a:pt x="422" y="764"/>
                  </a:lnTo>
                  <a:lnTo>
                    <a:pt x="426" y="758"/>
                  </a:lnTo>
                  <a:lnTo>
                    <a:pt x="432" y="758"/>
                  </a:lnTo>
                  <a:lnTo>
                    <a:pt x="432" y="752"/>
                  </a:lnTo>
                  <a:lnTo>
                    <a:pt x="442" y="752"/>
                  </a:lnTo>
                  <a:lnTo>
                    <a:pt x="442" y="746"/>
                  </a:lnTo>
                  <a:lnTo>
                    <a:pt x="448" y="746"/>
                  </a:lnTo>
                  <a:lnTo>
                    <a:pt x="448" y="752"/>
                  </a:lnTo>
                  <a:lnTo>
                    <a:pt x="454" y="752"/>
                  </a:lnTo>
                  <a:lnTo>
                    <a:pt x="454" y="746"/>
                  </a:lnTo>
                  <a:lnTo>
                    <a:pt x="464" y="746"/>
                  </a:lnTo>
                  <a:lnTo>
                    <a:pt x="464" y="752"/>
                  </a:lnTo>
                  <a:lnTo>
                    <a:pt x="476" y="752"/>
                  </a:lnTo>
                  <a:lnTo>
                    <a:pt x="482" y="758"/>
                  </a:lnTo>
                  <a:lnTo>
                    <a:pt x="486" y="758"/>
                  </a:lnTo>
                  <a:lnTo>
                    <a:pt x="486" y="764"/>
                  </a:lnTo>
                  <a:lnTo>
                    <a:pt x="502" y="764"/>
                  </a:lnTo>
                  <a:lnTo>
                    <a:pt x="502" y="770"/>
                  </a:lnTo>
                  <a:lnTo>
                    <a:pt x="508" y="770"/>
                  </a:lnTo>
                  <a:lnTo>
                    <a:pt x="508" y="774"/>
                  </a:lnTo>
                  <a:lnTo>
                    <a:pt x="512" y="770"/>
                  </a:lnTo>
                  <a:lnTo>
                    <a:pt x="512" y="764"/>
                  </a:lnTo>
                  <a:lnTo>
                    <a:pt x="536" y="764"/>
                  </a:lnTo>
                  <a:lnTo>
                    <a:pt x="536" y="758"/>
                  </a:lnTo>
                  <a:lnTo>
                    <a:pt x="540" y="764"/>
                  </a:lnTo>
                  <a:lnTo>
                    <a:pt x="546" y="764"/>
                  </a:lnTo>
                  <a:lnTo>
                    <a:pt x="546" y="758"/>
                  </a:lnTo>
                  <a:lnTo>
                    <a:pt x="550" y="758"/>
                  </a:lnTo>
                  <a:lnTo>
                    <a:pt x="550" y="764"/>
                  </a:lnTo>
                  <a:lnTo>
                    <a:pt x="556" y="770"/>
                  </a:lnTo>
                  <a:lnTo>
                    <a:pt x="562" y="770"/>
                  </a:lnTo>
                  <a:lnTo>
                    <a:pt x="562" y="774"/>
                  </a:lnTo>
                  <a:lnTo>
                    <a:pt x="568" y="774"/>
                  </a:lnTo>
                  <a:lnTo>
                    <a:pt x="568" y="764"/>
                  </a:lnTo>
                  <a:lnTo>
                    <a:pt x="572" y="764"/>
                  </a:lnTo>
                  <a:lnTo>
                    <a:pt x="572" y="770"/>
                  </a:lnTo>
                  <a:lnTo>
                    <a:pt x="584" y="770"/>
                  </a:lnTo>
                  <a:lnTo>
                    <a:pt x="590" y="764"/>
                  </a:lnTo>
                  <a:lnTo>
                    <a:pt x="596" y="758"/>
                  </a:lnTo>
                  <a:lnTo>
                    <a:pt x="596" y="752"/>
                  </a:lnTo>
                  <a:lnTo>
                    <a:pt x="578" y="752"/>
                  </a:lnTo>
                  <a:lnTo>
                    <a:pt x="572" y="746"/>
                  </a:lnTo>
                  <a:lnTo>
                    <a:pt x="572" y="742"/>
                  </a:lnTo>
                  <a:lnTo>
                    <a:pt x="578" y="742"/>
                  </a:lnTo>
                  <a:lnTo>
                    <a:pt x="584" y="736"/>
                  </a:lnTo>
                  <a:lnTo>
                    <a:pt x="584" y="720"/>
                  </a:lnTo>
                  <a:lnTo>
                    <a:pt x="600" y="720"/>
                  </a:lnTo>
                  <a:lnTo>
                    <a:pt x="600" y="716"/>
                  </a:lnTo>
                  <a:lnTo>
                    <a:pt x="584" y="716"/>
                  </a:lnTo>
                  <a:lnTo>
                    <a:pt x="584" y="698"/>
                  </a:lnTo>
                  <a:lnTo>
                    <a:pt x="610" y="698"/>
                  </a:lnTo>
                  <a:lnTo>
                    <a:pt x="610" y="692"/>
                  </a:lnTo>
                  <a:lnTo>
                    <a:pt x="644" y="692"/>
                  </a:lnTo>
                  <a:lnTo>
                    <a:pt x="644" y="682"/>
                  </a:lnTo>
                  <a:lnTo>
                    <a:pt x="650" y="682"/>
                  </a:lnTo>
                  <a:lnTo>
                    <a:pt x="650" y="688"/>
                  </a:lnTo>
                  <a:lnTo>
                    <a:pt x="654" y="688"/>
                  </a:lnTo>
                  <a:lnTo>
                    <a:pt x="654" y="682"/>
                  </a:lnTo>
                  <a:lnTo>
                    <a:pt x="680" y="682"/>
                  </a:lnTo>
                  <a:lnTo>
                    <a:pt x="686" y="676"/>
                  </a:lnTo>
                  <a:lnTo>
                    <a:pt x="686" y="672"/>
                  </a:lnTo>
                  <a:lnTo>
                    <a:pt x="692" y="672"/>
                  </a:lnTo>
                  <a:lnTo>
                    <a:pt x="692" y="666"/>
                  </a:lnTo>
                  <a:lnTo>
                    <a:pt x="698" y="672"/>
                  </a:lnTo>
                  <a:lnTo>
                    <a:pt x="698" y="666"/>
                  </a:lnTo>
                  <a:lnTo>
                    <a:pt x="710" y="666"/>
                  </a:lnTo>
                  <a:lnTo>
                    <a:pt x="710" y="672"/>
                  </a:lnTo>
                  <a:lnTo>
                    <a:pt x="718" y="672"/>
                  </a:lnTo>
                  <a:lnTo>
                    <a:pt x="718" y="666"/>
                  </a:lnTo>
                  <a:lnTo>
                    <a:pt x="724" y="666"/>
                  </a:lnTo>
                  <a:lnTo>
                    <a:pt x="724" y="682"/>
                  </a:lnTo>
                  <a:lnTo>
                    <a:pt x="730" y="682"/>
                  </a:lnTo>
                  <a:lnTo>
                    <a:pt x="730" y="692"/>
                  </a:lnTo>
                  <a:lnTo>
                    <a:pt x="758" y="692"/>
                  </a:lnTo>
                  <a:lnTo>
                    <a:pt x="758" y="698"/>
                  </a:lnTo>
                  <a:lnTo>
                    <a:pt x="766" y="698"/>
                  </a:lnTo>
                  <a:lnTo>
                    <a:pt x="766" y="704"/>
                  </a:lnTo>
                  <a:lnTo>
                    <a:pt x="772" y="704"/>
                  </a:lnTo>
                  <a:lnTo>
                    <a:pt x="772" y="710"/>
                  </a:lnTo>
                  <a:lnTo>
                    <a:pt x="778" y="704"/>
                  </a:lnTo>
                  <a:lnTo>
                    <a:pt x="784" y="704"/>
                  </a:lnTo>
                  <a:lnTo>
                    <a:pt x="790" y="698"/>
                  </a:lnTo>
                  <a:lnTo>
                    <a:pt x="790" y="692"/>
                  </a:lnTo>
                  <a:lnTo>
                    <a:pt x="800" y="692"/>
                  </a:lnTo>
                  <a:lnTo>
                    <a:pt x="800" y="698"/>
                  </a:lnTo>
                  <a:lnTo>
                    <a:pt x="806" y="704"/>
                  </a:lnTo>
                  <a:lnTo>
                    <a:pt x="812" y="704"/>
                  </a:lnTo>
                  <a:lnTo>
                    <a:pt x="818" y="710"/>
                  </a:lnTo>
                  <a:lnTo>
                    <a:pt x="822" y="716"/>
                  </a:lnTo>
                  <a:lnTo>
                    <a:pt x="826" y="726"/>
                  </a:lnTo>
                  <a:lnTo>
                    <a:pt x="832" y="726"/>
                  </a:lnTo>
                  <a:lnTo>
                    <a:pt x="832" y="730"/>
                  </a:lnTo>
                  <a:lnTo>
                    <a:pt x="838" y="730"/>
                  </a:lnTo>
                  <a:lnTo>
                    <a:pt x="838" y="736"/>
                  </a:lnTo>
                  <a:lnTo>
                    <a:pt x="844" y="746"/>
                  </a:lnTo>
                  <a:lnTo>
                    <a:pt x="850" y="752"/>
                  </a:lnTo>
                  <a:lnTo>
                    <a:pt x="850" y="764"/>
                  </a:lnTo>
                  <a:lnTo>
                    <a:pt x="860" y="764"/>
                  </a:lnTo>
                  <a:lnTo>
                    <a:pt x="860" y="752"/>
                  </a:lnTo>
                  <a:lnTo>
                    <a:pt x="866" y="758"/>
                  </a:lnTo>
                  <a:lnTo>
                    <a:pt x="872" y="758"/>
                  </a:lnTo>
                  <a:lnTo>
                    <a:pt x="872" y="770"/>
                  </a:lnTo>
                  <a:lnTo>
                    <a:pt x="876" y="770"/>
                  </a:lnTo>
                  <a:lnTo>
                    <a:pt x="876" y="764"/>
                  </a:lnTo>
                  <a:lnTo>
                    <a:pt x="880" y="764"/>
                  </a:lnTo>
                  <a:lnTo>
                    <a:pt x="880" y="770"/>
                  </a:lnTo>
                  <a:lnTo>
                    <a:pt x="886" y="764"/>
                  </a:lnTo>
                  <a:lnTo>
                    <a:pt x="886" y="770"/>
                  </a:lnTo>
                  <a:lnTo>
                    <a:pt x="892" y="764"/>
                  </a:lnTo>
                  <a:lnTo>
                    <a:pt x="908" y="764"/>
                  </a:lnTo>
                  <a:lnTo>
                    <a:pt x="908" y="770"/>
                  </a:lnTo>
                  <a:lnTo>
                    <a:pt x="914" y="774"/>
                  </a:lnTo>
                  <a:lnTo>
                    <a:pt x="914" y="780"/>
                  </a:lnTo>
                  <a:lnTo>
                    <a:pt x="926" y="780"/>
                  </a:lnTo>
                  <a:lnTo>
                    <a:pt x="926" y="790"/>
                  </a:lnTo>
                  <a:lnTo>
                    <a:pt x="936" y="790"/>
                  </a:lnTo>
                  <a:lnTo>
                    <a:pt x="940" y="796"/>
                  </a:lnTo>
                  <a:lnTo>
                    <a:pt x="940" y="790"/>
                  </a:lnTo>
                  <a:lnTo>
                    <a:pt x="952" y="790"/>
                  </a:lnTo>
                  <a:lnTo>
                    <a:pt x="952" y="802"/>
                  </a:lnTo>
                  <a:lnTo>
                    <a:pt x="968" y="802"/>
                  </a:lnTo>
                  <a:lnTo>
                    <a:pt x="968" y="796"/>
                  </a:lnTo>
                  <a:lnTo>
                    <a:pt x="980" y="796"/>
                  </a:lnTo>
                  <a:lnTo>
                    <a:pt x="980" y="790"/>
                  </a:lnTo>
                  <a:lnTo>
                    <a:pt x="990" y="790"/>
                  </a:lnTo>
                  <a:lnTo>
                    <a:pt x="990" y="784"/>
                  </a:lnTo>
                  <a:lnTo>
                    <a:pt x="994" y="784"/>
                  </a:lnTo>
                  <a:lnTo>
                    <a:pt x="994" y="780"/>
                  </a:lnTo>
                  <a:lnTo>
                    <a:pt x="1000" y="780"/>
                  </a:lnTo>
                  <a:lnTo>
                    <a:pt x="1000" y="774"/>
                  </a:lnTo>
                  <a:lnTo>
                    <a:pt x="1018" y="774"/>
                  </a:lnTo>
                  <a:lnTo>
                    <a:pt x="1018" y="770"/>
                  </a:lnTo>
                  <a:lnTo>
                    <a:pt x="1028" y="770"/>
                  </a:lnTo>
                  <a:lnTo>
                    <a:pt x="1028" y="764"/>
                  </a:lnTo>
                  <a:lnTo>
                    <a:pt x="1034" y="770"/>
                  </a:lnTo>
                  <a:lnTo>
                    <a:pt x="1034" y="764"/>
                  </a:lnTo>
                  <a:lnTo>
                    <a:pt x="1038" y="764"/>
                  </a:lnTo>
                  <a:lnTo>
                    <a:pt x="1038" y="770"/>
                  </a:lnTo>
                  <a:lnTo>
                    <a:pt x="1054" y="770"/>
                  </a:lnTo>
                  <a:lnTo>
                    <a:pt x="1054" y="780"/>
                  </a:lnTo>
                  <a:lnTo>
                    <a:pt x="1060" y="780"/>
                  </a:lnTo>
                  <a:lnTo>
                    <a:pt x="1060" y="784"/>
                  </a:lnTo>
                  <a:lnTo>
                    <a:pt x="1066" y="780"/>
                  </a:lnTo>
                  <a:lnTo>
                    <a:pt x="1066" y="784"/>
                  </a:lnTo>
                  <a:lnTo>
                    <a:pt x="1092" y="784"/>
                  </a:lnTo>
                  <a:lnTo>
                    <a:pt x="1098" y="790"/>
                  </a:lnTo>
                  <a:lnTo>
                    <a:pt x="1104" y="790"/>
                  </a:lnTo>
                  <a:lnTo>
                    <a:pt x="1104" y="784"/>
                  </a:lnTo>
                  <a:lnTo>
                    <a:pt x="1108" y="784"/>
                  </a:lnTo>
                  <a:lnTo>
                    <a:pt x="1108" y="764"/>
                  </a:lnTo>
                  <a:lnTo>
                    <a:pt x="1104" y="764"/>
                  </a:lnTo>
                  <a:lnTo>
                    <a:pt x="1108" y="758"/>
                  </a:lnTo>
                  <a:lnTo>
                    <a:pt x="1108" y="746"/>
                  </a:lnTo>
                  <a:lnTo>
                    <a:pt x="1120" y="746"/>
                  </a:lnTo>
                  <a:lnTo>
                    <a:pt x="1120" y="742"/>
                  </a:lnTo>
                  <a:lnTo>
                    <a:pt x="1136" y="742"/>
                  </a:lnTo>
                  <a:lnTo>
                    <a:pt x="1136" y="746"/>
                  </a:lnTo>
                  <a:lnTo>
                    <a:pt x="1146" y="746"/>
                  </a:lnTo>
                  <a:lnTo>
                    <a:pt x="1146" y="752"/>
                  </a:lnTo>
                  <a:lnTo>
                    <a:pt x="1168" y="752"/>
                  </a:lnTo>
                  <a:lnTo>
                    <a:pt x="1168" y="774"/>
                  </a:lnTo>
                  <a:lnTo>
                    <a:pt x="1186" y="774"/>
                  </a:lnTo>
                  <a:lnTo>
                    <a:pt x="1186" y="780"/>
                  </a:lnTo>
                  <a:lnTo>
                    <a:pt x="1196" y="780"/>
                  </a:lnTo>
                  <a:lnTo>
                    <a:pt x="1196" y="774"/>
                  </a:lnTo>
                  <a:lnTo>
                    <a:pt x="1234" y="774"/>
                  </a:lnTo>
                  <a:lnTo>
                    <a:pt x="1234" y="780"/>
                  </a:lnTo>
                  <a:lnTo>
                    <a:pt x="1240" y="784"/>
                  </a:lnTo>
                  <a:lnTo>
                    <a:pt x="1250" y="784"/>
                  </a:lnTo>
                  <a:lnTo>
                    <a:pt x="1250" y="790"/>
                  </a:lnTo>
                  <a:lnTo>
                    <a:pt x="1254" y="796"/>
                  </a:lnTo>
                  <a:lnTo>
                    <a:pt x="1266" y="796"/>
                  </a:lnTo>
                  <a:lnTo>
                    <a:pt x="1272" y="802"/>
                  </a:lnTo>
                  <a:lnTo>
                    <a:pt x="1294" y="802"/>
                  </a:lnTo>
                  <a:lnTo>
                    <a:pt x="1294" y="796"/>
                  </a:lnTo>
                  <a:lnTo>
                    <a:pt x="1308" y="796"/>
                  </a:lnTo>
                  <a:lnTo>
                    <a:pt x="1314" y="790"/>
                  </a:lnTo>
                  <a:lnTo>
                    <a:pt x="1326" y="790"/>
                  </a:lnTo>
                  <a:lnTo>
                    <a:pt x="1326" y="784"/>
                  </a:lnTo>
                  <a:lnTo>
                    <a:pt x="1332" y="780"/>
                  </a:lnTo>
                  <a:lnTo>
                    <a:pt x="1336" y="780"/>
                  </a:lnTo>
                  <a:lnTo>
                    <a:pt x="1336" y="774"/>
                  </a:lnTo>
                  <a:lnTo>
                    <a:pt x="1348" y="774"/>
                  </a:lnTo>
                  <a:lnTo>
                    <a:pt x="1348" y="780"/>
                  </a:lnTo>
                  <a:lnTo>
                    <a:pt x="1354" y="780"/>
                  </a:lnTo>
                  <a:lnTo>
                    <a:pt x="1354" y="784"/>
                  </a:lnTo>
                  <a:lnTo>
                    <a:pt x="1374" y="784"/>
                  </a:lnTo>
                  <a:lnTo>
                    <a:pt x="1374" y="790"/>
                  </a:lnTo>
                  <a:lnTo>
                    <a:pt x="1402" y="790"/>
                  </a:lnTo>
                  <a:lnTo>
                    <a:pt x="1402" y="784"/>
                  </a:lnTo>
                  <a:lnTo>
                    <a:pt x="1408" y="784"/>
                  </a:lnTo>
                  <a:lnTo>
                    <a:pt x="1412" y="780"/>
                  </a:lnTo>
                  <a:lnTo>
                    <a:pt x="1412" y="764"/>
                  </a:lnTo>
                  <a:lnTo>
                    <a:pt x="1418" y="758"/>
                  </a:lnTo>
                  <a:lnTo>
                    <a:pt x="1418" y="752"/>
                  </a:lnTo>
                  <a:lnTo>
                    <a:pt x="1422" y="752"/>
                  </a:lnTo>
                  <a:lnTo>
                    <a:pt x="1422" y="742"/>
                  </a:lnTo>
                  <a:lnTo>
                    <a:pt x="1428" y="742"/>
                  </a:lnTo>
                  <a:lnTo>
                    <a:pt x="1428" y="726"/>
                  </a:lnTo>
                  <a:lnTo>
                    <a:pt x="1422" y="726"/>
                  </a:lnTo>
                  <a:lnTo>
                    <a:pt x="1422" y="720"/>
                  </a:lnTo>
                  <a:lnTo>
                    <a:pt x="1428" y="716"/>
                  </a:lnTo>
                  <a:lnTo>
                    <a:pt x="1446" y="716"/>
                  </a:lnTo>
                  <a:lnTo>
                    <a:pt x="1446" y="710"/>
                  </a:lnTo>
                  <a:lnTo>
                    <a:pt x="1476" y="710"/>
                  </a:lnTo>
                  <a:lnTo>
                    <a:pt x="1476" y="716"/>
                  </a:lnTo>
                  <a:lnTo>
                    <a:pt x="1500" y="716"/>
                  </a:lnTo>
                  <a:lnTo>
                    <a:pt x="1500" y="720"/>
                  </a:lnTo>
                  <a:lnTo>
                    <a:pt x="1504" y="726"/>
                  </a:lnTo>
                  <a:lnTo>
                    <a:pt x="1504" y="736"/>
                  </a:lnTo>
                  <a:lnTo>
                    <a:pt x="1510" y="736"/>
                  </a:lnTo>
                  <a:lnTo>
                    <a:pt x="1510" y="746"/>
                  </a:lnTo>
                  <a:lnTo>
                    <a:pt x="1516" y="746"/>
                  </a:lnTo>
                  <a:lnTo>
                    <a:pt x="1516" y="764"/>
                  </a:lnTo>
                  <a:lnTo>
                    <a:pt x="1520" y="764"/>
                  </a:lnTo>
                  <a:lnTo>
                    <a:pt x="1520" y="774"/>
                  </a:lnTo>
                  <a:lnTo>
                    <a:pt x="1526" y="774"/>
                  </a:lnTo>
                  <a:lnTo>
                    <a:pt x="1526" y="790"/>
                  </a:lnTo>
                  <a:lnTo>
                    <a:pt x="1542" y="790"/>
                  </a:lnTo>
                  <a:lnTo>
                    <a:pt x="1542" y="796"/>
                  </a:lnTo>
                  <a:lnTo>
                    <a:pt x="1554" y="796"/>
                  </a:lnTo>
                  <a:lnTo>
                    <a:pt x="1554" y="802"/>
                  </a:lnTo>
                  <a:lnTo>
                    <a:pt x="1560" y="802"/>
                  </a:lnTo>
                  <a:lnTo>
                    <a:pt x="1564" y="806"/>
                  </a:lnTo>
                  <a:lnTo>
                    <a:pt x="1570" y="806"/>
                  </a:lnTo>
                  <a:lnTo>
                    <a:pt x="1570" y="824"/>
                  </a:lnTo>
                  <a:lnTo>
                    <a:pt x="1574" y="824"/>
                  </a:lnTo>
                  <a:lnTo>
                    <a:pt x="1574" y="830"/>
                  </a:lnTo>
                  <a:lnTo>
                    <a:pt x="1580" y="830"/>
                  </a:lnTo>
                  <a:lnTo>
                    <a:pt x="1580" y="834"/>
                  </a:lnTo>
                  <a:lnTo>
                    <a:pt x="1590" y="834"/>
                  </a:lnTo>
                  <a:lnTo>
                    <a:pt x="1590" y="830"/>
                  </a:lnTo>
                  <a:lnTo>
                    <a:pt x="1596" y="830"/>
                  </a:lnTo>
                  <a:lnTo>
                    <a:pt x="1596" y="824"/>
                  </a:lnTo>
                  <a:lnTo>
                    <a:pt x="1614" y="824"/>
                  </a:lnTo>
                  <a:lnTo>
                    <a:pt x="1614" y="818"/>
                  </a:lnTo>
                  <a:lnTo>
                    <a:pt x="1624" y="818"/>
                  </a:lnTo>
                  <a:lnTo>
                    <a:pt x="1624" y="838"/>
                  </a:lnTo>
                  <a:lnTo>
                    <a:pt x="1618" y="838"/>
                  </a:lnTo>
                  <a:lnTo>
                    <a:pt x="1618" y="850"/>
                  </a:lnTo>
                  <a:lnTo>
                    <a:pt x="1614" y="850"/>
                  </a:lnTo>
                  <a:lnTo>
                    <a:pt x="1614" y="872"/>
                  </a:lnTo>
                  <a:lnTo>
                    <a:pt x="1602" y="872"/>
                  </a:lnTo>
                  <a:lnTo>
                    <a:pt x="1602" y="884"/>
                  </a:lnTo>
                  <a:lnTo>
                    <a:pt x="1590" y="884"/>
                  </a:lnTo>
                  <a:lnTo>
                    <a:pt x="1590" y="878"/>
                  </a:lnTo>
                  <a:lnTo>
                    <a:pt x="1586" y="878"/>
                  </a:lnTo>
                  <a:lnTo>
                    <a:pt x="1586" y="884"/>
                  </a:lnTo>
                  <a:lnTo>
                    <a:pt x="1574" y="884"/>
                  </a:lnTo>
                  <a:lnTo>
                    <a:pt x="1574" y="926"/>
                  </a:lnTo>
                  <a:lnTo>
                    <a:pt x="1570" y="926"/>
                  </a:lnTo>
                  <a:lnTo>
                    <a:pt x="1570" y="938"/>
                  </a:lnTo>
                  <a:lnTo>
                    <a:pt x="1574" y="932"/>
                  </a:lnTo>
                  <a:lnTo>
                    <a:pt x="1580" y="926"/>
                  </a:lnTo>
                  <a:lnTo>
                    <a:pt x="1580" y="920"/>
                  </a:lnTo>
                  <a:lnTo>
                    <a:pt x="1590" y="920"/>
                  </a:lnTo>
                  <a:lnTo>
                    <a:pt x="1590" y="926"/>
                  </a:lnTo>
                  <a:lnTo>
                    <a:pt x="1596" y="926"/>
                  </a:lnTo>
                  <a:lnTo>
                    <a:pt x="1596" y="932"/>
                  </a:lnTo>
                  <a:lnTo>
                    <a:pt x="1602" y="926"/>
                  </a:lnTo>
                  <a:lnTo>
                    <a:pt x="1602" y="932"/>
                  </a:lnTo>
                  <a:lnTo>
                    <a:pt x="1614" y="932"/>
                  </a:lnTo>
                  <a:lnTo>
                    <a:pt x="1614" y="926"/>
                  </a:lnTo>
                  <a:lnTo>
                    <a:pt x="1618" y="926"/>
                  </a:lnTo>
                  <a:lnTo>
                    <a:pt x="1618" y="920"/>
                  </a:lnTo>
                  <a:lnTo>
                    <a:pt x="1628" y="920"/>
                  </a:lnTo>
                  <a:lnTo>
                    <a:pt x="1628" y="914"/>
                  </a:lnTo>
                  <a:lnTo>
                    <a:pt x="1634" y="914"/>
                  </a:lnTo>
                  <a:lnTo>
                    <a:pt x="1634" y="910"/>
                  </a:lnTo>
                  <a:lnTo>
                    <a:pt x="1640" y="910"/>
                  </a:lnTo>
                  <a:lnTo>
                    <a:pt x="1640" y="898"/>
                  </a:lnTo>
                  <a:lnTo>
                    <a:pt x="1650" y="898"/>
                  </a:lnTo>
                  <a:lnTo>
                    <a:pt x="1650" y="884"/>
                  </a:lnTo>
                  <a:lnTo>
                    <a:pt x="1656" y="884"/>
                  </a:lnTo>
                  <a:lnTo>
                    <a:pt x="1662" y="878"/>
                  </a:lnTo>
                  <a:lnTo>
                    <a:pt x="1662" y="872"/>
                  </a:lnTo>
                  <a:lnTo>
                    <a:pt x="1672" y="872"/>
                  </a:lnTo>
                  <a:lnTo>
                    <a:pt x="1672" y="856"/>
                  </a:lnTo>
                  <a:lnTo>
                    <a:pt x="1678" y="856"/>
                  </a:lnTo>
                  <a:lnTo>
                    <a:pt x="1678" y="850"/>
                  </a:lnTo>
                  <a:lnTo>
                    <a:pt x="1682" y="844"/>
                  </a:lnTo>
                  <a:lnTo>
                    <a:pt x="1682" y="838"/>
                  </a:lnTo>
                  <a:lnTo>
                    <a:pt x="1688" y="838"/>
                  </a:lnTo>
                  <a:lnTo>
                    <a:pt x="1688" y="830"/>
                  </a:lnTo>
                  <a:lnTo>
                    <a:pt x="1694" y="830"/>
                  </a:lnTo>
                  <a:lnTo>
                    <a:pt x="1694" y="824"/>
                  </a:lnTo>
                  <a:lnTo>
                    <a:pt x="1700" y="824"/>
                  </a:lnTo>
                  <a:lnTo>
                    <a:pt x="1700" y="818"/>
                  </a:lnTo>
                  <a:lnTo>
                    <a:pt x="1704" y="812"/>
                  </a:lnTo>
                  <a:lnTo>
                    <a:pt x="1704" y="806"/>
                  </a:lnTo>
                  <a:lnTo>
                    <a:pt x="1710" y="806"/>
                  </a:lnTo>
                  <a:lnTo>
                    <a:pt x="1710" y="752"/>
                  </a:lnTo>
                  <a:lnTo>
                    <a:pt x="1716" y="752"/>
                  </a:lnTo>
                  <a:lnTo>
                    <a:pt x="1716" y="746"/>
                  </a:lnTo>
                  <a:lnTo>
                    <a:pt x="1722" y="746"/>
                  </a:lnTo>
                  <a:lnTo>
                    <a:pt x="1722" y="726"/>
                  </a:lnTo>
                  <a:lnTo>
                    <a:pt x="1716" y="720"/>
                  </a:lnTo>
                  <a:lnTo>
                    <a:pt x="1710" y="716"/>
                  </a:lnTo>
                  <a:lnTo>
                    <a:pt x="1716" y="716"/>
                  </a:lnTo>
                  <a:lnTo>
                    <a:pt x="1722" y="720"/>
                  </a:lnTo>
                  <a:lnTo>
                    <a:pt x="1722" y="716"/>
                  </a:lnTo>
                  <a:lnTo>
                    <a:pt x="1716" y="710"/>
                  </a:lnTo>
                  <a:lnTo>
                    <a:pt x="1710" y="710"/>
                  </a:lnTo>
                  <a:lnTo>
                    <a:pt x="1710" y="704"/>
                  </a:lnTo>
                  <a:lnTo>
                    <a:pt x="1704" y="704"/>
                  </a:lnTo>
                  <a:lnTo>
                    <a:pt x="1704" y="692"/>
                  </a:lnTo>
                  <a:lnTo>
                    <a:pt x="1688" y="692"/>
                  </a:lnTo>
                  <a:lnTo>
                    <a:pt x="1688" y="698"/>
                  </a:lnTo>
                  <a:lnTo>
                    <a:pt x="1682" y="704"/>
                  </a:lnTo>
                  <a:lnTo>
                    <a:pt x="1682" y="710"/>
                  </a:lnTo>
                  <a:lnTo>
                    <a:pt x="1678" y="710"/>
                  </a:lnTo>
                  <a:lnTo>
                    <a:pt x="1678" y="704"/>
                  </a:lnTo>
                  <a:lnTo>
                    <a:pt x="1672" y="704"/>
                  </a:lnTo>
                  <a:lnTo>
                    <a:pt x="1672" y="710"/>
                  </a:lnTo>
                  <a:lnTo>
                    <a:pt x="1662" y="710"/>
                  </a:lnTo>
                  <a:lnTo>
                    <a:pt x="1662" y="704"/>
                  </a:lnTo>
                  <a:lnTo>
                    <a:pt x="1656" y="704"/>
                  </a:lnTo>
                  <a:lnTo>
                    <a:pt x="1656" y="682"/>
                  </a:lnTo>
                  <a:lnTo>
                    <a:pt x="1650" y="688"/>
                  </a:lnTo>
                  <a:lnTo>
                    <a:pt x="1650" y="682"/>
                  </a:lnTo>
                  <a:lnTo>
                    <a:pt x="1644" y="688"/>
                  </a:lnTo>
                  <a:lnTo>
                    <a:pt x="1640" y="688"/>
                  </a:lnTo>
                  <a:lnTo>
                    <a:pt x="1640" y="682"/>
                  </a:lnTo>
                  <a:lnTo>
                    <a:pt x="1634" y="682"/>
                  </a:lnTo>
                  <a:lnTo>
                    <a:pt x="1634" y="676"/>
                  </a:lnTo>
                  <a:lnTo>
                    <a:pt x="1640" y="676"/>
                  </a:lnTo>
                  <a:lnTo>
                    <a:pt x="1640" y="672"/>
                  </a:lnTo>
                  <a:lnTo>
                    <a:pt x="1644" y="672"/>
                  </a:lnTo>
                  <a:lnTo>
                    <a:pt x="1644" y="666"/>
                  </a:lnTo>
                  <a:lnTo>
                    <a:pt x="1650" y="666"/>
                  </a:lnTo>
                  <a:lnTo>
                    <a:pt x="1656" y="660"/>
                  </a:lnTo>
                  <a:lnTo>
                    <a:pt x="1662" y="660"/>
                  </a:lnTo>
                  <a:lnTo>
                    <a:pt x="1662" y="656"/>
                  </a:lnTo>
                  <a:lnTo>
                    <a:pt x="1668" y="656"/>
                  </a:lnTo>
                  <a:lnTo>
                    <a:pt x="1672" y="650"/>
                  </a:lnTo>
                  <a:lnTo>
                    <a:pt x="1672" y="644"/>
                  </a:lnTo>
                  <a:lnTo>
                    <a:pt x="1678" y="644"/>
                  </a:lnTo>
                  <a:lnTo>
                    <a:pt x="1678" y="638"/>
                  </a:lnTo>
                  <a:lnTo>
                    <a:pt x="1682" y="632"/>
                  </a:lnTo>
                  <a:lnTo>
                    <a:pt x="1688" y="632"/>
                  </a:lnTo>
                  <a:lnTo>
                    <a:pt x="1688" y="628"/>
                  </a:lnTo>
                  <a:lnTo>
                    <a:pt x="1694" y="628"/>
                  </a:lnTo>
                  <a:lnTo>
                    <a:pt x="1694" y="622"/>
                  </a:lnTo>
                  <a:lnTo>
                    <a:pt x="1700" y="622"/>
                  </a:lnTo>
                  <a:lnTo>
                    <a:pt x="1700" y="618"/>
                  </a:lnTo>
                  <a:lnTo>
                    <a:pt x="1710" y="618"/>
                  </a:lnTo>
                  <a:lnTo>
                    <a:pt x="1710" y="606"/>
                  </a:lnTo>
                  <a:lnTo>
                    <a:pt x="1716" y="602"/>
                  </a:lnTo>
                  <a:lnTo>
                    <a:pt x="1722" y="602"/>
                  </a:lnTo>
                  <a:lnTo>
                    <a:pt x="1722" y="596"/>
                  </a:lnTo>
                  <a:lnTo>
                    <a:pt x="1728" y="596"/>
                  </a:lnTo>
                  <a:lnTo>
                    <a:pt x="1728" y="590"/>
                  </a:lnTo>
                  <a:lnTo>
                    <a:pt x="1732" y="590"/>
                  </a:lnTo>
                  <a:lnTo>
                    <a:pt x="1732" y="584"/>
                  </a:lnTo>
                  <a:lnTo>
                    <a:pt x="1748" y="584"/>
                  </a:lnTo>
                  <a:lnTo>
                    <a:pt x="1748" y="578"/>
                  </a:lnTo>
                  <a:lnTo>
                    <a:pt x="1786" y="578"/>
                  </a:lnTo>
                  <a:lnTo>
                    <a:pt x="1782" y="584"/>
                  </a:lnTo>
                  <a:lnTo>
                    <a:pt x="1790" y="584"/>
                  </a:lnTo>
                  <a:lnTo>
                    <a:pt x="1790" y="578"/>
                  </a:lnTo>
                  <a:lnTo>
                    <a:pt x="1802" y="578"/>
                  </a:lnTo>
                  <a:lnTo>
                    <a:pt x="1802" y="584"/>
                  </a:lnTo>
                  <a:lnTo>
                    <a:pt x="1814" y="584"/>
                  </a:lnTo>
                  <a:lnTo>
                    <a:pt x="1814" y="578"/>
                  </a:lnTo>
                  <a:lnTo>
                    <a:pt x="1818" y="578"/>
                  </a:lnTo>
                  <a:lnTo>
                    <a:pt x="1818" y="584"/>
                  </a:lnTo>
                  <a:lnTo>
                    <a:pt x="1830" y="584"/>
                  </a:lnTo>
                  <a:lnTo>
                    <a:pt x="1830" y="578"/>
                  </a:lnTo>
                  <a:lnTo>
                    <a:pt x="1824" y="578"/>
                  </a:lnTo>
                  <a:lnTo>
                    <a:pt x="1830" y="574"/>
                  </a:lnTo>
                  <a:lnTo>
                    <a:pt x="1850" y="574"/>
                  </a:lnTo>
                  <a:lnTo>
                    <a:pt x="1850" y="578"/>
                  </a:lnTo>
                  <a:lnTo>
                    <a:pt x="1856" y="578"/>
                  </a:lnTo>
                  <a:lnTo>
                    <a:pt x="1856" y="574"/>
                  </a:lnTo>
                  <a:lnTo>
                    <a:pt x="1862" y="574"/>
                  </a:lnTo>
                  <a:lnTo>
                    <a:pt x="1862" y="578"/>
                  </a:lnTo>
                  <a:lnTo>
                    <a:pt x="1868" y="578"/>
                  </a:lnTo>
                  <a:lnTo>
                    <a:pt x="1868" y="584"/>
                  </a:lnTo>
                  <a:lnTo>
                    <a:pt x="1862" y="584"/>
                  </a:lnTo>
                  <a:lnTo>
                    <a:pt x="1862" y="590"/>
                  </a:lnTo>
                  <a:lnTo>
                    <a:pt x="1872" y="590"/>
                  </a:lnTo>
                  <a:lnTo>
                    <a:pt x="1878" y="584"/>
                  </a:lnTo>
                  <a:lnTo>
                    <a:pt x="1878" y="590"/>
                  </a:lnTo>
                  <a:lnTo>
                    <a:pt x="1884" y="590"/>
                  </a:lnTo>
                  <a:lnTo>
                    <a:pt x="1890" y="584"/>
                  </a:lnTo>
                  <a:lnTo>
                    <a:pt x="1916" y="584"/>
                  </a:lnTo>
                  <a:lnTo>
                    <a:pt x="1916" y="578"/>
                  </a:lnTo>
                  <a:lnTo>
                    <a:pt x="1910" y="578"/>
                  </a:lnTo>
                  <a:lnTo>
                    <a:pt x="1910" y="574"/>
                  </a:lnTo>
                  <a:lnTo>
                    <a:pt x="1904" y="574"/>
                  </a:lnTo>
                  <a:lnTo>
                    <a:pt x="1904" y="578"/>
                  </a:lnTo>
                  <a:lnTo>
                    <a:pt x="1898" y="578"/>
                  </a:lnTo>
                  <a:lnTo>
                    <a:pt x="1898" y="568"/>
                  </a:lnTo>
                  <a:lnTo>
                    <a:pt x="1904" y="568"/>
                  </a:lnTo>
                  <a:lnTo>
                    <a:pt x="1904" y="564"/>
                  </a:lnTo>
                  <a:lnTo>
                    <a:pt x="1910" y="564"/>
                  </a:lnTo>
                  <a:lnTo>
                    <a:pt x="1910" y="558"/>
                  </a:lnTo>
                  <a:lnTo>
                    <a:pt x="1916" y="558"/>
                  </a:lnTo>
                  <a:lnTo>
                    <a:pt x="1922" y="552"/>
                  </a:lnTo>
                  <a:lnTo>
                    <a:pt x="1922" y="548"/>
                  </a:lnTo>
                  <a:lnTo>
                    <a:pt x="1928" y="548"/>
                  </a:lnTo>
                  <a:lnTo>
                    <a:pt x="1928" y="542"/>
                  </a:lnTo>
                  <a:lnTo>
                    <a:pt x="1932" y="536"/>
                  </a:lnTo>
                  <a:lnTo>
                    <a:pt x="1938" y="536"/>
                  </a:lnTo>
                  <a:lnTo>
                    <a:pt x="1938" y="530"/>
                  </a:lnTo>
                  <a:lnTo>
                    <a:pt x="1944" y="530"/>
                  </a:lnTo>
                  <a:lnTo>
                    <a:pt x="1944" y="524"/>
                  </a:lnTo>
                  <a:lnTo>
                    <a:pt x="1986" y="524"/>
                  </a:lnTo>
                  <a:lnTo>
                    <a:pt x="1986" y="520"/>
                  </a:lnTo>
                  <a:lnTo>
                    <a:pt x="1992" y="520"/>
                  </a:lnTo>
                  <a:lnTo>
                    <a:pt x="1992" y="524"/>
                  </a:lnTo>
                  <a:lnTo>
                    <a:pt x="1986" y="530"/>
                  </a:lnTo>
                  <a:lnTo>
                    <a:pt x="1986" y="542"/>
                  </a:lnTo>
                  <a:lnTo>
                    <a:pt x="1992" y="542"/>
                  </a:lnTo>
                  <a:lnTo>
                    <a:pt x="1986" y="548"/>
                  </a:lnTo>
                  <a:lnTo>
                    <a:pt x="1998" y="548"/>
                  </a:lnTo>
                  <a:lnTo>
                    <a:pt x="1998" y="542"/>
                  </a:lnTo>
                  <a:lnTo>
                    <a:pt x="2004" y="542"/>
                  </a:lnTo>
                  <a:lnTo>
                    <a:pt x="2008" y="536"/>
                  </a:lnTo>
                  <a:lnTo>
                    <a:pt x="2012" y="536"/>
                  </a:lnTo>
                  <a:lnTo>
                    <a:pt x="2018" y="530"/>
                  </a:lnTo>
                  <a:lnTo>
                    <a:pt x="2030" y="530"/>
                  </a:lnTo>
                  <a:lnTo>
                    <a:pt x="2030" y="524"/>
                  </a:lnTo>
                  <a:lnTo>
                    <a:pt x="2024" y="524"/>
                  </a:lnTo>
                  <a:lnTo>
                    <a:pt x="2030" y="520"/>
                  </a:lnTo>
                  <a:lnTo>
                    <a:pt x="2030" y="510"/>
                  </a:lnTo>
                  <a:lnTo>
                    <a:pt x="2036" y="510"/>
                  </a:lnTo>
                  <a:lnTo>
                    <a:pt x="2036" y="504"/>
                  </a:lnTo>
                  <a:lnTo>
                    <a:pt x="2052" y="504"/>
                  </a:lnTo>
                  <a:lnTo>
                    <a:pt x="2052" y="510"/>
                  </a:lnTo>
                  <a:lnTo>
                    <a:pt x="2046" y="510"/>
                  </a:lnTo>
                  <a:lnTo>
                    <a:pt x="2046" y="524"/>
                  </a:lnTo>
                  <a:lnTo>
                    <a:pt x="2040" y="524"/>
                  </a:lnTo>
                  <a:lnTo>
                    <a:pt x="2036" y="536"/>
                  </a:lnTo>
                  <a:lnTo>
                    <a:pt x="2036" y="548"/>
                  </a:lnTo>
                  <a:lnTo>
                    <a:pt x="2024" y="548"/>
                  </a:lnTo>
                  <a:lnTo>
                    <a:pt x="2018" y="552"/>
                  </a:lnTo>
                  <a:lnTo>
                    <a:pt x="2012" y="552"/>
                  </a:lnTo>
                  <a:lnTo>
                    <a:pt x="2012" y="558"/>
                  </a:lnTo>
                  <a:lnTo>
                    <a:pt x="2008" y="558"/>
                  </a:lnTo>
                  <a:lnTo>
                    <a:pt x="2008" y="564"/>
                  </a:lnTo>
                  <a:lnTo>
                    <a:pt x="2004" y="568"/>
                  </a:lnTo>
                  <a:lnTo>
                    <a:pt x="1998" y="574"/>
                  </a:lnTo>
                  <a:lnTo>
                    <a:pt x="1992" y="574"/>
                  </a:lnTo>
                  <a:lnTo>
                    <a:pt x="1992" y="578"/>
                  </a:lnTo>
                  <a:lnTo>
                    <a:pt x="1986" y="578"/>
                  </a:lnTo>
                  <a:lnTo>
                    <a:pt x="1986" y="584"/>
                  </a:lnTo>
                  <a:lnTo>
                    <a:pt x="1982" y="584"/>
                  </a:lnTo>
                  <a:lnTo>
                    <a:pt x="1982" y="590"/>
                  </a:lnTo>
                  <a:lnTo>
                    <a:pt x="1976" y="596"/>
                  </a:lnTo>
                  <a:lnTo>
                    <a:pt x="1970" y="596"/>
                  </a:lnTo>
                  <a:lnTo>
                    <a:pt x="1970" y="602"/>
                  </a:lnTo>
                  <a:lnTo>
                    <a:pt x="1964" y="606"/>
                  </a:lnTo>
                  <a:lnTo>
                    <a:pt x="1958" y="606"/>
                  </a:lnTo>
                  <a:lnTo>
                    <a:pt x="1958" y="612"/>
                  </a:lnTo>
                  <a:lnTo>
                    <a:pt x="1950" y="612"/>
                  </a:lnTo>
                  <a:lnTo>
                    <a:pt x="1950" y="618"/>
                  </a:lnTo>
                  <a:lnTo>
                    <a:pt x="1944" y="618"/>
                  </a:lnTo>
                  <a:lnTo>
                    <a:pt x="1944" y="612"/>
                  </a:lnTo>
                  <a:lnTo>
                    <a:pt x="1938" y="618"/>
                  </a:lnTo>
                  <a:lnTo>
                    <a:pt x="1938" y="622"/>
                  </a:lnTo>
                  <a:lnTo>
                    <a:pt x="1944" y="622"/>
                  </a:lnTo>
                  <a:lnTo>
                    <a:pt x="1938" y="628"/>
                  </a:lnTo>
                  <a:lnTo>
                    <a:pt x="1938" y="632"/>
                  </a:lnTo>
                  <a:lnTo>
                    <a:pt x="1932" y="632"/>
                  </a:lnTo>
                  <a:lnTo>
                    <a:pt x="1932" y="638"/>
                  </a:lnTo>
                  <a:lnTo>
                    <a:pt x="1928" y="638"/>
                  </a:lnTo>
                  <a:lnTo>
                    <a:pt x="1928" y="644"/>
                  </a:lnTo>
                  <a:lnTo>
                    <a:pt x="1922" y="644"/>
                  </a:lnTo>
                  <a:lnTo>
                    <a:pt x="1922" y="698"/>
                  </a:lnTo>
                  <a:lnTo>
                    <a:pt x="1928" y="698"/>
                  </a:lnTo>
                  <a:lnTo>
                    <a:pt x="1928" y="726"/>
                  </a:lnTo>
                  <a:lnTo>
                    <a:pt x="1932" y="726"/>
                  </a:lnTo>
                  <a:lnTo>
                    <a:pt x="1932" y="730"/>
                  </a:lnTo>
                  <a:lnTo>
                    <a:pt x="1938" y="726"/>
                  </a:lnTo>
                  <a:lnTo>
                    <a:pt x="1938" y="730"/>
                  </a:lnTo>
                  <a:lnTo>
                    <a:pt x="1932" y="730"/>
                  </a:lnTo>
                  <a:lnTo>
                    <a:pt x="1938" y="736"/>
                  </a:lnTo>
                  <a:lnTo>
                    <a:pt x="1938" y="764"/>
                  </a:lnTo>
                  <a:lnTo>
                    <a:pt x="1944" y="758"/>
                  </a:lnTo>
                  <a:lnTo>
                    <a:pt x="1950" y="758"/>
                  </a:lnTo>
                  <a:lnTo>
                    <a:pt x="1950" y="752"/>
                  </a:lnTo>
                  <a:lnTo>
                    <a:pt x="1954" y="752"/>
                  </a:lnTo>
                  <a:lnTo>
                    <a:pt x="1954" y="746"/>
                  </a:lnTo>
                  <a:lnTo>
                    <a:pt x="1958" y="742"/>
                  </a:lnTo>
                  <a:lnTo>
                    <a:pt x="1958" y="736"/>
                  </a:lnTo>
                  <a:lnTo>
                    <a:pt x="1964" y="736"/>
                  </a:lnTo>
                  <a:lnTo>
                    <a:pt x="1964" y="720"/>
                  </a:lnTo>
                  <a:lnTo>
                    <a:pt x="1958" y="720"/>
                  </a:lnTo>
                  <a:lnTo>
                    <a:pt x="1964" y="716"/>
                  </a:lnTo>
                  <a:lnTo>
                    <a:pt x="1964" y="720"/>
                  </a:lnTo>
                  <a:lnTo>
                    <a:pt x="1970" y="720"/>
                  </a:lnTo>
                  <a:lnTo>
                    <a:pt x="1970" y="716"/>
                  </a:lnTo>
                  <a:lnTo>
                    <a:pt x="1986" y="716"/>
                  </a:lnTo>
                  <a:lnTo>
                    <a:pt x="1986" y="692"/>
                  </a:lnTo>
                  <a:lnTo>
                    <a:pt x="1992" y="692"/>
                  </a:lnTo>
                  <a:lnTo>
                    <a:pt x="1992" y="688"/>
                  </a:lnTo>
                  <a:lnTo>
                    <a:pt x="2008" y="688"/>
                  </a:lnTo>
                  <a:lnTo>
                    <a:pt x="2008" y="682"/>
                  </a:lnTo>
                  <a:lnTo>
                    <a:pt x="2012" y="682"/>
                  </a:lnTo>
                  <a:lnTo>
                    <a:pt x="2012" y="676"/>
                  </a:lnTo>
                  <a:lnTo>
                    <a:pt x="2008" y="676"/>
                  </a:lnTo>
                  <a:lnTo>
                    <a:pt x="2008" y="656"/>
                  </a:lnTo>
                  <a:lnTo>
                    <a:pt x="2012" y="656"/>
                  </a:lnTo>
                  <a:lnTo>
                    <a:pt x="2018" y="650"/>
                  </a:lnTo>
                  <a:lnTo>
                    <a:pt x="2024" y="656"/>
                  </a:lnTo>
                  <a:lnTo>
                    <a:pt x="2030" y="656"/>
                  </a:lnTo>
                  <a:lnTo>
                    <a:pt x="2036" y="650"/>
                  </a:lnTo>
                  <a:lnTo>
                    <a:pt x="2036" y="644"/>
                  </a:lnTo>
                  <a:lnTo>
                    <a:pt x="2030" y="644"/>
                  </a:lnTo>
                  <a:lnTo>
                    <a:pt x="2036" y="638"/>
                  </a:lnTo>
                  <a:lnTo>
                    <a:pt x="2024" y="638"/>
                  </a:lnTo>
                  <a:lnTo>
                    <a:pt x="2024" y="622"/>
                  </a:lnTo>
                  <a:lnTo>
                    <a:pt x="2030" y="622"/>
                  </a:lnTo>
                  <a:lnTo>
                    <a:pt x="2036" y="618"/>
                  </a:lnTo>
                  <a:lnTo>
                    <a:pt x="2030" y="612"/>
                  </a:lnTo>
                  <a:lnTo>
                    <a:pt x="2018" y="612"/>
                  </a:lnTo>
                  <a:lnTo>
                    <a:pt x="2018" y="618"/>
                  </a:lnTo>
                  <a:lnTo>
                    <a:pt x="2012" y="612"/>
                  </a:lnTo>
                  <a:lnTo>
                    <a:pt x="2012" y="602"/>
                  </a:lnTo>
                  <a:lnTo>
                    <a:pt x="2018" y="596"/>
                  </a:lnTo>
                  <a:lnTo>
                    <a:pt x="2024" y="596"/>
                  </a:lnTo>
                  <a:lnTo>
                    <a:pt x="2024" y="590"/>
                  </a:lnTo>
                  <a:lnTo>
                    <a:pt x="2030" y="590"/>
                  </a:lnTo>
                  <a:lnTo>
                    <a:pt x="2030" y="584"/>
                  </a:lnTo>
                  <a:lnTo>
                    <a:pt x="2036" y="584"/>
                  </a:lnTo>
                  <a:lnTo>
                    <a:pt x="2036" y="578"/>
                  </a:lnTo>
                  <a:lnTo>
                    <a:pt x="2030" y="578"/>
                  </a:lnTo>
                  <a:lnTo>
                    <a:pt x="2030" y="574"/>
                  </a:lnTo>
                  <a:lnTo>
                    <a:pt x="2036" y="574"/>
                  </a:lnTo>
                  <a:lnTo>
                    <a:pt x="2036" y="564"/>
                  </a:lnTo>
                  <a:lnTo>
                    <a:pt x="2052" y="564"/>
                  </a:lnTo>
                  <a:lnTo>
                    <a:pt x="2052" y="574"/>
                  </a:lnTo>
                  <a:lnTo>
                    <a:pt x="2058" y="568"/>
                  </a:lnTo>
                  <a:lnTo>
                    <a:pt x="2058" y="564"/>
                  </a:lnTo>
                  <a:lnTo>
                    <a:pt x="2062" y="558"/>
                  </a:lnTo>
                  <a:lnTo>
                    <a:pt x="2068" y="558"/>
                  </a:lnTo>
                  <a:lnTo>
                    <a:pt x="2072" y="552"/>
                  </a:lnTo>
                  <a:lnTo>
                    <a:pt x="2072" y="564"/>
                  </a:lnTo>
                  <a:lnTo>
                    <a:pt x="2068" y="564"/>
                  </a:lnTo>
                  <a:lnTo>
                    <a:pt x="2068" y="574"/>
                  </a:lnTo>
                  <a:lnTo>
                    <a:pt x="2072" y="574"/>
                  </a:lnTo>
                  <a:lnTo>
                    <a:pt x="2072" y="568"/>
                  </a:lnTo>
                  <a:lnTo>
                    <a:pt x="2078" y="568"/>
                  </a:lnTo>
                  <a:lnTo>
                    <a:pt x="2078" y="558"/>
                  </a:lnTo>
                  <a:lnTo>
                    <a:pt x="2096" y="558"/>
                  </a:lnTo>
                  <a:lnTo>
                    <a:pt x="2096" y="552"/>
                  </a:lnTo>
                  <a:lnTo>
                    <a:pt x="2116" y="552"/>
                  </a:lnTo>
                  <a:lnTo>
                    <a:pt x="2116" y="558"/>
                  </a:lnTo>
                  <a:lnTo>
                    <a:pt x="2122" y="558"/>
                  </a:lnTo>
                  <a:lnTo>
                    <a:pt x="2126" y="564"/>
                  </a:lnTo>
                  <a:lnTo>
                    <a:pt x="2126" y="568"/>
                  </a:lnTo>
                  <a:lnTo>
                    <a:pt x="2132" y="568"/>
                  </a:lnTo>
                  <a:lnTo>
                    <a:pt x="2132" y="558"/>
                  </a:lnTo>
                  <a:lnTo>
                    <a:pt x="2138" y="558"/>
                  </a:lnTo>
                  <a:lnTo>
                    <a:pt x="2138" y="552"/>
                  </a:lnTo>
                  <a:lnTo>
                    <a:pt x="2144" y="552"/>
                  </a:lnTo>
                  <a:lnTo>
                    <a:pt x="2144" y="548"/>
                  </a:lnTo>
                  <a:lnTo>
                    <a:pt x="2154" y="548"/>
                  </a:lnTo>
                  <a:lnTo>
                    <a:pt x="2154" y="542"/>
                  </a:lnTo>
                  <a:lnTo>
                    <a:pt x="2160" y="542"/>
                  </a:lnTo>
                  <a:lnTo>
                    <a:pt x="2160" y="536"/>
                  </a:lnTo>
                  <a:lnTo>
                    <a:pt x="2164" y="530"/>
                  </a:lnTo>
                  <a:lnTo>
                    <a:pt x="2164" y="536"/>
                  </a:lnTo>
                  <a:lnTo>
                    <a:pt x="2170" y="536"/>
                  </a:lnTo>
                  <a:lnTo>
                    <a:pt x="2176" y="530"/>
                  </a:lnTo>
                  <a:lnTo>
                    <a:pt x="2176" y="524"/>
                  </a:lnTo>
                  <a:lnTo>
                    <a:pt x="2192" y="524"/>
                  </a:lnTo>
                  <a:lnTo>
                    <a:pt x="2192" y="520"/>
                  </a:lnTo>
                  <a:lnTo>
                    <a:pt x="2198" y="520"/>
                  </a:lnTo>
                  <a:lnTo>
                    <a:pt x="2198" y="514"/>
                  </a:lnTo>
                  <a:lnTo>
                    <a:pt x="2214" y="514"/>
                  </a:lnTo>
                  <a:lnTo>
                    <a:pt x="2218" y="510"/>
                  </a:lnTo>
                  <a:lnTo>
                    <a:pt x="2246" y="510"/>
                  </a:lnTo>
                  <a:lnTo>
                    <a:pt x="2246" y="514"/>
                  </a:lnTo>
                  <a:lnTo>
                    <a:pt x="2258" y="514"/>
                  </a:lnTo>
                  <a:lnTo>
                    <a:pt x="2258" y="492"/>
                  </a:lnTo>
                  <a:lnTo>
                    <a:pt x="2252" y="492"/>
                  </a:lnTo>
                  <a:lnTo>
                    <a:pt x="2252" y="488"/>
                  </a:lnTo>
                  <a:lnTo>
                    <a:pt x="2246" y="482"/>
                  </a:lnTo>
                  <a:lnTo>
                    <a:pt x="2246" y="488"/>
                  </a:lnTo>
                  <a:lnTo>
                    <a:pt x="2240" y="482"/>
                  </a:lnTo>
                  <a:lnTo>
                    <a:pt x="2246" y="482"/>
                  </a:lnTo>
                  <a:lnTo>
                    <a:pt x="2246" y="464"/>
                  </a:lnTo>
                  <a:lnTo>
                    <a:pt x="2230" y="464"/>
                  </a:lnTo>
                  <a:lnTo>
                    <a:pt x="2230" y="456"/>
                  </a:lnTo>
                  <a:lnTo>
                    <a:pt x="2224" y="450"/>
                  </a:lnTo>
                  <a:lnTo>
                    <a:pt x="2230" y="450"/>
                  </a:lnTo>
                  <a:lnTo>
                    <a:pt x="2230" y="456"/>
                  </a:lnTo>
                  <a:lnTo>
                    <a:pt x="2246" y="456"/>
                  </a:lnTo>
                  <a:lnTo>
                    <a:pt x="2246" y="460"/>
                  </a:lnTo>
                  <a:lnTo>
                    <a:pt x="2252" y="456"/>
                  </a:lnTo>
                  <a:lnTo>
                    <a:pt x="2264" y="456"/>
                  </a:lnTo>
                  <a:lnTo>
                    <a:pt x="2264" y="450"/>
                  </a:lnTo>
                  <a:lnTo>
                    <a:pt x="2268" y="450"/>
                  </a:lnTo>
                  <a:lnTo>
                    <a:pt x="2268" y="444"/>
                  </a:lnTo>
                  <a:lnTo>
                    <a:pt x="2272" y="444"/>
                  </a:lnTo>
                  <a:lnTo>
                    <a:pt x="2272" y="438"/>
                  </a:lnTo>
                  <a:lnTo>
                    <a:pt x="2278" y="438"/>
                  </a:lnTo>
                  <a:lnTo>
                    <a:pt x="2272" y="434"/>
                  </a:lnTo>
                  <a:lnTo>
                    <a:pt x="2268" y="434"/>
                  </a:lnTo>
                  <a:lnTo>
                    <a:pt x="2268" y="416"/>
                  </a:lnTo>
                  <a:lnTo>
                    <a:pt x="2272" y="422"/>
                  </a:lnTo>
                  <a:lnTo>
                    <a:pt x="2278" y="422"/>
                  </a:lnTo>
                  <a:lnTo>
                    <a:pt x="2278" y="416"/>
                  </a:lnTo>
                  <a:lnTo>
                    <a:pt x="2290" y="416"/>
                  </a:lnTo>
                  <a:lnTo>
                    <a:pt x="2284" y="422"/>
                  </a:lnTo>
                  <a:lnTo>
                    <a:pt x="2284" y="434"/>
                  </a:lnTo>
                  <a:lnTo>
                    <a:pt x="2290" y="434"/>
                  </a:lnTo>
                  <a:lnTo>
                    <a:pt x="2284" y="438"/>
                  </a:lnTo>
                  <a:lnTo>
                    <a:pt x="2306" y="438"/>
                  </a:lnTo>
                  <a:lnTo>
                    <a:pt x="2306" y="434"/>
                  </a:lnTo>
                  <a:lnTo>
                    <a:pt x="2318" y="434"/>
                  </a:lnTo>
                  <a:lnTo>
                    <a:pt x="2318" y="438"/>
                  </a:lnTo>
                  <a:lnTo>
                    <a:pt x="2324" y="438"/>
                  </a:lnTo>
                  <a:lnTo>
                    <a:pt x="2324" y="444"/>
                  </a:lnTo>
                  <a:lnTo>
                    <a:pt x="2326" y="444"/>
                  </a:lnTo>
                  <a:lnTo>
                    <a:pt x="2326" y="456"/>
                  </a:lnTo>
                  <a:lnTo>
                    <a:pt x="2344" y="456"/>
                  </a:lnTo>
                  <a:lnTo>
                    <a:pt x="2350" y="460"/>
                  </a:lnTo>
                  <a:lnTo>
                    <a:pt x="2350" y="464"/>
                  </a:lnTo>
                  <a:lnTo>
                    <a:pt x="2378" y="464"/>
                  </a:lnTo>
                  <a:lnTo>
                    <a:pt x="2378" y="460"/>
                  </a:lnTo>
                  <a:lnTo>
                    <a:pt x="2366" y="460"/>
                  </a:lnTo>
                  <a:lnTo>
                    <a:pt x="2366" y="456"/>
                  </a:lnTo>
                  <a:lnTo>
                    <a:pt x="2378" y="456"/>
                  </a:lnTo>
                  <a:lnTo>
                    <a:pt x="2378" y="438"/>
                  </a:lnTo>
                  <a:lnTo>
                    <a:pt x="2392" y="438"/>
                  </a:lnTo>
                  <a:lnTo>
                    <a:pt x="2392" y="434"/>
                  </a:lnTo>
                  <a:lnTo>
                    <a:pt x="2404" y="434"/>
                  </a:lnTo>
                  <a:lnTo>
                    <a:pt x="2404" y="416"/>
                  </a:lnTo>
                  <a:lnTo>
                    <a:pt x="2398" y="416"/>
                  </a:lnTo>
                  <a:lnTo>
                    <a:pt x="2398" y="410"/>
                  </a:lnTo>
                  <a:lnTo>
                    <a:pt x="2398" y="410"/>
                  </a:lnTo>
                  <a:lnTo>
                    <a:pt x="2398" y="410"/>
                  </a:lnTo>
                  <a:close/>
                  <a:moveTo>
                    <a:pt x="806" y="692"/>
                  </a:moveTo>
                  <a:lnTo>
                    <a:pt x="806" y="688"/>
                  </a:lnTo>
                  <a:lnTo>
                    <a:pt x="812" y="692"/>
                  </a:lnTo>
                  <a:lnTo>
                    <a:pt x="806" y="692"/>
                  </a:lnTo>
                  <a:lnTo>
                    <a:pt x="806" y="692"/>
                  </a:lnTo>
                  <a:lnTo>
                    <a:pt x="806" y="692"/>
                  </a:lnTo>
                  <a:close/>
                  <a:moveTo>
                    <a:pt x="936" y="238"/>
                  </a:moveTo>
                  <a:lnTo>
                    <a:pt x="936" y="234"/>
                  </a:lnTo>
                  <a:lnTo>
                    <a:pt x="940" y="234"/>
                  </a:lnTo>
                  <a:lnTo>
                    <a:pt x="936" y="238"/>
                  </a:lnTo>
                  <a:lnTo>
                    <a:pt x="936" y="238"/>
                  </a:lnTo>
                  <a:lnTo>
                    <a:pt x="936" y="238"/>
                  </a:lnTo>
                  <a:close/>
                  <a:moveTo>
                    <a:pt x="946" y="242"/>
                  </a:moveTo>
                  <a:lnTo>
                    <a:pt x="940" y="242"/>
                  </a:lnTo>
                  <a:lnTo>
                    <a:pt x="940" y="238"/>
                  </a:lnTo>
                  <a:lnTo>
                    <a:pt x="946" y="238"/>
                  </a:lnTo>
                  <a:lnTo>
                    <a:pt x="946" y="242"/>
                  </a:lnTo>
                  <a:lnTo>
                    <a:pt x="946" y="242"/>
                  </a:lnTo>
                  <a:lnTo>
                    <a:pt x="946" y="242"/>
                  </a:lnTo>
                  <a:close/>
                  <a:moveTo>
                    <a:pt x="1126" y="180"/>
                  </a:moveTo>
                  <a:lnTo>
                    <a:pt x="1120" y="180"/>
                  </a:lnTo>
                  <a:lnTo>
                    <a:pt x="1126" y="174"/>
                  </a:lnTo>
                  <a:lnTo>
                    <a:pt x="1126" y="180"/>
                  </a:lnTo>
                  <a:lnTo>
                    <a:pt x="1126" y="180"/>
                  </a:lnTo>
                  <a:lnTo>
                    <a:pt x="1126" y="180"/>
                  </a:lnTo>
                  <a:close/>
                  <a:moveTo>
                    <a:pt x="1136" y="182"/>
                  </a:moveTo>
                  <a:lnTo>
                    <a:pt x="1132" y="182"/>
                  </a:lnTo>
                  <a:lnTo>
                    <a:pt x="1132" y="180"/>
                  </a:lnTo>
                  <a:lnTo>
                    <a:pt x="1136" y="180"/>
                  </a:lnTo>
                  <a:lnTo>
                    <a:pt x="1136" y="182"/>
                  </a:lnTo>
                  <a:lnTo>
                    <a:pt x="1136" y="182"/>
                  </a:lnTo>
                  <a:lnTo>
                    <a:pt x="1136" y="182"/>
                  </a:lnTo>
                  <a:close/>
                  <a:moveTo>
                    <a:pt x="1168" y="156"/>
                  </a:moveTo>
                  <a:lnTo>
                    <a:pt x="1162" y="152"/>
                  </a:lnTo>
                  <a:lnTo>
                    <a:pt x="1168" y="152"/>
                  </a:lnTo>
                  <a:lnTo>
                    <a:pt x="1168" y="156"/>
                  </a:lnTo>
                  <a:lnTo>
                    <a:pt x="1168" y="156"/>
                  </a:lnTo>
                  <a:lnTo>
                    <a:pt x="1168" y="156"/>
                  </a:lnTo>
                  <a:close/>
                  <a:moveTo>
                    <a:pt x="1520" y="288"/>
                  </a:moveTo>
                  <a:lnTo>
                    <a:pt x="1516" y="282"/>
                  </a:lnTo>
                  <a:lnTo>
                    <a:pt x="1516" y="276"/>
                  </a:lnTo>
                  <a:lnTo>
                    <a:pt x="1520" y="276"/>
                  </a:lnTo>
                  <a:lnTo>
                    <a:pt x="1520" y="288"/>
                  </a:lnTo>
                  <a:lnTo>
                    <a:pt x="1520" y="288"/>
                  </a:lnTo>
                  <a:lnTo>
                    <a:pt x="1520" y="288"/>
                  </a:lnTo>
                  <a:close/>
                  <a:moveTo>
                    <a:pt x="1844" y="296"/>
                  </a:moveTo>
                  <a:lnTo>
                    <a:pt x="1842" y="296"/>
                  </a:lnTo>
                  <a:lnTo>
                    <a:pt x="1844" y="292"/>
                  </a:lnTo>
                  <a:lnTo>
                    <a:pt x="1844" y="296"/>
                  </a:lnTo>
                  <a:lnTo>
                    <a:pt x="1844" y="296"/>
                  </a:lnTo>
                  <a:lnTo>
                    <a:pt x="1844" y="296"/>
                  </a:lnTo>
                  <a:close/>
                  <a:moveTo>
                    <a:pt x="2214" y="460"/>
                  </a:moveTo>
                  <a:lnTo>
                    <a:pt x="2210" y="460"/>
                  </a:lnTo>
                  <a:lnTo>
                    <a:pt x="2210" y="450"/>
                  </a:lnTo>
                  <a:lnTo>
                    <a:pt x="2214" y="456"/>
                  </a:lnTo>
                  <a:lnTo>
                    <a:pt x="2214" y="460"/>
                  </a:lnTo>
                  <a:lnTo>
                    <a:pt x="2214" y="460"/>
                  </a:lnTo>
                  <a:lnTo>
                    <a:pt x="2214" y="460"/>
                  </a:lnTo>
                  <a:close/>
                  <a:moveTo>
                    <a:pt x="2408" y="416"/>
                  </a:moveTo>
                  <a:lnTo>
                    <a:pt x="2408" y="428"/>
                  </a:lnTo>
                  <a:lnTo>
                    <a:pt x="2414" y="428"/>
                  </a:lnTo>
                  <a:lnTo>
                    <a:pt x="2414" y="422"/>
                  </a:lnTo>
                  <a:lnTo>
                    <a:pt x="2408" y="416"/>
                  </a:lnTo>
                  <a:lnTo>
                    <a:pt x="2408" y="416"/>
                  </a:lnTo>
                  <a:lnTo>
                    <a:pt x="2408" y="416"/>
                  </a:lnTo>
                  <a:close/>
                  <a:moveTo>
                    <a:pt x="2306" y="292"/>
                  </a:moveTo>
                  <a:lnTo>
                    <a:pt x="2300" y="296"/>
                  </a:lnTo>
                  <a:lnTo>
                    <a:pt x="2284" y="296"/>
                  </a:lnTo>
                  <a:lnTo>
                    <a:pt x="2278" y="302"/>
                  </a:lnTo>
                  <a:lnTo>
                    <a:pt x="2272" y="302"/>
                  </a:lnTo>
                  <a:lnTo>
                    <a:pt x="2268" y="296"/>
                  </a:lnTo>
                  <a:lnTo>
                    <a:pt x="2264" y="296"/>
                  </a:lnTo>
                  <a:lnTo>
                    <a:pt x="2264" y="302"/>
                  </a:lnTo>
                  <a:lnTo>
                    <a:pt x="2246" y="302"/>
                  </a:lnTo>
                  <a:lnTo>
                    <a:pt x="2246" y="296"/>
                  </a:lnTo>
                  <a:lnTo>
                    <a:pt x="2252" y="296"/>
                  </a:lnTo>
                  <a:lnTo>
                    <a:pt x="2252" y="292"/>
                  </a:lnTo>
                  <a:lnTo>
                    <a:pt x="2258" y="292"/>
                  </a:lnTo>
                  <a:lnTo>
                    <a:pt x="2258" y="288"/>
                  </a:lnTo>
                  <a:lnTo>
                    <a:pt x="2296" y="288"/>
                  </a:lnTo>
                  <a:lnTo>
                    <a:pt x="2296" y="292"/>
                  </a:lnTo>
                  <a:lnTo>
                    <a:pt x="2306" y="292"/>
                  </a:lnTo>
                  <a:lnTo>
                    <a:pt x="2306" y="292"/>
                  </a:lnTo>
                  <a:lnTo>
                    <a:pt x="2306" y="292"/>
                  </a:lnTo>
                  <a:close/>
                  <a:moveTo>
                    <a:pt x="1314" y="152"/>
                  </a:moveTo>
                  <a:lnTo>
                    <a:pt x="1308" y="152"/>
                  </a:lnTo>
                  <a:lnTo>
                    <a:pt x="1308" y="152"/>
                  </a:lnTo>
                  <a:lnTo>
                    <a:pt x="1304" y="152"/>
                  </a:lnTo>
                  <a:lnTo>
                    <a:pt x="1308" y="152"/>
                  </a:lnTo>
                  <a:lnTo>
                    <a:pt x="1314" y="152"/>
                  </a:lnTo>
                  <a:lnTo>
                    <a:pt x="1314" y="152"/>
                  </a:lnTo>
                  <a:lnTo>
                    <a:pt x="1314" y="152"/>
                  </a:lnTo>
                  <a:lnTo>
                    <a:pt x="1314" y="152"/>
                  </a:lnTo>
                  <a:lnTo>
                    <a:pt x="1314" y="152"/>
                  </a:lnTo>
                  <a:lnTo>
                    <a:pt x="1314" y="152"/>
                  </a:lnTo>
                  <a:lnTo>
                    <a:pt x="1314" y="152"/>
                  </a:lnTo>
                  <a:close/>
                  <a:moveTo>
                    <a:pt x="1466" y="242"/>
                  </a:moveTo>
                  <a:lnTo>
                    <a:pt x="1466" y="238"/>
                  </a:lnTo>
                  <a:lnTo>
                    <a:pt x="1466" y="238"/>
                  </a:lnTo>
                  <a:lnTo>
                    <a:pt x="1466" y="234"/>
                  </a:lnTo>
                  <a:lnTo>
                    <a:pt x="1466" y="228"/>
                  </a:lnTo>
                  <a:lnTo>
                    <a:pt x="1466" y="228"/>
                  </a:lnTo>
                  <a:lnTo>
                    <a:pt x="1466" y="234"/>
                  </a:lnTo>
                  <a:lnTo>
                    <a:pt x="1472" y="234"/>
                  </a:lnTo>
                  <a:lnTo>
                    <a:pt x="1476" y="234"/>
                  </a:lnTo>
                  <a:lnTo>
                    <a:pt x="1472" y="228"/>
                  </a:lnTo>
                  <a:lnTo>
                    <a:pt x="1476" y="228"/>
                  </a:lnTo>
                  <a:lnTo>
                    <a:pt x="1482" y="228"/>
                  </a:lnTo>
                  <a:lnTo>
                    <a:pt x="1482" y="228"/>
                  </a:lnTo>
                  <a:lnTo>
                    <a:pt x="1482" y="228"/>
                  </a:lnTo>
                  <a:lnTo>
                    <a:pt x="1488" y="228"/>
                  </a:lnTo>
                  <a:lnTo>
                    <a:pt x="1488" y="234"/>
                  </a:lnTo>
                  <a:lnTo>
                    <a:pt x="1494" y="228"/>
                  </a:lnTo>
                  <a:lnTo>
                    <a:pt x="1494" y="234"/>
                  </a:lnTo>
                  <a:lnTo>
                    <a:pt x="1494" y="234"/>
                  </a:lnTo>
                  <a:lnTo>
                    <a:pt x="1500" y="234"/>
                  </a:lnTo>
                  <a:lnTo>
                    <a:pt x="1500" y="238"/>
                  </a:lnTo>
                  <a:lnTo>
                    <a:pt x="1494" y="238"/>
                  </a:lnTo>
                  <a:lnTo>
                    <a:pt x="1500" y="238"/>
                  </a:lnTo>
                  <a:lnTo>
                    <a:pt x="1504" y="238"/>
                  </a:lnTo>
                  <a:lnTo>
                    <a:pt x="1504" y="234"/>
                  </a:lnTo>
                  <a:lnTo>
                    <a:pt x="1504" y="234"/>
                  </a:lnTo>
                  <a:lnTo>
                    <a:pt x="1510" y="234"/>
                  </a:lnTo>
                  <a:lnTo>
                    <a:pt x="1504" y="238"/>
                  </a:lnTo>
                  <a:lnTo>
                    <a:pt x="1510" y="238"/>
                  </a:lnTo>
                  <a:lnTo>
                    <a:pt x="1510" y="238"/>
                  </a:lnTo>
                  <a:lnTo>
                    <a:pt x="1510" y="242"/>
                  </a:lnTo>
                  <a:lnTo>
                    <a:pt x="1516" y="242"/>
                  </a:lnTo>
                  <a:lnTo>
                    <a:pt x="1516" y="248"/>
                  </a:lnTo>
                  <a:lnTo>
                    <a:pt x="1510" y="248"/>
                  </a:lnTo>
                  <a:lnTo>
                    <a:pt x="1510" y="248"/>
                  </a:lnTo>
                  <a:lnTo>
                    <a:pt x="1504" y="248"/>
                  </a:lnTo>
                  <a:lnTo>
                    <a:pt x="1510" y="248"/>
                  </a:lnTo>
                  <a:lnTo>
                    <a:pt x="1510" y="254"/>
                  </a:lnTo>
                  <a:lnTo>
                    <a:pt x="1504" y="254"/>
                  </a:lnTo>
                  <a:lnTo>
                    <a:pt x="1504" y="260"/>
                  </a:lnTo>
                  <a:lnTo>
                    <a:pt x="1504" y="260"/>
                  </a:lnTo>
                  <a:lnTo>
                    <a:pt x="1504" y="266"/>
                  </a:lnTo>
                  <a:lnTo>
                    <a:pt x="1504" y="266"/>
                  </a:lnTo>
                  <a:lnTo>
                    <a:pt x="1500" y="266"/>
                  </a:lnTo>
                  <a:lnTo>
                    <a:pt x="1500" y="260"/>
                  </a:lnTo>
                  <a:lnTo>
                    <a:pt x="1494" y="260"/>
                  </a:lnTo>
                  <a:lnTo>
                    <a:pt x="1494" y="260"/>
                  </a:lnTo>
                  <a:lnTo>
                    <a:pt x="1494" y="260"/>
                  </a:lnTo>
                  <a:lnTo>
                    <a:pt x="1488" y="260"/>
                  </a:lnTo>
                  <a:lnTo>
                    <a:pt x="1488" y="254"/>
                  </a:lnTo>
                  <a:lnTo>
                    <a:pt x="1482" y="254"/>
                  </a:lnTo>
                  <a:lnTo>
                    <a:pt x="1482" y="254"/>
                  </a:lnTo>
                  <a:lnTo>
                    <a:pt x="1476" y="254"/>
                  </a:lnTo>
                  <a:lnTo>
                    <a:pt x="1472" y="254"/>
                  </a:lnTo>
                  <a:lnTo>
                    <a:pt x="1466" y="254"/>
                  </a:lnTo>
                  <a:lnTo>
                    <a:pt x="1466" y="248"/>
                  </a:lnTo>
                  <a:lnTo>
                    <a:pt x="1466" y="248"/>
                  </a:lnTo>
                  <a:lnTo>
                    <a:pt x="1462" y="248"/>
                  </a:lnTo>
                  <a:lnTo>
                    <a:pt x="1456" y="248"/>
                  </a:lnTo>
                  <a:lnTo>
                    <a:pt x="1456" y="248"/>
                  </a:lnTo>
                  <a:lnTo>
                    <a:pt x="1456" y="248"/>
                  </a:lnTo>
                  <a:lnTo>
                    <a:pt x="1456" y="248"/>
                  </a:lnTo>
                  <a:lnTo>
                    <a:pt x="1462" y="248"/>
                  </a:lnTo>
                  <a:lnTo>
                    <a:pt x="1466" y="248"/>
                  </a:lnTo>
                  <a:lnTo>
                    <a:pt x="1466" y="248"/>
                  </a:lnTo>
                  <a:lnTo>
                    <a:pt x="1466" y="242"/>
                  </a:lnTo>
                  <a:lnTo>
                    <a:pt x="1466" y="242"/>
                  </a:lnTo>
                  <a:lnTo>
                    <a:pt x="1466" y="242"/>
                  </a:lnTo>
                  <a:lnTo>
                    <a:pt x="1466" y="242"/>
                  </a:lnTo>
                  <a:lnTo>
                    <a:pt x="1466" y="242"/>
                  </a:lnTo>
                  <a:close/>
                  <a:moveTo>
                    <a:pt x="1516" y="248"/>
                  </a:moveTo>
                  <a:lnTo>
                    <a:pt x="1516" y="242"/>
                  </a:lnTo>
                  <a:lnTo>
                    <a:pt x="1510" y="238"/>
                  </a:lnTo>
                  <a:lnTo>
                    <a:pt x="1516" y="238"/>
                  </a:lnTo>
                  <a:lnTo>
                    <a:pt x="1516" y="238"/>
                  </a:lnTo>
                  <a:lnTo>
                    <a:pt x="1516" y="234"/>
                  </a:lnTo>
                  <a:lnTo>
                    <a:pt x="1516" y="234"/>
                  </a:lnTo>
                  <a:lnTo>
                    <a:pt x="1516" y="234"/>
                  </a:lnTo>
                  <a:lnTo>
                    <a:pt x="1520" y="234"/>
                  </a:lnTo>
                  <a:lnTo>
                    <a:pt x="1526" y="238"/>
                  </a:lnTo>
                  <a:lnTo>
                    <a:pt x="1530" y="238"/>
                  </a:lnTo>
                  <a:lnTo>
                    <a:pt x="1530" y="238"/>
                  </a:lnTo>
                  <a:lnTo>
                    <a:pt x="1530" y="238"/>
                  </a:lnTo>
                  <a:lnTo>
                    <a:pt x="1536" y="238"/>
                  </a:lnTo>
                  <a:lnTo>
                    <a:pt x="1542" y="238"/>
                  </a:lnTo>
                  <a:lnTo>
                    <a:pt x="1542" y="238"/>
                  </a:lnTo>
                  <a:lnTo>
                    <a:pt x="1542" y="242"/>
                  </a:lnTo>
                  <a:lnTo>
                    <a:pt x="1542" y="248"/>
                  </a:lnTo>
                  <a:lnTo>
                    <a:pt x="1542" y="242"/>
                  </a:lnTo>
                  <a:lnTo>
                    <a:pt x="1548" y="242"/>
                  </a:lnTo>
                  <a:lnTo>
                    <a:pt x="1548" y="248"/>
                  </a:lnTo>
                  <a:lnTo>
                    <a:pt x="1542" y="248"/>
                  </a:lnTo>
                  <a:lnTo>
                    <a:pt x="1542" y="248"/>
                  </a:lnTo>
                  <a:lnTo>
                    <a:pt x="1536" y="248"/>
                  </a:lnTo>
                  <a:lnTo>
                    <a:pt x="1530" y="248"/>
                  </a:lnTo>
                  <a:lnTo>
                    <a:pt x="1530" y="254"/>
                  </a:lnTo>
                  <a:lnTo>
                    <a:pt x="1530" y="254"/>
                  </a:lnTo>
                  <a:lnTo>
                    <a:pt x="1526" y="254"/>
                  </a:lnTo>
                  <a:lnTo>
                    <a:pt x="1520" y="254"/>
                  </a:lnTo>
                  <a:lnTo>
                    <a:pt x="1516" y="260"/>
                  </a:lnTo>
                  <a:lnTo>
                    <a:pt x="1516" y="260"/>
                  </a:lnTo>
                  <a:lnTo>
                    <a:pt x="1510" y="260"/>
                  </a:lnTo>
                  <a:lnTo>
                    <a:pt x="1510" y="260"/>
                  </a:lnTo>
                  <a:lnTo>
                    <a:pt x="1504" y="260"/>
                  </a:lnTo>
                  <a:lnTo>
                    <a:pt x="1504" y="254"/>
                  </a:lnTo>
                  <a:lnTo>
                    <a:pt x="1510" y="254"/>
                  </a:lnTo>
                  <a:lnTo>
                    <a:pt x="1510" y="248"/>
                  </a:lnTo>
                  <a:lnTo>
                    <a:pt x="1504" y="248"/>
                  </a:lnTo>
                  <a:lnTo>
                    <a:pt x="1510" y="248"/>
                  </a:lnTo>
                  <a:lnTo>
                    <a:pt x="1510" y="248"/>
                  </a:lnTo>
                  <a:lnTo>
                    <a:pt x="1516" y="248"/>
                  </a:lnTo>
                  <a:lnTo>
                    <a:pt x="1516" y="248"/>
                  </a:lnTo>
                  <a:lnTo>
                    <a:pt x="1516" y="248"/>
                  </a:lnTo>
                  <a:lnTo>
                    <a:pt x="1516" y="248"/>
                  </a:lnTo>
                  <a:close/>
                  <a:moveTo>
                    <a:pt x="1520" y="260"/>
                  </a:moveTo>
                  <a:lnTo>
                    <a:pt x="1520" y="254"/>
                  </a:lnTo>
                  <a:lnTo>
                    <a:pt x="1526" y="254"/>
                  </a:lnTo>
                  <a:lnTo>
                    <a:pt x="1530" y="254"/>
                  </a:lnTo>
                  <a:lnTo>
                    <a:pt x="1530" y="254"/>
                  </a:lnTo>
                  <a:lnTo>
                    <a:pt x="1536" y="254"/>
                  </a:lnTo>
                  <a:lnTo>
                    <a:pt x="1542" y="254"/>
                  </a:lnTo>
                  <a:lnTo>
                    <a:pt x="1542" y="254"/>
                  </a:lnTo>
                  <a:lnTo>
                    <a:pt x="1548" y="254"/>
                  </a:lnTo>
                  <a:lnTo>
                    <a:pt x="1554" y="254"/>
                  </a:lnTo>
                  <a:lnTo>
                    <a:pt x="1548" y="260"/>
                  </a:lnTo>
                  <a:lnTo>
                    <a:pt x="1542" y="254"/>
                  </a:lnTo>
                  <a:lnTo>
                    <a:pt x="1542" y="254"/>
                  </a:lnTo>
                  <a:lnTo>
                    <a:pt x="1536" y="254"/>
                  </a:lnTo>
                  <a:lnTo>
                    <a:pt x="1530" y="260"/>
                  </a:lnTo>
                  <a:lnTo>
                    <a:pt x="1530" y="254"/>
                  </a:lnTo>
                  <a:lnTo>
                    <a:pt x="1526" y="260"/>
                  </a:lnTo>
                  <a:lnTo>
                    <a:pt x="1520" y="260"/>
                  </a:lnTo>
                  <a:lnTo>
                    <a:pt x="1520" y="260"/>
                  </a:lnTo>
                  <a:lnTo>
                    <a:pt x="1520" y="260"/>
                  </a:lnTo>
                  <a:lnTo>
                    <a:pt x="1520" y="260"/>
                  </a:lnTo>
                  <a:close/>
                  <a:moveTo>
                    <a:pt x="1516" y="260"/>
                  </a:moveTo>
                  <a:lnTo>
                    <a:pt x="1516" y="260"/>
                  </a:lnTo>
                  <a:lnTo>
                    <a:pt x="1516" y="260"/>
                  </a:lnTo>
                  <a:lnTo>
                    <a:pt x="1520" y="260"/>
                  </a:lnTo>
                  <a:lnTo>
                    <a:pt x="1526" y="260"/>
                  </a:lnTo>
                  <a:lnTo>
                    <a:pt x="1530" y="260"/>
                  </a:lnTo>
                  <a:lnTo>
                    <a:pt x="1530" y="260"/>
                  </a:lnTo>
                  <a:lnTo>
                    <a:pt x="1542" y="260"/>
                  </a:lnTo>
                  <a:lnTo>
                    <a:pt x="1542" y="260"/>
                  </a:lnTo>
                  <a:lnTo>
                    <a:pt x="1548" y="260"/>
                  </a:lnTo>
                  <a:lnTo>
                    <a:pt x="1554" y="260"/>
                  </a:lnTo>
                  <a:lnTo>
                    <a:pt x="1554" y="266"/>
                  </a:lnTo>
                  <a:lnTo>
                    <a:pt x="1554" y="266"/>
                  </a:lnTo>
                  <a:lnTo>
                    <a:pt x="1554" y="270"/>
                  </a:lnTo>
                  <a:lnTo>
                    <a:pt x="1554" y="270"/>
                  </a:lnTo>
                  <a:lnTo>
                    <a:pt x="1548" y="270"/>
                  </a:lnTo>
                  <a:lnTo>
                    <a:pt x="1554" y="270"/>
                  </a:lnTo>
                  <a:lnTo>
                    <a:pt x="1548" y="276"/>
                  </a:lnTo>
                  <a:lnTo>
                    <a:pt x="1542" y="276"/>
                  </a:lnTo>
                  <a:lnTo>
                    <a:pt x="1542" y="276"/>
                  </a:lnTo>
                  <a:lnTo>
                    <a:pt x="1542" y="270"/>
                  </a:lnTo>
                  <a:lnTo>
                    <a:pt x="1536" y="270"/>
                  </a:lnTo>
                  <a:lnTo>
                    <a:pt x="1536" y="266"/>
                  </a:lnTo>
                  <a:lnTo>
                    <a:pt x="1530" y="266"/>
                  </a:lnTo>
                  <a:lnTo>
                    <a:pt x="1530" y="266"/>
                  </a:lnTo>
                  <a:lnTo>
                    <a:pt x="1530" y="260"/>
                  </a:lnTo>
                  <a:lnTo>
                    <a:pt x="1526" y="260"/>
                  </a:lnTo>
                  <a:lnTo>
                    <a:pt x="1520" y="260"/>
                  </a:lnTo>
                  <a:lnTo>
                    <a:pt x="1516" y="260"/>
                  </a:lnTo>
                  <a:lnTo>
                    <a:pt x="1516" y="260"/>
                  </a:lnTo>
                  <a:lnTo>
                    <a:pt x="1516" y="260"/>
                  </a:lnTo>
                  <a:lnTo>
                    <a:pt x="1516" y="260"/>
                  </a:lnTo>
                  <a:lnTo>
                    <a:pt x="1516" y="260"/>
                  </a:lnTo>
                  <a:close/>
                  <a:moveTo>
                    <a:pt x="1998" y="302"/>
                  </a:moveTo>
                  <a:lnTo>
                    <a:pt x="1992" y="302"/>
                  </a:lnTo>
                  <a:lnTo>
                    <a:pt x="1998" y="302"/>
                  </a:lnTo>
                  <a:lnTo>
                    <a:pt x="1998" y="302"/>
                  </a:lnTo>
                  <a:lnTo>
                    <a:pt x="1998" y="302"/>
                  </a:lnTo>
                  <a:lnTo>
                    <a:pt x="1998" y="302"/>
                  </a:lnTo>
                  <a:close/>
                  <a:moveTo>
                    <a:pt x="562" y="348"/>
                  </a:moveTo>
                  <a:lnTo>
                    <a:pt x="556" y="348"/>
                  </a:lnTo>
                  <a:lnTo>
                    <a:pt x="550" y="348"/>
                  </a:lnTo>
                  <a:lnTo>
                    <a:pt x="550" y="342"/>
                  </a:lnTo>
                  <a:lnTo>
                    <a:pt x="550" y="348"/>
                  </a:lnTo>
                  <a:lnTo>
                    <a:pt x="556" y="348"/>
                  </a:lnTo>
                  <a:lnTo>
                    <a:pt x="562" y="348"/>
                  </a:lnTo>
                  <a:lnTo>
                    <a:pt x="562" y="348"/>
                  </a:lnTo>
                  <a:lnTo>
                    <a:pt x="562" y="348"/>
                  </a:lnTo>
                  <a:lnTo>
                    <a:pt x="562" y="348"/>
                  </a:lnTo>
                  <a:lnTo>
                    <a:pt x="562" y="348"/>
                  </a:lnTo>
                  <a:close/>
                  <a:moveTo>
                    <a:pt x="14" y="672"/>
                  </a:moveTo>
                  <a:lnTo>
                    <a:pt x="20" y="672"/>
                  </a:lnTo>
                  <a:lnTo>
                    <a:pt x="14" y="672"/>
                  </a:lnTo>
                  <a:lnTo>
                    <a:pt x="14" y="676"/>
                  </a:lnTo>
                  <a:lnTo>
                    <a:pt x="14" y="676"/>
                  </a:lnTo>
                  <a:lnTo>
                    <a:pt x="14" y="682"/>
                  </a:lnTo>
                  <a:lnTo>
                    <a:pt x="14" y="682"/>
                  </a:lnTo>
                  <a:lnTo>
                    <a:pt x="20" y="682"/>
                  </a:lnTo>
                  <a:lnTo>
                    <a:pt x="26" y="682"/>
                  </a:lnTo>
                  <a:lnTo>
                    <a:pt x="26" y="676"/>
                  </a:lnTo>
                  <a:lnTo>
                    <a:pt x="20" y="672"/>
                  </a:lnTo>
                  <a:lnTo>
                    <a:pt x="26" y="672"/>
                  </a:lnTo>
                  <a:lnTo>
                    <a:pt x="26" y="672"/>
                  </a:lnTo>
                  <a:lnTo>
                    <a:pt x="36" y="676"/>
                  </a:lnTo>
                  <a:lnTo>
                    <a:pt x="36" y="676"/>
                  </a:lnTo>
                  <a:lnTo>
                    <a:pt x="42" y="676"/>
                  </a:lnTo>
                  <a:lnTo>
                    <a:pt x="48" y="682"/>
                  </a:lnTo>
                  <a:lnTo>
                    <a:pt x="48" y="682"/>
                  </a:lnTo>
                  <a:lnTo>
                    <a:pt x="42" y="682"/>
                  </a:lnTo>
                  <a:lnTo>
                    <a:pt x="42" y="688"/>
                  </a:lnTo>
                  <a:lnTo>
                    <a:pt x="42" y="692"/>
                  </a:lnTo>
                  <a:lnTo>
                    <a:pt x="36" y="692"/>
                  </a:lnTo>
                  <a:lnTo>
                    <a:pt x="36" y="692"/>
                  </a:lnTo>
                  <a:lnTo>
                    <a:pt x="30" y="692"/>
                  </a:lnTo>
                  <a:lnTo>
                    <a:pt x="26" y="692"/>
                  </a:lnTo>
                  <a:lnTo>
                    <a:pt x="26" y="692"/>
                  </a:lnTo>
                  <a:lnTo>
                    <a:pt x="20" y="692"/>
                  </a:lnTo>
                  <a:lnTo>
                    <a:pt x="14" y="692"/>
                  </a:lnTo>
                  <a:lnTo>
                    <a:pt x="14" y="692"/>
                  </a:lnTo>
                  <a:lnTo>
                    <a:pt x="10" y="692"/>
                  </a:lnTo>
                  <a:lnTo>
                    <a:pt x="4" y="692"/>
                  </a:lnTo>
                  <a:lnTo>
                    <a:pt x="0" y="692"/>
                  </a:lnTo>
                  <a:lnTo>
                    <a:pt x="0" y="688"/>
                  </a:lnTo>
                  <a:lnTo>
                    <a:pt x="4" y="688"/>
                  </a:lnTo>
                  <a:lnTo>
                    <a:pt x="10" y="688"/>
                  </a:lnTo>
                  <a:lnTo>
                    <a:pt x="10" y="682"/>
                  </a:lnTo>
                  <a:lnTo>
                    <a:pt x="4" y="682"/>
                  </a:lnTo>
                  <a:lnTo>
                    <a:pt x="0" y="682"/>
                  </a:lnTo>
                  <a:lnTo>
                    <a:pt x="4" y="682"/>
                  </a:lnTo>
                  <a:lnTo>
                    <a:pt x="4" y="682"/>
                  </a:lnTo>
                  <a:lnTo>
                    <a:pt x="4" y="676"/>
                  </a:lnTo>
                  <a:lnTo>
                    <a:pt x="4" y="682"/>
                  </a:lnTo>
                  <a:lnTo>
                    <a:pt x="10" y="682"/>
                  </a:lnTo>
                  <a:lnTo>
                    <a:pt x="14" y="682"/>
                  </a:lnTo>
                  <a:lnTo>
                    <a:pt x="14" y="676"/>
                  </a:lnTo>
                  <a:lnTo>
                    <a:pt x="14" y="676"/>
                  </a:lnTo>
                  <a:lnTo>
                    <a:pt x="14" y="672"/>
                  </a:lnTo>
                  <a:lnTo>
                    <a:pt x="14" y="672"/>
                  </a:lnTo>
                  <a:lnTo>
                    <a:pt x="14" y="672"/>
                  </a:lnTo>
                  <a:lnTo>
                    <a:pt x="14" y="672"/>
                  </a:lnTo>
                  <a:close/>
                  <a:moveTo>
                    <a:pt x="0" y="688"/>
                  </a:moveTo>
                  <a:lnTo>
                    <a:pt x="0" y="688"/>
                  </a:lnTo>
                  <a:lnTo>
                    <a:pt x="0" y="688"/>
                  </a:lnTo>
                  <a:lnTo>
                    <a:pt x="0" y="688"/>
                  </a:lnTo>
                  <a:lnTo>
                    <a:pt x="0" y="688"/>
                  </a:lnTo>
                  <a:lnTo>
                    <a:pt x="0" y="688"/>
                  </a:lnTo>
                  <a:close/>
                  <a:moveTo>
                    <a:pt x="600" y="6"/>
                  </a:moveTo>
                  <a:lnTo>
                    <a:pt x="604" y="6"/>
                  </a:lnTo>
                  <a:lnTo>
                    <a:pt x="610" y="0"/>
                  </a:lnTo>
                  <a:lnTo>
                    <a:pt x="610" y="6"/>
                  </a:lnTo>
                  <a:lnTo>
                    <a:pt x="610" y="6"/>
                  </a:lnTo>
                  <a:lnTo>
                    <a:pt x="610" y="0"/>
                  </a:lnTo>
                  <a:lnTo>
                    <a:pt x="616" y="0"/>
                  </a:lnTo>
                  <a:lnTo>
                    <a:pt x="622" y="0"/>
                  </a:lnTo>
                  <a:lnTo>
                    <a:pt x="622" y="6"/>
                  </a:lnTo>
                  <a:lnTo>
                    <a:pt x="622" y="6"/>
                  </a:lnTo>
                  <a:lnTo>
                    <a:pt x="622" y="12"/>
                  </a:lnTo>
                  <a:lnTo>
                    <a:pt x="616" y="6"/>
                  </a:lnTo>
                  <a:lnTo>
                    <a:pt x="610" y="6"/>
                  </a:lnTo>
                  <a:lnTo>
                    <a:pt x="610" y="6"/>
                  </a:lnTo>
                  <a:lnTo>
                    <a:pt x="604" y="6"/>
                  </a:lnTo>
                  <a:lnTo>
                    <a:pt x="600" y="6"/>
                  </a:lnTo>
                  <a:lnTo>
                    <a:pt x="600" y="6"/>
                  </a:lnTo>
                  <a:lnTo>
                    <a:pt x="600" y="6"/>
                  </a:lnTo>
                  <a:lnTo>
                    <a:pt x="600" y="6"/>
                  </a:lnTo>
                  <a:close/>
                  <a:moveTo>
                    <a:pt x="546" y="6"/>
                  </a:moveTo>
                  <a:lnTo>
                    <a:pt x="550" y="6"/>
                  </a:lnTo>
                  <a:lnTo>
                    <a:pt x="550" y="6"/>
                  </a:lnTo>
                  <a:lnTo>
                    <a:pt x="550" y="12"/>
                  </a:lnTo>
                  <a:lnTo>
                    <a:pt x="550" y="12"/>
                  </a:lnTo>
                  <a:lnTo>
                    <a:pt x="546" y="12"/>
                  </a:lnTo>
                  <a:lnTo>
                    <a:pt x="546" y="6"/>
                  </a:lnTo>
                  <a:lnTo>
                    <a:pt x="546" y="6"/>
                  </a:lnTo>
                  <a:lnTo>
                    <a:pt x="546" y="6"/>
                  </a:lnTo>
                  <a:lnTo>
                    <a:pt x="546" y="6"/>
                  </a:lnTo>
                  <a:close/>
                  <a:moveTo>
                    <a:pt x="596" y="6"/>
                  </a:moveTo>
                  <a:lnTo>
                    <a:pt x="600" y="6"/>
                  </a:lnTo>
                  <a:lnTo>
                    <a:pt x="600" y="12"/>
                  </a:lnTo>
                  <a:lnTo>
                    <a:pt x="600" y="12"/>
                  </a:lnTo>
                  <a:lnTo>
                    <a:pt x="596" y="6"/>
                  </a:lnTo>
                  <a:lnTo>
                    <a:pt x="596" y="6"/>
                  </a:lnTo>
                  <a:lnTo>
                    <a:pt x="596" y="6"/>
                  </a:lnTo>
                  <a:lnTo>
                    <a:pt x="596" y="6"/>
                  </a:lnTo>
                  <a:close/>
                  <a:moveTo>
                    <a:pt x="550" y="12"/>
                  </a:moveTo>
                  <a:lnTo>
                    <a:pt x="550" y="12"/>
                  </a:lnTo>
                  <a:lnTo>
                    <a:pt x="556" y="12"/>
                  </a:lnTo>
                  <a:lnTo>
                    <a:pt x="562" y="12"/>
                  </a:lnTo>
                  <a:lnTo>
                    <a:pt x="562" y="16"/>
                  </a:lnTo>
                  <a:lnTo>
                    <a:pt x="556" y="16"/>
                  </a:lnTo>
                  <a:lnTo>
                    <a:pt x="550" y="16"/>
                  </a:lnTo>
                  <a:lnTo>
                    <a:pt x="550" y="16"/>
                  </a:lnTo>
                  <a:lnTo>
                    <a:pt x="550" y="12"/>
                  </a:lnTo>
                  <a:lnTo>
                    <a:pt x="550" y="12"/>
                  </a:lnTo>
                  <a:lnTo>
                    <a:pt x="550" y="12"/>
                  </a:lnTo>
                  <a:lnTo>
                    <a:pt x="550" y="12"/>
                  </a:lnTo>
                  <a:close/>
                  <a:moveTo>
                    <a:pt x="492" y="16"/>
                  </a:moveTo>
                  <a:lnTo>
                    <a:pt x="486" y="12"/>
                  </a:lnTo>
                  <a:lnTo>
                    <a:pt x="492" y="12"/>
                  </a:lnTo>
                  <a:lnTo>
                    <a:pt x="492" y="16"/>
                  </a:lnTo>
                  <a:lnTo>
                    <a:pt x="492" y="16"/>
                  </a:lnTo>
                  <a:lnTo>
                    <a:pt x="492" y="16"/>
                  </a:lnTo>
                  <a:lnTo>
                    <a:pt x="492" y="16"/>
                  </a:lnTo>
                  <a:lnTo>
                    <a:pt x="492" y="16"/>
                  </a:lnTo>
                  <a:lnTo>
                    <a:pt x="492" y="16"/>
                  </a:lnTo>
                  <a:close/>
                  <a:moveTo>
                    <a:pt x="568" y="16"/>
                  </a:moveTo>
                  <a:lnTo>
                    <a:pt x="572" y="16"/>
                  </a:lnTo>
                  <a:lnTo>
                    <a:pt x="572" y="16"/>
                  </a:lnTo>
                  <a:lnTo>
                    <a:pt x="578" y="16"/>
                  </a:lnTo>
                  <a:lnTo>
                    <a:pt x="572" y="16"/>
                  </a:lnTo>
                  <a:lnTo>
                    <a:pt x="572" y="16"/>
                  </a:lnTo>
                  <a:lnTo>
                    <a:pt x="568" y="16"/>
                  </a:lnTo>
                  <a:lnTo>
                    <a:pt x="568" y="16"/>
                  </a:lnTo>
                  <a:lnTo>
                    <a:pt x="568" y="16"/>
                  </a:lnTo>
                  <a:lnTo>
                    <a:pt x="568" y="16"/>
                  </a:lnTo>
                  <a:close/>
                  <a:moveTo>
                    <a:pt x="530" y="20"/>
                  </a:moveTo>
                  <a:lnTo>
                    <a:pt x="536" y="16"/>
                  </a:lnTo>
                  <a:lnTo>
                    <a:pt x="536" y="16"/>
                  </a:lnTo>
                  <a:lnTo>
                    <a:pt x="540" y="16"/>
                  </a:lnTo>
                  <a:lnTo>
                    <a:pt x="540" y="20"/>
                  </a:lnTo>
                  <a:lnTo>
                    <a:pt x="536" y="20"/>
                  </a:lnTo>
                  <a:lnTo>
                    <a:pt x="536" y="20"/>
                  </a:lnTo>
                  <a:lnTo>
                    <a:pt x="530" y="20"/>
                  </a:lnTo>
                  <a:lnTo>
                    <a:pt x="524" y="20"/>
                  </a:lnTo>
                  <a:lnTo>
                    <a:pt x="530" y="20"/>
                  </a:lnTo>
                  <a:lnTo>
                    <a:pt x="530" y="20"/>
                  </a:lnTo>
                  <a:lnTo>
                    <a:pt x="530" y="20"/>
                  </a:lnTo>
                  <a:lnTo>
                    <a:pt x="530" y="20"/>
                  </a:lnTo>
                  <a:close/>
                  <a:moveTo>
                    <a:pt x="1006" y="26"/>
                  </a:moveTo>
                  <a:lnTo>
                    <a:pt x="1006" y="26"/>
                  </a:lnTo>
                  <a:lnTo>
                    <a:pt x="994" y="20"/>
                  </a:lnTo>
                  <a:lnTo>
                    <a:pt x="990" y="20"/>
                  </a:lnTo>
                  <a:lnTo>
                    <a:pt x="994" y="20"/>
                  </a:lnTo>
                  <a:lnTo>
                    <a:pt x="994" y="16"/>
                  </a:lnTo>
                  <a:lnTo>
                    <a:pt x="1000" y="16"/>
                  </a:lnTo>
                  <a:lnTo>
                    <a:pt x="1006" y="16"/>
                  </a:lnTo>
                  <a:lnTo>
                    <a:pt x="1006" y="16"/>
                  </a:lnTo>
                  <a:lnTo>
                    <a:pt x="1012" y="16"/>
                  </a:lnTo>
                  <a:lnTo>
                    <a:pt x="1018" y="20"/>
                  </a:lnTo>
                  <a:lnTo>
                    <a:pt x="1018" y="20"/>
                  </a:lnTo>
                  <a:lnTo>
                    <a:pt x="1018" y="20"/>
                  </a:lnTo>
                  <a:lnTo>
                    <a:pt x="1018" y="26"/>
                  </a:lnTo>
                  <a:lnTo>
                    <a:pt x="1012" y="26"/>
                  </a:lnTo>
                  <a:lnTo>
                    <a:pt x="1006" y="26"/>
                  </a:lnTo>
                  <a:lnTo>
                    <a:pt x="1006" y="26"/>
                  </a:lnTo>
                  <a:lnTo>
                    <a:pt x="1006" y="26"/>
                  </a:lnTo>
                  <a:lnTo>
                    <a:pt x="1006" y="26"/>
                  </a:lnTo>
                  <a:close/>
                  <a:moveTo>
                    <a:pt x="556" y="16"/>
                  </a:moveTo>
                  <a:lnTo>
                    <a:pt x="562" y="16"/>
                  </a:lnTo>
                  <a:lnTo>
                    <a:pt x="562" y="16"/>
                  </a:lnTo>
                  <a:lnTo>
                    <a:pt x="562" y="20"/>
                  </a:lnTo>
                  <a:lnTo>
                    <a:pt x="568" y="20"/>
                  </a:lnTo>
                  <a:lnTo>
                    <a:pt x="562" y="20"/>
                  </a:lnTo>
                  <a:lnTo>
                    <a:pt x="556" y="20"/>
                  </a:lnTo>
                  <a:lnTo>
                    <a:pt x="556" y="16"/>
                  </a:lnTo>
                  <a:lnTo>
                    <a:pt x="556" y="16"/>
                  </a:lnTo>
                  <a:lnTo>
                    <a:pt x="556" y="16"/>
                  </a:lnTo>
                  <a:lnTo>
                    <a:pt x="556" y="16"/>
                  </a:lnTo>
                  <a:close/>
                  <a:moveTo>
                    <a:pt x="432" y="26"/>
                  </a:moveTo>
                  <a:lnTo>
                    <a:pt x="438" y="26"/>
                  </a:lnTo>
                  <a:lnTo>
                    <a:pt x="432" y="26"/>
                  </a:lnTo>
                  <a:lnTo>
                    <a:pt x="432" y="20"/>
                  </a:lnTo>
                  <a:lnTo>
                    <a:pt x="438" y="20"/>
                  </a:lnTo>
                  <a:lnTo>
                    <a:pt x="442" y="20"/>
                  </a:lnTo>
                  <a:lnTo>
                    <a:pt x="442" y="26"/>
                  </a:lnTo>
                  <a:lnTo>
                    <a:pt x="438" y="26"/>
                  </a:lnTo>
                  <a:lnTo>
                    <a:pt x="432" y="26"/>
                  </a:lnTo>
                  <a:lnTo>
                    <a:pt x="432" y="26"/>
                  </a:lnTo>
                  <a:lnTo>
                    <a:pt x="432" y="26"/>
                  </a:lnTo>
                  <a:lnTo>
                    <a:pt x="432" y="26"/>
                  </a:lnTo>
                  <a:close/>
                  <a:moveTo>
                    <a:pt x="546" y="20"/>
                  </a:moveTo>
                  <a:lnTo>
                    <a:pt x="550" y="20"/>
                  </a:lnTo>
                  <a:lnTo>
                    <a:pt x="550" y="20"/>
                  </a:lnTo>
                  <a:lnTo>
                    <a:pt x="550" y="20"/>
                  </a:lnTo>
                  <a:lnTo>
                    <a:pt x="546" y="20"/>
                  </a:lnTo>
                  <a:lnTo>
                    <a:pt x="546" y="20"/>
                  </a:lnTo>
                  <a:lnTo>
                    <a:pt x="546" y="20"/>
                  </a:lnTo>
                  <a:lnTo>
                    <a:pt x="546" y="20"/>
                  </a:lnTo>
                  <a:close/>
                  <a:moveTo>
                    <a:pt x="572" y="26"/>
                  </a:moveTo>
                  <a:lnTo>
                    <a:pt x="572" y="26"/>
                  </a:lnTo>
                  <a:lnTo>
                    <a:pt x="578" y="20"/>
                  </a:lnTo>
                  <a:lnTo>
                    <a:pt x="584" y="20"/>
                  </a:lnTo>
                  <a:lnTo>
                    <a:pt x="584" y="20"/>
                  </a:lnTo>
                  <a:lnTo>
                    <a:pt x="590" y="20"/>
                  </a:lnTo>
                  <a:lnTo>
                    <a:pt x="596" y="20"/>
                  </a:lnTo>
                  <a:lnTo>
                    <a:pt x="596" y="26"/>
                  </a:lnTo>
                  <a:lnTo>
                    <a:pt x="590" y="26"/>
                  </a:lnTo>
                  <a:lnTo>
                    <a:pt x="584" y="26"/>
                  </a:lnTo>
                  <a:lnTo>
                    <a:pt x="584" y="26"/>
                  </a:lnTo>
                  <a:lnTo>
                    <a:pt x="578" y="26"/>
                  </a:lnTo>
                  <a:lnTo>
                    <a:pt x="572" y="26"/>
                  </a:lnTo>
                  <a:lnTo>
                    <a:pt x="572" y="26"/>
                  </a:lnTo>
                  <a:lnTo>
                    <a:pt x="572" y="26"/>
                  </a:lnTo>
                  <a:lnTo>
                    <a:pt x="572" y="26"/>
                  </a:lnTo>
                  <a:lnTo>
                    <a:pt x="572" y="26"/>
                  </a:lnTo>
                  <a:close/>
                  <a:moveTo>
                    <a:pt x="512" y="20"/>
                  </a:moveTo>
                  <a:lnTo>
                    <a:pt x="518" y="20"/>
                  </a:lnTo>
                  <a:lnTo>
                    <a:pt x="524" y="20"/>
                  </a:lnTo>
                  <a:lnTo>
                    <a:pt x="524" y="20"/>
                  </a:lnTo>
                  <a:lnTo>
                    <a:pt x="524" y="26"/>
                  </a:lnTo>
                  <a:lnTo>
                    <a:pt x="530" y="26"/>
                  </a:lnTo>
                  <a:lnTo>
                    <a:pt x="536" y="26"/>
                  </a:lnTo>
                  <a:lnTo>
                    <a:pt x="536" y="26"/>
                  </a:lnTo>
                  <a:lnTo>
                    <a:pt x="540" y="26"/>
                  </a:lnTo>
                  <a:lnTo>
                    <a:pt x="546" y="26"/>
                  </a:lnTo>
                  <a:lnTo>
                    <a:pt x="540" y="26"/>
                  </a:lnTo>
                  <a:lnTo>
                    <a:pt x="536" y="26"/>
                  </a:lnTo>
                  <a:lnTo>
                    <a:pt x="536" y="26"/>
                  </a:lnTo>
                  <a:lnTo>
                    <a:pt x="530" y="26"/>
                  </a:lnTo>
                  <a:lnTo>
                    <a:pt x="524" y="26"/>
                  </a:lnTo>
                  <a:lnTo>
                    <a:pt x="524" y="26"/>
                  </a:lnTo>
                  <a:lnTo>
                    <a:pt x="518" y="26"/>
                  </a:lnTo>
                  <a:lnTo>
                    <a:pt x="512" y="26"/>
                  </a:lnTo>
                  <a:lnTo>
                    <a:pt x="512" y="20"/>
                  </a:lnTo>
                  <a:lnTo>
                    <a:pt x="512" y="20"/>
                  </a:lnTo>
                  <a:lnTo>
                    <a:pt x="512" y="20"/>
                  </a:lnTo>
                  <a:lnTo>
                    <a:pt x="512" y="20"/>
                  </a:lnTo>
                  <a:close/>
                  <a:moveTo>
                    <a:pt x="540" y="26"/>
                  </a:moveTo>
                  <a:lnTo>
                    <a:pt x="536" y="26"/>
                  </a:lnTo>
                  <a:lnTo>
                    <a:pt x="540" y="20"/>
                  </a:lnTo>
                  <a:lnTo>
                    <a:pt x="546" y="20"/>
                  </a:lnTo>
                  <a:lnTo>
                    <a:pt x="550" y="20"/>
                  </a:lnTo>
                  <a:lnTo>
                    <a:pt x="550" y="26"/>
                  </a:lnTo>
                  <a:lnTo>
                    <a:pt x="550" y="26"/>
                  </a:lnTo>
                  <a:lnTo>
                    <a:pt x="550" y="26"/>
                  </a:lnTo>
                  <a:lnTo>
                    <a:pt x="546" y="26"/>
                  </a:lnTo>
                  <a:lnTo>
                    <a:pt x="546" y="26"/>
                  </a:lnTo>
                  <a:lnTo>
                    <a:pt x="540" y="26"/>
                  </a:lnTo>
                  <a:lnTo>
                    <a:pt x="540" y="26"/>
                  </a:lnTo>
                  <a:lnTo>
                    <a:pt x="540" y="26"/>
                  </a:lnTo>
                  <a:lnTo>
                    <a:pt x="540" y="26"/>
                  </a:lnTo>
                  <a:close/>
                  <a:moveTo>
                    <a:pt x="844" y="26"/>
                  </a:moveTo>
                  <a:lnTo>
                    <a:pt x="850" y="26"/>
                  </a:lnTo>
                  <a:lnTo>
                    <a:pt x="850" y="26"/>
                  </a:lnTo>
                  <a:lnTo>
                    <a:pt x="850" y="26"/>
                  </a:lnTo>
                  <a:lnTo>
                    <a:pt x="850" y="26"/>
                  </a:lnTo>
                  <a:lnTo>
                    <a:pt x="854" y="26"/>
                  </a:lnTo>
                  <a:lnTo>
                    <a:pt x="860" y="26"/>
                  </a:lnTo>
                  <a:lnTo>
                    <a:pt x="854" y="32"/>
                  </a:lnTo>
                  <a:lnTo>
                    <a:pt x="850" y="32"/>
                  </a:lnTo>
                  <a:lnTo>
                    <a:pt x="844" y="32"/>
                  </a:lnTo>
                  <a:lnTo>
                    <a:pt x="838" y="32"/>
                  </a:lnTo>
                  <a:lnTo>
                    <a:pt x="838" y="26"/>
                  </a:lnTo>
                  <a:lnTo>
                    <a:pt x="844" y="26"/>
                  </a:lnTo>
                  <a:lnTo>
                    <a:pt x="844" y="26"/>
                  </a:lnTo>
                  <a:lnTo>
                    <a:pt x="844" y="26"/>
                  </a:lnTo>
                  <a:lnTo>
                    <a:pt x="844" y="26"/>
                  </a:lnTo>
                  <a:close/>
                  <a:moveTo>
                    <a:pt x="540" y="32"/>
                  </a:moveTo>
                  <a:lnTo>
                    <a:pt x="540" y="26"/>
                  </a:lnTo>
                  <a:lnTo>
                    <a:pt x="546" y="26"/>
                  </a:lnTo>
                  <a:lnTo>
                    <a:pt x="550" y="26"/>
                  </a:lnTo>
                  <a:lnTo>
                    <a:pt x="550" y="26"/>
                  </a:lnTo>
                  <a:lnTo>
                    <a:pt x="556" y="26"/>
                  </a:lnTo>
                  <a:lnTo>
                    <a:pt x="556" y="32"/>
                  </a:lnTo>
                  <a:lnTo>
                    <a:pt x="550" y="32"/>
                  </a:lnTo>
                  <a:lnTo>
                    <a:pt x="550" y="32"/>
                  </a:lnTo>
                  <a:lnTo>
                    <a:pt x="546" y="32"/>
                  </a:lnTo>
                  <a:lnTo>
                    <a:pt x="540" y="32"/>
                  </a:lnTo>
                  <a:lnTo>
                    <a:pt x="536" y="32"/>
                  </a:lnTo>
                  <a:lnTo>
                    <a:pt x="540" y="32"/>
                  </a:lnTo>
                  <a:lnTo>
                    <a:pt x="540" y="32"/>
                  </a:lnTo>
                  <a:lnTo>
                    <a:pt x="540" y="32"/>
                  </a:lnTo>
                  <a:lnTo>
                    <a:pt x="540" y="32"/>
                  </a:lnTo>
                  <a:close/>
                  <a:moveTo>
                    <a:pt x="486" y="32"/>
                  </a:moveTo>
                  <a:lnTo>
                    <a:pt x="486" y="26"/>
                  </a:lnTo>
                  <a:lnTo>
                    <a:pt x="492" y="26"/>
                  </a:lnTo>
                  <a:lnTo>
                    <a:pt x="492" y="26"/>
                  </a:lnTo>
                  <a:lnTo>
                    <a:pt x="496" y="26"/>
                  </a:lnTo>
                  <a:lnTo>
                    <a:pt x="502" y="26"/>
                  </a:lnTo>
                  <a:lnTo>
                    <a:pt x="502" y="26"/>
                  </a:lnTo>
                  <a:lnTo>
                    <a:pt x="508" y="32"/>
                  </a:lnTo>
                  <a:lnTo>
                    <a:pt x="512" y="32"/>
                  </a:lnTo>
                  <a:lnTo>
                    <a:pt x="508" y="32"/>
                  </a:lnTo>
                  <a:lnTo>
                    <a:pt x="502" y="32"/>
                  </a:lnTo>
                  <a:lnTo>
                    <a:pt x="502" y="32"/>
                  </a:lnTo>
                  <a:lnTo>
                    <a:pt x="496" y="32"/>
                  </a:lnTo>
                  <a:lnTo>
                    <a:pt x="492" y="32"/>
                  </a:lnTo>
                  <a:lnTo>
                    <a:pt x="496" y="32"/>
                  </a:lnTo>
                  <a:lnTo>
                    <a:pt x="492" y="32"/>
                  </a:lnTo>
                  <a:lnTo>
                    <a:pt x="492" y="32"/>
                  </a:lnTo>
                  <a:lnTo>
                    <a:pt x="486" y="32"/>
                  </a:lnTo>
                  <a:lnTo>
                    <a:pt x="486" y="32"/>
                  </a:lnTo>
                  <a:lnTo>
                    <a:pt x="486" y="32"/>
                  </a:lnTo>
                  <a:lnTo>
                    <a:pt x="486" y="32"/>
                  </a:lnTo>
                  <a:close/>
                  <a:moveTo>
                    <a:pt x="508" y="32"/>
                  </a:moveTo>
                  <a:lnTo>
                    <a:pt x="512" y="32"/>
                  </a:lnTo>
                  <a:lnTo>
                    <a:pt x="518" y="32"/>
                  </a:lnTo>
                  <a:lnTo>
                    <a:pt x="524" y="32"/>
                  </a:lnTo>
                  <a:lnTo>
                    <a:pt x="524" y="38"/>
                  </a:lnTo>
                  <a:lnTo>
                    <a:pt x="524" y="38"/>
                  </a:lnTo>
                  <a:lnTo>
                    <a:pt x="518" y="38"/>
                  </a:lnTo>
                  <a:lnTo>
                    <a:pt x="512" y="38"/>
                  </a:lnTo>
                  <a:lnTo>
                    <a:pt x="512" y="38"/>
                  </a:lnTo>
                  <a:lnTo>
                    <a:pt x="508" y="38"/>
                  </a:lnTo>
                  <a:lnTo>
                    <a:pt x="502" y="38"/>
                  </a:lnTo>
                  <a:lnTo>
                    <a:pt x="502" y="32"/>
                  </a:lnTo>
                  <a:lnTo>
                    <a:pt x="508" y="32"/>
                  </a:lnTo>
                  <a:lnTo>
                    <a:pt x="508" y="32"/>
                  </a:lnTo>
                  <a:lnTo>
                    <a:pt x="508" y="32"/>
                  </a:lnTo>
                  <a:lnTo>
                    <a:pt x="508" y="32"/>
                  </a:lnTo>
                  <a:close/>
                  <a:moveTo>
                    <a:pt x="476" y="38"/>
                  </a:moveTo>
                  <a:lnTo>
                    <a:pt x="476" y="38"/>
                  </a:lnTo>
                  <a:lnTo>
                    <a:pt x="476" y="38"/>
                  </a:lnTo>
                  <a:lnTo>
                    <a:pt x="476" y="38"/>
                  </a:lnTo>
                  <a:lnTo>
                    <a:pt x="476" y="38"/>
                  </a:lnTo>
                  <a:lnTo>
                    <a:pt x="476" y="38"/>
                  </a:lnTo>
                  <a:lnTo>
                    <a:pt x="476" y="38"/>
                  </a:lnTo>
                  <a:lnTo>
                    <a:pt x="476" y="38"/>
                  </a:lnTo>
                  <a:close/>
                  <a:moveTo>
                    <a:pt x="550" y="38"/>
                  </a:moveTo>
                  <a:lnTo>
                    <a:pt x="550" y="38"/>
                  </a:lnTo>
                  <a:lnTo>
                    <a:pt x="550" y="38"/>
                  </a:lnTo>
                  <a:lnTo>
                    <a:pt x="550" y="38"/>
                  </a:lnTo>
                  <a:lnTo>
                    <a:pt x="550" y="38"/>
                  </a:lnTo>
                  <a:lnTo>
                    <a:pt x="550" y="38"/>
                  </a:lnTo>
                  <a:close/>
                  <a:moveTo>
                    <a:pt x="530" y="38"/>
                  </a:moveTo>
                  <a:lnTo>
                    <a:pt x="536" y="38"/>
                  </a:lnTo>
                  <a:lnTo>
                    <a:pt x="536" y="38"/>
                  </a:lnTo>
                  <a:lnTo>
                    <a:pt x="540" y="38"/>
                  </a:lnTo>
                  <a:lnTo>
                    <a:pt x="540" y="38"/>
                  </a:lnTo>
                  <a:lnTo>
                    <a:pt x="536" y="38"/>
                  </a:lnTo>
                  <a:lnTo>
                    <a:pt x="536" y="38"/>
                  </a:lnTo>
                  <a:lnTo>
                    <a:pt x="530" y="38"/>
                  </a:lnTo>
                  <a:lnTo>
                    <a:pt x="530" y="38"/>
                  </a:lnTo>
                  <a:lnTo>
                    <a:pt x="530" y="38"/>
                  </a:lnTo>
                  <a:lnTo>
                    <a:pt x="530" y="38"/>
                  </a:lnTo>
                  <a:close/>
                  <a:moveTo>
                    <a:pt x="482" y="38"/>
                  </a:moveTo>
                  <a:lnTo>
                    <a:pt x="486" y="38"/>
                  </a:lnTo>
                  <a:lnTo>
                    <a:pt x="482" y="38"/>
                  </a:lnTo>
                  <a:lnTo>
                    <a:pt x="482" y="38"/>
                  </a:lnTo>
                  <a:lnTo>
                    <a:pt x="486" y="38"/>
                  </a:lnTo>
                  <a:lnTo>
                    <a:pt x="492" y="38"/>
                  </a:lnTo>
                  <a:lnTo>
                    <a:pt x="492" y="38"/>
                  </a:lnTo>
                  <a:lnTo>
                    <a:pt x="486" y="38"/>
                  </a:lnTo>
                  <a:lnTo>
                    <a:pt x="492" y="38"/>
                  </a:lnTo>
                  <a:lnTo>
                    <a:pt x="492" y="38"/>
                  </a:lnTo>
                  <a:lnTo>
                    <a:pt x="492" y="42"/>
                  </a:lnTo>
                  <a:lnTo>
                    <a:pt x="486" y="42"/>
                  </a:lnTo>
                  <a:lnTo>
                    <a:pt x="486" y="38"/>
                  </a:lnTo>
                  <a:lnTo>
                    <a:pt x="482" y="38"/>
                  </a:lnTo>
                  <a:lnTo>
                    <a:pt x="482" y="38"/>
                  </a:lnTo>
                  <a:lnTo>
                    <a:pt x="482" y="38"/>
                  </a:lnTo>
                  <a:lnTo>
                    <a:pt x="482" y="38"/>
                  </a:lnTo>
                  <a:close/>
                  <a:moveTo>
                    <a:pt x="492" y="38"/>
                  </a:moveTo>
                  <a:lnTo>
                    <a:pt x="496" y="38"/>
                  </a:lnTo>
                  <a:lnTo>
                    <a:pt x="502" y="38"/>
                  </a:lnTo>
                  <a:lnTo>
                    <a:pt x="496" y="38"/>
                  </a:lnTo>
                  <a:lnTo>
                    <a:pt x="492" y="38"/>
                  </a:lnTo>
                  <a:lnTo>
                    <a:pt x="492" y="38"/>
                  </a:lnTo>
                  <a:lnTo>
                    <a:pt x="492" y="38"/>
                  </a:lnTo>
                  <a:lnTo>
                    <a:pt x="492" y="38"/>
                  </a:lnTo>
                  <a:close/>
                  <a:moveTo>
                    <a:pt x="492" y="42"/>
                  </a:moveTo>
                  <a:lnTo>
                    <a:pt x="492" y="38"/>
                  </a:lnTo>
                  <a:lnTo>
                    <a:pt x="496" y="38"/>
                  </a:lnTo>
                  <a:lnTo>
                    <a:pt x="496" y="42"/>
                  </a:lnTo>
                  <a:lnTo>
                    <a:pt x="492" y="42"/>
                  </a:lnTo>
                  <a:lnTo>
                    <a:pt x="492" y="42"/>
                  </a:lnTo>
                  <a:lnTo>
                    <a:pt x="492" y="42"/>
                  </a:lnTo>
                  <a:lnTo>
                    <a:pt x="492" y="42"/>
                  </a:lnTo>
                  <a:lnTo>
                    <a:pt x="492" y="42"/>
                  </a:lnTo>
                  <a:lnTo>
                    <a:pt x="492" y="42"/>
                  </a:lnTo>
                  <a:close/>
                  <a:moveTo>
                    <a:pt x="502" y="42"/>
                  </a:moveTo>
                  <a:lnTo>
                    <a:pt x="502" y="42"/>
                  </a:lnTo>
                  <a:lnTo>
                    <a:pt x="502" y="42"/>
                  </a:lnTo>
                  <a:lnTo>
                    <a:pt x="502" y="42"/>
                  </a:lnTo>
                  <a:lnTo>
                    <a:pt x="502" y="42"/>
                  </a:lnTo>
                  <a:lnTo>
                    <a:pt x="502" y="42"/>
                  </a:lnTo>
                  <a:close/>
                  <a:moveTo>
                    <a:pt x="512" y="42"/>
                  </a:moveTo>
                  <a:lnTo>
                    <a:pt x="512" y="42"/>
                  </a:lnTo>
                  <a:lnTo>
                    <a:pt x="518" y="42"/>
                  </a:lnTo>
                  <a:lnTo>
                    <a:pt x="512" y="42"/>
                  </a:lnTo>
                  <a:lnTo>
                    <a:pt x="512" y="42"/>
                  </a:lnTo>
                  <a:lnTo>
                    <a:pt x="512" y="42"/>
                  </a:lnTo>
                  <a:lnTo>
                    <a:pt x="512" y="42"/>
                  </a:lnTo>
                  <a:lnTo>
                    <a:pt x="512" y="42"/>
                  </a:lnTo>
                  <a:close/>
                  <a:moveTo>
                    <a:pt x="464" y="48"/>
                  </a:moveTo>
                  <a:lnTo>
                    <a:pt x="458" y="48"/>
                  </a:lnTo>
                  <a:lnTo>
                    <a:pt x="464" y="48"/>
                  </a:lnTo>
                  <a:lnTo>
                    <a:pt x="464" y="48"/>
                  </a:lnTo>
                  <a:lnTo>
                    <a:pt x="464" y="42"/>
                  </a:lnTo>
                  <a:lnTo>
                    <a:pt x="470" y="42"/>
                  </a:lnTo>
                  <a:lnTo>
                    <a:pt x="476" y="42"/>
                  </a:lnTo>
                  <a:lnTo>
                    <a:pt x="476" y="42"/>
                  </a:lnTo>
                  <a:lnTo>
                    <a:pt x="476" y="48"/>
                  </a:lnTo>
                  <a:lnTo>
                    <a:pt x="482" y="48"/>
                  </a:lnTo>
                  <a:lnTo>
                    <a:pt x="476" y="48"/>
                  </a:lnTo>
                  <a:lnTo>
                    <a:pt x="476" y="48"/>
                  </a:lnTo>
                  <a:lnTo>
                    <a:pt x="476" y="48"/>
                  </a:lnTo>
                  <a:lnTo>
                    <a:pt x="470" y="48"/>
                  </a:lnTo>
                  <a:lnTo>
                    <a:pt x="464" y="48"/>
                  </a:lnTo>
                  <a:lnTo>
                    <a:pt x="464" y="48"/>
                  </a:lnTo>
                  <a:lnTo>
                    <a:pt x="464" y="48"/>
                  </a:lnTo>
                  <a:lnTo>
                    <a:pt x="464" y="48"/>
                  </a:lnTo>
                  <a:lnTo>
                    <a:pt x="464" y="48"/>
                  </a:lnTo>
                  <a:lnTo>
                    <a:pt x="464" y="48"/>
                  </a:lnTo>
                  <a:lnTo>
                    <a:pt x="464" y="48"/>
                  </a:lnTo>
                  <a:close/>
                  <a:moveTo>
                    <a:pt x="496" y="48"/>
                  </a:moveTo>
                  <a:lnTo>
                    <a:pt x="502" y="48"/>
                  </a:lnTo>
                  <a:lnTo>
                    <a:pt x="502" y="42"/>
                  </a:lnTo>
                  <a:lnTo>
                    <a:pt x="508" y="48"/>
                  </a:lnTo>
                  <a:lnTo>
                    <a:pt x="502" y="48"/>
                  </a:lnTo>
                  <a:lnTo>
                    <a:pt x="502" y="48"/>
                  </a:lnTo>
                  <a:lnTo>
                    <a:pt x="496" y="48"/>
                  </a:lnTo>
                  <a:lnTo>
                    <a:pt x="496" y="48"/>
                  </a:lnTo>
                  <a:lnTo>
                    <a:pt x="496" y="48"/>
                  </a:lnTo>
                  <a:lnTo>
                    <a:pt x="496" y="48"/>
                  </a:lnTo>
                  <a:close/>
                  <a:moveTo>
                    <a:pt x="492" y="48"/>
                  </a:moveTo>
                  <a:lnTo>
                    <a:pt x="486" y="48"/>
                  </a:lnTo>
                  <a:lnTo>
                    <a:pt x="492" y="48"/>
                  </a:lnTo>
                  <a:lnTo>
                    <a:pt x="492" y="42"/>
                  </a:lnTo>
                  <a:lnTo>
                    <a:pt x="492" y="48"/>
                  </a:lnTo>
                  <a:lnTo>
                    <a:pt x="492" y="48"/>
                  </a:lnTo>
                  <a:lnTo>
                    <a:pt x="492" y="48"/>
                  </a:lnTo>
                  <a:lnTo>
                    <a:pt x="492" y="48"/>
                  </a:lnTo>
                  <a:lnTo>
                    <a:pt x="492" y="48"/>
                  </a:lnTo>
                  <a:lnTo>
                    <a:pt x="492" y="48"/>
                  </a:lnTo>
                  <a:close/>
                  <a:moveTo>
                    <a:pt x="426" y="54"/>
                  </a:moveTo>
                  <a:lnTo>
                    <a:pt x="426" y="48"/>
                  </a:lnTo>
                  <a:lnTo>
                    <a:pt x="422" y="48"/>
                  </a:lnTo>
                  <a:lnTo>
                    <a:pt x="426" y="48"/>
                  </a:lnTo>
                  <a:lnTo>
                    <a:pt x="432" y="48"/>
                  </a:lnTo>
                  <a:lnTo>
                    <a:pt x="432" y="48"/>
                  </a:lnTo>
                  <a:lnTo>
                    <a:pt x="432" y="48"/>
                  </a:lnTo>
                  <a:lnTo>
                    <a:pt x="432" y="48"/>
                  </a:lnTo>
                  <a:lnTo>
                    <a:pt x="432" y="54"/>
                  </a:lnTo>
                  <a:lnTo>
                    <a:pt x="426" y="54"/>
                  </a:lnTo>
                  <a:lnTo>
                    <a:pt x="426" y="54"/>
                  </a:lnTo>
                  <a:lnTo>
                    <a:pt x="426" y="54"/>
                  </a:lnTo>
                  <a:lnTo>
                    <a:pt x="426" y="54"/>
                  </a:lnTo>
                  <a:close/>
                  <a:moveTo>
                    <a:pt x="568" y="48"/>
                  </a:moveTo>
                  <a:lnTo>
                    <a:pt x="568" y="48"/>
                  </a:lnTo>
                  <a:lnTo>
                    <a:pt x="572" y="48"/>
                  </a:lnTo>
                  <a:lnTo>
                    <a:pt x="572" y="48"/>
                  </a:lnTo>
                  <a:lnTo>
                    <a:pt x="572" y="48"/>
                  </a:lnTo>
                  <a:lnTo>
                    <a:pt x="572" y="48"/>
                  </a:lnTo>
                  <a:lnTo>
                    <a:pt x="568" y="48"/>
                  </a:lnTo>
                  <a:lnTo>
                    <a:pt x="568" y="48"/>
                  </a:lnTo>
                  <a:lnTo>
                    <a:pt x="568" y="48"/>
                  </a:lnTo>
                  <a:lnTo>
                    <a:pt x="568" y="48"/>
                  </a:lnTo>
                  <a:close/>
                  <a:moveTo>
                    <a:pt x="550" y="54"/>
                  </a:moveTo>
                  <a:lnTo>
                    <a:pt x="556" y="54"/>
                  </a:lnTo>
                  <a:lnTo>
                    <a:pt x="556" y="48"/>
                  </a:lnTo>
                  <a:lnTo>
                    <a:pt x="562" y="48"/>
                  </a:lnTo>
                  <a:lnTo>
                    <a:pt x="562" y="48"/>
                  </a:lnTo>
                  <a:lnTo>
                    <a:pt x="568" y="48"/>
                  </a:lnTo>
                  <a:lnTo>
                    <a:pt x="568" y="54"/>
                  </a:lnTo>
                  <a:lnTo>
                    <a:pt x="562" y="54"/>
                  </a:lnTo>
                  <a:lnTo>
                    <a:pt x="562" y="60"/>
                  </a:lnTo>
                  <a:lnTo>
                    <a:pt x="562" y="60"/>
                  </a:lnTo>
                  <a:lnTo>
                    <a:pt x="562" y="54"/>
                  </a:lnTo>
                  <a:lnTo>
                    <a:pt x="556" y="54"/>
                  </a:lnTo>
                  <a:lnTo>
                    <a:pt x="550" y="54"/>
                  </a:lnTo>
                  <a:lnTo>
                    <a:pt x="550" y="54"/>
                  </a:lnTo>
                  <a:lnTo>
                    <a:pt x="550" y="54"/>
                  </a:lnTo>
                  <a:lnTo>
                    <a:pt x="550" y="54"/>
                  </a:lnTo>
                  <a:close/>
                  <a:moveTo>
                    <a:pt x="432" y="54"/>
                  </a:moveTo>
                  <a:lnTo>
                    <a:pt x="432" y="54"/>
                  </a:lnTo>
                  <a:lnTo>
                    <a:pt x="438" y="54"/>
                  </a:lnTo>
                  <a:lnTo>
                    <a:pt x="442" y="54"/>
                  </a:lnTo>
                  <a:lnTo>
                    <a:pt x="442" y="48"/>
                  </a:lnTo>
                  <a:lnTo>
                    <a:pt x="442" y="48"/>
                  </a:lnTo>
                  <a:lnTo>
                    <a:pt x="442" y="54"/>
                  </a:lnTo>
                  <a:lnTo>
                    <a:pt x="448" y="54"/>
                  </a:lnTo>
                  <a:lnTo>
                    <a:pt x="448" y="60"/>
                  </a:lnTo>
                  <a:lnTo>
                    <a:pt x="442" y="60"/>
                  </a:lnTo>
                  <a:lnTo>
                    <a:pt x="442" y="60"/>
                  </a:lnTo>
                  <a:lnTo>
                    <a:pt x="442" y="54"/>
                  </a:lnTo>
                  <a:lnTo>
                    <a:pt x="438" y="54"/>
                  </a:lnTo>
                  <a:lnTo>
                    <a:pt x="438" y="60"/>
                  </a:lnTo>
                  <a:lnTo>
                    <a:pt x="432" y="54"/>
                  </a:lnTo>
                  <a:lnTo>
                    <a:pt x="432" y="54"/>
                  </a:lnTo>
                  <a:lnTo>
                    <a:pt x="432" y="54"/>
                  </a:lnTo>
                  <a:lnTo>
                    <a:pt x="432" y="54"/>
                  </a:lnTo>
                  <a:lnTo>
                    <a:pt x="432" y="54"/>
                  </a:lnTo>
                  <a:close/>
                  <a:moveTo>
                    <a:pt x="422" y="54"/>
                  </a:moveTo>
                  <a:lnTo>
                    <a:pt x="422" y="48"/>
                  </a:lnTo>
                  <a:lnTo>
                    <a:pt x="426" y="54"/>
                  </a:lnTo>
                  <a:lnTo>
                    <a:pt x="422" y="54"/>
                  </a:lnTo>
                  <a:lnTo>
                    <a:pt x="422" y="54"/>
                  </a:lnTo>
                  <a:lnTo>
                    <a:pt x="422" y="54"/>
                  </a:lnTo>
                  <a:lnTo>
                    <a:pt x="422" y="54"/>
                  </a:lnTo>
                  <a:lnTo>
                    <a:pt x="422" y="54"/>
                  </a:lnTo>
                  <a:close/>
                  <a:moveTo>
                    <a:pt x="1054" y="54"/>
                  </a:moveTo>
                  <a:lnTo>
                    <a:pt x="1054" y="54"/>
                  </a:lnTo>
                  <a:lnTo>
                    <a:pt x="1054" y="54"/>
                  </a:lnTo>
                  <a:lnTo>
                    <a:pt x="1050" y="54"/>
                  </a:lnTo>
                  <a:lnTo>
                    <a:pt x="1054" y="54"/>
                  </a:lnTo>
                  <a:lnTo>
                    <a:pt x="1054" y="54"/>
                  </a:lnTo>
                  <a:lnTo>
                    <a:pt x="1054" y="54"/>
                  </a:lnTo>
                  <a:lnTo>
                    <a:pt x="1054" y="54"/>
                  </a:lnTo>
                  <a:close/>
                  <a:moveTo>
                    <a:pt x="546" y="60"/>
                  </a:moveTo>
                  <a:lnTo>
                    <a:pt x="550" y="60"/>
                  </a:lnTo>
                  <a:lnTo>
                    <a:pt x="550" y="54"/>
                  </a:lnTo>
                  <a:lnTo>
                    <a:pt x="550" y="54"/>
                  </a:lnTo>
                  <a:lnTo>
                    <a:pt x="550" y="60"/>
                  </a:lnTo>
                  <a:lnTo>
                    <a:pt x="556" y="60"/>
                  </a:lnTo>
                  <a:lnTo>
                    <a:pt x="550" y="60"/>
                  </a:lnTo>
                  <a:lnTo>
                    <a:pt x="550" y="60"/>
                  </a:lnTo>
                  <a:lnTo>
                    <a:pt x="546" y="60"/>
                  </a:lnTo>
                  <a:lnTo>
                    <a:pt x="546" y="60"/>
                  </a:lnTo>
                  <a:lnTo>
                    <a:pt x="546" y="60"/>
                  </a:lnTo>
                  <a:lnTo>
                    <a:pt x="546" y="60"/>
                  </a:lnTo>
                  <a:close/>
                  <a:moveTo>
                    <a:pt x="1018" y="66"/>
                  </a:moveTo>
                  <a:lnTo>
                    <a:pt x="1018" y="66"/>
                  </a:lnTo>
                  <a:lnTo>
                    <a:pt x="1012" y="60"/>
                  </a:lnTo>
                  <a:lnTo>
                    <a:pt x="1018" y="60"/>
                  </a:lnTo>
                  <a:lnTo>
                    <a:pt x="1018" y="60"/>
                  </a:lnTo>
                  <a:lnTo>
                    <a:pt x="1022" y="66"/>
                  </a:lnTo>
                  <a:lnTo>
                    <a:pt x="1018" y="66"/>
                  </a:lnTo>
                  <a:lnTo>
                    <a:pt x="1018" y="66"/>
                  </a:lnTo>
                  <a:lnTo>
                    <a:pt x="1018" y="66"/>
                  </a:lnTo>
                  <a:lnTo>
                    <a:pt x="1018" y="66"/>
                  </a:lnTo>
                  <a:close/>
                  <a:moveTo>
                    <a:pt x="1078" y="146"/>
                  </a:moveTo>
                  <a:lnTo>
                    <a:pt x="1078" y="146"/>
                  </a:lnTo>
                  <a:lnTo>
                    <a:pt x="1078" y="152"/>
                  </a:lnTo>
                  <a:lnTo>
                    <a:pt x="1072" y="152"/>
                  </a:lnTo>
                  <a:lnTo>
                    <a:pt x="1072" y="146"/>
                  </a:lnTo>
                  <a:lnTo>
                    <a:pt x="1078" y="146"/>
                  </a:lnTo>
                  <a:lnTo>
                    <a:pt x="1078" y="146"/>
                  </a:lnTo>
                  <a:lnTo>
                    <a:pt x="1078" y="146"/>
                  </a:lnTo>
                  <a:lnTo>
                    <a:pt x="1078" y="146"/>
                  </a:lnTo>
                  <a:close/>
                  <a:moveTo>
                    <a:pt x="568" y="162"/>
                  </a:moveTo>
                  <a:lnTo>
                    <a:pt x="572" y="162"/>
                  </a:lnTo>
                  <a:lnTo>
                    <a:pt x="572" y="162"/>
                  </a:lnTo>
                  <a:lnTo>
                    <a:pt x="578" y="162"/>
                  </a:lnTo>
                  <a:lnTo>
                    <a:pt x="572" y="162"/>
                  </a:lnTo>
                  <a:lnTo>
                    <a:pt x="572" y="168"/>
                  </a:lnTo>
                  <a:lnTo>
                    <a:pt x="572" y="168"/>
                  </a:lnTo>
                  <a:lnTo>
                    <a:pt x="568" y="168"/>
                  </a:lnTo>
                  <a:lnTo>
                    <a:pt x="568" y="162"/>
                  </a:lnTo>
                  <a:lnTo>
                    <a:pt x="568" y="162"/>
                  </a:lnTo>
                  <a:lnTo>
                    <a:pt x="568" y="162"/>
                  </a:lnTo>
                  <a:lnTo>
                    <a:pt x="568" y="162"/>
                  </a:lnTo>
                  <a:close/>
                  <a:moveTo>
                    <a:pt x="550" y="168"/>
                  </a:moveTo>
                  <a:lnTo>
                    <a:pt x="562" y="168"/>
                  </a:lnTo>
                  <a:lnTo>
                    <a:pt x="562" y="168"/>
                  </a:lnTo>
                  <a:lnTo>
                    <a:pt x="562" y="168"/>
                  </a:lnTo>
                  <a:lnTo>
                    <a:pt x="550" y="168"/>
                  </a:lnTo>
                  <a:lnTo>
                    <a:pt x="550" y="168"/>
                  </a:lnTo>
                  <a:lnTo>
                    <a:pt x="550" y="168"/>
                  </a:lnTo>
                  <a:lnTo>
                    <a:pt x="550" y="168"/>
                  </a:lnTo>
                  <a:close/>
                  <a:moveTo>
                    <a:pt x="1710" y="180"/>
                  </a:moveTo>
                  <a:lnTo>
                    <a:pt x="1710" y="180"/>
                  </a:lnTo>
                  <a:lnTo>
                    <a:pt x="1710" y="174"/>
                  </a:lnTo>
                  <a:lnTo>
                    <a:pt x="1710" y="180"/>
                  </a:lnTo>
                  <a:lnTo>
                    <a:pt x="1710" y="180"/>
                  </a:lnTo>
                  <a:lnTo>
                    <a:pt x="1710" y="180"/>
                  </a:lnTo>
                  <a:lnTo>
                    <a:pt x="1710" y="180"/>
                  </a:lnTo>
                  <a:lnTo>
                    <a:pt x="1710" y="180"/>
                  </a:lnTo>
                  <a:close/>
                  <a:moveTo>
                    <a:pt x="946" y="200"/>
                  </a:moveTo>
                  <a:lnTo>
                    <a:pt x="946" y="200"/>
                  </a:lnTo>
                  <a:lnTo>
                    <a:pt x="946" y="200"/>
                  </a:lnTo>
                  <a:lnTo>
                    <a:pt x="946" y="200"/>
                  </a:lnTo>
                  <a:lnTo>
                    <a:pt x="946" y="200"/>
                  </a:lnTo>
                  <a:lnTo>
                    <a:pt x="946" y="200"/>
                  </a:lnTo>
                  <a:lnTo>
                    <a:pt x="946" y="200"/>
                  </a:lnTo>
                  <a:close/>
                  <a:moveTo>
                    <a:pt x="936" y="210"/>
                  </a:moveTo>
                  <a:lnTo>
                    <a:pt x="930" y="210"/>
                  </a:lnTo>
                  <a:lnTo>
                    <a:pt x="930" y="206"/>
                  </a:lnTo>
                  <a:lnTo>
                    <a:pt x="936" y="206"/>
                  </a:lnTo>
                  <a:lnTo>
                    <a:pt x="940" y="206"/>
                  </a:lnTo>
                  <a:lnTo>
                    <a:pt x="936" y="206"/>
                  </a:lnTo>
                  <a:lnTo>
                    <a:pt x="936" y="210"/>
                  </a:lnTo>
                  <a:lnTo>
                    <a:pt x="936" y="210"/>
                  </a:lnTo>
                  <a:lnTo>
                    <a:pt x="936" y="210"/>
                  </a:lnTo>
                  <a:lnTo>
                    <a:pt x="936" y="210"/>
                  </a:lnTo>
                  <a:close/>
                  <a:moveTo>
                    <a:pt x="926" y="210"/>
                  </a:moveTo>
                  <a:lnTo>
                    <a:pt x="930" y="210"/>
                  </a:lnTo>
                  <a:lnTo>
                    <a:pt x="930" y="210"/>
                  </a:lnTo>
                  <a:lnTo>
                    <a:pt x="930" y="210"/>
                  </a:lnTo>
                  <a:lnTo>
                    <a:pt x="926" y="210"/>
                  </a:lnTo>
                  <a:lnTo>
                    <a:pt x="926" y="210"/>
                  </a:lnTo>
                  <a:lnTo>
                    <a:pt x="926" y="210"/>
                  </a:lnTo>
                  <a:lnTo>
                    <a:pt x="926" y="210"/>
                  </a:lnTo>
                  <a:close/>
                  <a:moveTo>
                    <a:pt x="952" y="234"/>
                  </a:moveTo>
                  <a:lnTo>
                    <a:pt x="952" y="228"/>
                  </a:lnTo>
                  <a:lnTo>
                    <a:pt x="958" y="228"/>
                  </a:lnTo>
                  <a:lnTo>
                    <a:pt x="958" y="228"/>
                  </a:lnTo>
                  <a:lnTo>
                    <a:pt x="958" y="228"/>
                  </a:lnTo>
                  <a:lnTo>
                    <a:pt x="952" y="228"/>
                  </a:lnTo>
                  <a:lnTo>
                    <a:pt x="952" y="234"/>
                  </a:lnTo>
                  <a:lnTo>
                    <a:pt x="952" y="234"/>
                  </a:lnTo>
                  <a:lnTo>
                    <a:pt x="952" y="234"/>
                  </a:lnTo>
                  <a:lnTo>
                    <a:pt x="952" y="234"/>
                  </a:lnTo>
                  <a:close/>
                  <a:moveTo>
                    <a:pt x="952" y="228"/>
                  </a:moveTo>
                  <a:lnTo>
                    <a:pt x="946" y="234"/>
                  </a:lnTo>
                  <a:lnTo>
                    <a:pt x="946" y="234"/>
                  </a:lnTo>
                  <a:lnTo>
                    <a:pt x="946" y="228"/>
                  </a:lnTo>
                  <a:lnTo>
                    <a:pt x="946" y="228"/>
                  </a:lnTo>
                  <a:lnTo>
                    <a:pt x="952" y="228"/>
                  </a:lnTo>
                  <a:lnTo>
                    <a:pt x="952" y="228"/>
                  </a:lnTo>
                  <a:lnTo>
                    <a:pt x="952" y="228"/>
                  </a:lnTo>
                  <a:lnTo>
                    <a:pt x="952" y="228"/>
                  </a:lnTo>
                  <a:close/>
                  <a:moveTo>
                    <a:pt x="790" y="238"/>
                  </a:moveTo>
                  <a:lnTo>
                    <a:pt x="790" y="234"/>
                  </a:lnTo>
                  <a:lnTo>
                    <a:pt x="794" y="234"/>
                  </a:lnTo>
                  <a:lnTo>
                    <a:pt x="800" y="234"/>
                  </a:lnTo>
                  <a:lnTo>
                    <a:pt x="794" y="238"/>
                  </a:lnTo>
                  <a:lnTo>
                    <a:pt x="790" y="238"/>
                  </a:lnTo>
                  <a:lnTo>
                    <a:pt x="790" y="238"/>
                  </a:lnTo>
                  <a:lnTo>
                    <a:pt x="790" y="238"/>
                  </a:lnTo>
                  <a:lnTo>
                    <a:pt x="790" y="238"/>
                  </a:lnTo>
                  <a:lnTo>
                    <a:pt x="790" y="238"/>
                  </a:lnTo>
                  <a:close/>
                  <a:moveTo>
                    <a:pt x="800" y="234"/>
                  </a:moveTo>
                  <a:lnTo>
                    <a:pt x="800" y="234"/>
                  </a:lnTo>
                  <a:lnTo>
                    <a:pt x="800" y="238"/>
                  </a:lnTo>
                  <a:lnTo>
                    <a:pt x="806" y="238"/>
                  </a:lnTo>
                  <a:lnTo>
                    <a:pt x="800" y="238"/>
                  </a:lnTo>
                  <a:lnTo>
                    <a:pt x="800" y="234"/>
                  </a:lnTo>
                  <a:lnTo>
                    <a:pt x="800" y="234"/>
                  </a:lnTo>
                  <a:lnTo>
                    <a:pt x="800" y="234"/>
                  </a:lnTo>
                  <a:lnTo>
                    <a:pt x="800" y="234"/>
                  </a:lnTo>
                  <a:lnTo>
                    <a:pt x="800" y="234"/>
                  </a:lnTo>
                  <a:close/>
                  <a:moveTo>
                    <a:pt x="1510" y="238"/>
                  </a:moveTo>
                  <a:lnTo>
                    <a:pt x="1516" y="238"/>
                  </a:lnTo>
                  <a:lnTo>
                    <a:pt x="1510" y="238"/>
                  </a:lnTo>
                  <a:lnTo>
                    <a:pt x="1510" y="238"/>
                  </a:lnTo>
                  <a:lnTo>
                    <a:pt x="1510" y="238"/>
                  </a:lnTo>
                  <a:lnTo>
                    <a:pt x="1510" y="238"/>
                  </a:lnTo>
                  <a:close/>
                  <a:moveTo>
                    <a:pt x="730" y="238"/>
                  </a:moveTo>
                  <a:lnTo>
                    <a:pt x="730" y="238"/>
                  </a:lnTo>
                  <a:lnTo>
                    <a:pt x="730" y="238"/>
                  </a:lnTo>
                  <a:lnTo>
                    <a:pt x="730" y="238"/>
                  </a:lnTo>
                  <a:lnTo>
                    <a:pt x="730" y="238"/>
                  </a:lnTo>
                  <a:lnTo>
                    <a:pt x="730" y="238"/>
                  </a:lnTo>
                  <a:lnTo>
                    <a:pt x="730" y="238"/>
                  </a:lnTo>
                  <a:lnTo>
                    <a:pt x="730" y="238"/>
                  </a:lnTo>
                  <a:close/>
                  <a:moveTo>
                    <a:pt x="800" y="242"/>
                  </a:moveTo>
                  <a:lnTo>
                    <a:pt x="800" y="242"/>
                  </a:lnTo>
                  <a:lnTo>
                    <a:pt x="806" y="242"/>
                  </a:lnTo>
                  <a:lnTo>
                    <a:pt x="800" y="242"/>
                  </a:lnTo>
                  <a:lnTo>
                    <a:pt x="800" y="242"/>
                  </a:lnTo>
                  <a:lnTo>
                    <a:pt x="800" y="242"/>
                  </a:lnTo>
                  <a:lnTo>
                    <a:pt x="800" y="242"/>
                  </a:lnTo>
                  <a:lnTo>
                    <a:pt x="800" y="242"/>
                  </a:lnTo>
                  <a:close/>
                  <a:moveTo>
                    <a:pt x="766" y="248"/>
                  </a:moveTo>
                  <a:lnTo>
                    <a:pt x="766" y="242"/>
                  </a:lnTo>
                  <a:lnTo>
                    <a:pt x="772" y="242"/>
                  </a:lnTo>
                  <a:lnTo>
                    <a:pt x="778" y="242"/>
                  </a:lnTo>
                  <a:lnTo>
                    <a:pt x="778" y="242"/>
                  </a:lnTo>
                  <a:lnTo>
                    <a:pt x="778" y="248"/>
                  </a:lnTo>
                  <a:lnTo>
                    <a:pt x="778" y="242"/>
                  </a:lnTo>
                  <a:lnTo>
                    <a:pt x="778" y="248"/>
                  </a:lnTo>
                  <a:lnTo>
                    <a:pt x="778" y="248"/>
                  </a:lnTo>
                  <a:lnTo>
                    <a:pt x="778" y="248"/>
                  </a:lnTo>
                  <a:lnTo>
                    <a:pt x="778" y="248"/>
                  </a:lnTo>
                  <a:lnTo>
                    <a:pt x="778" y="248"/>
                  </a:lnTo>
                  <a:lnTo>
                    <a:pt x="772" y="248"/>
                  </a:lnTo>
                  <a:lnTo>
                    <a:pt x="772" y="248"/>
                  </a:lnTo>
                  <a:lnTo>
                    <a:pt x="766" y="248"/>
                  </a:lnTo>
                  <a:lnTo>
                    <a:pt x="766" y="248"/>
                  </a:lnTo>
                  <a:lnTo>
                    <a:pt x="766" y="248"/>
                  </a:lnTo>
                  <a:lnTo>
                    <a:pt x="766" y="248"/>
                  </a:lnTo>
                  <a:close/>
                  <a:moveTo>
                    <a:pt x="1446" y="248"/>
                  </a:moveTo>
                  <a:lnTo>
                    <a:pt x="1446" y="248"/>
                  </a:lnTo>
                  <a:lnTo>
                    <a:pt x="1450" y="248"/>
                  </a:lnTo>
                  <a:lnTo>
                    <a:pt x="1450" y="248"/>
                  </a:lnTo>
                  <a:lnTo>
                    <a:pt x="1446" y="248"/>
                  </a:lnTo>
                  <a:lnTo>
                    <a:pt x="1446" y="248"/>
                  </a:lnTo>
                  <a:lnTo>
                    <a:pt x="1446" y="248"/>
                  </a:lnTo>
                  <a:lnTo>
                    <a:pt x="1446" y="248"/>
                  </a:lnTo>
                  <a:close/>
                  <a:moveTo>
                    <a:pt x="1542" y="248"/>
                  </a:moveTo>
                  <a:lnTo>
                    <a:pt x="1542" y="248"/>
                  </a:lnTo>
                  <a:lnTo>
                    <a:pt x="1548" y="248"/>
                  </a:lnTo>
                  <a:lnTo>
                    <a:pt x="1548" y="248"/>
                  </a:lnTo>
                  <a:lnTo>
                    <a:pt x="1542" y="248"/>
                  </a:lnTo>
                  <a:lnTo>
                    <a:pt x="1542" y="248"/>
                  </a:lnTo>
                  <a:lnTo>
                    <a:pt x="1542" y="248"/>
                  </a:lnTo>
                  <a:lnTo>
                    <a:pt x="1542" y="248"/>
                  </a:lnTo>
                  <a:close/>
                  <a:moveTo>
                    <a:pt x="1450" y="248"/>
                  </a:moveTo>
                  <a:lnTo>
                    <a:pt x="1456" y="248"/>
                  </a:lnTo>
                  <a:lnTo>
                    <a:pt x="1456" y="248"/>
                  </a:lnTo>
                  <a:lnTo>
                    <a:pt x="1462" y="248"/>
                  </a:lnTo>
                  <a:lnTo>
                    <a:pt x="1466" y="248"/>
                  </a:lnTo>
                  <a:lnTo>
                    <a:pt x="1466" y="254"/>
                  </a:lnTo>
                  <a:lnTo>
                    <a:pt x="1466" y="254"/>
                  </a:lnTo>
                  <a:lnTo>
                    <a:pt x="1462" y="248"/>
                  </a:lnTo>
                  <a:lnTo>
                    <a:pt x="1456" y="248"/>
                  </a:lnTo>
                  <a:lnTo>
                    <a:pt x="1450" y="248"/>
                  </a:lnTo>
                  <a:lnTo>
                    <a:pt x="1450" y="248"/>
                  </a:lnTo>
                  <a:lnTo>
                    <a:pt x="1450" y="248"/>
                  </a:lnTo>
                  <a:lnTo>
                    <a:pt x="1450" y="248"/>
                  </a:lnTo>
                  <a:lnTo>
                    <a:pt x="1450" y="248"/>
                  </a:lnTo>
                  <a:close/>
                  <a:moveTo>
                    <a:pt x="1548" y="254"/>
                  </a:moveTo>
                  <a:lnTo>
                    <a:pt x="1542" y="254"/>
                  </a:lnTo>
                  <a:lnTo>
                    <a:pt x="1542" y="248"/>
                  </a:lnTo>
                  <a:lnTo>
                    <a:pt x="1536" y="248"/>
                  </a:lnTo>
                  <a:lnTo>
                    <a:pt x="1542" y="248"/>
                  </a:lnTo>
                  <a:lnTo>
                    <a:pt x="1542" y="248"/>
                  </a:lnTo>
                  <a:lnTo>
                    <a:pt x="1548" y="248"/>
                  </a:lnTo>
                  <a:lnTo>
                    <a:pt x="1554" y="248"/>
                  </a:lnTo>
                  <a:lnTo>
                    <a:pt x="1548" y="254"/>
                  </a:lnTo>
                  <a:lnTo>
                    <a:pt x="1548" y="254"/>
                  </a:lnTo>
                  <a:lnTo>
                    <a:pt x="1548" y="254"/>
                  </a:lnTo>
                  <a:lnTo>
                    <a:pt x="1548" y="254"/>
                  </a:lnTo>
                  <a:close/>
                  <a:moveTo>
                    <a:pt x="1530" y="260"/>
                  </a:moveTo>
                  <a:lnTo>
                    <a:pt x="1536" y="260"/>
                  </a:lnTo>
                  <a:lnTo>
                    <a:pt x="1536" y="254"/>
                  </a:lnTo>
                  <a:lnTo>
                    <a:pt x="1542" y="254"/>
                  </a:lnTo>
                  <a:lnTo>
                    <a:pt x="1542" y="254"/>
                  </a:lnTo>
                  <a:lnTo>
                    <a:pt x="1542" y="260"/>
                  </a:lnTo>
                  <a:lnTo>
                    <a:pt x="1542" y="260"/>
                  </a:lnTo>
                  <a:lnTo>
                    <a:pt x="1536" y="260"/>
                  </a:lnTo>
                  <a:lnTo>
                    <a:pt x="1530" y="260"/>
                  </a:lnTo>
                  <a:lnTo>
                    <a:pt x="1530" y="260"/>
                  </a:lnTo>
                  <a:lnTo>
                    <a:pt x="1530" y="260"/>
                  </a:lnTo>
                  <a:lnTo>
                    <a:pt x="1530" y="260"/>
                  </a:lnTo>
                  <a:close/>
                  <a:moveTo>
                    <a:pt x="1516" y="270"/>
                  </a:moveTo>
                  <a:lnTo>
                    <a:pt x="1516" y="266"/>
                  </a:lnTo>
                  <a:lnTo>
                    <a:pt x="1510" y="266"/>
                  </a:lnTo>
                  <a:lnTo>
                    <a:pt x="1516" y="266"/>
                  </a:lnTo>
                  <a:lnTo>
                    <a:pt x="1516" y="270"/>
                  </a:lnTo>
                  <a:lnTo>
                    <a:pt x="1516" y="270"/>
                  </a:lnTo>
                  <a:lnTo>
                    <a:pt x="1516" y="270"/>
                  </a:lnTo>
                  <a:lnTo>
                    <a:pt x="1516" y="270"/>
                  </a:lnTo>
                  <a:close/>
                  <a:moveTo>
                    <a:pt x="1516" y="276"/>
                  </a:moveTo>
                  <a:lnTo>
                    <a:pt x="1520" y="276"/>
                  </a:lnTo>
                  <a:lnTo>
                    <a:pt x="1520" y="276"/>
                  </a:lnTo>
                  <a:lnTo>
                    <a:pt x="1516" y="276"/>
                  </a:lnTo>
                  <a:lnTo>
                    <a:pt x="1516" y="276"/>
                  </a:lnTo>
                  <a:lnTo>
                    <a:pt x="1516" y="276"/>
                  </a:lnTo>
                  <a:lnTo>
                    <a:pt x="1516" y="276"/>
                  </a:lnTo>
                  <a:lnTo>
                    <a:pt x="1516" y="276"/>
                  </a:lnTo>
                  <a:close/>
                  <a:moveTo>
                    <a:pt x="886" y="302"/>
                  </a:moveTo>
                  <a:lnTo>
                    <a:pt x="880" y="302"/>
                  </a:lnTo>
                  <a:lnTo>
                    <a:pt x="880" y="296"/>
                  </a:lnTo>
                  <a:lnTo>
                    <a:pt x="886" y="296"/>
                  </a:lnTo>
                  <a:lnTo>
                    <a:pt x="886" y="302"/>
                  </a:lnTo>
                  <a:lnTo>
                    <a:pt x="886" y="302"/>
                  </a:lnTo>
                  <a:lnTo>
                    <a:pt x="886" y="302"/>
                  </a:lnTo>
                  <a:lnTo>
                    <a:pt x="886" y="302"/>
                  </a:lnTo>
                  <a:close/>
                  <a:moveTo>
                    <a:pt x="898" y="302"/>
                  </a:moveTo>
                  <a:lnTo>
                    <a:pt x="898" y="302"/>
                  </a:lnTo>
                  <a:lnTo>
                    <a:pt x="898" y="296"/>
                  </a:lnTo>
                  <a:lnTo>
                    <a:pt x="898" y="296"/>
                  </a:lnTo>
                  <a:lnTo>
                    <a:pt x="898" y="302"/>
                  </a:lnTo>
                  <a:lnTo>
                    <a:pt x="898" y="302"/>
                  </a:lnTo>
                  <a:lnTo>
                    <a:pt x="898" y="302"/>
                  </a:lnTo>
                  <a:lnTo>
                    <a:pt x="898" y="302"/>
                  </a:lnTo>
                  <a:close/>
                  <a:moveTo>
                    <a:pt x="898" y="314"/>
                  </a:moveTo>
                  <a:lnTo>
                    <a:pt x="898" y="308"/>
                  </a:lnTo>
                  <a:lnTo>
                    <a:pt x="898" y="308"/>
                  </a:lnTo>
                  <a:lnTo>
                    <a:pt x="898" y="308"/>
                  </a:lnTo>
                  <a:lnTo>
                    <a:pt x="898" y="302"/>
                  </a:lnTo>
                  <a:lnTo>
                    <a:pt x="904" y="308"/>
                  </a:lnTo>
                  <a:lnTo>
                    <a:pt x="898" y="308"/>
                  </a:lnTo>
                  <a:lnTo>
                    <a:pt x="898" y="308"/>
                  </a:lnTo>
                  <a:lnTo>
                    <a:pt x="898" y="314"/>
                  </a:lnTo>
                  <a:lnTo>
                    <a:pt x="898" y="314"/>
                  </a:lnTo>
                  <a:lnTo>
                    <a:pt x="898" y="314"/>
                  </a:lnTo>
                  <a:lnTo>
                    <a:pt x="898" y="314"/>
                  </a:lnTo>
                  <a:lnTo>
                    <a:pt x="898" y="314"/>
                  </a:lnTo>
                  <a:close/>
                  <a:moveTo>
                    <a:pt x="530" y="314"/>
                  </a:moveTo>
                  <a:lnTo>
                    <a:pt x="524" y="308"/>
                  </a:lnTo>
                  <a:lnTo>
                    <a:pt x="530" y="308"/>
                  </a:lnTo>
                  <a:lnTo>
                    <a:pt x="530" y="314"/>
                  </a:lnTo>
                  <a:lnTo>
                    <a:pt x="530" y="314"/>
                  </a:lnTo>
                  <a:lnTo>
                    <a:pt x="530" y="314"/>
                  </a:lnTo>
                  <a:lnTo>
                    <a:pt x="530" y="314"/>
                  </a:lnTo>
                  <a:close/>
                  <a:moveTo>
                    <a:pt x="904" y="308"/>
                  </a:moveTo>
                  <a:lnTo>
                    <a:pt x="898" y="308"/>
                  </a:lnTo>
                  <a:lnTo>
                    <a:pt x="904" y="308"/>
                  </a:lnTo>
                  <a:lnTo>
                    <a:pt x="904" y="314"/>
                  </a:lnTo>
                  <a:lnTo>
                    <a:pt x="904" y="308"/>
                  </a:lnTo>
                  <a:lnTo>
                    <a:pt x="904" y="308"/>
                  </a:lnTo>
                  <a:lnTo>
                    <a:pt x="904" y="308"/>
                  </a:lnTo>
                  <a:lnTo>
                    <a:pt x="904" y="308"/>
                  </a:lnTo>
                  <a:close/>
                  <a:moveTo>
                    <a:pt x="904" y="314"/>
                  </a:moveTo>
                  <a:lnTo>
                    <a:pt x="898" y="314"/>
                  </a:lnTo>
                  <a:lnTo>
                    <a:pt x="904" y="314"/>
                  </a:lnTo>
                  <a:lnTo>
                    <a:pt x="904" y="308"/>
                  </a:lnTo>
                  <a:lnTo>
                    <a:pt x="904" y="314"/>
                  </a:lnTo>
                  <a:lnTo>
                    <a:pt x="904" y="314"/>
                  </a:lnTo>
                  <a:lnTo>
                    <a:pt x="904" y="314"/>
                  </a:lnTo>
                  <a:lnTo>
                    <a:pt x="904" y="314"/>
                  </a:lnTo>
                  <a:close/>
                  <a:moveTo>
                    <a:pt x="892" y="320"/>
                  </a:moveTo>
                  <a:lnTo>
                    <a:pt x="892" y="320"/>
                  </a:lnTo>
                  <a:lnTo>
                    <a:pt x="898" y="320"/>
                  </a:lnTo>
                  <a:lnTo>
                    <a:pt x="898" y="320"/>
                  </a:lnTo>
                  <a:lnTo>
                    <a:pt x="892" y="320"/>
                  </a:lnTo>
                  <a:lnTo>
                    <a:pt x="892" y="320"/>
                  </a:lnTo>
                  <a:lnTo>
                    <a:pt x="892" y="320"/>
                  </a:lnTo>
                  <a:lnTo>
                    <a:pt x="892" y="320"/>
                  </a:lnTo>
                  <a:close/>
                  <a:moveTo>
                    <a:pt x="670" y="342"/>
                  </a:moveTo>
                  <a:lnTo>
                    <a:pt x="670" y="342"/>
                  </a:lnTo>
                  <a:lnTo>
                    <a:pt x="670" y="342"/>
                  </a:lnTo>
                  <a:lnTo>
                    <a:pt x="670" y="342"/>
                  </a:lnTo>
                  <a:lnTo>
                    <a:pt x="670" y="342"/>
                  </a:lnTo>
                  <a:lnTo>
                    <a:pt x="670" y="342"/>
                  </a:lnTo>
                  <a:close/>
                  <a:moveTo>
                    <a:pt x="710" y="410"/>
                  </a:moveTo>
                  <a:lnTo>
                    <a:pt x="710" y="410"/>
                  </a:lnTo>
                  <a:lnTo>
                    <a:pt x="710" y="406"/>
                  </a:lnTo>
                  <a:lnTo>
                    <a:pt x="704" y="406"/>
                  </a:lnTo>
                  <a:lnTo>
                    <a:pt x="698" y="406"/>
                  </a:lnTo>
                  <a:lnTo>
                    <a:pt x="698" y="406"/>
                  </a:lnTo>
                  <a:lnTo>
                    <a:pt x="704" y="406"/>
                  </a:lnTo>
                  <a:lnTo>
                    <a:pt x="710" y="406"/>
                  </a:lnTo>
                  <a:lnTo>
                    <a:pt x="710" y="406"/>
                  </a:lnTo>
                  <a:lnTo>
                    <a:pt x="710" y="406"/>
                  </a:lnTo>
                  <a:lnTo>
                    <a:pt x="712" y="406"/>
                  </a:lnTo>
                  <a:lnTo>
                    <a:pt x="712" y="410"/>
                  </a:lnTo>
                  <a:lnTo>
                    <a:pt x="710" y="416"/>
                  </a:lnTo>
                  <a:lnTo>
                    <a:pt x="710" y="410"/>
                  </a:lnTo>
                  <a:lnTo>
                    <a:pt x="710" y="410"/>
                  </a:lnTo>
                  <a:lnTo>
                    <a:pt x="710" y="410"/>
                  </a:lnTo>
                  <a:lnTo>
                    <a:pt x="710" y="410"/>
                  </a:lnTo>
                  <a:close/>
                  <a:moveTo>
                    <a:pt x="290" y="456"/>
                  </a:moveTo>
                  <a:lnTo>
                    <a:pt x="296" y="460"/>
                  </a:lnTo>
                  <a:lnTo>
                    <a:pt x="290" y="460"/>
                  </a:lnTo>
                  <a:lnTo>
                    <a:pt x="284" y="460"/>
                  </a:lnTo>
                  <a:lnTo>
                    <a:pt x="284" y="456"/>
                  </a:lnTo>
                  <a:lnTo>
                    <a:pt x="290" y="456"/>
                  </a:lnTo>
                  <a:lnTo>
                    <a:pt x="284" y="456"/>
                  </a:lnTo>
                  <a:lnTo>
                    <a:pt x="290" y="456"/>
                  </a:lnTo>
                  <a:lnTo>
                    <a:pt x="290" y="456"/>
                  </a:lnTo>
                  <a:lnTo>
                    <a:pt x="290" y="456"/>
                  </a:lnTo>
                  <a:lnTo>
                    <a:pt x="290" y="456"/>
                  </a:lnTo>
                  <a:close/>
                  <a:moveTo>
                    <a:pt x="1850" y="584"/>
                  </a:moveTo>
                  <a:lnTo>
                    <a:pt x="1850" y="584"/>
                  </a:lnTo>
                  <a:lnTo>
                    <a:pt x="1850" y="584"/>
                  </a:lnTo>
                  <a:lnTo>
                    <a:pt x="1850" y="590"/>
                  </a:lnTo>
                  <a:lnTo>
                    <a:pt x="1850" y="584"/>
                  </a:lnTo>
                  <a:lnTo>
                    <a:pt x="1850" y="584"/>
                  </a:lnTo>
                  <a:lnTo>
                    <a:pt x="1850" y="584"/>
                  </a:lnTo>
                  <a:lnTo>
                    <a:pt x="1850" y="584"/>
                  </a:lnTo>
                  <a:close/>
                  <a:moveTo>
                    <a:pt x="1656" y="682"/>
                  </a:moveTo>
                  <a:lnTo>
                    <a:pt x="1656" y="676"/>
                  </a:lnTo>
                  <a:lnTo>
                    <a:pt x="1662" y="676"/>
                  </a:lnTo>
                  <a:lnTo>
                    <a:pt x="1662" y="676"/>
                  </a:lnTo>
                  <a:lnTo>
                    <a:pt x="1662" y="682"/>
                  </a:lnTo>
                  <a:lnTo>
                    <a:pt x="1662" y="676"/>
                  </a:lnTo>
                  <a:lnTo>
                    <a:pt x="1656" y="676"/>
                  </a:lnTo>
                  <a:lnTo>
                    <a:pt x="1656" y="682"/>
                  </a:lnTo>
                  <a:lnTo>
                    <a:pt x="1656" y="682"/>
                  </a:lnTo>
                  <a:lnTo>
                    <a:pt x="1656" y="682"/>
                  </a:lnTo>
                  <a:lnTo>
                    <a:pt x="1656" y="682"/>
                  </a:lnTo>
                  <a:close/>
                  <a:moveTo>
                    <a:pt x="1668" y="692"/>
                  </a:moveTo>
                  <a:lnTo>
                    <a:pt x="1668" y="688"/>
                  </a:lnTo>
                  <a:lnTo>
                    <a:pt x="1668" y="692"/>
                  </a:lnTo>
                  <a:lnTo>
                    <a:pt x="1668" y="692"/>
                  </a:lnTo>
                  <a:lnTo>
                    <a:pt x="1668" y="692"/>
                  </a:lnTo>
                  <a:lnTo>
                    <a:pt x="1668" y="692"/>
                  </a:lnTo>
                  <a:close/>
                  <a:moveTo>
                    <a:pt x="1672" y="692"/>
                  </a:moveTo>
                  <a:lnTo>
                    <a:pt x="1672" y="688"/>
                  </a:lnTo>
                  <a:lnTo>
                    <a:pt x="1672" y="692"/>
                  </a:lnTo>
                  <a:lnTo>
                    <a:pt x="1672" y="692"/>
                  </a:lnTo>
                  <a:lnTo>
                    <a:pt x="1672" y="692"/>
                  </a:lnTo>
                  <a:lnTo>
                    <a:pt x="1672" y="692"/>
                  </a:lnTo>
                  <a:close/>
                  <a:moveTo>
                    <a:pt x="1590" y="926"/>
                  </a:moveTo>
                  <a:lnTo>
                    <a:pt x="1586" y="926"/>
                  </a:lnTo>
                  <a:lnTo>
                    <a:pt x="1586" y="920"/>
                  </a:lnTo>
                  <a:lnTo>
                    <a:pt x="1590" y="926"/>
                  </a:lnTo>
                  <a:lnTo>
                    <a:pt x="1590" y="926"/>
                  </a:lnTo>
                  <a:lnTo>
                    <a:pt x="1590" y="926"/>
                  </a:lnTo>
                  <a:lnTo>
                    <a:pt x="1590" y="926"/>
                  </a:lnTo>
                  <a:close/>
                  <a:moveTo>
                    <a:pt x="540" y="6"/>
                  </a:moveTo>
                  <a:lnTo>
                    <a:pt x="540" y="0"/>
                  </a:lnTo>
                  <a:lnTo>
                    <a:pt x="546" y="0"/>
                  </a:lnTo>
                  <a:lnTo>
                    <a:pt x="550" y="0"/>
                  </a:lnTo>
                  <a:lnTo>
                    <a:pt x="550" y="0"/>
                  </a:lnTo>
                  <a:lnTo>
                    <a:pt x="556" y="0"/>
                  </a:lnTo>
                  <a:lnTo>
                    <a:pt x="562" y="0"/>
                  </a:lnTo>
                  <a:lnTo>
                    <a:pt x="562" y="0"/>
                  </a:lnTo>
                  <a:lnTo>
                    <a:pt x="562" y="0"/>
                  </a:lnTo>
                  <a:lnTo>
                    <a:pt x="556" y="0"/>
                  </a:lnTo>
                  <a:lnTo>
                    <a:pt x="550" y="0"/>
                  </a:lnTo>
                  <a:lnTo>
                    <a:pt x="550" y="0"/>
                  </a:lnTo>
                  <a:lnTo>
                    <a:pt x="546" y="6"/>
                  </a:lnTo>
                  <a:lnTo>
                    <a:pt x="540" y="6"/>
                  </a:lnTo>
                  <a:lnTo>
                    <a:pt x="540" y="6"/>
                  </a:lnTo>
                  <a:lnTo>
                    <a:pt x="540" y="6"/>
                  </a:lnTo>
                  <a:lnTo>
                    <a:pt x="540" y="6"/>
                  </a:lnTo>
                  <a:close/>
                  <a:moveTo>
                    <a:pt x="540" y="12"/>
                  </a:moveTo>
                  <a:lnTo>
                    <a:pt x="536" y="12"/>
                  </a:lnTo>
                  <a:lnTo>
                    <a:pt x="536" y="12"/>
                  </a:lnTo>
                  <a:lnTo>
                    <a:pt x="530" y="12"/>
                  </a:lnTo>
                  <a:lnTo>
                    <a:pt x="524" y="12"/>
                  </a:lnTo>
                  <a:lnTo>
                    <a:pt x="524" y="12"/>
                  </a:lnTo>
                  <a:lnTo>
                    <a:pt x="524" y="12"/>
                  </a:lnTo>
                  <a:lnTo>
                    <a:pt x="530" y="12"/>
                  </a:lnTo>
                  <a:lnTo>
                    <a:pt x="536" y="12"/>
                  </a:lnTo>
                  <a:lnTo>
                    <a:pt x="536" y="12"/>
                  </a:lnTo>
                  <a:lnTo>
                    <a:pt x="540" y="12"/>
                  </a:lnTo>
                  <a:lnTo>
                    <a:pt x="546" y="12"/>
                  </a:lnTo>
                  <a:lnTo>
                    <a:pt x="550" y="12"/>
                  </a:lnTo>
                  <a:lnTo>
                    <a:pt x="550" y="12"/>
                  </a:lnTo>
                  <a:lnTo>
                    <a:pt x="546" y="12"/>
                  </a:lnTo>
                  <a:lnTo>
                    <a:pt x="540" y="12"/>
                  </a:lnTo>
                  <a:lnTo>
                    <a:pt x="540" y="12"/>
                  </a:lnTo>
                  <a:lnTo>
                    <a:pt x="540" y="12"/>
                  </a:lnTo>
                  <a:lnTo>
                    <a:pt x="540" y="12"/>
                  </a:lnTo>
                  <a:close/>
                  <a:moveTo>
                    <a:pt x="508" y="16"/>
                  </a:moveTo>
                  <a:lnTo>
                    <a:pt x="502" y="16"/>
                  </a:lnTo>
                  <a:lnTo>
                    <a:pt x="508" y="16"/>
                  </a:lnTo>
                  <a:lnTo>
                    <a:pt x="512" y="16"/>
                  </a:lnTo>
                  <a:lnTo>
                    <a:pt x="512" y="16"/>
                  </a:lnTo>
                  <a:lnTo>
                    <a:pt x="518" y="16"/>
                  </a:lnTo>
                  <a:lnTo>
                    <a:pt x="524" y="16"/>
                  </a:lnTo>
                  <a:lnTo>
                    <a:pt x="518" y="16"/>
                  </a:lnTo>
                  <a:lnTo>
                    <a:pt x="518" y="12"/>
                  </a:lnTo>
                  <a:lnTo>
                    <a:pt x="524" y="12"/>
                  </a:lnTo>
                  <a:lnTo>
                    <a:pt x="524" y="12"/>
                  </a:lnTo>
                  <a:lnTo>
                    <a:pt x="530" y="12"/>
                  </a:lnTo>
                  <a:lnTo>
                    <a:pt x="536" y="16"/>
                  </a:lnTo>
                  <a:lnTo>
                    <a:pt x="536" y="16"/>
                  </a:lnTo>
                  <a:lnTo>
                    <a:pt x="540" y="16"/>
                  </a:lnTo>
                  <a:lnTo>
                    <a:pt x="536" y="16"/>
                  </a:lnTo>
                  <a:lnTo>
                    <a:pt x="536" y="16"/>
                  </a:lnTo>
                  <a:lnTo>
                    <a:pt x="530" y="16"/>
                  </a:lnTo>
                  <a:lnTo>
                    <a:pt x="524" y="16"/>
                  </a:lnTo>
                  <a:lnTo>
                    <a:pt x="524" y="20"/>
                  </a:lnTo>
                  <a:lnTo>
                    <a:pt x="518" y="20"/>
                  </a:lnTo>
                  <a:lnTo>
                    <a:pt x="518" y="16"/>
                  </a:lnTo>
                  <a:lnTo>
                    <a:pt x="512" y="16"/>
                  </a:lnTo>
                  <a:lnTo>
                    <a:pt x="512" y="20"/>
                  </a:lnTo>
                  <a:lnTo>
                    <a:pt x="512" y="20"/>
                  </a:lnTo>
                  <a:lnTo>
                    <a:pt x="508" y="20"/>
                  </a:lnTo>
                  <a:lnTo>
                    <a:pt x="508" y="16"/>
                  </a:lnTo>
                  <a:lnTo>
                    <a:pt x="508" y="16"/>
                  </a:lnTo>
                  <a:lnTo>
                    <a:pt x="508" y="16"/>
                  </a:lnTo>
                  <a:lnTo>
                    <a:pt x="508" y="16"/>
                  </a:lnTo>
                  <a:close/>
                  <a:moveTo>
                    <a:pt x="1088" y="48"/>
                  </a:moveTo>
                  <a:lnTo>
                    <a:pt x="1088" y="48"/>
                  </a:lnTo>
                  <a:lnTo>
                    <a:pt x="1082" y="48"/>
                  </a:lnTo>
                  <a:lnTo>
                    <a:pt x="1078" y="48"/>
                  </a:lnTo>
                  <a:lnTo>
                    <a:pt x="1078" y="48"/>
                  </a:lnTo>
                  <a:lnTo>
                    <a:pt x="1072" y="48"/>
                  </a:lnTo>
                  <a:lnTo>
                    <a:pt x="1066" y="48"/>
                  </a:lnTo>
                  <a:lnTo>
                    <a:pt x="1066" y="48"/>
                  </a:lnTo>
                  <a:lnTo>
                    <a:pt x="1060" y="48"/>
                  </a:lnTo>
                  <a:lnTo>
                    <a:pt x="1054" y="48"/>
                  </a:lnTo>
                  <a:lnTo>
                    <a:pt x="1054" y="54"/>
                  </a:lnTo>
                  <a:lnTo>
                    <a:pt x="1054" y="54"/>
                  </a:lnTo>
                  <a:lnTo>
                    <a:pt x="1050" y="54"/>
                  </a:lnTo>
                  <a:lnTo>
                    <a:pt x="1044" y="54"/>
                  </a:lnTo>
                  <a:lnTo>
                    <a:pt x="1038" y="54"/>
                  </a:lnTo>
                  <a:lnTo>
                    <a:pt x="1038" y="54"/>
                  </a:lnTo>
                  <a:lnTo>
                    <a:pt x="1038" y="48"/>
                  </a:lnTo>
                  <a:lnTo>
                    <a:pt x="1034" y="48"/>
                  </a:lnTo>
                  <a:lnTo>
                    <a:pt x="1028" y="48"/>
                  </a:lnTo>
                  <a:lnTo>
                    <a:pt x="1028" y="48"/>
                  </a:lnTo>
                  <a:lnTo>
                    <a:pt x="1022" y="48"/>
                  </a:lnTo>
                  <a:lnTo>
                    <a:pt x="1028" y="48"/>
                  </a:lnTo>
                  <a:lnTo>
                    <a:pt x="1028" y="48"/>
                  </a:lnTo>
                  <a:lnTo>
                    <a:pt x="1034" y="48"/>
                  </a:lnTo>
                  <a:lnTo>
                    <a:pt x="1028" y="48"/>
                  </a:lnTo>
                  <a:lnTo>
                    <a:pt x="1028" y="48"/>
                  </a:lnTo>
                  <a:lnTo>
                    <a:pt x="1028" y="48"/>
                  </a:lnTo>
                  <a:lnTo>
                    <a:pt x="1034" y="48"/>
                  </a:lnTo>
                  <a:lnTo>
                    <a:pt x="1038" y="48"/>
                  </a:lnTo>
                  <a:lnTo>
                    <a:pt x="1038" y="48"/>
                  </a:lnTo>
                  <a:lnTo>
                    <a:pt x="1038" y="48"/>
                  </a:lnTo>
                  <a:lnTo>
                    <a:pt x="1034" y="48"/>
                  </a:lnTo>
                  <a:lnTo>
                    <a:pt x="1028" y="48"/>
                  </a:lnTo>
                  <a:lnTo>
                    <a:pt x="1028" y="48"/>
                  </a:lnTo>
                  <a:lnTo>
                    <a:pt x="1022" y="48"/>
                  </a:lnTo>
                  <a:lnTo>
                    <a:pt x="1018" y="48"/>
                  </a:lnTo>
                  <a:lnTo>
                    <a:pt x="1018" y="48"/>
                  </a:lnTo>
                  <a:lnTo>
                    <a:pt x="1018" y="42"/>
                  </a:lnTo>
                  <a:lnTo>
                    <a:pt x="1018" y="42"/>
                  </a:lnTo>
                  <a:lnTo>
                    <a:pt x="1022" y="42"/>
                  </a:lnTo>
                  <a:lnTo>
                    <a:pt x="1028" y="42"/>
                  </a:lnTo>
                  <a:lnTo>
                    <a:pt x="1028" y="42"/>
                  </a:lnTo>
                  <a:lnTo>
                    <a:pt x="1028" y="42"/>
                  </a:lnTo>
                  <a:lnTo>
                    <a:pt x="1022" y="42"/>
                  </a:lnTo>
                  <a:lnTo>
                    <a:pt x="1022" y="38"/>
                  </a:lnTo>
                  <a:lnTo>
                    <a:pt x="1028" y="38"/>
                  </a:lnTo>
                  <a:lnTo>
                    <a:pt x="1028" y="38"/>
                  </a:lnTo>
                  <a:lnTo>
                    <a:pt x="1034" y="38"/>
                  </a:lnTo>
                  <a:lnTo>
                    <a:pt x="1034" y="38"/>
                  </a:lnTo>
                  <a:lnTo>
                    <a:pt x="1038" y="38"/>
                  </a:lnTo>
                  <a:lnTo>
                    <a:pt x="1038" y="32"/>
                  </a:lnTo>
                  <a:lnTo>
                    <a:pt x="1038" y="32"/>
                  </a:lnTo>
                  <a:lnTo>
                    <a:pt x="1038" y="32"/>
                  </a:lnTo>
                  <a:lnTo>
                    <a:pt x="1034" y="32"/>
                  </a:lnTo>
                  <a:lnTo>
                    <a:pt x="1028" y="32"/>
                  </a:lnTo>
                  <a:lnTo>
                    <a:pt x="1034" y="32"/>
                  </a:lnTo>
                  <a:lnTo>
                    <a:pt x="1034" y="26"/>
                  </a:lnTo>
                  <a:lnTo>
                    <a:pt x="1038" y="26"/>
                  </a:lnTo>
                  <a:lnTo>
                    <a:pt x="1038" y="26"/>
                  </a:lnTo>
                  <a:lnTo>
                    <a:pt x="1038" y="26"/>
                  </a:lnTo>
                  <a:lnTo>
                    <a:pt x="1038" y="26"/>
                  </a:lnTo>
                  <a:lnTo>
                    <a:pt x="1044" y="26"/>
                  </a:lnTo>
                  <a:lnTo>
                    <a:pt x="1050" y="26"/>
                  </a:lnTo>
                  <a:lnTo>
                    <a:pt x="1054" y="26"/>
                  </a:lnTo>
                  <a:lnTo>
                    <a:pt x="1054" y="20"/>
                  </a:lnTo>
                  <a:lnTo>
                    <a:pt x="1054" y="20"/>
                  </a:lnTo>
                  <a:lnTo>
                    <a:pt x="1060" y="20"/>
                  </a:lnTo>
                  <a:lnTo>
                    <a:pt x="1066" y="20"/>
                  </a:lnTo>
                  <a:lnTo>
                    <a:pt x="1066" y="20"/>
                  </a:lnTo>
                  <a:lnTo>
                    <a:pt x="1066" y="16"/>
                  </a:lnTo>
                  <a:lnTo>
                    <a:pt x="1072" y="16"/>
                  </a:lnTo>
                  <a:lnTo>
                    <a:pt x="1078" y="16"/>
                  </a:lnTo>
                  <a:lnTo>
                    <a:pt x="1072" y="16"/>
                  </a:lnTo>
                  <a:lnTo>
                    <a:pt x="1066" y="16"/>
                  </a:lnTo>
                  <a:lnTo>
                    <a:pt x="1072" y="16"/>
                  </a:lnTo>
                  <a:lnTo>
                    <a:pt x="1078" y="16"/>
                  </a:lnTo>
                  <a:lnTo>
                    <a:pt x="1078" y="16"/>
                  </a:lnTo>
                  <a:lnTo>
                    <a:pt x="1082" y="20"/>
                  </a:lnTo>
                  <a:lnTo>
                    <a:pt x="1088" y="26"/>
                  </a:lnTo>
                  <a:lnTo>
                    <a:pt x="1088" y="26"/>
                  </a:lnTo>
                  <a:lnTo>
                    <a:pt x="1088" y="26"/>
                  </a:lnTo>
                  <a:lnTo>
                    <a:pt x="1092" y="26"/>
                  </a:lnTo>
                  <a:lnTo>
                    <a:pt x="1104" y="26"/>
                  </a:lnTo>
                  <a:lnTo>
                    <a:pt x="1104" y="32"/>
                  </a:lnTo>
                  <a:lnTo>
                    <a:pt x="1108" y="32"/>
                  </a:lnTo>
                  <a:lnTo>
                    <a:pt x="1104" y="38"/>
                  </a:lnTo>
                  <a:lnTo>
                    <a:pt x="1104" y="38"/>
                  </a:lnTo>
                  <a:lnTo>
                    <a:pt x="1098" y="38"/>
                  </a:lnTo>
                  <a:lnTo>
                    <a:pt x="1092" y="38"/>
                  </a:lnTo>
                  <a:lnTo>
                    <a:pt x="1092" y="38"/>
                  </a:lnTo>
                  <a:lnTo>
                    <a:pt x="1098" y="38"/>
                  </a:lnTo>
                  <a:lnTo>
                    <a:pt x="1098" y="42"/>
                  </a:lnTo>
                  <a:lnTo>
                    <a:pt x="1104" y="48"/>
                  </a:lnTo>
                  <a:lnTo>
                    <a:pt x="1098" y="48"/>
                  </a:lnTo>
                  <a:lnTo>
                    <a:pt x="1092" y="48"/>
                  </a:lnTo>
                  <a:lnTo>
                    <a:pt x="1088" y="48"/>
                  </a:lnTo>
                  <a:lnTo>
                    <a:pt x="1088" y="48"/>
                  </a:lnTo>
                  <a:lnTo>
                    <a:pt x="1088" y="48"/>
                  </a:lnTo>
                  <a:lnTo>
                    <a:pt x="1088" y="48"/>
                  </a:lnTo>
                  <a:close/>
                  <a:moveTo>
                    <a:pt x="604" y="26"/>
                  </a:moveTo>
                  <a:lnTo>
                    <a:pt x="610" y="26"/>
                  </a:lnTo>
                  <a:lnTo>
                    <a:pt x="610" y="26"/>
                  </a:lnTo>
                  <a:lnTo>
                    <a:pt x="616" y="26"/>
                  </a:lnTo>
                  <a:lnTo>
                    <a:pt x="622" y="26"/>
                  </a:lnTo>
                  <a:lnTo>
                    <a:pt x="622" y="26"/>
                  </a:lnTo>
                  <a:lnTo>
                    <a:pt x="626" y="26"/>
                  </a:lnTo>
                  <a:lnTo>
                    <a:pt x="632" y="26"/>
                  </a:lnTo>
                  <a:lnTo>
                    <a:pt x="626" y="26"/>
                  </a:lnTo>
                  <a:lnTo>
                    <a:pt x="626" y="20"/>
                  </a:lnTo>
                  <a:lnTo>
                    <a:pt x="632" y="20"/>
                  </a:lnTo>
                  <a:lnTo>
                    <a:pt x="632" y="20"/>
                  </a:lnTo>
                  <a:lnTo>
                    <a:pt x="638" y="20"/>
                  </a:lnTo>
                  <a:lnTo>
                    <a:pt x="644" y="20"/>
                  </a:lnTo>
                  <a:lnTo>
                    <a:pt x="644" y="20"/>
                  </a:lnTo>
                  <a:lnTo>
                    <a:pt x="644" y="26"/>
                  </a:lnTo>
                  <a:lnTo>
                    <a:pt x="644" y="26"/>
                  </a:lnTo>
                  <a:lnTo>
                    <a:pt x="644" y="32"/>
                  </a:lnTo>
                  <a:lnTo>
                    <a:pt x="638" y="32"/>
                  </a:lnTo>
                  <a:lnTo>
                    <a:pt x="632" y="32"/>
                  </a:lnTo>
                  <a:lnTo>
                    <a:pt x="632" y="32"/>
                  </a:lnTo>
                  <a:lnTo>
                    <a:pt x="626" y="32"/>
                  </a:lnTo>
                  <a:lnTo>
                    <a:pt x="622" y="32"/>
                  </a:lnTo>
                  <a:lnTo>
                    <a:pt x="622" y="32"/>
                  </a:lnTo>
                  <a:lnTo>
                    <a:pt x="622" y="38"/>
                  </a:lnTo>
                  <a:lnTo>
                    <a:pt x="616" y="38"/>
                  </a:lnTo>
                  <a:lnTo>
                    <a:pt x="610" y="38"/>
                  </a:lnTo>
                  <a:lnTo>
                    <a:pt x="610" y="32"/>
                  </a:lnTo>
                  <a:lnTo>
                    <a:pt x="610" y="32"/>
                  </a:lnTo>
                  <a:lnTo>
                    <a:pt x="604" y="32"/>
                  </a:lnTo>
                  <a:lnTo>
                    <a:pt x="604" y="26"/>
                  </a:lnTo>
                  <a:lnTo>
                    <a:pt x="604" y="26"/>
                  </a:lnTo>
                  <a:lnTo>
                    <a:pt x="604" y="26"/>
                  </a:lnTo>
                  <a:lnTo>
                    <a:pt x="604" y="26"/>
                  </a:lnTo>
                  <a:close/>
                  <a:moveTo>
                    <a:pt x="492" y="26"/>
                  </a:moveTo>
                  <a:lnTo>
                    <a:pt x="492" y="20"/>
                  </a:lnTo>
                  <a:lnTo>
                    <a:pt x="496" y="20"/>
                  </a:lnTo>
                  <a:lnTo>
                    <a:pt x="496" y="26"/>
                  </a:lnTo>
                  <a:lnTo>
                    <a:pt x="502" y="26"/>
                  </a:lnTo>
                  <a:lnTo>
                    <a:pt x="502" y="26"/>
                  </a:lnTo>
                  <a:lnTo>
                    <a:pt x="508" y="26"/>
                  </a:lnTo>
                  <a:lnTo>
                    <a:pt x="512" y="26"/>
                  </a:lnTo>
                  <a:lnTo>
                    <a:pt x="512" y="26"/>
                  </a:lnTo>
                  <a:lnTo>
                    <a:pt x="518" y="26"/>
                  </a:lnTo>
                  <a:lnTo>
                    <a:pt x="524" y="26"/>
                  </a:lnTo>
                  <a:lnTo>
                    <a:pt x="524" y="26"/>
                  </a:lnTo>
                  <a:lnTo>
                    <a:pt x="524" y="26"/>
                  </a:lnTo>
                  <a:lnTo>
                    <a:pt x="530" y="26"/>
                  </a:lnTo>
                  <a:lnTo>
                    <a:pt x="536" y="26"/>
                  </a:lnTo>
                  <a:lnTo>
                    <a:pt x="536" y="32"/>
                  </a:lnTo>
                  <a:lnTo>
                    <a:pt x="536" y="32"/>
                  </a:lnTo>
                  <a:lnTo>
                    <a:pt x="530" y="38"/>
                  </a:lnTo>
                  <a:lnTo>
                    <a:pt x="524" y="38"/>
                  </a:lnTo>
                  <a:lnTo>
                    <a:pt x="524" y="32"/>
                  </a:lnTo>
                  <a:lnTo>
                    <a:pt x="524" y="32"/>
                  </a:lnTo>
                  <a:lnTo>
                    <a:pt x="518" y="32"/>
                  </a:lnTo>
                  <a:lnTo>
                    <a:pt x="512" y="32"/>
                  </a:lnTo>
                  <a:lnTo>
                    <a:pt x="512" y="26"/>
                  </a:lnTo>
                  <a:lnTo>
                    <a:pt x="512" y="26"/>
                  </a:lnTo>
                  <a:lnTo>
                    <a:pt x="508" y="26"/>
                  </a:lnTo>
                  <a:lnTo>
                    <a:pt x="502" y="26"/>
                  </a:lnTo>
                  <a:lnTo>
                    <a:pt x="502" y="26"/>
                  </a:lnTo>
                  <a:lnTo>
                    <a:pt x="502" y="26"/>
                  </a:lnTo>
                  <a:lnTo>
                    <a:pt x="502" y="26"/>
                  </a:lnTo>
                  <a:lnTo>
                    <a:pt x="496" y="26"/>
                  </a:lnTo>
                  <a:lnTo>
                    <a:pt x="492" y="26"/>
                  </a:lnTo>
                  <a:lnTo>
                    <a:pt x="492" y="26"/>
                  </a:lnTo>
                  <a:lnTo>
                    <a:pt x="492" y="26"/>
                  </a:lnTo>
                  <a:lnTo>
                    <a:pt x="492" y="26"/>
                  </a:lnTo>
                  <a:close/>
                  <a:moveTo>
                    <a:pt x="384" y="48"/>
                  </a:moveTo>
                  <a:lnTo>
                    <a:pt x="384" y="42"/>
                  </a:lnTo>
                  <a:lnTo>
                    <a:pt x="390" y="42"/>
                  </a:lnTo>
                  <a:lnTo>
                    <a:pt x="394" y="48"/>
                  </a:lnTo>
                  <a:lnTo>
                    <a:pt x="394" y="48"/>
                  </a:lnTo>
                  <a:lnTo>
                    <a:pt x="398" y="48"/>
                  </a:lnTo>
                  <a:lnTo>
                    <a:pt x="404" y="42"/>
                  </a:lnTo>
                  <a:lnTo>
                    <a:pt x="398" y="42"/>
                  </a:lnTo>
                  <a:lnTo>
                    <a:pt x="394" y="42"/>
                  </a:lnTo>
                  <a:lnTo>
                    <a:pt x="398" y="42"/>
                  </a:lnTo>
                  <a:lnTo>
                    <a:pt x="404" y="42"/>
                  </a:lnTo>
                  <a:lnTo>
                    <a:pt x="404" y="38"/>
                  </a:lnTo>
                  <a:lnTo>
                    <a:pt x="398" y="38"/>
                  </a:lnTo>
                  <a:lnTo>
                    <a:pt x="394" y="38"/>
                  </a:lnTo>
                  <a:lnTo>
                    <a:pt x="394" y="42"/>
                  </a:lnTo>
                  <a:lnTo>
                    <a:pt x="394" y="38"/>
                  </a:lnTo>
                  <a:lnTo>
                    <a:pt x="394" y="38"/>
                  </a:lnTo>
                  <a:lnTo>
                    <a:pt x="398" y="38"/>
                  </a:lnTo>
                  <a:lnTo>
                    <a:pt x="404" y="38"/>
                  </a:lnTo>
                  <a:lnTo>
                    <a:pt x="410" y="38"/>
                  </a:lnTo>
                  <a:lnTo>
                    <a:pt x="410" y="38"/>
                  </a:lnTo>
                  <a:lnTo>
                    <a:pt x="416" y="38"/>
                  </a:lnTo>
                  <a:lnTo>
                    <a:pt x="422" y="38"/>
                  </a:lnTo>
                  <a:lnTo>
                    <a:pt x="422" y="38"/>
                  </a:lnTo>
                  <a:lnTo>
                    <a:pt x="422" y="38"/>
                  </a:lnTo>
                  <a:lnTo>
                    <a:pt x="422" y="38"/>
                  </a:lnTo>
                  <a:lnTo>
                    <a:pt x="422" y="38"/>
                  </a:lnTo>
                  <a:lnTo>
                    <a:pt x="426" y="32"/>
                  </a:lnTo>
                  <a:lnTo>
                    <a:pt x="422" y="32"/>
                  </a:lnTo>
                  <a:lnTo>
                    <a:pt x="422" y="38"/>
                  </a:lnTo>
                  <a:lnTo>
                    <a:pt x="422" y="38"/>
                  </a:lnTo>
                  <a:lnTo>
                    <a:pt x="422" y="32"/>
                  </a:lnTo>
                  <a:lnTo>
                    <a:pt x="416" y="32"/>
                  </a:lnTo>
                  <a:lnTo>
                    <a:pt x="422" y="32"/>
                  </a:lnTo>
                  <a:lnTo>
                    <a:pt x="422" y="32"/>
                  </a:lnTo>
                  <a:lnTo>
                    <a:pt x="422" y="26"/>
                  </a:lnTo>
                  <a:lnTo>
                    <a:pt x="426" y="26"/>
                  </a:lnTo>
                  <a:lnTo>
                    <a:pt x="432" y="26"/>
                  </a:lnTo>
                  <a:lnTo>
                    <a:pt x="432" y="26"/>
                  </a:lnTo>
                  <a:lnTo>
                    <a:pt x="432" y="26"/>
                  </a:lnTo>
                  <a:lnTo>
                    <a:pt x="438" y="26"/>
                  </a:lnTo>
                  <a:lnTo>
                    <a:pt x="442" y="26"/>
                  </a:lnTo>
                  <a:lnTo>
                    <a:pt x="442" y="26"/>
                  </a:lnTo>
                  <a:lnTo>
                    <a:pt x="438" y="32"/>
                  </a:lnTo>
                  <a:lnTo>
                    <a:pt x="432" y="32"/>
                  </a:lnTo>
                  <a:lnTo>
                    <a:pt x="438" y="32"/>
                  </a:lnTo>
                  <a:lnTo>
                    <a:pt x="442" y="32"/>
                  </a:lnTo>
                  <a:lnTo>
                    <a:pt x="442" y="32"/>
                  </a:lnTo>
                  <a:lnTo>
                    <a:pt x="448" y="32"/>
                  </a:lnTo>
                  <a:lnTo>
                    <a:pt x="454" y="32"/>
                  </a:lnTo>
                  <a:lnTo>
                    <a:pt x="454" y="38"/>
                  </a:lnTo>
                  <a:lnTo>
                    <a:pt x="448" y="38"/>
                  </a:lnTo>
                  <a:lnTo>
                    <a:pt x="442" y="38"/>
                  </a:lnTo>
                  <a:lnTo>
                    <a:pt x="442" y="38"/>
                  </a:lnTo>
                  <a:lnTo>
                    <a:pt x="442" y="38"/>
                  </a:lnTo>
                  <a:lnTo>
                    <a:pt x="438" y="38"/>
                  </a:lnTo>
                  <a:lnTo>
                    <a:pt x="432" y="38"/>
                  </a:lnTo>
                  <a:lnTo>
                    <a:pt x="432" y="38"/>
                  </a:lnTo>
                  <a:lnTo>
                    <a:pt x="426" y="38"/>
                  </a:lnTo>
                  <a:lnTo>
                    <a:pt x="426" y="42"/>
                  </a:lnTo>
                  <a:lnTo>
                    <a:pt x="422" y="42"/>
                  </a:lnTo>
                  <a:lnTo>
                    <a:pt x="422" y="42"/>
                  </a:lnTo>
                  <a:lnTo>
                    <a:pt x="416" y="42"/>
                  </a:lnTo>
                  <a:lnTo>
                    <a:pt x="410" y="42"/>
                  </a:lnTo>
                  <a:lnTo>
                    <a:pt x="410" y="48"/>
                  </a:lnTo>
                  <a:lnTo>
                    <a:pt x="416" y="48"/>
                  </a:lnTo>
                  <a:lnTo>
                    <a:pt x="416" y="48"/>
                  </a:lnTo>
                  <a:lnTo>
                    <a:pt x="410" y="48"/>
                  </a:lnTo>
                  <a:lnTo>
                    <a:pt x="410" y="48"/>
                  </a:lnTo>
                  <a:lnTo>
                    <a:pt x="410" y="48"/>
                  </a:lnTo>
                  <a:lnTo>
                    <a:pt x="410" y="48"/>
                  </a:lnTo>
                  <a:lnTo>
                    <a:pt x="404" y="48"/>
                  </a:lnTo>
                  <a:lnTo>
                    <a:pt x="398" y="48"/>
                  </a:lnTo>
                  <a:lnTo>
                    <a:pt x="394" y="48"/>
                  </a:lnTo>
                  <a:lnTo>
                    <a:pt x="394" y="54"/>
                  </a:lnTo>
                  <a:lnTo>
                    <a:pt x="394" y="48"/>
                  </a:lnTo>
                  <a:lnTo>
                    <a:pt x="398" y="48"/>
                  </a:lnTo>
                  <a:lnTo>
                    <a:pt x="398" y="48"/>
                  </a:lnTo>
                  <a:lnTo>
                    <a:pt x="394" y="48"/>
                  </a:lnTo>
                  <a:lnTo>
                    <a:pt x="394" y="48"/>
                  </a:lnTo>
                  <a:lnTo>
                    <a:pt x="390" y="48"/>
                  </a:lnTo>
                  <a:lnTo>
                    <a:pt x="384" y="48"/>
                  </a:lnTo>
                  <a:lnTo>
                    <a:pt x="384" y="48"/>
                  </a:lnTo>
                  <a:lnTo>
                    <a:pt x="384" y="48"/>
                  </a:lnTo>
                  <a:lnTo>
                    <a:pt x="384" y="48"/>
                  </a:lnTo>
                  <a:lnTo>
                    <a:pt x="384" y="48"/>
                  </a:lnTo>
                  <a:lnTo>
                    <a:pt x="384" y="48"/>
                  </a:lnTo>
                  <a:close/>
                  <a:moveTo>
                    <a:pt x="562" y="38"/>
                  </a:moveTo>
                  <a:lnTo>
                    <a:pt x="562" y="38"/>
                  </a:lnTo>
                  <a:lnTo>
                    <a:pt x="562" y="32"/>
                  </a:lnTo>
                  <a:lnTo>
                    <a:pt x="562" y="32"/>
                  </a:lnTo>
                  <a:lnTo>
                    <a:pt x="568" y="32"/>
                  </a:lnTo>
                  <a:lnTo>
                    <a:pt x="568" y="26"/>
                  </a:lnTo>
                  <a:lnTo>
                    <a:pt x="572" y="26"/>
                  </a:lnTo>
                  <a:lnTo>
                    <a:pt x="572" y="26"/>
                  </a:lnTo>
                  <a:lnTo>
                    <a:pt x="572" y="32"/>
                  </a:lnTo>
                  <a:lnTo>
                    <a:pt x="572" y="32"/>
                  </a:lnTo>
                  <a:lnTo>
                    <a:pt x="572" y="32"/>
                  </a:lnTo>
                  <a:lnTo>
                    <a:pt x="578" y="32"/>
                  </a:lnTo>
                  <a:lnTo>
                    <a:pt x="584" y="32"/>
                  </a:lnTo>
                  <a:lnTo>
                    <a:pt x="584" y="26"/>
                  </a:lnTo>
                  <a:lnTo>
                    <a:pt x="590" y="26"/>
                  </a:lnTo>
                  <a:lnTo>
                    <a:pt x="596" y="26"/>
                  </a:lnTo>
                  <a:lnTo>
                    <a:pt x="600" y="26"/>
                  </a:lnTo>
                  <a:lnTo>
                    <a:pt x="600" y="26"/>
                  </a:lnTo>
                  <a:lnTo>
                    <a:pt x="600" y="32"/>
                  </a:lnTo>
                  <a:lnTo>
                    <a:pt x="600" y="38"/>
                  </a:lnTo>
                  <a:lnTo>
                    <a:pt x="600" y="38"/>
                  </a:lnTo>
                  <a:lnTo>
                    <a:pt x="600" y="38"/>
                  </a:lnTo>
                  <a:lnTo>
                    <a:pt x="600" y="38"/>
                  </a:lnTo>
                  <a:lnTo>
                    <a:pt x="596" y="38"/>
                  </a:lnTo>
                  <a:lnTo>
                    <a:pt x="596" y="38"/>
                  </a:lnTo>
                  <a:lnTo>
                    <a:pt x="590" y="38"/>
                  </a:lnTo>
                  <a:lnTo>
                    <a:pt x="584" y="42"/>
                  </a:lnTo>
                  <a:lnTo>
                    <a:pt x="584" y="42"/>
                  </a:lnTo>
                  <a:lnTo>
                    <a:pt x="578" y="42"/>
                  </a:lnTo>
                  <a:lnTo>
                    <a:pt x="578" y="38"/>
                  </a:lnTo>
                  <a:lnTo>
                    <a:pt x="572" y="38"/>
                  </a:lnTo>
                  <a:lnTo>
                    <a:pt x="572" y="38"/>
                  </a:lnTo>
                  <a:lnTo>
                    <a:pt x="568" y="42"/>
                  </a:lnTo>
                  <a:lnTo>
                    <a:pt x="562" y="42"/>
                  </a:lnTo>
                  <a:lnTo>
                    <a:pt x="562" y="38"/>
                  </a:lnTo>
                  <a:lnTo>
                    <a:pt x="562" y="38"/>
                  </a:lnTo>
                  <a:lnTo>
                    <a:pt x="562" y="38"/>
                  </a:lnTo>
                  <a:lnTo>
                    <a:pt x="562" y="38"/>
                  </a:lnTo>
                  <a:lnTo>
                    <a:pt x="562" y="38"/>
                  </a:lnTo>
                  <a:close/>
                  <a:moveTo>
                    <a:pt x="372" y="42"/>
                  </a:moveTo>
                  <a:lnTo>
                    <a:pt x="372" y="38"/>
                  </a:lnTo>
                  <a:lnTo>
                    <a:pt x="372" y="38"/>
                  </a:lnTo>
                  <a:lnTo>
                    <a:pt x="368" y="38"/>
                  </a:lnTo>
                  <a:lnTo>
                    <a:pt x="362" y="38"/>
                  </a:lnTo>
                  <a:lnTo>
                    <a:pt x="362" y="38"/>
                  </a:lnTo>
                  <a:lnTo>
                    <a:pt x="362" y="38"/>
                  </a:lnTo>
                  <a:lnTo>
                    <a:pt x="356" y="38"/>
                  </a:lnTo>
                  <a:lnTo>
                    <a:pt x="362" y="38"/>
                  </a:lnTo>
                  <a:lnTo>
                    <a:pt x="362" y="38"/>
                  </a:lnTo>
                  <a:lnTo>
                    <a:pt x="368" y="38"/>
                  </a:lnTo>
                  <a:lnTo>
                    <a:pt x="372" y="38"/>
                  </a:lnTo>
                  <a:lnTo>
                    <a:pt x="372" y="38"/>
                  </a:lnTo>
                  <a:lnTo>
                    <a:pt x="378" y="38"/>
                  </a:lnTo>
                  <a:lnTo>
                    <a:pt x="384" y="32"/>
                  </a:lnTo>
                  <a:lnTo>
                    <a:pt x="378" y="32"/>
                  </a:lnTo>
                  <a:lnTo>
                    <a:pt x="384" y="32"/>
                  </a:lnTo>
                  <a:lnTo>
                    <a:pt x="384" y="32"/>
                  </a:lnTo>
                  <a:lnTo>
                    <a:pt x="390" y="32"/>
                  </a:lnTo>
                  <a:lnTo>
                    <a:pt x="390" y="26"/>
                  </a:lnTo>
                  <a:lnTo>
                    <a:pt x="394" y="26"/>
                  </a:lnTo>
                  <a:lnTo>
                    <a:pt x="394" y="26"/>
                  </a:lnTo>
                  <a:lnTo>
                    <a:pt x="394" y="32"/>
                  </a:lnTo>
                  <a:lnTo>
                    <a:pt x="398" y="32"/>
                  </a:lnTo>
                  <a:lnTo>
                    <a:pt x="404" y="32"/>
                  </a:lnTo>
                  <a:lnTo>
                    <a:pt x="410" y="32"/>
                  </a:lnTo>
                  <a:lnTo>
                    <a:pt x="410" y="32"/>
                  </a:lnTo>
                  <a:lnTo>
                    <a:pt x="410" y="32"/>
                  </a:lnTo>
                  <a:lnTo>
                    <a:pt x="410" y="38"/>
                  </a:lnTo>
                  <a:lnTo>
                    <a:pt x="410" y="38"/>
                  </a:lnTo>
                  <a:lnTo>
                    <a:pt x="404" y="38"/>
                  </a:lnTo>
                  <a:lnTo>
                    <a:pt x="398" y="38"/>
                  </a:lnTo>
                  <a:lnTo>
                    <a:pt x="398" y="32"/>
                  </a:lnTo>
                  <a:lnTo>
                    <a:pt x="394" y="32"/>
                  </a:lnTo>
                  <a:lnTo>
                    <a:pt x="394" y="32"/>
                  </a:lnTo>
                  <a:lnTo>
                    <a:pt x="394" y="38"/>
                  </a:lnTo>
                  <a:lnTo>
                    <a:pt x="390" y="38"/>
                  </a:lnTo>
                  <a:lnTo>
                    <a:pt x="384" y="38"/>
                  </a:lnTo>
                  <a:lnTo>
                    <a:pt x="384" y="38"/>
                  </a:lnTo>
                  <a:lnTo>
                    <a:pt x="378" y="38"/>
                  </a:lnTo>
                  <a:lnTo>
                    <a:pt x="384" y="38"/>
                  </a:lnTo>
                  <a:lnTo>
                    <a:pt x="378" y="38"/>
                  </a:lnTo>
                  <a:lnTo>
                    <a:pt x="372" y="42"/>
                  </a:lnTo>
                  <a:lnTo>
                    <a:pt x="372" y="42"/>
                  </a:lnTo>
                  <a:lnTo>
                    <a:pt x="372" y="42"/>
                  </a:lnTo>
                  <a:lnTo>
                    <a:pt x="372" y="42"/>
                  </a:lnTo>
                  <a:close/>
                  <a:moveTo>
                    <a:pt x="536" y="48"/>
                  </a:moveTo>
                  <a:lnTo>
                    <a:pt x="536" y="48"/>
                  </a:lnTo>
                  <a:lnTo>
                    <a:pt x="530" y="48"/>
                  </a:lnTo>
                  <a:lnTo>
                    <a:pt x="530" y="42"/>
                  </a:lnTo>
                  <a:lnTo>
                    <a:pt x="530" y="38"/>
                  </a:lnTo>
                  <a:lnTo>
                    <a:pt x="524" y="38"/>
                  </a:lnTo>
                  <a:lnTo>
                    <a:pt x="530" y="38"/>
                  </a:lnTo>
                  <a:lnTo>
                    <a:pt x="536" y="38"/>
                  </a:lnTo>
                  <a:lnTo>
                    <a:pt x="536" y="38"/>
                  </a:lnTo>
                  <a:lnTo>
                    <a:pt x="540" y="38"/>
                  </a:lnTo>
                  <a:lnTo>
                    <a:pt x="550" y="38"/>
                  </a:lnTo>
                  <a:lnTo>
                    <a:pt x="550" y="42"/>
                  </a:lnTo>
                  <a:lnTo>
                    <a:pt x="556" y="42"/>
                  </a:lnTo>
                  <a:lnTo>
                    <a:pt x="562" y="42"/>
                  </a:lnTo>
                  <a:lnTo>
                    <a:pt x="562" y="48"/>
                  </a:lnTo>
                  <a:lnTo>
                    <a:pt x="550" y="42"/>
                  </a:lnTo>
                  <a:lnTo>
                    <a:pt x="550" y="42"/>
                  </a:lnTo>
                  <a:lnTo>
                    <a:pt x="550" y="48"/>
                  </a:lnTo>
                  <a:lnTo>
                    <a:pt x="546" y="48"/>
                  </a:lnTo>
                  <a:lnTo>
                    <a:pt x="540" y="48"/>
                  </a:lnTo>
                  <a:lnTo>
                    <a:pt x="546" y="48"/>
                  </a:lnTo>
                  <a:lnTo>
                    <a:pt x="550" y="48"/>
                  </a:lnTo>
                  <a:lnTo>
                    <a:pt x="550" y="48"/>
                  </a:lnTo>
                  <a:lnTo>
                    <a:pt x="546" y="48"/>
                  </a:lnTo>
                  <a:lnTo>
                    <a:pt x="540" y="48"/>
                  </a:lnTo>
                  <a:lnTo>
                    <a:pt x="540" y="48"/>
                  </a:lnTo>
                  <a:lnTo>
                    <a:pt x="540" y="48"/>
                  </a:lnTo>
                  <a:lnTo>
                    <a:pt x="536" y="48"/>
                  </a:lnTo>
                  <a:lnTo>
                    <a:pt x="536" y="48"/>
                  </a:lnTo>
                  <a:lnTo>
                    <a:pt x="536" y="48"/>
                  </a:lnTo>
                  <a:lnTo>
                    <a:pt x="536" y="48"/>
                  </a:lnTo>
                  <a:close/>
                  <a:moveTo>
                    <a:pt x="512" y="48"/>
                  </a:moveTo>
                  <a:lnTo>
                    <a:pt x="512" y="48"/>
                  </a:lnTo>
                  <a:lnTo>
                    <a:pt x="512" y="48"/>
                  </a:lnTo>
                  <a:lnTo>
                    <a:pt x="512" y="42"/>
                  </a:lnTo>
                  <a:lnTo>
                    <a:pt x="512" y="42"/>
                  </a:lnTo>
                  <a:lnTo>
                    <a:pt x="518" y="42"/>
                  </a:lnTo>
                  <a:lnTo>
                    <a:pt x="524" y="42"/>
                  </a:lnTo>
                  <a:lnTo>
                    <a:pt x="524" y="42"/>
                  </a:lnTo>
                  <a:lnTo>
                    <a:pt x="530" y="42"/>
                  </a:lnTo>
                  <a:lnTo>
                    <a:pt x="530" y="48"/>
                  </a:lnTo>
                  <a:lnTo>
                    <a:pt x="530" y="48"/>
                  </a:lnTo>
                  <a:lnTo>
                    <a:pt x="524" y="48"/>
                  </a:lnTo>
                  <a:lnTo>
                    <a:pt x="524" y="54"/>
                  </a:lnTo>
                  <a:lnTo>
                    <a:pt x="524" y="54"/>
                  </a:lnTo>
                  <a:lnTo>
                    <a:pt x="524" y="48"/>
                  </a:lnTo>
                  <a:lnTo>
                    <a:pt x="518" y="48"/>
                  </a:lnTo>
                  <a:lnTo>
                    <a:pt x="512" y="48"/>
                  </a:lnTo>
                  <a:lnTo>
                    <a:pt x="512" y="48"/>
                  </a:lnTo>
                  <a:lnTo>
                    <a:pt x="508" y="48"/>
                  </a:lnTo>
                  <a:lnTo>
                    <a:pt x="512" y="48"/>
                  </a:lnTo>
                  <a:lnTo>
                    <a:pt x="512" y="48"/>
                  </a:lnTo>
                  <a:lnTo>
                    <a:pt x="512" y="48"/>
                  </a:lnTo>
                  <a:lnTo>
                    <a:pt x="512" y="48"/>
                  </a:lnTo>
                  <a:close/>
                  <a:moveTo>
                    <a:pt x="1038" y="70"/>
                  </a:moveTo>
                  <a:lnTo>
                    <a:pt x="1038" y="70"/>
                  </a:lnTo>
                  <a:lnTo>
                    <a:pt x="1038" y="70"/>
                  </a:lnTo>
                  <a:lnTo>
                    <a:pt x="1038" y="70"/>
                  </a:lnTo>
                  <a:lnTo>
                    <a:pt x="1034" y="66"/>
                  </a:lnTo>
                  <a:lnTo>
                    <a:pt x="1038" y="66"/>
                  </a:lnTo>
                  <a:lnTo>
                    <a:pt x="1038" y="70"/>
                  </a:lnTo>
                  <a:lnTo>
                    <a:pt x="1038" y="70"/>
                  </a:lnTo>
                  <a:lnTo>
                    <a:pt x="1044" y="66"/>
                  </a:lnTo>
                  <a:lnTo>
                    <a:pt x="1050" y="66"/>
                  </a:lnTo>
                  <a:lnTo>
                    <a:pt x="1050" y="60"/>
                  </a:lnTo>
                  <a:lnTo>
                    <a:pt x="1054" y="60"/>
                  </a:lnTo>
                  <a:lnTo>
                    <a:pt x="1054" y="60"/>
                  </a:lnTo>
                  <a:lnTo>
                    <a:pt x="1060" y="60"/>
                  </a:lnTo>
                  <a:lnTo>
                    <a:pt x="1060" y="60"/>
                  </a:lnTo>
                  <a:lnTo>
                    <a:pt x="1054" y="60"/>
                  </a:lnTo>
                  <a:lnTo>
                    <a:pt x="1054" y="54"/>
                  </a:lnTo>
                  <a:lnTo>
                    <a:pt x="1060" y="54"/>
                  </a:lnTo>
                  <a:lnTo>
                    <a:pt x="1066" y="54"/>
                  </a:lnTo>
                  <a:lnTo>
                    <a:pt x="1066" y="48"/>
                  </a:lnTo>
                  <a:lnTo>
                    <a:pt x="1066" y="48"/>
                  </a:lnTo>
                  <a:lnTo>
                    <a:pt x="1066" y="54"/>
                  </a:lnTo>
                  <a:lnTo>
                    <a:pt x="1072" y="54"/>
                  </a:lnTo>
                  <a:lnTo>
                    <a:pt x="1072" y="48"/>
                  </a:lnTo>
                  <a:lnTo>
                    <a:pt x="1078" y="48"/>
                  </a:lnTo>
                  <a:lnTo>
                    <a:pt x="1078" y="48"/>
                  </a:lnTo>
                  <a:lnTo>
                    <a:pt x="1082" y="48"/>
                  </a:lnTo>
                  <a:lnTo>
                    <a:pt x="1088" y="48"/>
                  </a:lnTo>
                  <a:lnTo>
                    <a:pt x="1088" y="48"/>
                  </a:lnTo>
                  <a:lnTo>
                    <a:pt x="1092" y="48"/>
                  </a:lnTo>
                  <a:lnTo>
                    <a:pt x="1098" y="48"/>
                  </a:lnTo>
                  <a:lnTo>
                    <a:pt x="1104" y="48"/>
                  </a:lnTo>
                  <a:lnTo>
                    <a:pt x="1104" y="48"/>
                  </a:lnTo>
                  <a:lnTo>
                    <a:pt x="1108" y="54"/>
                  </a:lnTo>
                  <a:lnTo>
                    <a:pt x="1104" y="60"/>
                  </a:lnTo>
                  <a:lnTo>
                    <a:pt x="1104" y="60"/>
                  </a:lnTo>
                  <a:lnTo>
                    <a:pt x="1098" y="60"/>
                  </a:lnTo>
                  <a:lnTo>
                    <a:pt x="1104" y="60"/>
                  </a:lnTo>
                  <a:lnTo>
                    <a:pt x="1104" y="60"/>
                  </a:lnTo>
                  <a:lnTo>
                    <a:pt x="1104" y="60"/>
                  </a:lnTo>
                  <a:lnTo>
                    <a:pt x="1108" y="60"/>
                  </a:lnTo>
                  <a:lnTo>
                    <a:pt x="1108" y="60"/>
                  </a:lnTo>
                  <a:lnTo>
                    <a:pt x="1114" y="60"/>
                  </a:lnTo>
                  <a:lnTo>
                    <a:pt x="1114" y="54"/>
                  </a:lnTo>
                  <a:lnTo>
                    <a:pt x="1120" y="54"/>
                  </a:lnTo>
                  <a:lnTo>
                    <a:pt x="1120" y="54"/>
                  </a:lnTo>
                  <a:lnTo>
                    <a:pt x="1126" y="54"/>
                  </a:lnTo>
                  <a:lnTo>
                    <a:pt x="1132" y="54"/>
                  </a:lnTo>
                  <a:lnTo>
                    <a:pt x="1132" y="60"/>
                  </a:lnTo>
                  <a:lnTo>
                    <a:pt x="1136" y="60"/>
                  </a:lnTo>
                  <a:lnTo>
                    <a:pt x="1136" y="60"/>
                  </a:lnTo>
                  <a:lnTo>
                    <a:pt x="1136" y="60"/>
                  </a:lnTo>
                  <a:lnTo>
                    <a:pt x="1136" y="60"/>
                  </a:lnTo>
                  <a:lnTo>
                    <a:pt x="1136" y="66"/>
                  </a:lnTo>
                  <a:lnTo>
                    <a:pt x="1132" y="66"/>
                  </a:lnTo>
                  <a:lnTo>
                    <a:pt x="1132" y="70"/>
                  </a:lnTo>
                  <a:lnTo>
                    <a:pt x="1132" y="70"/>
                  </a:lnTo>
                  <a:lnTo>
                    <a:pt x="1136" y="70"/>
                  </a:lnTo>
                  <a:lnTo>
                    <a:pt x="1132" y="70"/>
                  </a:lnTo>
                  <a:lnTo>
                    <a:pt x="1132" y="74"/>
                  </a:lnTo>
                  <a:lnTo>
                    <a:pt x="1126" y="74"/>
                  </a:lnTo>
                  <a:lnTo>
                    <a:pt x="1126" y="70"/>
                  </a:lnTo>
                  <a:lnTo>
                    <a:pt x="1120" y="70"/>
                  </a:lnTo>
                  <a:lnTo>
                    <a:pt x="1120" y="74"/>
                  </a:lnTo>
                  <a:lnTo>
                    <a:pt x="1126" y="74"/>
                  </a:lnTo>
                  <a:lnTo>
                    <a:pt x="1132" y="74"/>
                  </a:lnTo>
                  <a:lnTo>
                    <a:pt x="1132" y="80"/>
                  </a:lnTo>
                  <a:lnTo>
                    <a:pt x="1136" y="80"/>
                  </a:lnTo>
                  <a:lnTo>
                    <a:pt x="1136" y="86"/>
                  </a:lnTo>
                  <a:lnTo>
                    <a:pt x="1132" y="86"/>
                  </a:lnTo>
                  <a:lnTo>
                    <a:pt x="1126" y="86"/>
                  </a:lnTo>
                  <a:lnTo>
                    <a:pt x="1120" y="86"/>
                  </a:lnTo>
                  <a:lnTo>
                    <a:pt x="1120" y="86"/>
                  </a:lnTo>
                  <a:lnTo>
                    <a:pt x="1114" y="86"/>
                  </a:lnTo>
                  <a:lnTo>
                    <a:pt x="1114" y="92"/>
                  </a:lnTo>
                  <a:lnTo>
                    <a:pt x="1108" y="86"/>
                  </a:lnTo>
                  <a:lnTo>
                    <a:pt x="1108" y="86"/>
                  </a:lnTo>
                  <a:lnTo>
                    <a:pt x="1104" y="86"/>
                  </a:lnTo>
                  <a:lnTo>
                    <a:pt x="1104" y="86"/>
                  </a:lnTo>
                  <a:lnTo>
                    <a:pt x="1098" y="86"/>
                  </a:lnTo>
                  <a:lnTo>
                    <a:pt x="1092" y="86"/>
                  </a:lnTo>
                  <a:lnTo>
                    <a:pt x="1092" y="86"/>
                  </a:lnTo>
                  <a:lnTo>
                    <a:pt x="1088" y="86"/>
                  </a:lnTo>
                  <a:lnTo>
                    <a:pt x="1088" y="86"/>
                  </a:lnTo>
                  <a:lnTo>
                    <a:pt x="1082" y="86"/>
                  </a:lnTo>
                  <a:lnTo>
                    <a:pt x="1088" y="86"/>
                  </a:lnTo>
                  <a:lnTo>
                    <a:pt x="1082" y="86"/>
                  </a:lnTo>
                  <a:lnTo>
                    <a:pt x="1078" y="86"/>
                  </a:lnTo>
                  <a:lnTo>
                    <a:pt x="1078" y="86"/>
                  </a:lnTo>
                  <a:lnTo>
                    <a:pt x="1078" y="80"/>
                  </a:lnTo>
                  <a:lnTo>
                    <a:pt x="1072" y="80"/>
                  </a:lnTo>
                  <a:lnTo>
                    <a:pt x="1066" y="80"/>
                  </a:lnTo>
                  <a:lnTo>
                    <a:pt x="1066" y="80"/>
                  </a:lnTo>
                  <a:lnTo>
                    <a:pt x="1060" y="80"/>
                  </a:lnTo>
                  <a:lnTo>
                    <a:pt x="1060" y="74"/>
                  </a:lnTo>
                  <a:lnTo>
                    <a:pt x="1054" y="74"/>
                  </a:lnTo>
                  <a:lnTo>
                    <a:pt x="1054" y="70"/>
                  </a:lnTo>
                  <a:lnTo>
                    <a:pt x="1054" y="70"/>
                  </a:lnTo>
                  <a:lnTo>
                    <a:pt x="1054" y="70"/>
                  </a:lnTo>
                  <a:lnTo>
                    <a:pt x="1050" y="70"/>
                  </a:lnTo>
                  <a:lnTo>
                    <a:pt x="1054" y="70"/>
                  </a:lnTo>
                  <a:lnTo>
                    <a:pt x="1050" y="70"/>
                  </a:lnTo>
                  <a:lnTo>
                    <a:pt x="1050" y="66"/>
                  </a:lnTo>
                  <a:lnTo>
                    <a:pt x="1044" y="70"/>
                  </a:lnTo>
                  <a:lnTo>
                    <a:pt x="1038" y="70"/>
                  </a:lnTo>
                  <a:lnTo>
                    <a:pt x="1038" y="70"/>
                  </a:lnTo>
                  <a:lnTo>
                    <a:pt x="1038" y="70"/>
                  </a:lnTo>
                  <a:lnTo>
                    <a:pt x="1038" y="70"/>
                  </a:lnTo>
                  <a:close/>
                  <a:moveTo>
                    <a:pt x="1012" y="54"/>
                  </a:moveTo>
                  <a:lnTo>
                    <a:pt x="1006" y="54"/>
                  </a:lnTo>
                  <a:lnTo>
                    <a:pt x="1012" y="54"/>
                  </a:lnTo>
                  <a:lnTo>
                    <a:pt x="1018" y="54"/>
                  </a:lnTo>
                  <a:lnTo>
                    <a:pt x="1018" y="54"/>
                  </a:lnTo>
                  <a:lnTo>
                    <a:pt x="1022" y="54"/>
                  </a:lnTo>
                  <a:lnTo>
                    <a:pt x="1028" y="54"/>
                  </a:lnTo>
                  <a:lnTo>
                    <a:pt x="1028" y="54"/>
                  </a:lnTo>
                  <a:lnTo>
                    <a:pt x="1034" y="54"/>
                  </a:lnTo>
                  <a:lnTo>
                    <a:pt x="1038" y="54"/>
                  </a:lnTo>
                  <a:lnTo>
                    <a:pt x="1038" y="54"/>
                  </a:lnTo>
                  <a:lnTo>
                    <a:pt x="1044" y="54"/>
                  </a:lnTo>
                  <a:lnTo>
                    <a:pt x="1050" y="60"/>
                  </a:lnTo>
                  <a:lnTo>
                    <a:pt x="1044" y="60"/>
                  </a:lnTo>
                  <a:lnTo>
                    <a:pt x="1044" y="60"/>
                  </a:lnTo>
                  <a:lnTo>
                    <a:pt x="1038" y="60"/>
                  </a:lnTo>
                  <a:lnTo>
                    <a:pt x="1038" y="60"/>
                  </a:lnTo>
                  <a:lnTo>
                    <a:pt x="1034" y="60"/>
                  </a:lnTo>
                  <a:lnTo>
                    <a:pt x="1034" y="66"/>
                  </a:lnTo>
                  <a:lnTo>
                    <a:pt x="1028" y="66"/>
                  </a:lnTo>
                  <a:lnTo>
                    <a:pt x="1028" y="66"/>
                  </a:lnTo>
                  <a:lnTo>
                    <a:pt x="1022" y="66"/>
                  </a:lnTo>
                  <a:lnTo>
                    <a:pt x="1022" y="60"/>
                  </a:lnTo>
                  <a:lnTo>
                    <a:pt x="1028" y="60"/>
                  </a:lnTo>
                  <a:lnTo>
                    <a:pt x="1022" y="60"/>
                  </a:lnTo>
                  <a:lnTo>
                    <a:pt x="1018" y="60"/>
                  </a:lnTo>
                  <a:lnTo>
                    <a:pt x="1012" y="60"/>
                  </a:lnTo>
                  <a:lnTo>
                    <a:pt x="1012" y="54"/>
                  </a:lnTo>
                  <a:lnTo>
                    <a:pt x="1012" y="54"/>
                  </a:lnTo>
                  <a:lnTo>
                    <a:pt x="1012" y="54"/>
                  </a:lnTo>
                  <a:lnTo>
                    <a:pt x="1012" y="54"/>
                  </a:lnTo>
                  <a:close/>
                  <a:moveTo>
                    <a:pt x="1136" y="66"/>
                  </a:moveTo>
                  <a:lnTo>
                    <a:pt x="1136" y="60"/>
                  </a:lnTo>
                  <a:lnTo>
                    <a:pt x="1136" y="60"/>
                  </a:lnTo>
                  <a:lnTo>
                    <a:pt x="1142" y="66"/>
                  </a:lnTo>
                  <a:lnTo>
                    <a:pt x="1136" y="66"/>
                  </a:lnTo>
                  <a:lnTo>
                    <a:pt x="1136" y="66"/>
                  </a:lnTo>
                  <a:lnTo>
                    <a:pt x="1136" y="66"/>
                  </a:lnTo>
                  <a:lnTo>
                    <a:pt x="1136" y="66"/>
                  </a:lnTo>
                  <a:lnTo>
                    <a:pt x="1136" y="66"/>
                  </a:lnTo>
                  <a:close/>
                  <a:moveTo>
                    <a:pt x="806" y="70"/>
                  </a:moveTo>
                  <a:lnTo>
                    <a:pt x="800" y="70"/>
                  </a:lnTo>
                  <a:lnTo>
                    <a:pt x="800" y="66"/>
                  </a:lnTo>
                  <a:lnTo>
                    <a:pt x="800" y="66"/>
                  </a:lnTo>
                  <a:lnTo>
                    <a:pt x="806" y="66"/>
                  </a:lnTo>
                  <a:lnTo>
                    <a:pt x="812" y="66"/>
                  </a:lnTo>
                  <a:lnTo>
                    <a:pt x="812" y="66"/>
                  </a:lnTo>
                  <a:lnTo>
                    <a:pt x="812" y="70"/>
                  </a:lnTo>
                  <a:lnTo>
                    <a:pt x="818" y="70"/>
                  </a:lnTo>
                  <a:lnTo>
                    <a:pt x="822" y="70"/>
                  </a:lnTo>
                  <a:lnTo>
                    <a:pt x="818" y="70"/>
                  </a:lnTo>
                  <a:lnTo>
                    <a:pt x="812" y="70"/>
                  </a:lnTo>
                  <a:lnTo>
                    <a:pt x="812" y="70"/>
                  </a:lnTo>
                  <a:lnTo>
                    <a:pt x="806" y="70"/>
                  </a:lnTo>
                  <a:lnTo>
                    <a:pt x="806" y="70"/>
                  </a:lnTo>
                  <a:lnTo>
                    <a:pt x="806" y="70"/>
                  </a:lnTo>
                  <a:lnTo>
                    <a:pt x="806" y="70"/>
                  </a:lnTo>
                  <a:close/>
                  <a:moveTo>
                    <a:pt x="1018" y="70"/>
                  </a:moveTo>
                  <a:lnTo>
                    <a:pt x="1022" y="70"/>
                  </a:lnTo>
                  <a:lnTo>
                    <a:pt x="1028" y="70"/>
                  </a:lnTo>
                  <a:lnTo>
                    <a:pt x="1028" y="70"/>
                  </a:lnTo>
                  <a:lnTo>
                    <a:pt x="1028" y="70"/>
                  </a:lnTo>
                  <a:lnTo>
                    <a:pt x="1028" y="70"/>
                  </a:lnTo>
                  <a:lnTo>
                    <a:pt x="1022" y="70"/>
                  </a:lnTo>
                  <a:lnTo>
                    <a:pt x="1018" y="70"/>
                  </a:lnTo>
                  <a:lnTo>
                    <a:pt x="1018" y="70"/>
                  </a:lnTo>
                  <a:lnTo>
                    <a:pt x="1018" y="70"/>
                  </a:lnTo>
                  <a:lnTo>
                    <a:pt x="1018" y="70"/>
                  </a:lnTo>
                  <a:close/>
                  <a:moveTo>
                    <a:pt x="1028" y="70"/>
                  </a:moveTo>
                  <a:lnTo>
                    <a:pt x="1034" y="70"/>
                  </a:lnTo>
                  <a:lnTo>
                    <a:pt x="1038" y="70"/>
                  </a:lnTo>
                  <a:lnTo>
                    <a:pt x="1038" y="70"/>
                  </a:lnTo>
                  <a:lnTo>
                    <a:pt x="1034" y="70"/>
                  </a:lnTo>
                  <a:lnTo>
                    <a:pt x="1028" y="70"/>
                  </a:lnTo>
                  <a:lnTo>
                    <a:pt x="1028" y="70"/>
                  </a:lnTo>
                  <a:lnTo>
                    <a:pt x="1028" y="70"/>
                  </a:lnTo>
                  <a:lnTo>
                    <a:pt x="1028" y="70"/>
                  </a:lnTo>
                  <a:close/>
                  <a:moveTo>
                    <a:pt x="1206" y="96"/>
                  </a:moveTo>
                  <a:lnTo>
                    <a:pt x="1206" y="96"/>
                  </a:lnTo>
                  <a:lnTo>
                    <a:pt x="1206" y="102"/>
                  </a:lnTo>
                  <a:lnTo>
                    <a:pt x="1200" y="102"/>
                  </a:lnTo>
                  <a:lnTo>
                    <a:pt x="1196" y="102"/>
                  </a:lnTo>
                  <a:lnTo>
                    <a:pt x="1196" y="102"/>
                  </a:lnTo>
                  <a:lnTo>
                    <a:pt x="1190" y="102"/>
                  </a:lnTo>
                  <a:lnTo>
                    <a:pt x="1186" y="102"/>
                  </a:lnTo>
                  <a:lnTo>
                    <a:pt x="1186" y="108"/>
                  </a:lnTo>
                  <a:lnTo>
                    <a:pt x="1180" y="108"/>
                  </a:lnTo>
                  <a:lnTo>
                    <a:pt x="1174" y="108"/>
                  </a:lnTo>
                  <a:lnTo>
                    <a:pt x="1168" y="108"/>
                  </a:lnTo>
                  <a:lnTo>
                    <a:pt x="1168" y="108"/>
                  </a:lnTo>
                  <a:lnTo>
                    <a:pt x="1162" y="108"/>
                  </a:lnTo>
                  <a:lnTo>
                    <a:pt x="1158" y="108"/>
                  </a:lnTo>
                  <a:lnTo>
                    <a:pt x="1158" y="108"/>
                  </a:lnTo>
                  <a:lnTo>
                    <a:pt x="1152" y="108"/>
                  </a:lnTo>
                  <a:lnTo>
                    <a:pt x="1146" y="108"/>
                  </a:lnTo>
                  <a:lnTo>
                    <a:pt x="1146" y="108"/>
                  </a:lnTo>
                  <a:lnTo>
                    <a:pt x="1146" y="108"/>
                  </a:lnTo>
                  <a:lnTo>
                    <a:pt x="1142" y="108"/>
                  </a:lnTo>
                  <a:lnTo>
                    <a:pt x="1136" y="114"/>
                  </a:lnTo>
                  <a:lnTo>
                    <a:pt x="1136" y="114"/>
                  </a:lnTo>
                  <a:lnTo>
                    <a:pt x="1132" y="114"/>
                  </a:lnTo>
                  <a:lnTo>
                    <a:pt x="1126" y="114"/>
                  </a:lnTo>
                  <a:lnTo>
                    <a:pt x="1126" y="108"/>
                  </a:lnTo>
                  <a:lnTo>
                    <a:pt x="1132" y="108"/>
                  </a:lnTo>
                  <a:lnTo>
                    <a:pt x="1136" y="102"/>
                  </a:lnTo>
                  <a:lnTo>
                    <a:pt x="1136" y="102"/>
                  </a:lnTo>
                  <a:lnTo>
                    <a:pt x="1136" y="96"/>
                  </a:lnTo>
                  <a:lnTo>
                    <a:pt x="1136" y="92"/>
                  </a:lnTo>
                  <a:lnTo>
                    <a:pt x="1142" y="92"/>
                  </a:lnTo>
                  <a:lnTo>
                    <a:pt x="1146" y="86"/>
                  </a:lnTo>
                  <a:lnTo>
                    <a:pt x="1146" y="92"/>
                  </a:lnTo>
                  <a:lnTo>
                    <a:pt x="1152" y="92"/>
                  </a:lnTo>
                  <a:lnTo>
                    <a:pt x="1146" y="86"/>
                  </a:lnTo>
                  <a:lnTo>
                    <a:pt x="1146" y="86"/>
                  </a:lnTo>
                  <a:lnTo>
                    <a:pt x="1146" y="86"/>
                  </a:lnTo>
                  <a:lnTo>
                    <a:pt x="1152" y="86"/>
                  </a:lnTo>
                  <a:lnTo>
                    <a:pt x="1158" y="86"/>
                  </a:lnTo>
                  <a:lnTo>
                    <a:pt x="1158" y="86"/>
                  </a:lnTo>
                  <a:lnTo>
                    <a:pt x="1158" y="86"/>
                  </a:lnTo>
                  <a:lnTo>
                    <a:pt x="1152" y="86"/>
                  </a:lnTo>
                  <a:lnTo>
                    <a:pt x="1152" y="80"/>
                  </a:lnTo>
                  <a:lnTo>
                    <a:pt x="1146" y="80"/>
                  </a:lnTo>
                  <a:lnTo>
                    <a:pt x="1152" y="74"/>
                  </a:lnTo>
                  <a:lnTo>
                    <a:pt x="1158" y="74"/>
                  </a:lnTo>
                  <a:lnTo>
                    <a:pt x="1158" y="70"/>
                  </a:lnTo>
                  <a:lnTo>
                    <a:pt x="1158" y="70"/>
                  </a:lnTo>
                  <a:lnTo>
                    <a:pt x="1162" y="70"/>
                  </a:lnTo>
                  <a:lnTo>
                    <a:pt x="1162" y="74"/>
                  </a:lnTo>
                  <a:lnTo>
                    <a:pt x="1168" y="74"/>
                  </a:lnTo>
                  <a:lnTo>
                    <a:pt x="1168" y="70"/>
                  </a:lnTo>
                  <a:lnTo>
                    <a:pt x="1168" y="70"/>
                  </a:lnTo>
                  <a:lnTo>
                    <a:pt x="1168" y="70"/>
                  </a:lnTo>
                  <a:lnTo>
                    <a:pt x="1168" y="70"/>
                  </a:lnTo>
                  <a:lnTo>
                    <a:pt x="1174" y="70"/>
                  </a:lnTo>
                  <a:lnTo>
                    <a:pt x="1180" y="70"/>
                  </a:lnTo>
                  <a:lnTo>
                    <a:pt x="1180" y="74"/>
                  </a:lnTo>
                  <a:lnTo>
                    <a:pt x="1174" y="74"/>
                  </a:lnTo>
                  <a:lnTo>
                    <a:pt x="1174" y="80"/>
                  </a:lnTo>
                  <a:lnTo>
                    <a:pt x="1168" y="86"/>
                  </a:lnTo>
                  <a:lnTo>
                    <a:pt x="1168" y="86"/>
                  </a:lnTo>
                  <a:lnTo>
                    <a:pt x="1174" y="86"/>
                  </a:lnTo>
                  <a:lnTo>
                    <a:pt x="1174" y="86"/>
                  </a:lnTo>
                  <a:lnTo>
                    <a:pt x="1180" y="80"/>
                  </a:lnTo>
                  <a:lnTo>
                    <a:pt x="1186" y="80"/>
                  </a:lnTo>
                  <a:lnTo>
                    <a:pt x="1186" y="80"/>
                  </a:lnTo>
                  <a:lnTo>
                    <a:pt x="1190" y="80"/>
                  </a:lnTo>
                  <a:lnTo>
                    <a:pt x="1196" y="80"/>
                  </a:lnTo>
                  <a:lnTo>
                    <a:pt x="1196" y="86"/>
                  </a:lnTo>
                  <a:lnTo>
                    <a:pt x="1196" y="86"/>
                  </a:lnTo>
                  <a:lnTo>
                    <a:pt x="1200" y="86"/>
                  </a:lnTo>
                  <a:lnTo>
                    <a:pt x="1200" y="86"/>
                  </a:lnTo>
                  <a:lnTo>
                    <a:pt x="1200" y="92"/>
                  </a:lnTo>
                  <a:lnTo>
                    <a:pt x="1200" y="86"/>
                  </a:lnTo>
                  <a:lnTo>
                    <a:pt x="1206" y="86"/>
                  </a:lnTo>
                  <a:lnTo>
                    <a:pt x="1200" y="86"/>
                  </a:lnTo>
                  <a:lnTo>
                    <a:pt x="1206" y="86"/>
                  </a:lnTo>
                  <a:lnTo>
                    <a:pt x="1206" y="86"/>
                  </a:lnTo>
                  <a:lnTo>
                    <a:pt x="1206" y="92"/>
                  </a:lnTo>
                  <a:lnTo>
                    <a:pt x="1212" y="96"/>
                  </a:lnTo>
                  <a:lnTo>
                    <a:pt x="1212" y="96"/>
                  </a:lnTo>
                  <a:lnTo>
                    <a:pt x="1206" y="96"/>
                  </a:lnTo>
                  <a:lnTo>
                    <a:pt x="1206" y="96"/>
                  </a:lnTo>
                  <a:lnTo>
                    <a:pt x="1206" y="96"/>
                  </a:lnTo>
                  <a:lnTo>
                    <a:pt x="1206" y="96"/>
                  </a:lnTo>
                  <a:close/>
                  <a:moveTo>
                    <a:pt x="1222" y="108"/>
                  </a:moveTo>
                  <a:lnTo>
                    <a:pt x="1218" y="108"/>
                  </a:lnTo>
                  <a:lnTo>
                    <a:pt x="1218" y="102"/>
                  </a:lnTo>
                  <a:lnTo>
                    <a:pt x="1222" y="102"/>
                  </a:lnTo>
                  <a:lnTo>
                    <a:pt x="1228" y="102"/>
                  </a:lnTo>
                  <a:lnTo>
                    <a:pt x="1234" y="102"/>
                  </a:lnTo>
                  <a:lnTo>
                    <a:pt x="1228" y="102"/>
                  </a:lnTo>
                  <a:lnTo>
                    <a:pt x="1228" y="108"/>
                  </a:lnTo>
                  <a:lnTo>
                    <a:pt x="1222" y="108"/>
                  </a:lnTo>
                  <a:lnTo>
                    <a:pt x="1222" y="108"/>
                  </a:lnTo>
                  <a:lnTo>
                    <a:pt x="1222" y="108"/>
                  </a:lnTo>
                  <a:lnTo>
                    <a:pt x="1222" y="108"/>
                  </a:lnTo>
                  <a:close/>
                  <a:moveTo>
                    <a:pt x="1050" y="108"/>
                  </a:moveTo>
                  <a:lnTo>
                    <a:pt x="1044" y="108"/>
                  </a:lnTo>
                  <a:lnTo>
                    <a:pt x="1050" y="108"/>
                  </a:lnTo>
                  <a:lnTo>
                    <a:pt x="1050" y="108"/>
                  </a:lnTo>
                  <a:lnTo>
                    <a:pt x="1050" y="108"/>
                  </a:lnTo>
                  <a:lnTo>
                    <a:pt x="1050" y="108"/>
                  </a:lnTo>
                  <a:close/>
                  <a:moveTo>
                    <a:pt x="1246" y="108"/>
                  </a:moveTo>
                  <a:lnTo>
                    <a:pt x="1240" y="108"/>
                  </a:lnTo>
                  <a:lnTo>
                    <a:pt x="1234" y="108"/>
                  </a:lnTo>
                  <a:lnTo>
                    <a:pt x="1234" y="108"/>
                  </a:lnTo>
                  <a:lnTo>
                    <a:pt x="1228" y="108"/>
                  </a:lnTo>
                  <a:lnTo>
                    <a:pt x="1228" y="108"/>
                  </a:lnTo>
                  <a:lnTo>
                    <a:pt x="1234" y="108"/>
                  </a:lnTo>
                  <a:lnTo>
                    <a:pt x="1234" y="108"/>
                  </a:lnTo>
                  <a:lnTo>
                    <a:pt x="1240" y="108"/>
                  </a:lnTo>
                  <a:lnTo>
                    <a:pt x="1246" y="108"/>
                  </a:lnTo>
                  <a:lnTo>
                    <a:pt x="1246" y="108"/>
                  </a:lnTo>
                  <a:lnTo>
                    <a:pt x="1246" y="108"/>
                  </a:lnTo>
                  <a:lnTo>
                    <a:pt x="1246" y="108"/>
                  </a:lnTo>
                  <a:lnTo>
                    <a:pt x="1246" y="108"/>
                  </a:lnTo>
                  <a:lnTo>
                    <a:pt x="1246" y="108"/>
                  </a:lnTo>
                  <a:lnTo>
                    <a:pt x="1246" y="108"/>
                  </a:lnTo>
                  <a:close/>
                  <a:moveTo>
                    <a:pt x="1022" y="120"/>
                  </a:moveTo>
                  <a:lnTo>
                    <a:pt x="1018" y="120"/>
                  </a:lnTo>
                  <a:lnTo>
                    <a:pt x="1022" y="120"/>
                  </a:lnTo>
                  <a:lnTo>
                    <a:pt x="1022" y="120"/>
                  </a:lnTo>
                  <a:lnTo>
                    <a:pt x="1022" y="120"/>
                  </a:lnTo>
                  <a:lnTo>
                    <a:pt x="1022" y="120"/>
                  </a:lnTo>
                  <a:close/>
                  <a:moveTo>
                    <a:pt x="880" y="124"/>
                  </a:moveTo>
                  <a:lnTo>
                    <a:pt x="886" y="124"/>
                  </a:lnTo>
                  <a:lnTo>
                    <a:pt x="886" y="128"/>
                  </a:lnTo>
                  <a:lnTo>
                    <a:pt x="880" y="124"/>
                  </a:lnTo>
                  <a:lnTo>
                    <a:pt x="880" y="124"/>
                  </a:lnTo>
                  <a:lnTo>
                    <a:pt x="880" y="124"/>
                  </a:lnTo>
                  <a:lnTo>
                    <a:pt x="880" y="124"/>
                  </a:lnTo>
                  <a:close/>
                  <a:moveTo>
                    <a:pt x="1228" y="128"/>
                  </a:moveTo>
                  <a:lnTo>
                    <a:pt x="1234" y="124"/>
                  </a:lnTo>
                  <a:lnTo>
                    <a:pt x="1234" y="128"/>
                  </a:lnTo>
                  <a:lnTo>
                    <a:pt x="1234" y="128"/>
                  </a:lnTo>
                  <a:lnTo>
                    <a:pt x="1228" y="128"/>
                  </a:lnTo>
                  <a:lnTo>
                    <a:pt x="1228" y="128"/>
                  </a:lnTo>
                  <a:lnTo>
                    <a:pt x="1228" y="128"/>
                  </a:lnTo>
                  <a:lnTo>
                    <a:pt x="1228" y="128"/>
                  </a:lnTo>
                  <a:close/>
                  <a:moveTo>
                    <a:pt x="1240" y="128"/>
                  </a:moveTo>
                  <a:lnTo>
                    <a:pt x="1240" y="128"/>
                  </a:lnTo>
                  <a:lnTo>
                    <a:pt x="1246" y="128"/>
                  </a:lnTo>
                  <a:lnTo>
                    <a:pt x="1246" y="128"/>
                  </a:lnTo>
                  <a:lnTo>
                    <a:pt x="1246" y="128"/>
                  </a:lnTo>
                  <a:lnTo>
                    <a:pt x="1246" y="128"/>
                  </a:lnTo>
                  <a:lnTo>
                    <a:pt x="1240" y="128"/>
                  </a:lnTo>
                  <a:lnTo>
                    <a:pt x="1240" y="128"/>
                  </a:lnTo>
                  <a:lnTo>
                    <a:pt x="1240" y="128"/>
                  </a:lnTo>
                  <a:lnTo>
                    <a:pt x="1240" y="128"/>
                  </a:lnTo>
                  <a:close/>
                  <a:moveTo>
                    <a:pt x="980" y="134"/>
                  </a:moveTo>
                  <a:lnTo>
                    <a:pt x="980" y="128"/>
                  </a:lnTo>
                  <a:lnTo>
                    <a:pt x="984" y="128"/>
                  </a:lnTo>
                  <a:lnTo>
                    <a:pt x="990" y="128"/>
                  </a:lnTo>
                  <a:lnTo>
                    <a:pt x="990" y="134"/>
                  </a:lnTo>
                  <a:lnTo>
                    <a:pt x="984" y="134"/>
                  </a:lnTo>
                  <a:lnTo>
                    <a:pt x="980" y="128"/>
                  </a:lnTo>
                  <a:lnTo>
                    <a:pt x="980" y="134"/>
                  </a:lnTo>
                  <a:lnTo>
                    <a:pt x="980" y="134"/>
                  </a:lnTo>
                  <a:lnTo>
                    <a:pt x="980" y="134"/>
                  </a:lnTo>
                  <a:lnTo>
                    <a:pt x="980" y="134"/>
                  </a:lnTo>
                  <a:close/>
                  <a:moveTo>
                    <a:pt x="1088" y="128"/>
                  </a:moveTo>
                  <a:lnTo>
                    <a:pt x="1088" y="134"/>
                  </a:lnTo>
                  <a:lnTo>
                    <a:pt x="1088" y="134"/>
                  </a:lnTo>
                  <a:lnTo>
                    <a:pt x="1088" y="134"/>
                  </a:lnTo>
                  <a:lnTo>
                    <a:pt x="1082" y="140"/>
                  </a:lnTo>
                  <a:lnTo>
                    <a:pt x="1078" y="140"/>
                  </a:lnTo>
                  <a:lnTo>
                    <a:pt x="1078" y="140"/>
                  </a:lnTo>
                  <a:lnTo>
                    <a:pt x="1078" y="140"/>
                  </a:lnTo>
                  <a:lnTo>
                    <a:pt x="1078" y="140"/>
                  </a:lnTo>
                  <a:lnTo>
                    <a:pt x="1072" y="140"/>
                  </a:lnTo>
                  <a:lnTo>
                    <a:pt x="1066" y="140"/>
                  </a:lnTo>
                  <a:lnTo>
                    <a:pt x="1072" y="140"/>
                  </a:lnTo>
                  <a:lnTo>
                    <a:pt x="1078" y="134"/>
                  </a:lnTo>
                  <a:lnTo>
                    <a:pt x="1082" y="134"/>
                  </a:lnTo>
                  <a:lnTo>
                    <a:pt x="1088" y="134"/>
                  </a:lnTo>
                  <a:lnTo>
                    <a:pt x="1088" y="128"/>
                  </a:lnTo>
                  <a:lnTo>
                    <a:pt x="1088" y="128"/>
                  </a:lnTo>
                  <a:lnTo>
                    <a:pt x="1088" y="128"/>
                  </a:lnTo>
                  <a:lnTo>
                    <a:pt x="1088" y="128"/>
                  </a:lnTo>
                  <a:close/>
                  <a:moveTo>
                    <a:pt x="980" y="134"/>
                  </a:moveTo>
                  <a:lnTo>
                    <a:pt x="980" y="134"/>
                  </a:lnTo>
                  <a:lnTo>
                    <a:pt x="980" y="134"/>
                  </a:lnTo>
                  <a:lnTo>
                    <a:pt x="974" y="134"/>
                  </a:lnTo>
                  <a:lnTo>
                    <a:pt x="980" y="134"/>
                  </a:lnTo>
                  <a:lnTo>
                    <a:pt x="980" y="140"/>
                  </a:lnTo>
                  <a:lnTo>
                    <a:pt x="974" y="140"/>
                  </a:lnTo>
                  <a:lnTo>
                    <a:pt x="974" y="134"/>
                  </a:lnTo>
                  <a:lnTo>
                    <a:pt x="980" y="134"/>
                  </a:lnTo>
                  <a:lnTo>
                    <a:pt x="980" y="134"/>
                  </a:lnTo>
                  <a:lnTo>
                    <a:pt x="980" y="134"/>
                  </a:lnTo>
                  <a:lnTo>
                    <a:pt x="980" y="134"/>
                  </a:lnTo>
                  <a:close/>
                  <a:moveTo>
                    <a:pt x="1938" y="134"/>
                  </a:moveTo>
                  <a:lnTo>
                    <a:pt x="1938" y="134"/>
                  </a:lnTo>
                  <a:lnTo>
                    <a:pt x="1938" y="134"/>
                  </a:lnTo>
                  <a:lnTo>
                    <a:pt x="1938" y="134"/>
                  </a:lnTo>
                  <a:lnTo>
                    <a:pt x="1938" y="134"/>
                  </a:lnTo>
                  <a:lnTo>
                    <a:pt x="1938" y="134"/>
                  </a:lnTo>
                  <a:close/>
                  <a:moveTo>
                    <a:pt x="584" y="168"/>
                  </a:moveTo>
                  <a:lnTo>
                    <a:pt x="584" y="168"/>
                  </a:lnTo>
                  <a:lnTo>
                    <a:pt x="584" y="162"/>
                  </a:lnTo>
                  <a:lnTo>
                    <a:pt x="584" y="162"/>
                  </a:lnTo>
                  <a:lnTo>
                    <a:pt x="584" y="156"/>
                  </a:lnTo>
                  <a:lnTo>
                    <a:pt x="590" y="156"/>
                  </a:lnTo>
                  <a:lnTo>
                    <a:pt x="596" y="156"/>
                  </a:lnTo>
                  <a:lnTo>
                    <a:pt x="600" y="156"/>
                  </a:lnTo>
                  <a:lnTo>
                    <a:pt x="600" y="162"/>
                  </a:lnTo>
                  <a:lnTo>
                    <a:pt x="600" y="162"/>
                  </a:lnTo>
                  <a:lnTo>
                    <a:pt x="600" y="156"/>
                  </a:lnTo>
                  <a:lnTo>
                    <a:pt x="604" y="162"/>
                  </a:lnTo>
                  <a:lnTo>
                    <a:pt x="610" y="162"/>
                  </a:lnTo>
                  <a:lnTo>
                    <a:pt x="610" y="156"/>
                  </a:lnTo>
                  <a:lnTo>
                    <a:pt x="610" y="162"/>
                  </a:lnTo>
                  <a:lnTo>
                    <a:pt x="616" y="162"/>
                  </a:lnTo>
                  <a:lnTo>
                    <a:pt x="616" y="156"/>
                  </a:lnTo>
                  <a:lnTo>
                    <a:pt x="622" y="156"/>
                  </a:lnTo>
                  <a:lnTo>
                    <a:pt x="622" y="156"/>
                  </a:lnTo>
                  <a:lnTo>
                    <a:pt x="626" y="156"/>
                  </a:lnTo>
                  <a:lnTo>
                    <a:pt x="632" y="156"/>
                  </a:lnTo>
                  <a:lnTo>
                    <a:pt x="632" y="152"/>
                  </a:lnTo>
                  <a:lnTo>
                    <a:pt x="638" y="152"/>
                  </a:lnTo>
                  <a:lnTo>
                    <a:pt x="644" y="152"/>
                  </a:lnTo>
                  <a:lnTo>
                    <a:pt x="644" y="152"/>
                  </a:lnTo>
                  <a:lnTo>
                    <a:pt x="644" y="152"/>
                  </a:lnTo>
                  <a:lnTo>
                    <a:pt x="650" y="152"/>
                  </a:lnTo>
                  <a:lnTo>
                    <a:pt x="654" y="152"/>
                  </a:lnTo>
                  <a:lnTo>
                    <a:pt x="658" y="152"/>
                  </a:lnTo>
                  <a:lnTo>
                    <a:pt x="654" y="152"/>
                  </a:lnTo>
                  <a:lnTo>
                    <a:pt x="654" y="146"/>
                  </a:lnTo>
                  <a:lnTo>
                    <a:pt x="658" y="146"/>
                  </a:lnTo>
                  <a:lnTo>
                    <a:pt x="658" y="140"/>
                  </a:lnTo>
                  <a:lnTo>
                    <a:pt x="664" y="140"/>
                  </a:lnTo>
                  <a:lnTo>
                    <a:pt x="670" y="140"/>
                  </a:lnTo>
                  <a:lnTo>
                    <a:pt x="670" y="140"/>
                  </a:lnTo>
                  <a:lnTo>
                    <a:pt x="676" y="140"/>
                  </a:lnTo>
                  <a:lnTo>
                    <a:pt x="680" y="140"/>
                  </a:lnTo>
                  <a:lnTo>
                    <a:pt x="680" y="140"/>
                  </a:lnTo>
                  <a:lnTo>
                    <a:pt x="686" y="140"/>
                  </a:lnTo>
                  <a:lnTo>
                    <a:pt x="692" y="140"/>
                  </a:lnTo>
                  <a:lnTo>
                    <a:pt x="692" y="140"/>
                  </a:lnTo>
                  <a:lnTo>
                    <a:pt x="698" y="146"/>
                  </a:lnTo>
                  <a:lnTo>
                    <a:pt x="692" y="146"/>
                  </a:lnTo>
                  <a:lnTo>
                    <a:pt x="692" y="152"/>
                  </a:lnTo>
                  <a:lnTo>
                    <a:pt x="692" y="156"/>
                  </a:lnTo>
                  <a:lnTo>
                    <a:pt x="686" y="156"/>
                  </a:lnTo>
                  <a:lnTo>
                    <a:pt x="680" y="156"/>
                  </a:lnTo>
                  <a:lnTo>
                    <a:pt x="680" y="162"/>
                  </a:lnTo>
                  <a:lnTo>
                    <a:pt x="676" y="162"/>
                  </a:lnTo>
                  <a:lnTo>
                    <a:pt x="670" y="162"/>
                  </a:lnTo>
                  <a:lnTo>
                    <a:pt x="670" y="168"/>
                  </a:lnTo>
                  <a:lnTo>
                    <a:pt x="670" y="168"/>
                  </a:lnTo>
                  <a:lnTo>
                    <a:pt x="664" y="168"/>
                  </a:lnTo>
                  <a:lnTo>
                    <a:pt x="658" y="168"/>
                  </a:lnTo>
                  <a:lnTo>
                    <a:pt x="658" y="168"/>
                  </a:lnTo>
                  <a:lnTo>
                    <a:pt x="654" y="168"/>
                  </a:lnTo>
                  <a:lnTo>
                    <a:pt x="650" y="168"/>
                  </a:lnTo>
                  <a:lnTo>
                    <a:pt x="644" y="168"/>
                  </a:lnTo>
                  <a:lnTo>
                    <a:pt x="644" y="174"/>
                  </a:lnTo>
                  <a:lnTo>
                    <a:pt x="638" y="174"/>
                  </a:lnTo>
                  <a:lnTo>
                    <a:pt x="632" y="174"/>
                  </a:lnTo>
                  <a:lnTo>
                    <a:pt x="632" y="174"/>
                  </a:lnTo>
                  <a:lnTo>
                    <a:pt x="626" y="174"/>
                  </a:lnTo>
                  <a:lnTo>
                    <a:pt x="622" y="180"/>
                  </a:lnTo>
                  <a:lnTo>
                    <a:pt x="622" y="180"/>
                  </a:lnTo>
                  <a:lnTo>
                    <a:pt x="616" y="180"/>
                  </a:lnTo>
                  <a:lnTo>
                    <a:pt x="610" y="180"/>
                  </a:lnTo>
                  <a:lnTo>
                    <a:pt x="610" y="180"/>
                  </a:lnTo>
                  <a:lnTo>
                    <a:pt x="610" y="180"/>
                  </a:lnTo>
                  <a:lnTo>
                    <a:pt x="604" y="180"/>
                  </a:lnTo>
                  <a:lnTo>
                    <a:pt x="600" y="180"/>
                  </a:lnTo>
                  <a:lnTo>
                    <a:pt x="600" y="182"/>
                  </a:lnTo>
                  <a:lnTo>
                    <a:pt x="600" y="180"/>
                  </a:lnTo>
                  <a:lnTo>
                    <a:pt x="600" y="180"/>
                  </a:lnTo>
                  <a:lnTo>
                    <a:pt x="600" y="182"/>
                  </a:lnTo>
                  <a:lnTo>
                    <a:pt x="596" y="182"/>
                  </a:lnTo>
                  <a:lnTo>
                    <a:pt x="596" y="188"/>
                  </a:lnTo>
                  <a:lnTo>
                    <a:pt x="590" y="188"/>
                  </a:lnTo>
                  <a:lnTo>
                    <a:pt x="590" y="182"/>
                  </a:lnTo>
                  <a:lnTo>
                    <a:pt x="590" y="188"/>
                  </a:lnTo>
                  <a:lnTo>
                    <a:pt x="584" y="188"/>
                  </a:lnTo>
                  <a:lnTo>
                    <a:pt x="584" y="188"/>
                  </a:lnTo>
                  <a:lnTo>
                    <a:pt x="584" y="188"/>
                  </a:lnTo>
                  <a:lnTo>
                    <a:pt x="578" y="194"/>
                  </a:lnTo>
                  <a:lnTo>
                    <a:pt x="578" y="188"/>
                  </a:lnTo>
                  <a:lnTo>
                    <a:pt x="572" y="188"/>
                  </a:lnTo>
                  <a:lnTo>
                    <a:pt x="572" y="194"/>
                  </a:lnTo>
                  <a:lnTo>
                    <a:pt x="572" y="194"/>
                  </a:lnTo>
                  <a:lnTo>
                    <a:pt x="568" y="194"/>
                  </a:lnTo>
                  <a:lnTo>
                    <a:pt x="572" y="194"/>
                  </a:lnTo>
                  <a:lnTo>
                    <a:pt x="572" y="194"/>
                  </a:lnTo>
                  <a:lnTo>
                    <a:pt x="578" y="194"/>
                  </a:lnTo>
                  <a:lnTo>
                    <a:pt x="578" y="200"/>
                  </a:lnTo>
                  <a:lnTo>
                    <a:pt x="572" y="200"/>
                  </a:lnTo>
                  <a:lnTo>
                    <a:pt x="572" y="200"/>
                  </a:lnTo>
                  <a:lnTo>
                    <a:pt x="572" y="200"/>
                  </a:lnTo>
                  <a:lnTo>
                    <a:pt x="572" y="200"/>
                  </a:lnTo>
                  <a:lnTo>
                    <a:pt x="572" y="200"/>
                  </a:lnTo>
                  <a:lnTo>
                    <a:pt x="568" y="200"/>
                  </a:lnTo>
                  <a:lnTo>
                    <a:pt x="562" y="200"/>
                  </a:lnTo>
                  <a:lnTo>
                    <a:pt x="562" y="200"/>
                  </a:lnTo>
                  <a:lnTo>
                    <a:pt x="568" y="200"/>
                  </a:lnTo>
                  <a:lnTo>
                    <a:pt x="568" y="206"/>
                  </a:lnTo>
                  <a:lnTo>
                    <a:pt x="562" y="206"/>
                  </a:lnTo>
                  <a:lnTo>
                    <a:pt x="562" y="200"/>
                  </a:lnTo>
                  <a:lnTo>
                    <a:pt x="562" y="200"/>
                  </a:lnTo>
                  <a:lnTo>
                    <a:pt x="562" y="206"/>
                  </a:lnTo>
                  <a:lnTo>
                    <a:pt x="556" y="206"/>
                  </a:lnTo>
                  <a:lnTo>
                    <a:pt x="556" y="210"/>
                  </a:lnTo>
                  <a:lnTo>
                    <a:pt x="550" y="210"/>
                  </a:lnTo>
                  <a:lnTo>
                    <a:pt x="550" y="206"/>
                  </a:lnTo>
                  <a:lnTo>
                    <a:pt x="550" y="206"/>
                  </a:lnTo>
                  <a:lnTo>
                    <a:pt x="546" y="206"/>
                  </a:lnTo>
                  <a:lnTo>
                    <a:pt x="550" y="206"/>
                  </a:lnTo>
                  <a:lnTo>
                    <a:pt x="550" y="210"/>
                  </a:lnTo>
                  <a:lnTo>
                    <a:pt x="550" y="216"/>
                  </a:lnTo>
                  <a:lnTo>
                    <a:pt x="550" y="216"/>
                  </a:lnTo>
                  <a:lnTo>
                    <a:pt x="546" y="216"/>
                  </a:lnTo>
                  <a:lnTo>
                    <a:pt x="546" y="216"/>
                  </a:lnTo>
                  <a:lnTo>
                    <a:pt x="550" y="216"/>
                  </a:lnTo>
                  <a:lnTo>
                    <a:pt x="546" y="216"/>
                  </a:lnTo>
                  <a:lnTo>
                    <a:pt x="546" y="222"/>
                  </a:lnTo>
                  <a:lnTo>
                    <a:pt x="540" y="222"/>
                  </a:lnTo>
                  <a:lnTo>
                    <a:pt x="536" y="222"/>
                  </a:lnTo>
                  <a:lnTo>
                    <a:pt x="536" y="216"/>
                  </a:lnTo>
                  <a:lnTo>
                    <a:pt x="536" y="216"/>
                  </a:lnTo>
                  <a:lnTo>
                    <a:pt x="530" y="216"/>
                  </a:lnTo>
                  <a:lnTo>
                    <a:pt x="536" y="216"/>
                  </a:lnTo>
                  <a:lnTo>
                    <a:pt x="536" y="222"/>
                  </a:lnTo>
                  <a:lnTo>
                    <a:pt x="536" y="222"/>
                  </a:lnTo>
                  <a:lnTo>
                    <a:pt x="540" y="222"/>
                  </a:lnTo>
                  <a:lnTo>
                    <a:pt x="540" y="228"/>
                  </a:lnTo>
                  <a:lnTo>
                    <a:pt x="536" y="228"/>
                  </a:lnTo>
                  <a:lnTo>
                    <a:pt x="536" y="228"/>
                  </a:lnTo>
                  <a:lnTo>
                    <a:pt x="530" y="228"/>
                  </a:lnTo>
                  <a:lnTo>
                    <a:pt x="524" y="228"/>
                  </a:lnTo>
                  <a:lnTo>
                    <a:pt x="524" y="228"/>
                  </a:lnTo>
                  <a:lnTo>
                    <a:pt x="524" y="228"/>
                  </a:lnTo>
                  <a:lnTo>
                    <a:pt x="530" y="228"/>
                  </a:lnTo>
                  <a:lnTo>
                    <a:pt x="536" y="228"/>
                  </a:lnTo>
                  <a:lnTo>
                    <a:pt x="536" y="228"/>
                  </a:lnTo>
                  <a:lnTo>
                    <a:pt x="536" y="228"/>
                  </a:lnTo>
                  <a:lnTo>
                    <a:pt x="536" y="234"/>
                  </a:lnTo>
                  <a:lnTo>
                    <a:pt x="536" y="234"/>
                  </a:lnTo>
                  <a:lnTo>
                    <a:pt x="530" y="234"/>
                  </a:lnTo>
                  <a:lnTo>
                    <a:pt x="524" y="234"/>
                  </a:lnTo>
                  <a:lnTo>
                    <a:pt x="524" y="228"/>
                  </a:lnTo>
                  <a:lnTo>
                    <a:pt x="524" y="228"/>
                  </a:lnTo>
                  <a:lnTo>
                    <a:pt x="524" y="234"/>
                  </a:lnTo>
                  <a:lnTo>
                    <a:pt x="524" y="234"/>
                  </a:lnTo>
                  <a:lnTo>
                    <a:pt x="530" y="234"/>
                  </a:lnTo>
                  <a:lnTo>
                    <a:pt x="530" y="238"/>
                  </a:lnTo>
                  <a:lnTo>
                    <a:pt x="524" y="238"/>
                  </a:lnTo>
                  <a:lnTo>
                    <a:pt x="524" y="238"/>
                  </a:lnTo>
                  <a:lnTo>
                    <a:pt x="524" y="238"/>
                  </a:lnTo>
                  <a:lnTo>
                    <a:pt x="524" y="238"/>
                  </a:lnTo>
                  <a:lnTo>
                    <a:pt x="518" y="238"/>
                  </a:lnTo>
                  <a:lnTo>
                    <a:pt x="512" y="238"/>
                  </a:lnTo>
                  <a:lnTo>
                    <a:pt x="512" y="238"/>
                  </a:lnTo>
                  <a:lnTo>
                    <a:pt x="512" y="238"/>
                  </a:lnTo>
                  <a:lnTo>
                    <a:pt x="512" y="238"/>
                  </a:lnTo>
                  <a:lnTo>
                    <a:pt x="508" y="238"/>
                  </a:lnTo>
                  <a:lnTo>
                    <a:pt x="502" y="238"/>
                  </a:lnTo>
                  <a:lnTo>
                    <a:pt x="502" y="238"/>
                  </a:lnTo>
                  <a:lnTo>
                    <a:pt x="502" y="238"/>
                  </a:lnTo>
                  <a:lnTo>
                    <a:pt x="496" y="238"/>
                  </a:lnTo>
                  <a:lnTo>
                    <a:pt x="492" y="238"/>
                  </a:lnTo>
                  <a:lnTo>
                    <a:pt x="492" y="238"/>
                  </a:lnTo>
                  <a:lnTo>
                    <a:pt x="486" y="238"/>
                  </a:lnTo>
                  <a:lnTo>
                    <a:pt x="492" y="238"/>
                  </a:lnTo>
                  <a:lnTo>
                    <a:pt x="492" y="234"/>
                  </a:lnTo>
                  <a:lnTo>
                    <a:pt x="492" y="234"/>
                  </a:lnTo>
                  <a:lnTo>
                    <a:pt x="496" y="234"/>
                  </a:lnTo>
                  <a:lnTo>
                    <a:pt x="496" y="228"/>
                  </a:lnTo>
                  <a:lnTo>
                    <a:pt x="502" y="228"/>
                  </a:lnTo>
                  <a:lnTo>
                    <a:pt x="496" y="228"/>
                  </a:lnTo>
                  <a:lnTo>
                    <a:pt x="492" y="228"/>
                  </a:lnTo>
                  <a:lnTo>
                    <a:pt x="492" y="234"/>
                  </a:lnTo>
                  <a:lnTo>
                    <a:pt x="486" y="234"/>
                  </a:lnTo>
                  <a:lnTo>
                    <a:pt x="486" y="228"/>
                  </a:lnTo>
                  <a:lnTo>
                    <a:pt x="482" y="228"/>
                  </a:lnTo>
                  <a:lnTo>
                    <a:pt x="482" y="228"/>
                  </a:lnTo>
                  <a:lnTo>
                    <a:pt x="482" y="228"/>
                  </a:lnTo>
                  <a:lnTo>
                    <a:pt x="486" y="228"/>
                  </a:lnTo>
                  <a:lnTo>
                    <a:pt x="486" y="228"/>
                  </a:lnTo>
                  <a:lnTo>
                    <a:pt x="492" y="228"/>
                  </a:lnTo>
                  <a:lnTo>
                    <a:pt x="492" y="222"/>
                  </a:lnTo>
                  <a:lnTo>
                    <a:pt x="492" y="222"/>
                  </a:lnTo>
                  <a:lnTo>
                    <a:pt x="496" y="222"/>
                  </a:lnTo>
                  <a:lnTo>
                    <a:pt x="492" y="222"/>
                  </a:lnTo>
                  <a:lnTo>
                    <a:pt x="496" y="216"/>
                  </a:lnTo>
                  <a:lnTo>
                    <a:pt x="502" y="216"/>
                  </a:lnTo>
                  <a:lnTo>
                    <a:pt x="502" y="216"/>
                  </a:lnTo>
                  <a:lnTo>
                    <a:pt x="508" y="216"/>
                  </a:lnTo>
                  <a:lnTo>
                    <a:pt x="512" y="216"/>
                  </a:lnTo>
                  <a:lnTo>
                    <a:pt x="508" y="216"/>
                  </a:lnTo>
                  <a:lnTo>
                    <a:pt x="508" y="216"/>
                  </a:lnTo>
                  <a:lnTo>
                    <a:pt x="502" y="216"/>
                  </a:lnTo>
                  <a:lnTo>
                    <a:pt x="502" y="216"/>
                  </a:lnTo>
                  <a:lnTo>
                    <a:pt x="502" y="216"/>
                  </a:lnTo>
                  <a:lnTo>
                    <a:pt x="508" y="216"/>
                  </a:lnTo>
                  <a:lnTo>
                    <a:pt x="512" y="216"/>
                  </a:lnTo>
                  <a:lnTo>
                    <a:pt x="508" y="216"/>
                  </a:lnTo>
                  <a:lnTo>
                    <a:pt x="502" y="210"/>
                  </a:lnTo>
                  <a:lnTo>
                    <a:pt x="512" y="210"/>
                  </a:lnTo>
                  <a:lnTo>
                    <a:pt x="512" y="210"/>
                  </a:lnTo>
                  <a:lnTo>
                    <a:pt x="518" y="206"/>
                  </a:lnTo>
                  <a:lnTo>
                    <a:pt x="512" y="206"/>
                  </a:lnTo>
                  <a:lnTo>
                    <a:pt x="512" y="206"/>
                  </a:lnTo>
                  <a:lnTo>
                    <a:pt x="508" y="206"/>
                  </a:lnTo>
                  <a:lnTo>
                    <a:pt x="508" y="200"/>
                  </a:lnTo>
                  <a:lnTo>
                    <a:pt x="512" y="200"/>
                  </a:lnTo>
                  <a:lnTo>
                    <a:pt x="512" y="200"/>
                  </a:lnTo>
                  <a:lnTo>
                    <a:pt x="518" y="200"/>
                  </a:lnTo>
                  <a:lnTo>
                    <a:pt x="524" y="200"/>
                  </a:lnTo>
                  <a:lnTo>
                    <a:pt x="524" y="200"/>
                  </a:lnTo>
                  <a:lnTo>
                    <a:pt x="524" y="200"/>
                  </a:lnTo>
                  <a:lnTo>
                    <a:pt x="518" y="200"/>
                  </a:lnTo>
                  <a:lnTo>
                    <a:pt x="512" y="200"/>
                  </a:lnTo>
                  <a:lnTo>
                    <a:pt x="512" y="200"/>
                  </a:lnTo>
                  <a:lnTo>
                    <a:pt x="518" y="194"/>
                  </a:lnTo>
                  <a:lnTo>
                    <a:pt x="524" y="194"/>
                  </a:lnTo>
                  <a:lnTo>
                    <a:pt x="518" y="194"/>
                  </a:lnTo>
                  <a:lnTo>
                    <a:pt x="518" y="188"/>
                  </a:lnTo>
                  <a:lnTo>
                    <a:pt x="512" y="194"/>
                  </a:lnTo>
                  <a:lnTo>
                    <a:pt x="512" y="194"/>
                  </a:lnTo>
                  <a:lnTo>
                    <a:pt x="512" y="188"/>
                  </a:lnTo>
                  <a:lnTo>
                    <a:pt x="508" y="188"/>
                  </a:lnTo>
                  <a:lnTo>
                    <a:pt x="512" y="188"/>
                  </a:lnTo>
                  <a:lnTo>
                    <a:pt x="512" y="188"/>
                  </a:lnTo>
                  <a:lnTo>
                    <a:pt x="512" y="188"/>
                  </a:lnTo>
                  <a:lnTo>
                    <a:pt x="512" y="188"/>
                  </a:lnTo>
                  <a:lnTo>
                    <a:pt x="518" y="188"/>
                  </a:lnTo>
                  <a:lnTo>
                    <a:pt x="518" y="188"/>
                  </a:lnTo>
                  <a:lnTo>
                    <a:pt x="524" y="188"/>
                  </a:lnTo>
                  <a:lnTo>
                    <a:pt x="524" y="188"/>
                  </a:lnTo>
                  <a:lnTo>
                    <a:pt x="524" y="188"/>
                  </a:lnTo>
                  <a:lnTo>
                    <a:pt x="524" y="188"/>
                  </a:lnTo>
                  <a:lnTo>
                    <a:pt x="524" y="182"/>
                  </a:lnTo>
                  <a:lnTo>
                    <a:pt x="524" y="182"/>
                  </a:lnTo>
                  <a:lnTo>
                    <a:pt x="530" y="182"/>
                  </a:lnTo>
                  <a:lnTo>
                    <a:pt x="536" y="182"/>
                  </a:lnTo>
                  <a:lnTo>
                    <a:pt x="536" y="182"/>
                  </a:lnTo>
                  <a:lnTo>
                    <a:pt x="536" y="180"/>
                  </a:lnTo>
                  <a:lnTo>
                    <a:pt x="536" y="180"/>
                  </a:lnTo>
                  <a:lnTo>
                    <a:pt x="536" y="180"/>
                  </a:lnTo>
                  <a:lnTo>
                    <a:pt x="540" y="180"/>
                  </a:lnTo>
                  <a:lnTo>
                    <a:pt x="546" y="180"/>
                  </a:lnTo>
                  <a:lnTo>
                    <a:pt x="546" y="180"/>
                  </a:lnTo>
                  <a:lnTo>
                    <a:pt x="540" y="180"/>
                  </a:lnTo>
                  <a:lnTo>
                    <a:pt x="546" y="180"/>
                  </a:lnTo>
                  <a:lnTo>
                    <a:pt x="550" y="174"/>
                  </a:lnTo>
                  <a:lnTo>
                    <a:pt x="550" y="174"/>
                  </a:lnTo>
                  <a:lnTo>
                    <a:pt x="550" y="168"/>
                  </a:lnTo>
                  <a:lnTo>
                    <a:pt x="556" y="168"/>
                  </a:lnTo>
                  <a:lnTo>
                    <a:pt x="562" y="168"/>
                  </a:lnTo>
                  <a:lnTo>
                    <a:pt x="562" y="168"/>
                  </a:lnTo>
                  <a:lnTo>
                    <a:pt x="568" y="168"/>
                  </a:lnTo>
                  <a:lnTo>
                    <a:pt x="572" y="168"/>
                  </a:lnTo>
                  <a:lnTo>
                    <a:pt x="572" y="168"/>
                  </a:lnTo>
                  <a:lnTo>
                    <a:pt x="572" y="168"/>
                  </a:lnTo>
                  <a:lnTo>
                    <a:pt x="572" y="168"/>
                  </a:lnTo>
                  <a:lnTo>
                    <a:pt x="572" y="168"/>
                  </a:lnTo>
                  <a:lnTo>
                    <a:pt x="572" y="162"/>
                  </a:lnTo>
                  <a:lnTo>
                    <a:pt x="578" y="162"/>
                  </a:lnTo>
                  <a:lnTo>
                    <a:pt x="584" y="162"/>
                  </a:lnTo>
                  <a:lnTo>
                    <a:pt x="584" y="168"/>
                  </a:lnTo>
                  <a:lnTo>
                    <a:pt x="578" y="168"/>
                  </a:lnTo>
                  <a:lnTo>
                    <a:pt x="572" y="168"/>
                  </a:lnTo>
                  <a:lnTo>
                    <a:pt x="578" y="168"/>
                  </a:lnTo>
                  <a:lnTo>
                    <a:pt x="584" y="168"/>
                  </a:lnTo>
                  <a:lnTo>
                    <a:pt x="584" y="168"/>
                  </a:lnTo>
                  <a:lnTo>
                    <a:pt x="584" y="168"/>
                  </a:lnTo>
                  <a:lnTo>
                    <a:pt x="584" y="168"/>
                  </a:lnTo>
                  <a:close/>
                  <a:moveTo>
                    <a:pt x="1088" y="140"/>
                  </a:moveTo>
                  <a:lnTo>
                    <a:pt x="1082" y="140"/>
                  </a:lnTo>
                  <a:lnTo>
                    <a:pt x="1078" y="140"/>
                  </a:lnTo>
                  <a:lnTo>
                    <a:pt x="1078" y="140"/>
                  </a:lnTo>
                  <a:lnTo>
                    <a:pt x="1082" y="140"/>
                  </a:lnTo>
                  <a:lnTo>
                    <a:pt x="1088" y="140"/>
                  </a:lnTo>
                  <a:lnTo>
                    <a:pt x="1088" y="140"/>
                  </a:lnTo>
                  <a:lnTo>
                    <a:pt x="1088" y="140"/>
                  </a:lnTo>
                  <a:lnTo>
                    <a:pt x="1088" y="140"/>
                  </a:lnTo>
                  <a:close/>
                  <a:moveTo>
                    <a:pt x="1104" y="146"/>
                  </a:moveTo>
                  <a:lnTo>
                    <a:pt x="1104" y="140"/>
                  </a:lnTo>
                  <a:lnTo>
                    <a:pt x="1108" y="140"/>
                  </a:lnTo>
                  <a:lnTo>
                    <a:pt x="1108" y="146"/>
                  </a:lnTo>
                  <a:lnTo>
                    <a:pt x="1104" y="146"/>
                  </a:lnTo>
                  <a:lnTo>
                    <a:pt x="1104" y="146"/>
                  </a:lnTo>
                  <a:lnTo>
                    <a:pt x="1104" y="146"/>
                  </a:lnTo>
                  <a:lnTo>
                    <a:pt x="1104" y="146"/>
                  </a:lnTo>
                  <a:close/>
                  <a:moveTo>
                    <a:pt x="1104" y="146"/>
                  </a:moveTo>
                  <a:lnTo>
                    <a:pt x="1098" y="146"/>
                  </a:lnTo>
                  <a:lnTo>
                    <a:pt x="1104" y="146"/>
                  </a:lnTo>
                  <a:lnTo>
                    <a:pt x="1104" y="146"/>
                  </a:lnTo>
                  <a:lnTo>
                    <a:pt x="1104" y="146"/>
                  </a:lnTo>
                  <a:lnTo>
                    <a:pt x="1104" y="146"/>
                  </a:lnTo>
                  <a:close/>
                  <a:moveTo>
                    <a:pt x="1818" y="152"/>
                  </a:moveTo>
                  <a:lnTo>
                    <a:pt x="1818" y="146"/>
                  </a:lnTo>
                  <a:lnTo>
                    <a:pt x="1824" y="146"/>
                  </a:lnTo>
                  <a:lnTo>
                    <a:pt x="1830" y="146"/>
                  </a:lnTo>
                  <a:lnTo>
                    <a:pt x="1830" y="146"/>
                  </a:lnTo>
                  <a:lnTo>
                    <a:pt x="1836" y="146"/>
                  </a:lnTo>
                  <a:lnTo>
                    <a:pt x="1830" y="146"/>
                  </a:lnTo>
                  <a:lnTo>
                    <a:pt x="1830" y="152"/>
                  </a:lnTo>
                  <a:lnTo>
                    <a:pt x="1830" y="146"/>
                  </a:lnTo>
                  <a:lnTo>
                    <a:pt x="1830" y="146"/>
                  </a:lnTo>
                  <a:lnTo>
                    <a:pt x="1824" y="146"/>
                  </a:lnTo>
                  <a:lnTo>
                    <a:pt x="1824" y="152"/>
                  </a:lnTo>
                  <a:lnTo>
                    <a:pt x="1818" y="152"/>
                  </a:lnTo>
                  <a:lnTo>
                    <a:pt x="1818" y="152"/>
                  </a:lnTo>
                  <a:lnTo>
                    <a:pt x="1818" y="152"/>
                  </a:lnTo>
                  <a:lnTo>
                    <a:pt x="1818" y="152"/>
                  </a:lnTo>
                  <a:close/>
                  <a:moveTo>
                    <a:pt x="1104" y="152"/>
                  </a:moveTo>
                  <a:lnTo>
                    <a:pt x="1098" y="152"/>
                  </a:lnTo>
                  <a:lnTo>
                    <a:pt x="1098" y="146"/>
                  </a:lnTo>
                  <a:lnTo>
                    <a:pt x="1104" y="146"/>
                  </a:lnTo>
                  <a:lnTo>
                    <a:pt x="1104" y="152"/>
                  </a:lnTo>
                  <a:lnTo>
                    <a:pt x="1104" y="152"/>
                  </a:lnTo>
                  <a:lnTo>
                    <a:pt x="1104" y="152"/>
                  </a:lnTo>
                  <a:lnTo>
                    <a:pt x="1104" y="152"/>
                  </a:lnTo>
                  <a:close/>
                  <a:moveTo>
                    <a:pt x="1066" y="146"/>
                  </a:moveTo>
                  <a:lnTo>
                    <a:pt x="1072" y="152"/>
                  </a:lnTo>
                  <a:lnTo>
                    <a:pt x="1066" y="152"/>
                  </a:lnTo>
                  <a:lnTo>
                    <a:pt x="1066" y="152"/>
                  </a:lnTo>
                  <a:lnTo>
                    <a:pt x="1066" y="146"/>
                  </a:lnTo>
                  <a:lnTo>
                    <a:pt x="1066" y="146"/>
                  </a:lnTo>
                  <a:lnTo>
                    <a:pt x="1066" y="146"/>
                  </a:lnTo>
                  <a:lnTo>
                    <a:pt x="1066" y="146"/>
                  </a:lnTo>
                  <a:lnTo>
                    <a:pt x="1066" y="146"/>
                  </a:lnTo>
                  <a:close/>
                  <a:moveTo>
                    <a:pt x="1088" y="146"/>
                  </a:moveTo>
                  <a:lnTo>
                    <a:pt x="1088" y="152"/>
                  </a:lnTo>
                  <a:lnTo>
                    <a:pt x="1082" y="152"/>
                  </a:lnTo>
                  <a:lnTo>
                    <a:pt x="1078" y="152"/>
                  </a:lnTo>
                  <a:lnTo>
                    <a:pt x="1078" y="146"/>
                  </a:lnTo>
                  <a:lnTo>
                    <a:pt x="1082" y="146"/>
                  </a:lnTo>
                  <a:lnTo>
                    <a:pt x="1088" y="146"/>
                  </a:lnTo>
                  <a:lnTo>
                    <a:pt x="1088" y="146"/>
                  </a:lnTo>
                  <a:lnTo>
                    <a:pt x="1088" y="146"/>
                  </a:lnTo>
                  <a:lnTo>
                    <a:pt x="1088" y="146"/>
                  </a:lnTo>
                  <a:close/>
                  <a:moveTo>
                    <a:pt x="1054" y="152"/>
                  </a:moveTo>
                  <a:lnTo>
                    <a:pt x="1054" y="152"/>
                  </a:lnTo>
                  <a:lnTo>
                    <a:pt x="1054" y="152"/>
                  </a:lnTo>
                  <a:lnTo>
                    <a:pt x="1050" y="152"/>
                  </a:lnTo>
                  <a:lnTo>
                    <a:pt x="1054" y="152"/>
                  </a:lnTo>
                  <a:lnTo>
                    <a:pt x="1054" y="152"/>
                  </a:lnTo>
                  <a:lnTo>
                    <a:pt x="1054" y="152"/>
                  </a:lnTo>
                  <a:lnTo>
                    <a:pt x="1054" y="152"/>
                  </a:lnTo>
                  <a:close/>
                  <a:moveTo>
                    <a:pt x="1320" y="156"/>
                  </a:moveTo>
                  <a:lnTo>
                    <a:pt x="1320" y="152"/>
                  </a:lnTo>
                  <a:lnTo>
                    <a:pt x="1326" y="152"/>
                  </a:lnTo>
                  <a:lnTo>
                    <a:pt x="1326" y="156"/>
                  </a:lnTo>
                  <a:lnTo>
                    <a:pt x="1326" y="156"/>
                  </a:lnTo>
                  <a:lnTo>
                    <a:pt x="1326" y="156"/>
                  </a:lnTo>
                  <a:lnTo>
                    <a:pt x="1320" y="156"/>
                  </a:lnTo>
                  <a:lnTo>
                    <a:pt x="1320" y="156"/>
                  </a:lnTo>
                  <a:lnTo>
                    <a:pt x="1320" y="156"/>
                  </a:lnTo>
                  <a:lnTo>
                    <a:pt x="1320" y="156"/>
                  </a:lnTo>
                  <a:close/>
                  <a:moveTo>
                    <a:pt x="1088" y="162"/>
                  </a:moveTo>
                  <a:lnTo>
                    <a:pt x="1088" y="156"/>
                  </a:lnTo>
                  <a:lnTo>
                    <a:pt x="1092" y="156"/>
                  </a:lnTo>
                  <a:lnTo>
                    <a:pt x="1088" y="156"/>
                  </a:lnTo>
                  <a:lnTo>
                    <a:pt x="1088" y="162"/>
                  </a:lnTo>
                  <a:lnTo>
                    <a:pt x="1092" y="162"/>
                  </a:lnTo>
                  <a:lnTo>
                    <a:pt x="1092" y="156"/>
                  </a:lnTo>
                  <a:lnTo>
                    <a:pt x="1092" y="162"/>
                  </a:lnTo>
                  <a:lnTo>
                    <a:pt x="1088" y="162"/>
                  </a:lnTo>
                  <a:lnTo>
                    <a:pt x="1088" y="162"/>
                  </a:lnTo>
                  <a:lnTo>
                    <a:pt x="1088" y="162"/>
                  </a:lnTo>
                  <a:lnTo>
                    <a:pt x="1088" y="162"/>
                  </a:lnTo>
                  <a:close/>
                  <a:moveTo>
                    <a:pt x="1088" y="168"/>
                  </a:moveTo>
                  <a:lnTo>
                    <a:pt x="1082" y="162"/>
                  </a:lnTo>
                  <a:lnTo>
                    <a:pt x="1078" y="162"/>
                  </a:lnTo>
                  <a:lnTo>
                    <a:pt x="1078" y="162"/>
                  </a:lnTo>
                  <a:lnTo>
                    <a:pt x="1072" y="162"/>
                  </a:lnTo>
                  <a:lnTo>
                    <a:pt x="1072" y="156"/>
                  </a:lnTo>
                  <a:lnTo>
                    <a:pt x="1078" y="162"/>
                  </a:lnTo>
                  <a:lnTo>
                    <a:pt x="1078" y="156"/>
                  </a:lnTo>
                  <a:lnTo>
                    <a:pt x="1078" y="156"/>
                  </a:lnTo>
                  <a:lnTo>
                    <a:pt x="1082" y="156"/>
                  </a:lnTo>
                  <a:lnTo>
                    <a:pt x="1088" y="156"/>
                  </a:lnTo>
                  <a:lnTo>
                    <a:pt x="1088" y="156"/>
                  </a:lnTo>
                  <a:lnTo>
                    <a:pt x="1088" y="162"/>
                  </a:lnTo>
                  <a:lnTo>
                    <a:pt x="1088" y="162"/>
                  </a:lnTo>
                  <a:lnTo>
                    <a:pt x="1088" y="156"/>
                  </a:lnTo>
                  <a:lnTo>
                    <a:pt x="1082" y="162"/>
                  </a:lnTo>
                  <a:lnTo>
                    <a:pt x="1088" y="162"/>
                  </a:lnTo>
                  <a:lnTo>
                    <a:pt x="1088" y="168"/>
                  </a:lnTo>
                  <a:lnTo>
                    <a:pt x="1088" y="168"/>
                  </a:lnTo>
                  <a:lnTo>
                    <a:pt x="1088" y="168"/>
                  </a:lnTo>
                  <a:lnTo>
                    <a:pt x="1088" y="168"/>
                  </a:lnTo>
                  <a:close/>
                  <a:moveTo>
                    <a:pt x="1066" y="162"/>
                  </a:moveTo>
                  <a:lnTo>
                    <a:pt x="1066" y="156"/>
                  </a:lnTo>
                  <a:lnTo>
                    <a:pt x="1066" y="156"/>
                  </a:lnTo>
                  <a:lnTo>
                    <a:pt x="1066" y="162"/>
                  </a:lnTo>
                  <a:lnTo>
                    <a:pt x="1060" y="162"/>
                  </a:lnTo>
                  <a:lnTo>
                    <a:pt x="1054" y="162"/>
                  </a:lnTo>
                  <a:lnTo>
                    <a:pt x="1060" y="162"/>
                  </a:lnTo>
                  <a:lnTo>
                    <a:pt x="1066" y="162"/>
                  </a:lnTo>
                  <a:lnTo>
                    <a:pt x="1066" y="162"/>
                  </a:lnTo>
                  <a:lnTo>
                    <a:pt x="1066" y="162"/>
                  </a:lnTo>
                  <a:lnTo>
                    <a:pt x="1066" y="162"/>
                  </a:lnTo>
                  <a:close/>
                  <a:moveTo>
                    <a:pt x="1736" y="200"/>
                  </a:moveTo>
                  <a:lnTo>
                    <a:pt x="1732" y="200"/>
                  </a:lnTo>
                  <a:lnTo>
                    <a:pt x="1732" y="200"/>
                  </a:lnTo>
                  <a:lnTo>
                    <a:pt x="1732" y="194"/>
                  </a:lnTo>
                  <a:lnTo>
                    <a:pt x="1732" y="194"/>
                  </a:lnTo>
                  <a:lnTo>
                    <a:pt x="1732" y="194"/>
                  </a:lnTo>
                  <a:lnTo>
                    <a:pt x="1728" y="194"/>
                  </a:lnTo>
                  <a:lnTo>
                    <a:pt x="1722" y="194"/>
                  </a:lnTo>
                  <a:lnTo>
                    <a:pt x="1722" y="194"/>
                  </a:lnTo>
                  <a:lnTo>
                    <a:pt x="1716" y="194"/>
                  </a:lnTo>
                  <a:lnTo>
                    <a:pt x="1710" y="200"/>
                  </a:lnTo>
                  <a:lnTo>
                    <a:pt x="1710" y="200"/>
                  </a:lnTo>
                  <a:lnTo>
                    <a:pt x="1704" y="200"/>
                  </a:lnTo>
                  <a:lnTo>
                    <a:pt x="1700" y="194"/>
                  </a:lnTo>
                  <a:lnTo>
                    <a:pt x="1700" y="194"/>
                  </a:lnTo>
                  <a:lnTo>
                    <a:pt x="1694" y="194"/>
                  </a:lnTo>
                  <a:lnTo>
                    <a:pt x="1694" y="200"/>
                  </a:lnTo>
                  <a:lnTo>
                    <a:pt x="1700" y="200"/>
                  </a:lnTo>
                  <a:lnTo>
                    <a:pt x="1694" y="200"/>
                  </a:lnTo>
                  <a:lnTo>
                    <a:pt x="1694" y="200"/>
                  </a:lnTo>
                  <a:lnTo>
                    <a:pt x="1688" y="200"/>
                  </a:lnTo>
                  <a:lnTo>
                    <a:pt x="1688" y="200"/>
                  </a:lnTo>
                  <a:lnTo>
                    <a:pt x="1682" y="200"/>
                  </a:lnTo>
                  <a:lnTo>
                    <a:pt x="1678" y="200"/>
                  </a:lnTo>
                  <a:lnTo>
                    <a:pt x="1678" y="200"/>
                  </a:lnTo>
                  <a:lnTo>
                    <a:pt x="1672" y="200"/>
                  </a:lnTo>
                  <a:lnTo>
                    <a:pt x="1672" y="200"/>
                  </a:lnTo>
                  <a:lnTo>
                    <a:pt x="1672" y="194"/>
                  </a:lnTo>
                  <a:lnTo>
                    <a:pt x="1668" y="194"/>
                  </a:lnTo>
                  <a:lnTo>
                    <a:pt x="1668" y="188"/>
                  </a:lnTo>
                  <a:lnTo>
                    <a:pt x="1662" y="188"/>
                  </a:lnTo>
                  <a:lnTo>
                    <a:pt x="1662" y="188"/>
                  </a:lnTo>
                  <a:lnTo>
                    <a:pt x="1662" y="188"/>
                  </a:lnTo>
                  <a:lnTo>
                    <a:pt x="1656" y="182"/>
                  </a:lnTo>
                  <a:lnTo>
                    <a:pt x="1662" y="182"/>
                  </a:lnTo>
                  <a:lnTo>
                    <a:pt x="1662" y="182"/>
                  </a:lnTo>
                  <a:lnTo>
                    <a:pt x="1668" y="182"/>
                  </a:lnTo>
                  <a:lnTo>
                    <a:pt x="1662" y="182"/>
                  </a:lnTo>
                  <a:lnTo>
                    <a:pt x="1662" y="182"/>
                  </a:lnTo>
                  <a:lnTo>
                    <a:pt x="1662" y="180"/>
                  </a:lnTo>
                  <a:lnTo>
                    <a:pt x="1662" y="180"/>
                  </a:lnTo>
                  <a:lnTo>
                    <a:pt x="1662" y="180"/>
                  </a:lnTo>
                  <a:lnTo>
                    <a:pt x="1662" y="180"/>
                  </a:lnTo>
                  <a:lnTo>
                    <a:pt x="1662" y="180"/>
                  </a:lnTo>
                  <a:lnTo>
                    <a:pt x="1662" y="180"/>
                  </a:lnTo>
                  <a:lnTo>
                    <a:pt x="1662" y="180"/>
                  </a:lnTo>
                  <a:lnTo>
                    <a:pt x="1662" y="180"/>
                  </a:lnTo>
                  <a:lnTo>
                    <a:pt x="1662" y="174"/>
                  </a:lnTo>
                  <a:lnTo>
                    <a:pt x="1662" y="174"/>
                  </a:lnTo>
                  <a:lnTo>
                    <a:pt x="1668" y="174"/>
                  </a:lnTo>
                  <a:lnTo>
                    <a:pt x="1672" y="174"/>
                  </a:lnTo>
                  <a:lnTo>
                    <a:pt x="1668" y="174"/>
                  </a:lnTo>
                  <a:lnTo>
                    <a:pt x="1668" y="168"/>
                  </a:lnTo>
                  <a:lnTo>
                    <a:pt x="1662" y="168"/>
                  </a:lnTo>
                  <a:lnTo>
                    <a:pt x="1668" y="168"/>
                  </a:lnTo>
                  <a:lnTo>
                    <a:pt x="1672" y="168"/>
                  </a:lnTo>
                  <a:lnTo>
                    <a:pt x="1672" y="168"/>
                  </a:lnTo>
                  <a:lnTo>
                    <a:pt x="1672" y="162"/>
                  </a:lnTo>
                  <a:lnTo>
                    <a:pt x="1678" y="162"/>
                  </a:lnTo>
                  <a:lnTo>
                    <a:pt x="1678" y="168"/>
                  </a:lnTo>
                  <a:lnTo>
                    <a:pt x="1678" y="162"/>
                  </a:lnTo>
                  <a:lnTo>
                    <a:pt x="1682" y="162"/>
                  </a:lnTo>
                  <a:lnTo>
                    <a:pt x="1688" y="162"/>
                  </a:lnTo>
                  <a:lnTo>
                    <a:pt x="1688" y="162"/>
                  </a:lnTo>
                  <a:lnTo>
                    <a:pt x="1688" y="168"/>
                  </a:lnTo>
                  <a:lnTo>
                    <a:pt x="1694" y="168"/>
                  </a:lnTo>
                  <a:lnTo>
                    <a:pt x="1700" y="168"/>
                  </a:lnTo>
                  <a:lnTo>
                    <a:pt x="1700" y="168"/>
                  </a:lnTo>
                  <a:lnTo>
                    <a:pt x="1700" y="168"/>
                  </a:lnTo>
                  <a:lnTo>
                    <a:pt x="1700" y="174"/>
                  </a:lnTo>
                  <a:lnTo>
                    <a:pt x="1704" y="174"/>
                  </a:lnTo>
                  <a:lnTo>
                    <a:pt x="1710" y="174"/>
                  </a:lnTo>
                  <a:lnTo>
                    <a:pt x="1710" y="180"/>
                  </a:lnTo>
                  <a:lnTo>
                    <a:pt x="1710" y="180"/>
                  </a:lnTo>
                  <a:lnTo>
                    <a:pt x="1716" y="180"/>
                  </a:lnTo>
                  <a:lnTo>
                    <a:pt x="1716" y="174"/>
                  </a:lnTo>
                  <a:lnTo>
                    <a:pt x="1716" y="168"/>
                  </a:lnTo>
                  <a:lnTo>
                    <a:pt x="1716" y="168"/>
                  </a:lnTo>
                  <a:lnTo>
                    <a:pt x="1722" y="168"/>
                  </a:lnTo>
                  <a:lnTo>
                    <a:pt x="1722" y="168"/>
                  </a:lnTo>
                  <a:lnTo>
                    <a:pt x="1722" y="162"/>
                  </a:lnTo>
                  <a:lnTo>
                    <a:pt x="1722" y="162"/>
                  </a:lnTo>
                  <a:lnTo>
                    <a:pt x="1722" y="162"/>
                  </a:lnTo>
                  <a:lnTo>
                    <a:pt x="1728" y="168"/>
                  </a:lnTo>
                  <a:lnTo>
                    <a:pt x="1732" y="168"/>
                  </a:lnTo>
                  <a:lnTo>
                    <a:pt x="1732" y="168"/>
                  </a:lnTo>
                  <a:lnTo>
                    <a:pt x="1736" y="168"/>
                  </a:lnTo>
                  <a:lnTo>
                    <a:pt x="1736" y="174"/>
                  </a:lnTo>
                  <a:lnTo>
                    <a:pt x="1742" y="174"/>
                  </a:lnTo>
                  <a:lnTo>
                    <a:pt x="1748" y="174"/>
                  </a:lnTo>
                  <a:lnTo>
                    <a:pt x="1748" y="174"/>
                  </a:lnTo>
                  <a:lnTo>
                    <a:pt x="1754" y="168"/>
                  </a:lnTo>
                  <a:lnTo>
                    <a:pt x="1758" y="174"/>
                  </a:lnTo>
                  <a:lnTo>
                    <a:pt x="1758" y="174"/>
                  </a:lnTo>
                  <a:lnTo>
                    <a:pt x="1764" y="180"/>
                  </a:lnTo>
                  <a:lnTo>
                    <a:pt x="1770" y="180"/>
                  </a:lnTo>
                  <a:lnTo>
                    <a:pt x="1770" y="180"/>
                  </a:lnTo>
                  <a:lnTo>
                    <a:pt x="1776" y="180"/>
                  </a:lnTo>
                  <a:lnTo>
                    <a:pt x="1776" y="180"/>
                  </a:lnTo>
                  <a:lnTo>
                    <a:pt x="1782" y="180"/>
                  </a:lnTo>
                  <a:lnTo>
                    <a:pt x="1776" y="180"/>
                  </a:lnTo>
                  <a:lnTo>
                    <a:pt x="1770" y="180"/>
                  </a:lnTo>
                  <a:lnTo>
                    <a:pt x="1770" y="180"/>
                  </a:lnTo>
                  <a:lnTo>
                    <a:pt x="1770" y="182"/>
                  </a:lnTo>
                  <a:lnTo>
                    <a:pt x="1770" y="188"/>
                  </a:lnTo>
                  <a:lnTo>
                    <a:pt x="1770" y="188"/>
                  </a:lnTo>
                  <a:lnTo>
                    <a:pt x="1770" y="188"/>
                  </a:lnTo>
                  <a:lnTo>
                    <a:pt x="1770" y="188"/>
                  </a:lnTo>
                  <a:lnTo>
                    <a:pt x="1764" y="188"/>
                  </a:lnTo>
                  <a:lnTo>
                    <a:pt x="1758" y="188"/>
                  </a:lnTo>
                  <a:lnTo>
                    <a:pt x="1758" y="194"/>
                  </a:lnTo>
                  <a:lnTo>
                    <a:pt x="1758" y="194"/>
                  </a:lnTo>
                  <a:lnTo>
                    <a:pt x="1758" y="188"/>
                  </a:lnTo>
                  <a:lnTo>
                    <a:pt x="1754" y="188"/>
                  </a:lnTo>
                  <a:lnTo>
                    <a:pt x="1748" y="188"/>
                  </a:lnTo>
                  <a:lnTo>
                    <a:pt x="1748" y="188"/>
                  </a:lnTo>
                  <a:lnTo>
                    <a:pt x="1742" y="188"/>
                  </a:lnTo>
                  <a:lnTo>
                    <a:pt x="1742" y="188"/>
                  </a:lnTo>
                  <a:lnTo>
                    <a:pt x="1736" y="188"/>
                  </a:lnTo>
                  <a:lnTo>
                    <a:pt x="1736" y="182"/>
                  </a:lnTo>
                  <a:lnTo>
                    <a:pt x="1736" y="180"/>
                  </a:lnTo>
                  <a:lnTo>
                    <a:pt x="1742" y="180"/>
                  </a:lnTo>
                  <a:lnTo>
                    <a:pt x="1748" y="180"/>
                  </a:lnTo>
                  <a:lnTo>
                    <a:pt x="1742" y="180"/>
                  </a:lnTo>
                  <a:lnTo>
                    <a:pt x="1742" y="174"/>
                  </a:lnTo>
                  <a:lnTo>
                    <a:pt x="1736" y="174"/>
                  </a:lnTo>
                  <a:lnTo>
                    <a:pt x="1736" y="180"/>
                  </a:lnTo>
                  <a:lnTo>
                    <a:pt x="1732" y="180"/>
                  </a:lnTo>
                  <a:lnTo>
                    <a:pt x="1732" y="180"/>
                  </a:lnTo>
                  <a:lnTo>
                    <a:pt x="1732" y="180"/>
                  </a:lnTo>
                  <a:lnTo>
                    <a:pt x="1732" y="182"/>
                  </a:lnTo>
                  <a:lnTo>
                    <a:pt x="1732" y="182"/>
                  </a:lnTo>
                  <a:lnTo>
                    <a:pt x="1732" y="188"/>
                  </a:lnTo>
                  <a:lnTo>
                    <a:pt x="1736" y="188"/>
                  </a:lnTo>
                  <a:lnTo>
                    <a:pt x="1742" y="188"/>
                  </a:lnTo>
                  <a:lnTo>
                    <a:pt x="1748" y="188"/>
                  </a:lnTo>
                  <a:lnTo>
                    <a:pt x="1748" y="194"/>
                  </a:lnTo>
                  <a:lnTo>
                    <a:pt x="1754" y="194"/>
                  </a:lnTo>
                  <a:lnTo>
                    <a:pt x="1748" y="200"/>
                  </a:lnTo>
                  <a:lnTo>
                    <a:pt x="1748" y="194"/>
                  </a:lnTo>
                  <a:lnTo>
                    <a:pt x="1748" y="194"/>
                  </a:lnTo>
                  <a:lnTo>
                    <a:pt x="1748" y="200"/>
                  </a:lnTo>
                  <a:lnTo>
                    <a:pt x="1742" y="200"/>
                  </a:lnTo>
                  <a:lnTo>
                    <a:pt x="1742" y="194"/>
                  </a:lnTo>
                  <a:lnTo>
                    <a:pt x="1736" y="194"/>
                  </a:lnTo>
                  <a:lnTo>
                    <a:pt x="1736" y="200"/>
                  </a:lnTo>
                  <a:lnTo>
                    <a:pt x="1742" y="200"/>
                  </a:lnTo>
                  <a:lnTo>
                    <a:pt x="1736" y="200"/>
                  </a:lnTo>
                  <a:lnTo>
                    <a:pt x="1736" y="200"/>
                  </a:lnTo>
                  <a:lnTo>
                    <a:pt x="1736" y="200"/>
                  </a:lnTo>
                  <a:lnTo>
                    <a:pt x="1736" y="200"/>
                  </a:lnTo>
                  <a:close/>
                  <a:moveTo>
                    <a:pt x="1878" y="168"/>
                  </a:moveTo>
                  <a:lnTo>
                    <a:pt x="1878" y="162"/>
                  </a:lnTo>
                  <a:lnTo>
                    <a:pt x="1884" y="162"/>
                  </a:lnTo>
                  <a:lnTo>
                    <a:pt x="1884" y="168"/>
                  </a:lnTo>
                  <a:lnTo>
                    <a:pt x="1878" y="168"/>
                  </a:lnTo>
                  <a:lnTo>
                    <a:pt x="1878" y="168"/>
                  </a:lnTo>
                  <a:lnTo>
                    <a:pt x="1878" y="168"/>
                  </a:lnTo>
                  <a:lnTo>
                    <a:pt x="1878" y="168"/>
                  </a:lnTo>
                  <a:close/>
                  <a:moveTo>
                    <a:pt x="1716" y="168"/>
                  </a:moveTo>
                  <a:lnTo>
                    <a:pt x="1716" y="162"/>
                  </a:lnTo>
                  <a:lnTo>
                    <a:pt x="1716" y="168"/>
                  </a:lnTo>
                  <a:lnTo>
                    <a:pt x="1716" y="168"/>
                  </a:lnTo>
                  <a:lnTo>
                    <a:pt x="1716" y="168"/>
                  </a:lnTo>
                  <a:lnTo>
                    <a:pt x="1716" y="168"/>
                  </a:lnTo>
                  <a:close/>
                  <a:moveTo>
                    <a:pt x="1098" y="168"/>
                  </a:moveTo>
                  <a:lnTo>
                    <a:pt x="1092" y="168"/>
                  </a:lnTo>
                  <a:lnTo>
                    <a:pt x="1092" y="168"/>
                  </a:lnTo>
                  <a:lnTo>
                    <a:pt x="1088" y="168"/>
                  </a:lnTo>
                  <a:lnTo>
                    <a:pt x="1088" y="168"/>
                  </a:lnTo>
                  <a:lnTo>
                    <a:pt x="1098" y="168"/>
                  </a:lnTo>
                  <a:lnTo>
                    <a:pt x="1098" y="168"/>
                  </a:lnTo>
                  <a:lnTo>
                    <a:pt x="1098" y="168"/>
                  </a:lnTo>
                  <a:lnTo>
                    <a:pt x="1098" y="168"/>
                  </a:lnTo>
                  <a:close/>
                  <a:moveTo>
                    <a:pt x="898" y="168"/>
                  </a:moveTo>
                  <a:lnTo>
                    <a:pt x="892" y="168"/>
                  </a:lnTo>
                  <a:lnTo>
                    <a:pt x="886" y="168"/>
                  </a:lnTo>
                  <a:lnTo>
                    <a:pt x="880" y="168"/>
                  </a:lnTo>
                  <a:lnTo>
                    <a:pt x="886" y="168"/>
                  </a:lnTo>
                  <a:lnTo>
                    <a:pt x="886" y="168"/>
                  </a:lnTo>
                  <a:lnTo>
                    <a:pt x="892" y="168"/>
                  </a:lnTo>
                  <a:lnTo>
                    <a:pt x="892" y="168"/>
                  </a:lnTo>
                  <a:lnTo>
                    <a:pt x="898" y="168"/>
                  </a:lnTo>
                  <a:lnTo>
                    <a:pt x="898" y="168"/>
                  </a:lnTo>
                  <a:lnTo>
                    <a:pt x="898" y="168"/>
                  </a:lnTo>
                  <a:lnTo>
                    <a:pt x="898" y="168"/>
                  </a:lnTo>
                  <a:lnTo>
                    <a:pt x="898" y="168"/>
                  </a:lnTo>
                  <a:lnTo>
                    <a:pt x="898" y="168"/>
                  </a:lnTo>
                  <a:close/>
                  <a:moveTo>
                    <a:pt x="876" y="168"/>
                  </a:moveTo>
                  <a:lnTo>
                    <a:pt x="880" y="168"/>
                  </a:lnTo>
                  <a:lnTo>
                    <a:pt x="880" y="168"/>
                  </a:lnTo>
                  <a:lnTo>
                    <a:pt x="880" y="168"/>
                  </a:lnTo>
                  <a:lnTo>
                    <a:pt x="876" y="168"/>
                  </a:lnTo>
                  <a:lnTo>
                    <a:pt x="872" y="168"/>
                  </a:lnTo>
                  <a:lnTo>
                    <a:pt x="876" y="168"/>
                  </a:lnTo>
                  <a:lnTo>
                    <a:pt x="876" y="168"/>
                  </a:lnTo>
                  <a:lnTo>
                    <a:pt x="876" y="168"/>
                  </a:lnTo>
                  <a:lnTo>
                    <a:pt x="876" y="168"/>
                  </a:lnTo>
                  <a:close/>
                  <a:moveTo>
                    <a:pt x="1640" y="182"/>
                  </a:moveTo>
                  <a:lnTo>
                    <a:pt x="1640" y="180"/>
                  </a:lnTo>
                  <a:lnTo>
                    <a:pt x="1640" y="180"/>
                  </a:lnTo>
                  <a:lnTo>
                    <a:pt x="1640" y="180"/>
                  </a:lnTo>
                  <a:lnTo>
                    <a:pt x="1640" y="180"/>
                  </a:lnTo>
                  <a:lnTo>
                    <a:pt x="1640" y="174"/>
                  </a:lnTo>
                  <a:lnTo>
                    <a:pt x="1640" y="168"/>
                  </a:lnTo>
                  <a:lnTo>
                    <a:pt x="1640" y="174"/>
                  </a:lnTo>
                  <a:lnTo>
                    <a:pt x="1644" y="180"/>
                  </a:lnTo>
                  <a:lnTo>
                    <a:pt x="1650" y="180"/>
                  </a:lnTo>
                  <a:lnTo>
                    <a:pt x="1644" y="180"/>
                  </a:lnTo>
                  <a:lnTo>
                    <a:pt x="1644" y="182"/>
                  </a:lnTo>
                  <a:lnTo>
                    <a:pt x="1640" y="182"/>
                  </a:lnTo>
                  <a:lnTo>
                    <a:pt x="1640" y="182"/>
                  </a:lnTo>
                  <a:lnTo>
                    <a:pt x="1640" y="182"/>
                  </a:lnTo>
                  <a:lnTo>
                    <a:pt x="1640" y="182"/>
                  </a:lnTo>
                  <a:lnTo>
                    <a:pt x="1640" y="182"/>
                  </a:lnTo>
                  <a:close/>
                  <a:moveTo>
                    <a:pt x="1790" y="180"/>
                  </a:moveTo>
                  <a:lnTo>
                    <a:pt x="1790" y="180"/>
                  </a:lnTo>
                  <a:lnTo>
                    <a:pt x="1796" y="180"/>
                  </a:lnTo>
                  <a:lnTo>
                    <a:pt x="1790" y="182"/>
                  </a:lnTo>
                  <a:lnTo>
                    <a:pt x="1796" y="182"/>
                  </a:lnTo>
                  <a:lnTo>
                    <a:pt x="1802" y="182"/>
                  </a:lnTo>
                  <a:lnTo>
                    <a:pt x="1802" y="182"/>
                  </a:lnTo>
                  <a:lnTo>
                    <a:pt x="1802" y="182"/>
                  </a:lnTo>
                  <a:lnTo>
                    <a:pt x="1802" y="182"/>
                  </a:lnTo>
                  <a:lnTo>
                    <a:pt x="1808" y="182"/>
                  </a:lnTo>
                  <a:lnTo>
                    <a:pt x="1808" y="180"/>
                  </a:lnTo>
                  <a:lnTo>
                    <a:pt x="1808" y="182"/>
                  </a:lnTo>
                  <a:lnTo>
                    <a:pt x="1814" y="182"/>
                  </a:lnTo>
                  <a:lnTo>
                    <a:pt x="1814" y="182"/>
                  </a:lnTo>
                  <a:lnTo>
                    <a:pt x="1818" y="182"/>
                  </a:lnTo>
                  <a:lnTo>
                    <a:pt x="1824" y="182"/>
                  </a:lnTo>
                  <a:lnTo>
                    <a:pt x="1818" y="182"/>
                  </a:lnTo>
                  <a:lnTo>
                    <a:pt x="1818" y="188"/>
                  </a:lnTo>
                  <a:lnTo>
                    <a:pt x="1824" y="188"/>
                  </a:lnTo>
                  <a:lnTo>
                    <a:pt x="1830" y="188"/>
                  </a:lnTo>
                  <a:lnTo>
                    <a:pt x="1830" y="188"/>
                  </a:lnTo>
                  <a:lnTo>
                    <a:pt x="1836" y="188"/>
                  </a:lnTo>
                  <a:lnTo>
                    <a:pt x="1842" y="188"/>
                  </a:lnTo>
                  <a:lnTo>
                    <a:pt x="1842" y="188"/>
                  </a:lnTo>
                  <a:lnTo>
                    <a:pt x="1844" y="188"/>
                  </a:lnTo>
                  <a:lnTo>
                    <a:pt x="1850" y="188"/>
                  </a:lnTo>
                  <a:lnTo>
                    <a:pt x="1850" y="188"/>
                  </a:lnTo>
                  <a:lnTo>
                    <a:pt x="1856" y="188"/>
                  </a:lnTo>
                  <a:lnTo>
                    <a:pt x="1850" y="188"/>
                  </a:lnTo>
                  <a:lnTo>
                    <a:pt x="1850" y="194"/>
                  </a:lnTo>
                  <a:lnTo>
                    <a:pt x="1850" y="200"/>
                  </a:lnTo>
                  <a:lnTo>
                    <a:pt x="1850" y="200"/>
                  </a:lnTo>
                  <a:lnTo>
                    <a:pt x="1844" y="200"/>
                  </a:lnTo>
                  <a:lnTo>
                    <a:pt x="1842" y="200"/>
                  </a:lnTo>
                  <a:lnTo>
                    <a:pt x="1842" y="200"/>
                  </a:lnTo>
                  <a:lnTo>
                    <a:pt x="1836" y="200"/>
                  </a:lnTo>
                  <a:lnTo>
                    <a:pt x="1830" y="200"/>
                  </a:lnTo>
                  <a:lnTo>
                    <a:pt x="1830" y="200"/>
                  </a:lnTo>
                  <a:lnTo>
                    <a:pt x="1824" y="200"/>
                  </a:lnTo>
                  <a:lnTo>
                    <a:pt x="1818" y="200"/>
                  </a:lnTo>
                  <a:lnTo>
                    <a:pt x="1814" y="200"/>
                  </a:lnTo>
                  <a:lnTo>
                    <a:pt x="1814" y="200"/>
                  </a:lnTo>
                  <a:lnTo>
                    <a:pt x="1814" y="194"/>
                  </a:lnTo>
                  <a:lnTo>
                    <a:pt x="1808" y="194"/>
                  </a:lnTo>
                  <a:lnTo>
                    <a:pt x="1802" y="194"/>
                  </a:lnTo>
                  <a:lnTo>
                    <a:pt x="1802" y="194"/>
                  </a:lnTo>
                  <a:lnTo>
                    <a:pt x="1802" y="188"/>
                  </a:lnTo>
                  <a:lnTo>
                    <a:pt x="1796" y="188"/>
                  </a:lnTo>
                  <a:lnTo>
                    <a:pt x="1790" y="188"/>
                  </a:lnTo>
                  <a:lnTo>
                    <a:pt x="1790" y="188"/>
                  </a:lnTo>
                  <a:lnTo>
                    <a:pt x="1790" y="188"/>
                  </a:lnTo>
                  <a:lnTo>
                    <a:pt x="1786" y="188"/>
                  </a:lnTo>
                  <a:lnTo>
                    <a:pt x="1790" y="188"/>
                  </a:lnTo>
                  <a:lnTo>
                    <a:pt x="1790" y="182"/>
                  </a:lnTo>
                  <a:lnTo>
                    <a:pt x="1790" y="180"/>
                  </a:lnTo>
                  <a:lnTo>
                    <a:pt x="1790" y="180"/>
                  </a:lnTo>
                  <a:lnTo>
                    <a:pt x="1790" y="180"/>
                  </a:lnTo>
                  <a:lnTo>
                    <a:pt x="1790" y="180"/>
                  </a:lnTo>
                  <a:lnTo>
                    <a:pt x="1790" y="180"/>
                  </a:lnTo>
                  <a:close/>
                  <a:moveTo>
                    <a:pt x="880" y="180"/>
                  </a:moveTo>
                  <a:lnTo>
                    <a:pt x="880" y="180"/>
                  </a:lnTo>
                  <a:lnTo>
                    <a:pt x="880" y="182"/>
                  </a:lnTo>
                  <a:lnTo>
                    <a:pt x="880" y="182"/>
                  </a:lnTo>
                  <a:lnTo>
                    <a:pt x="880" y="182"/>
                  </a:lnTo>
                  <a:lnTo>
                    <a:pt x="880" y="188"/>
                  </a:lnTo>
                  <a:lnTo>
                    <a:pt x="880" y="182"/>
                  </a:lnTo>
                  <a:lnTo>
                    <a:pt x="876" y="182"/>
                  </a:lnTo>
                  <a:lnTo>
                    <a:pt x="876" y="188"/>
                  </a:lnTo>
                  <a:lnTo>
                    <a:pt x="872" y="182"/>
                  </a:lnTo>
                  <a:lnTo>
                    <a:pt x="876" y="182"/>
                  </a:lnTo>
                  <a:lnTo>
                    <a:pt x="876" y="180"/>
                  </a:lnTo>
                  <a:lnTo>
                    <a:pt x="876" y="182"/>
                  </a:lnTo>
                  <a:lnTo>
                    <a:pt x="880" y="182"/>
                  </a:lnTo>
                  <a:lnTo>
                    <a:pt x="880" y="180"/>
                  </a:lnTo>
                  <a:lnTo>
                    <a:pt x="880" y="180"/>
                  </a:lnTo>
                  <a:lnTo>
                    <a:pt x="880" y="180"/>
                  </a:lnTo>
                  <a:lnTo>
                    <a:pt x="880" y="180"/>
                  </a:lnTo>
                  <a:lnTo>
                    <a:pt x="880" y="180"/>
                  </a:lnTo>
                  <a:close/>
                  <a:moveTo>
                    <a:pt x="952" y="194"/>
                  </a:moveTo>
                  <a:lnTo>
                    <a:pt x="958" y="194"/>
                  </a:lnTo>
                  <a:lnTo>
                    <a:pt x="952" y="194"/>
                  </a:lnTo>
                  <a:lnTo>
                    <a:pt x="952" y="200"/>
                  </a:lnTo>
                  <a:lnTo>
                    <a:pt x="952" y="194"/>
                  </a:lnTo>
                  <a:lnTo>
                    <a:pt x="946" y="194"/>
                  </a:lnTo>
                  <a:lnTo>
                    <a:pt x="946" y="200"/>
                  </a:lnTo>
                  <a:lnTo>
                    <a:pt x="952" y="200"/>
                  </a:lnTo>
                  <a:lnTo>
                    <a:pt x="946" y="200"/>
                  </a:lnTo>
                  <a:lnTo>
                    <a:pt x="946" y="200"/>
                  </a:lnTo>
                  <a:lnTo>
                    <a:pt x="940" y="200"/>
                  </a:lnTo>
                  <a:lnTo>
                    <a:pt x="940" y="194"/>
                  </a:lnTo>
                  <a:lnTo>
                    <a:pt x="946" y="194"/>
                  </a:lnTo>
                  <a:lnTo>
                    <a:pt x="946" y="200"/>
                  </a:lnTo>
                  <a:lnTo>
                    <a:pt x="946" y="194"/>
                  </a:lnTo>
                  <a:lnTo>
                    <a:pt x="946" y="194"/>
                  </a:lnTo>
                  <a:lnTo>
                    <a:pt x="946" y="194"/>
                  </a:lnTo>
                  <a:lnTo>
                    <a:pt x="952" y="194"/>
                  </a:lnTo>
                  <a:lnTo>
                    <a:pt x="952" y="194"/>
                  </a:lnTo>
                  <a:lnTo>
                    <a:pt x="952" y="194"/>
                  </a:lnTo>
                  <a:lnTo>
                    <a:pt x="952" y="194"/>
                  </a:lnTo>
                  <a:close/>
                  <a:moveTo>
                    <a:pt x="930" y="200"/>
                  </a:moveTo>
                  <a:lnTo>
                    <a:pt x="930" y="200"/>
                  </a:lnTo>
                  <a:lnTo>
                    <a:pt x="930" y="200"/>
                  </a:lnTo>
                  <a:lnTo>
                    <a:pt x="930" y="200"/>
                  </a:lnTo>
                  <a:lnTo>
                    <a:pt x="926" y="200"/>
                  </a:lnTo>
                  <a:lnTo>
                    <a:pt x="926" y="200"/>
                  </a:lnTo>
                  <a:lnTo>
                    <a:pt x="930" y="200"/>
                  </a:lnTo>
                  <a:lnTo>
                    <a:pt x="930" y="200"/>
                  </a:lnTo>
                  <a:lnTo>
                    <a:pt x="930" y="200"/>
                  </a:lnTo>
                  <a:lnTo>
                    <a:pt x="930" y="200"/>
                  </a:lnTo>
                  <a:close/>
                  <a:moveTo>
                    <a:pt x="838" y="206"/>
                  </a:moveTo>
                  <a:lnTo>
                    <a:pt x="844" y="206"/>
                  </a:lnTo>
                  <a:lnTo>
                    <a:pt x="844" y="200"/>
                  </a:lnTo>
                  <a:lnTo>
                    <a:pt x="844" y="206"/>
                  </a:lnTo>
                  <a:lnTo>
                    <a:pt x="850" y="206"/>
                  </a:lnTo>
                  <a:lnTo>
                    <a:pt x="844" y="206"/>
                  </a:lnTo>
                  <a:lnTo>
                    <a:pt x="838" y="206"/>
                  </a:lnTo>
                  <a:lnTo>
                    <a:pt x="838" y="206"/>
                  </a:lnTo>
                  <a:lnTo>
                    <a:pt x="838" y="206"/>
                  </a:lnTo>
                  <a:lnTo>
                    <a:pt x="838" y="206"/>
                  </a:lnTo>
                  <a:close/>
                  <a:moveTo>
                    <a:pt x="930" y="206"/>
                  </a:moveTo>
                  <a:lnTo>
                    <a:pt x="930" y="210"/>
                  </a:lnTo>
                  <a:lnTo>
                    <a:pt x="926" y="210"/>
                  </a:lnTo>
                  <a:lnTo>
                    <a:pt x="926" y="206"/>
                  </a:lnTo>
                  <a:lnTo>
                    <a:pt x="930" y="206"/>
                  </a:lnTo>
                  <a:lnTo>
                    <a:pt x="930" y="206"/>
                  </a:lnTo>
                  <a:lnTo>
                    <a:pt x="930" y="206"/>
                  </a:lnTo>
                  <a:lnTo>
                    <a:pt x="930" y="206"/>
                  </a:lnTo>
                  <a:lnTo>
                    <a:pt x="930" y="206"/>
                  </a:lnTo>
                  <a:close/>
                  <a:moveTo>
                    <a:pt x="1314" y="216"/>
                  </a:moveTo>
                  <a:lnTo>
                    <a:pt x="1314" y="216"/>
                  </a:lnTo>
                  <a:lnTo>
                    <a:pt x="1308" y="216"/>
                  </a:lnTo>
                  <a:lnTo>
                    <a:pt x="1304" y="216"/>
                  </a:lnTo>
                  <a:lnTo>
                    <a:pt x="1304" y="216"/>
                  </a:lnTo>
                  <a:lnTo>
                    <a:pt x="1304" y="216"/>
                  </a:lnTo>
                  <a:lnTo>
                    <a:pt x="1300" y="216"/>
                  </a:lnTo>
                  <a:lnTo>
                    <a:pt x="1300" y="210"/>
                  </a:lnTo>
                  <a:lnTo>
                    <a:pt x="1304" y="210"/>
                  </a:lnTo>
                  <a:lnTo>
                    <a:pt x="1304" y="210"/>
                  </a:lnTo>
                  <a:lnTo>
                    <a:pt x="1304" y="206"/>
                  </a:lnTo>
                  <a:lnTo>
                    <a:pt x="1308" y="206"/>
                  </a:lnTo>
                  <a:lnTo>
                    <a:pt x="1314" y="206"/>
                  </a:lnTo>
                  <a:lnTo>
                    <a:pt x="1320" y="206"/>
                  </a:lnTo>
                  <a:lnTo>
                    <a:pt x="1326" y="206"/>
                  </a:lnTo>
                  <a:lnTo>
                    <a:pt x="1326" y="210"/>
                  </a:lnTo>
                  <a:lnTo>
                    <a:pt x="1326" y="216"/>
                  </a:lnTo>
                  <a:lnTo>
                    <a:pt x="1320" y="216"/>
                  </a:lnTo>
                  <a:lnTo>
                    <a:pt x="1320" y="216"/>
                  </a:lnTo>
                  <a:lnTo>
                    <a:pt x="1314" y="216"/>
                  </a:lnTo>
                  <a:lnTo>
                    <a:pt x="1314" y="216"/>
                  </a:lnTo>
                  <a:lnTo>
                    <a:pt x="1314" y="216"/>
                  </a:lnTo>
                  <a:lnTo>
                    <a:pt x="1314" y="216"/>
                  </a:lnTo>
                  <a:close/>
                  <a:moveTo>
                    <a:pt x="920" y="206"/>
                  </a:moveTo>
                  <a:lnTo>
                    <a:pt x="920" y="206"/>
                  </a:lnTo>
                  <a:lnTo>
                    <a:pt x="920" y="210"/>
                  </a:lnTo>
                  <a:lnTo>
                    <a:pt x="920" y="210"/>
                  </a:lnTo>
                  <a:lnTo>
                    <a:pt x="920" y="210"/>
                  </a:lnTo>
                  <a:lnTo>
                    <a:pt x="920" y="210"/>
                  </a:lnTo>
                  <a:lnTo>
                    <a:pt x="914" y="210"/>
                  </a:lnTo>
                  <a:lnTo>
                    <a:pt x="920" y="210"/>
                  </a:lnTo>
                  <a:lnTo>
                    <a:pt x="920" y="206"/>
                  </a:lnTo>
                  <a:lnTo>
                    <a:pt x="920" y="206"/>
                  </a:lnTo>
                  <a:lnTo>
                    <a:pt x="920" y="206"/>
                  </a:lnTo>
                  <a:lnTo>
                    <a:pt x="920" y="206"/>
                  </a:lnTo>
                  <a:close/>
                  <a:moveTo>
                    <a:pt x="1362" y="216"/>
                  </a:moveTo>
                  <a:lnTo>
                    <a:pt x="1362" y="210"/>
                  </a:lnTo>
                  <a:lnTo>
                    <a:pt x="1362" y="210"/>
                  </a:lnTo>
                  <a:lnTo>
                    <a:pt x="1362" y="216"/>
                  </a:lnTo>
                  <a:lnTo>
                    <a:pt x="1362" y="216"/>
                  </a:lnTo>
                  <a:lnTo>
                    <a:pt x="1362" y="216"/>
                  </a:lnTo>
                  <a:lnTo>
                    <a:pt x="1362" y="216"/>
                  </a:lnTo>
                  <a:lnTo>
                    <a:pt x="1362" y="216"/>
                  </a:lnTo>
                  <a:close/>
                  <a:moveTo>
                    <a:pt x="1710" y="228"/>
                  </a:moveTo>
                  <a:lnTo>
                    <a:pt x="1710" y="222"/>
                  </a:lnTo>
                  <a:lnTo>
                    <a:pt x="1704" y="222"/>
                  </a:lnTo>
                  <a:lnTo>
                    <a:pt x="1704" y="216"/>
                  </a:lnTo>
                  <a:lnTo>
                    <a:pt x="1704" y="216"/>
                  </a:lnTo>
                  <a:lnTo>
                    <a:pt x="1710" y="216"/>
                  </a:lnTo>
                  <a:lnTo>
                    <a:pt x="1710" y="216"/>
                  </a:lnTo>
                  <a:lnTo>
                    <a:pt x="1716" y="216"/>
                  </a:lnTo>
                  <a:lnTo>
                    <a:pt x="1722" y="216"/>
                  </a:lnTo>
                  <a:lnTo>
                    <a:pt x="1716" y="216"/>
                  </a:lnTo>
                  <a:lnTo>
                    <a:pt x="1716" y="222"/>
                  </a:lnTo>
                  <a:lnTo>
                    <a:pt x="1710" y="222"/>
                  </a:lnTo>
                  <a:lnTo>
                    <a:pt x="1710" y="222"/>
                  </a:lnTo>
                  <a:lnTo>
                    <a:pt x="1710" y="228"/>
                  </a:lnTo>
                  <a:lnTo>
                    <a:pt x="1710" y="228"/>
                  </a:lnTo>
                  <a:lnTo>
                    <a:pt x="1710" y="228"/>
                  </a:lnTo>
                  <a:lnTo>
                    <a:pt x="1710" y="228"/>
                  </a:lnTo>
                  <a:close/>
                  <a:moveTo>
                    <a:pt x="1640" y="216"/>
                  </a:moveTo>
                  <a:lnTo>
                    <a:pt x="1640" y="216"/>
                  </a:lnTo>
                  <a:lnTo>
                    <a:pt x="1644" y="216"/>
                  </a:lnTo>
                  <a:lnTo>
                    <a:pt x="1650" y="222"/>
                  </a:lnTo>
                  <a:lnTo>
                    <a:pt x="1650" y="228"/>
                  </a:lnTo>
                  <a:lnTo>
                    <a:pt x="1644" y="228"/>
                  </a:lnTo>
                  <a:lnTo>
                    <a:pt x="1644" y="222"/>
                  </a:lnTo>
                  <a:lnTo>
                    <a:pt x="1640" y="222"/>
                  </a:lnTo>
                  <a:lnTo>
                    <a:pt x="1640" y="216"/>
                  </a:lnTo>
                  <a:lnTo>
                    <a:pt x="1640" y="216"/>
                  </a:lnTo>
                  <a:lnTo>
                    <a:pt x="1640" y="216"/>
                  </a:lnTo>
                  <a:lnTo>
                    <a:pt x="1640" y="216"/>
                  </a:lnTo>
                  <a:lnTo>
                    <a:pt x="1640" y="216"/>
                  </a:lnTo>
                  <a:lnTo>
                    <a:pt x="1640" y="216"/>
                  </a:lnTo>
                  <a:close/>
                  <a:moveTo>
                    <a:pt x="886" y="216"/>
                  </a:moveTo>
                  <a:lnTo>
                    <a:pt x="892" y="216"/>
                  </a:lnTo>
                  <a:lnTo>
                    <a:pt x="892" y="222"/>
                  </a:lnTo>
                  <a:lnTo>
                    <a:pt x="886" y="222"/>
                  </a:lnTo>
                  <a:lnTo>
                    <a:pt x="886" y="216"/>
                  </a:lnTo>
                  <a:lnTo>
                    <a:pt x="880" y="216"/>
                  </a:lnTo>
                  <a:lnTo>
                    <a:pt x="886" y="216"/>
                  </a:lnTo>
                  <a:lnTo>
                    <a:pt x="886" y="216"/>
                  </a:lnTo>
                  <a:lnTo>
                    <a:pt x="886" y="216"/>
                  </a:lnTo>
                  <a:lnTo>
                    <a:pt x="886" y="216"/>
                  </a:lnTo>
                  <a:close/>
                  <a:moveTo>
                    <a:pt x="892" y="216"/>
                  </a:moveTo>
                  <a:lnTo>
                    <a:pt x="898" y="216"/>
                  </a:lnTo>
                  <a:lnTo>
                    <a:pt x="898" y="216"/>
                  </a:lnTo>
                  <a:lnTo>
                    <a:pt x="904" y="216"/>
                  </a:lnTo>
                  <a:lnTo>
                    <a:pt x="898" y="216"/>
                  </a:lnTo>
                  <a:lnTo>
                    <a:pt x="898" y="222"/>
                  </a:lnTo>
                  <a:lnTo>
                    <a:pt x="904" y="222"/>
                  </a:lnTo>
                  <a:lnTo>
                    <a:pt x="898" y="222"/>
                  </a:lnTo>
                  <a:lnTo>
                    <a:pt x="898" y="216"/>
                  </a:lnTo>
                  <a:lnTo>
                    <a:pt x="898" y="216"/>
                  </a:lnTo>
                  <a:lnTo>
                    <a:pt x="892" y="216"/>
                  </a:lnTo>
                  <a:lnTo>
                    <a:pt x="892" y="216"/>
                  </a:lnTo>
                  <a:lnTo>
                    <a:pt x="892" y="216"/>
                  </a:lnTo>
                  <a:lnTo>
                    <a:pt x="892" y="216"/>
                  </a:lnTo>
                  <a:close/>
                  <a:moveTo>
                    <a:pt x="908" y="222"/>
                  </a:moveTo>
                  <a:lnTo>
                    <a:pt x="914" y="222"/>
                  </a:lnTo>
                  <a:lnTo>
                    <a:pt x="908" y="222"/>
                  </a:lnTo>
                  <a:lnTo>
                    <a:pt x="908" y="222"/>
                  </a:lnTo>
                  <a:lnTo>
                    <a:pt x="908" y="222"/>
                  </a:lnTo>
                  <a:lnTo>
                    <a:pt x="908" y="222"/>
                  </a:lnTo>
                  <a:lnTo>
                    <a:pt x="908" y="222"/>
                  </a:lnTo>
                  <a:lnTo>
                    <a:pt x="908" y="222"/>
                  </a:lnTo>
                  <a:close/>
                  <a:moveTo>
                    <a:pt x="1482" y="228"/>
                  </a:moveTo>
                  <a:lnTo>
                    <a:pt x="1482" y="222"/>
                  </a:lnTo>
                  <a:lnTo>
                    <a:pt x="1482" y="222"/>
                  </a:lnTo>
                  <a:lnTo>
                    <a:pt x="1482" y="222"/>
                  </a:lnTo>
                  <a:lnTo>
                    <a:pt x="1482" y="228"/>
                  </a:lnTo>
                  <a:lnTo>
                    <a:pt x="1482" y="228"/>
                  </a:lnTo>
                  <a:lnTo>
                    <a:pt x="1482" y="228"/>
                  </a:lnTo>
                  <a:lnTo>
                    <a:pt x="1482" y="228"/>
                  </a:lnTo>
                  <a:lnTo>
                    <a:pt x="1482" y="228"/>
                  </a:lnTo>
                  <a:lnTo>
                    <a:pt x="1482" y="228"/>
                  </a:lnTo>
                  <a:close/>
                  <a:moveTo>
                    <a:pt x="1722" y="228"/>
                  </a:moveTo>
                  <a:lnTo>
                    <a:pt x="1722" y="228"/>
                  </a:lnTo>
                  <a:lnTo>
                    <a:pt x="1728" y="228"/>
                  </a:lnTo>
                  <a:lnTo>
                    <a:pt x="1732" y="228"/>
                  </a:lnTo>
                  <a:lnTo>
                    <a:pt x="1732" y="228"/>
                  </a:lnTo>
                  <a:lnTo>
                    <a:pt x="1736" y="228"/>
                  </a:lnTo>
                  <a:lnTo>
                    <a:pt x="1742" y="228"/>
                  </a:lnTo>
                  <a:lnTo>
                    <a:pt x="1748" y="228"/>
                  </a:lnTo>
                  <a:lnTo>
                    <a:pt x="1748" y="234"/>
                  </a:lnTo>
                  <a:lnTo>
                    <a:pt x="1748" y="234"/>
                  </a:lnTo>
                  <a:lnTo>
                    <a:pt x="1748" y="238"/>
                  </a:lnTo>
                  <a:lnTo>
                    <a:pt x="1754" y="238"/>
                  </a:lnTo>
                  <a:lnTo>
                    <a:pt x="1748" y="238"/>
                  </a:lnTo>
                  <a:lnTo>
                    <a:pt x="1748" y="238"/>
                  </a:lnTo>
                  <a:lnTo>
                    <a:pt x="1754" y="238"/>
                  </a:lnTo>
                  <a:lnTo>
                    <a:pt x="1748" y="242"/>
                  </a:lnTo>
                  <a:lnTo>
                    <a:pt x="1748" y="242"/>
                  </a:lnTo>
                  <a:lnTo>
                    <a:pt x="1742" y="238"/>
                  </a:lnTo>
                  <a:lnTo>
                    <a:pt x="1736" y="238"/>
                  </a:lnTo>
                  <a:lnTo>
                    <a:pt x="1732" y="238"/>
                  </a:lnTo>
                  <a:lnTo>
                    <a:pt x="1732" y="238"/>
                  </a:lnTo>
                  <a:lnTo>
                    <a:pt x="1728" y="238"/>
                  </a:lnTo>
                  <a:lnTo>
                    <a:pt x="1722" y="238"/>
                  </a:lnTo>
                  <a:lnTo>
                    <a:pt x="1722" y="238"/>
                  </a:lnTo>
                  <a:lnTo>
                    <a:pt x="1716" y="238"/>
                  </a:lnTo>
                  <a:lnTo>
                    <a:pt x="1710" y="238"/>
                  </a:lnTo>
                  <a:lnTo>
                    <a:pt x="1710" y="238"/>
                  </a:lnTo>
                  <a:lnTo>
                    <a:pt x="1704" y="238"/>
                  </a:lnTo>
                  <a:lnTo>
                    <a:pt x="1700" y="238"/>
                  </a:lnTo>
                  <a:lnTo>
                    <a:pt x="1700" y="238"/>
                  </a:lnTo>
                  <a:lnTo>
                    <a:pt x="1700" y="238"/>
                  </a:lnTo>
                  <a:lnTo>
                    <a:pt x="1704" y="238"/>
                  </a:lnTo>
                  <a:lnTo>
                    <a:pt x="1710" y="238"/>
                  </a:lnTo>
                  <a:lnTo>
                    <a:pt x="1710" y="234"/>
                  </a:lnTo>
                  <a:lnTo>
                    <a:pt x="1710" y="234"/>
                  </a:lnTo>
                  <a:lnTo>
                    <a:pt x="1710" y="228"/>
                  </a:lnTo>
                  <a:lnTo>
                    <a:pt x="1716" y="228"/>
                  </a:lnTo>
                  <a:lnTo>
                    <a:pt x="1722" y="228"/>
                  </a:lnTo>
                  <a:lnTo>
                    <a:pt x="1722" y="228"/>
                  </a:lnTo>
                  <a:lnTo>
                    <a:pt x="1722" y="228"/>
                  </a:lnTo>
                  <a:lnTo>
                    <a:pt x="1722" y="228"/>
                  </a:lnTo>
                  <a:close/>
                  <a:moveTo>
                    <a:pt x="1500" y="234"/>
                  </a:moveTo>
                  <a:lnTo>
                    <a:pt x="1504" y="234"/>
                  </a:lnTo>
                  <a:lnTo>
                    <a:pt x="1500" y="234"/>
                  </a:lnTo>
                  <a:lnTo>
                    <a:pt x="1500" y="234"/>
                  </a:lnTo>
                  <a:lnTo>
                    <a:pt x="1500" y="234"/>
                  </a:lnTo>
                  <a:lnTo>
                    <a:pt x="1500" y="234"/>
                  </a:lnTo>
                  <a:close/>
                  <a:moveTo>
                    <a:pt x="860" y="238"/>
                  </a:moveTo>
                  <a:lnTo>
                    <a:pt x="854" y="234"/>
                  </a:lnTo>
                  <a:lnTo>
                    <a:pt x="860" y="234"/>
                  </a:lnTo>
                  <a:lnTo>
                    <a:pt x="860" y="238"/>
                  </a:lnTo>
                  <a:lnTo>
                    <a:pt x="860" y="238"/>
                  </a:lnTo>
                  <a:lnTo>
                    <a:pt x="860" y="238"/>
                  </a:lnTo>
                  <a:lnTo>
                    <a:pt x="860" y="238"/>
                  </a:lnTo>
                  <a:close/>
                  <a:moveTo>
                    <a:pt x="1520" y="234"/>
                  </a:moveTo>
                  <a:lnTo>
                    <a:pt x="1526" y="234"/>
                  </a:lnTo>
                  <a:lnTo>
                    <a:pt x="1530" y="234"/>
                  </a:lnTo>
                  <a:lnTo>
                    <a:pt x="1530" y="238"/>
                  </a:lnTo>
                  <a:lnTo>
                    <a:pt x="1530" y="238"/>
                  </a:lnTo>
                  <a:lnTo>
                    <a:pt x="1526" y="234"/>
                  </a:lnTo>
                  <a:lnTo>
                    <a:pt x="1520" y="234"/>
                  </a:lnTo>
                  <a:lnTo>
                    <a:pt x="1520" y="234"/>
                  </a:lnTo>
                  <a:lnTo>
                    <a:pt x="1520" y="234"/>
                  </a:lnTo>
                  <a:lnTo>
                    <a:pt x="1520" y="234"/>
                  </a:lnTo>
                  <a:close/>
                  <a:moveTo>
                    <a:pt x="710" y="248"/>
                  </a:moveTo>
                  <a:lnTo>
                    <a:pt x="710" y="242"/>
                  </a:lnTo>
                  <a:lnTo>
                    <a:pt x="712" y="242"/>
                  </a:lnTo>
                  <a:lnTo>
                    <a:pt x="712" y="238"/>
                  </a:lnTo>
                  <a:lnTo>
                    <a:pt x="712" y="238"/>
                  </a:lnTo>
                  <a:lnTo>
                    <a:pt x="710" y="238"/>
                  </a:lnTo>
                  <a:lnTo>
                    <a:pt x="712" y="238"/>
                  </a:lnTo>
                  <a:lnTo>
                    <a:pt x="718" y="238"/>
                  </a:lnTo>
                  <a:lnTo>
                    <a:pt x="718" y="238"/>
                  </a:lnTo>
                  <a:lnTo>
                    <a:pt x="724" y="234"/>
                  </a:lnTo>
                  <a:lnTo>
                    <a:pt x="730" y="238"/>
                  </a:lnTo>
                  <a:lnTo>
                    <a:pt x="724" y="238"/>
                  </a:lnTo>
                  <a:lnTo>
                    <a:pt x="730" y="238"/>
                  </a:lnTo>
                  <a:lnTo>
                    <a:pt x="730" y="238"/>
                  </a:lnTo>
                  <a:lnTo>
                    <a:pt x="736" y="238"/>
                  </a:lnTo>
                  <a:lnTo>
                    <a:pt x="736" y="242"/>
                  </a:lnTo>
                  <a:lnTo>
                    <a:pt x="730" y="242"/>
                  </a:lnTo>
                  <a:lnTo>
                    <a:pt x="730" y="242"/>
                  </a:lnTo>
                  <a:lnTo>
                    <a:pt x="724" y="242"/>
                  </a:lnTo>
                  <a:lnTo>
                    <a:pt x="718" y="242"/>
                  </a:lnTo>
                  <a:lnTo>
                    <a:pt x="718" y="248"/>
                  </a:lnTo>
                  <a:lnTo>
                    <a:pt x="718" y="248"/>
                  </a:lnTo>
                  <a:lnTo>
                    <a:pt x="712" y="248"/>
                  </a:lnTo>
                  <a:lnTo>
                    <a:pt x="712" y="242"/>
                  </a:lnTo>
                  <a:lnTo>
                    <a:pt x="712" y="248"/>
                  </a:lnTo>
                  <a:lnTo>
                    <a:pt x="710" y="248"/>
                  </a:lnTo>
                  <a:lnTo>
                    <a:pt x="710" y="248"/>
                  </a:lnTo>
                  <a:lnTo>
                    <a:pt x="710" y="248"/>
                  </a:lnTo>
                  <a:lnTo>
                    <a:pt x="710" y="248"/>
                  </a:lnTo>
                  <a:close/>
                  <a:moveTo>
                    <a:pt x="476" y="292"/>
                  </a:moveTo>
                  <a:lnTo>
                    <a:pt x="482" y="288"/>
                  </a:lnTo>
                  <a:lnTo>
                    <a:pt x="486" y="288"/>
                  </a:lnTo>
                  <a:lnTo>
                    <a:pt x="482" y="288"/>
                  </a:lnTo>
                  <a:lnTo>
                    <a:pt x="476" y="288"/>
                  </a:lnTo>
                  <a:lnTo>
                    <a:pt x="476" y="292"/>
                  </a:lnTo>
                  <a:lnTo>
                    <a:pt x="476" y="288"/>
                  </a:lnTo>
                  <a:lnTo>
                    <a:pt x="476" y="288"/>
                  </a:lnTo>
                  <a:lnTo>
                    <a:pt x="476" y="288"/>
                  </a:lnTo>
                  <a:lnTo>
                    <a:pt x="476" y="288"/>
                  </a:lnTo>
                  <a:lnTo>
                    <a:pt x="470" y="288"/>
                  </a:lnTo>
                  <a:lnTo>
                    <a:pt x="464" y="288"/>
                  </a:lnTo>
                  <a:lnTo>
                    <a:pt x="464" y="288"/>
                  </a:lnTo>
                  <a:lnTo>
                    <a:pt x="464" y="288"/>
                  </a:lnTo>
                  <a:lnTo>
                    <a:pt x="464" y="288"/>
                  </a:lnTo>
                  <a:lnTo>
                    <a:pt x="458" y="288"/>
                  </a:lnTo>
                  <a:lnTo>
                    <a:pt x="458" y="288"/>
                  </a:lnTo>
                  <a:lnTo>
                    <a:pt x="458" y="288"/>
                  </a:lnTo>
                  <a:lnTo>
                    <a:pt x="454" y="288"/>
                  </a:lnTo>
                  <a:lnTo>
                    <a:pt x="454" y="288"/>
                  </a:lnTo>
                  <a:lnTo>
                    <a:pt x="448" y="282"/>
                  </a:lnTo>
                  <a:lnTo>
                    <a:pt x="448" y="276"/>
                  </a:lnTo>
                  <a:lnTo>
                    <a:pt x="448" y="276"/>
                  </a:lnTo>
                  <a:lnTo>
                    <a:pt x="454" y="276"/>
                  </a:lnTo>
                  <a:lnTo>
                    <a:pt x="454" y="270"/>
                  </a:lnTo>
                  <a:lnTo>
                    <a:pt x="454" y="270"/>
                  </a:lnTo>
                  <a:lnTo>
                    <a:pt x="458" y="270"/>
                  </a:lnTo>
                  <a:lnTo>
                    <a:pt x="458" y="276"/>
                  </a:lnTo>
                  <a:lnTo>
                    <a:pt x="464" y="276"/>
                  </a:lnTo>
                  <a:lnTo>
                    <a:pt x="464" y="270"/>
                  </a:lnTo>
                  <a:lnTo>
                    <a:pt x="464" y="266"/>
                  </a:lnTo>
                  <a:lnTo>
                    <a:pt x="464" y="266"/>
                  </a:lnTo>
                  <a:lnTo>
                    <a:pt x="464" y="260"/>
                  </a:lnTo>
                  <a:lnTo>
                    <a:pt x="470" y="260"/>
                  </a:lnTo>
                  <a:lnTo>
                    <a:pt x="470" y="260"/>
                  </a:lnTo>
                  <a:lnTo>
                    <a:pt x="464" y="260"/>
                  </a:lnTo>
                  <a:lnTo>
                    <a:pt x="470" y="254"/>
                  </a:lnTo>
                  <a:lnTo>
                    <a:pt x="470" y="260"/>
                  </a:lnTo>
                  <a:lnTo>
                    <a:pt x="476" y="260"/>
                  </a:lnTo>
                  <a:lnTo>
                    <a:pt x="470" y="254"/>
                  </a:lnTo>
                  <a:lnTo>
                    <a:pt x="464" y="254"/>
                  </a:lnTo>
                  <a:lnTo>
                    <a:pt x="464" y="254"/>
                  </a:lnTo>
                  <a:lnTo>
                    <a:pt x="464" y="248"/>
                  </a:lnTo>
                  <a:lnTo>
                    <a:pt x="470" y="248"/>
                  </a:lnTo>
                  <a:lnTo>
                    <a:pt x="476" y="248"/>
                  </a:lnTo>
                  <a:lnTo>
                    <a:pt x="476" y="248"/>
                  </a:lnTo>
                  <a:lnTo>
                    <a:pt x="476" y="248"/>
                  </a:lnTo>
                  <a:lnTo>
                    <a:pt x="476" y="248"/>
                  </a:lnTo>
                  <a:lnTo>
                    <a:pt x="476" y="248"/>
                  </a:lnTo>
                  <a:lnTo>
                    <a:pt x="476" y="248"/>
                  </a:lnTo>
                  <a:lnTo>
                    <a:pt x="476" y="242"/>
                  </a:lnTo>
                  <a:lnTo>
                    <a:pt x="476" y="238"/>
                  </a:lnTo>
                  <a:lnTo>
                    <a:pt x="482" y="238"/>
                  </a:lnTo>
                  <a:lnTo>
                    <a:pt x="486" y="238"/>
                  </a:lnTo>
                  <a:lnTo>
                    <a:pt x="492" y="238"/>
                  </a:lnTo>
                  <a:lnTo>
                    <a:pt x="492" y="238"/>
                  </a:lnTo>
                  <a:lnTo>
                    <a:pt x="492" y="238"/>
                  </a:lnTo>
                  <a:lnTo>
                    <a:pt x="496" y="238"/>
                  </a:lnTo>
                  <a:lnTo>
                    <a:pt x="502" y="238"/>
                  </a:lnTo>
                  <a:lnTo>
                    <a:pt x="502" y="238"/>
                  </a:lnTo>
                  <a:lnTo>
                    <a:pt x="508" y="238"/>
                  </a:lnTo>
                  <a:lnTo>
                    <a:pt x="512" y="238"/>
                  </a:lnTo>
                  <a:lnTo>
                    <a:pt x="512" y="238"/>
                  </a:lnTo>
                  <a:lnTo>
                    <a:pt x="518" y="238"/>
                  </a:lnTo>
                  <a:lnTo>
                    <a:pt x="518" y="242"/>
                  </a:lnTo>
                  <a:lnTo>
                    <a:pt x="524" y="242"/>
                  </a:lnTo>
                  <a:lnTo>
                    <a:pt x="518" y="242"/>
                  </a:lnTo>
                  <a:lnTo>
                    <a:pt x="512" y="242"/>
                  </a:lnTo>
                  <a:lnTo>
                    <a:pt x="512" y="248"/>
                  </a:lnTo>
                  <a:lnTo>
                    <a:pt x="512" y="248"/>
                  </a:lnTo>
                  <a:lnTo>
                    <a:pt x="518" y="248"/>
                  </a:lnTo>
                  <a:lnTo>
                    <a:pt x="512" y="248"/>
                  </a:lnTo>
                  <a:lnTo>
                    <a:pt x="512" y="248"/>
                  </a:lnTo>
                  <a:lnTo>
                    <a:pt x="508" y="248"/>
                  </a:lnTo>
                  <a:lnTo>
                    <a:pt x="512" y="248"/>
                  </a:lnTo>
                  <a:lnTo>
                    <a:pt x="512" y="248"/>
                  </a:lnTo>
                  <a:lnTo>
                    <a:pt x="512" y="248"/>
                  </a:lnTo>
                  <a:lnTo>
                    <a:pt x="512" y="254"/>
                  </a:lnTo>
                  <a:lnTo>
                    <a:pt x="512" y="254"/>
                  </a:lnTo>
                  <a:lnTo>
                    <a:pt x="512" y="248"/>
                  </a:lnTo>
                  <a:lnTo>
                    <a:pt x="512" y="254"/>
                  </a:lnTo>
                  <a:lnTo>
                    <a:pt x="508" y="254"/>
                  </a:lnTo>
                  <a:lnTo>
                    <a:pt x="508" y="248"/>
                  </a:lnTo>
                  <a:lnTo>
                    <a:pt x="502" y="254"/>
                  </a:lnTo>
                  <a:lnTo>
                    <a:pt x="508" y="254"/>
                  </a:lnTo>
                  <a:lnTo>
                    <a:pt x="512" y="254"/>
                  </a:lnTo>
                  <a:lnTo>
                    <a:pt x="508" y="260"/>
                  </a:lnTo>
                  <a:lnTo>
                    <a:pt x="502" y="260"/>
                  </a:lnTo>
                  <a:lnTo>
                    <a:pt x="508" y="260"/>
                  </a:lnTo>
                  <a:lnTo>
                    <a:pt x="508" y="260"/>
                  </a:lnTo>
                  <a:lnTo>
                    <a:pt x="502" y="260"/>
                  </a:lnTo>
                  <a:lnTo>
                    <a:pt x="502" y="260"/>
                  </a:lnTo>
                  <a:lnTo>
                    <a:pt x="502" y="260"/>
                  </a:lnTo>
                  <a:lnTo>
                    <a:pt x="508" y="260"/>
                  </a:lnTo>
                  <a:lnTo>
                    <a:pt x="502" y="266"/>
                  </a:lnTo>
                  <a:lnTo>
                    <a:pt x="508" y="266"/>
                  </a:lnTo>
                  <a:lnTo>
                    <a:pt x="508" y="270"/>
                  </a:lnTo>
                  <a:lnTo>
                    <a:pt x="502" y="270"/>
                  </a:lnTo>
                  <a:lnTo>
                    <a:pt x="502" y="276"/>
                  </a:lnTo>
                  <a:lnTo>
                    <a:pt x="502" y="276"/>
                  </a:lnTo>
                  <a:lnTo>
                    <a:pt x="508" y="276"/>
                  </a:lnTo>
                  <a:lnTo>
                    <a:pt x="508" y="282"/>
                  </a:lnTo>
                  <a:lnTo>
                    <a:pt x="508" y="288"/>
                  </a:lnTo>
                  <a:lnTo>
                    <a:pt x="512" y="288"/>
                  </a:lnTo>
                  <a:lnTo>
                    <a:pt x="512" y="288"/>
                  </a:lnTo>
                  <a:lnTo>
                    <a:pt x="512" y="292"/>
                  </a:lnTo>
                  <a:lnTo>
                    <a:pt x="512" y="296"/>
                  </a:lnTo>
                  <a:lnTo>
                    <a:pt x="518" y="296"/>
                  </a:lnTo>
                  <a:lnTo>
                    <a:pt x="524" y="296"/>
                  </a:lnTo>
                  <a:lnTo>
                    <a:pt x="524" y="302"/>
                  </a:lnTo>
                  <a:lnTo>
                    <a:pt x="530" y="302"/>
                  </a:lnTo>
                  <a:lnTo>
                    <a:pt x="536" y="302"/>
                  </a:lnTo>
                  <a:lnTo>
                    <a:pt x="536" y="308"/>
                  </a:lnTo>
                  <a:lnTo>
                    <a:pt x="536" y="308"/>
                  </a:lnTo>
                  <a:lnTo>
                    <a:pt x="536" y="308"/>
                  </a:lnTo>
                  <a:lnTo>
                    <a:pt x="530" y="308"/>
                  </a:lnTo>
                  <a:lnTo>
                    <a:pt x="530" y="308"/>
                  </a:lnTo>
                  <a:lnTo>
                    <a:pt x="524" y="308"/>
                  </a:lnTo>
                  <a:lnTo>
                    <a:pt x="524" y="308"/>
                  </a:lnTo>
                  <a:lnTo>
                    <a:pt x="524" y="308"/>
                  </a:lnTo>
                  <a:lnTo>
                    <a:pt x="530" y="308"/>
                  </a:lnTo>
                  <a:lnTo>
                    <a:pt x="536" y="308"/>
                  </a:lnTo>
                  <a:lnTo>
                    <a:pt x="530" y="308"/>
                  </a:lnTo>
                  <a:lnTo>
                    <a:pt x="524" y="308"/>
                  </a:lnTo>
                  <a:lnTo>
                    <a:pt x="524" y="308"/>
                  </a:lnTo>
                  <a:lnTo>
                    <a:pt x="518" y="308"/>
                  </a:lnTo>
                  <a:lnTo>
                    <a:pt x="524" y="308"/>
                  </a:lnTo>
                  <a:lnTo>
                    <a:pt x="518" y="308"/>
                  </a:lnTo>
                  <a:lnTo>
                    <a:pt x="512" y="308"/>
                  </a:lnTo>
                  <a:lnTo>
                    <a:pt x="518" y="308"/>
                  </a:lnTo>
                  <a:lnTo>
                    <a:pt x="518" y="308"/>
                  </a:lnTo>
                  <a:lnTo>
                    <a:pt x="524" y="308"/>
                  </a:lnTo>
                  <a:lnTo>
                    <a:pt x="518" y="308"/>
                  </a:lnTo>
                  <a:lnTo>
                    <a:pt x="524" y="308"/>
                  </a:lnTo>
                  <a:lnTo>
                    <a:pt x="518" y="308"/>
                  </a:lnTo>
                  <a:lnTo>
                    <a:pt x="512" y="308"/>
                  </a:lnTo>
                  <a:lnTo>
                    <a:pt x="512" y="308"/>
                  </a:lnTo>
                  <a:lnTo>
                    <a:pt x="512" y="308"/>
                  </a:lnTo>
                  <a:lnTo>
                    <a:pt x="512" y="308"/>
                  </a:lnTo>
                  <a:lnTo>
                    <a:pt x="512" y="308"/>
                  </a:lnTo>
                  <a:lnTo>
                    <a:pt x="512" y="308"/>
                  </a:lnTo>
                  <a:lnTo>
                    <a:pt x="512" y="308"/>
                  </a:lnTo>
                  <a:lnTo>
                    <a:pt x="508" y="308"/>
                  </a:lnTo>
                  <a:lnTo>
                    <a:pt x="512" y="308"/>
                  </a:lnTo>
                  <a:lnTo>
                    <a:pt x="512" y="308"/>
                  </a:lnTo>
                  <a:lnTo>
                    <a:pt x="508" y="308"/>
                  </a:lnTo>
                  <a:lnTo>
                    <a:pt x="502" y="308"/>
                  </a:lnTo>
                  <a:lnTo>
                    <a:pt x="502" y="308"/>
                  </a:lnTo>
                  <a:lnTo>
                    <a:pt x="502" y="308"/>
                  </a:lnTo>
                  <a:lnTo>
                    <a:pt x="496" y="308"/>
                  </a:lnTo>
                  <a:lnTo>
                    <a:pt x="492" y="308"/>
                  </a:lnTo>
                  <a:lnTo>
                    <a:pt x="496" y="308"/>
                  </a:lnTo>
                  <a:lnTo>
                    <a:pt x="492" y="308"/>
                  </a:lnTo>
                  <a:lnTo>
                    <a:pt x="492" y="308"/>
                  </a:lnTo>
                  <a:lnTo>
                    <a:pt x="486" y="308"/>
                  </a:lnTo>
                  <a:lnTo>
                    <a:pt x="482" y="302"/>
                  </a:lnTo>
                  <a:lnTo>
                    <a:pt x="482" y="308"/>
                  </a:lnTo>
                  <a:lnTo>
                    <a:pt x="482" y="302"/>
                  </a:lnTo>
                  <a:lnTo>
                    <a:pt x="476" y="302"/>
                  </a:lnTo>
                  <a:lnTo>
                    <a:pt x="482" y="302"/>
                  </a:lnTo>
                  <a:lnTo>
                    <a:pt x="482" y="296"/>
                  </a:lnTo>
                  <a:lnTo>
                    <a:pt x="476" y="296"/>
                  </a:lnTo>
                  <a:lnTo>
                    <a:pt x="476" y="296"/>
                  </a:lnTo>
                  <a:lnTo>
                    <a:pt x="482" y="296"/>
                  </a:lnTo>
                  <a:lnTo>
                    <a:pt x="486" y="296"/>
                  </a:lnTo>
                  <a:lnTo>
                    <a:pt x="492" y="296"/>
                  </a:lnTo>
                  <a:lnTo>
                    <a:pt x="486" y="296"/>
                  </a:lnTo>
                  <a:lnTo>
                    <a:pt x="482" y="296"/>
                  </a:lnTo>
                  <a:lnTo>
                    <a:pt x="476" y="296"/>
                  </a:lnTo>
                  <a:lnTo>
                    <a:pt x="476" y="292"/>
                  </a:lnTo>
                  <a:lnTo>
                    <a:pt x="476" y="292"/>
                  </a:lnTo>
                  <a:lnTo>
                    <a:pt x="476" y="292"/>
                  </a:lnTo>
                  <a:lnTo>
                    <a:pt x="476" y="292"/>
                  </a:lnTo>
                  <a:close/>
                  <a:moveTo>
                    <a:pt x="1418" y="248"/>
                  </a:moveTo>
                  <a:lnTo>
                    <a:pt x="1412" y="242"/>
                  </a:lnTo>
                  <a:lnTo>
                    <a:pt x="1418" y="242"/>
                  </a:lnTo>
                  <a:lnTo>
                    <a:pt x="1422" y="242"/>
                  </a:lnTo>
                  <a:lnTo>
                    <a:pt x="1422" y="248"/>
                  </a:lnTo>
                  <a:lnTo>
                    <a:pt x="1418" y="248"/>
                  </a:lnTo>
                  <a:lnTo>
                    <a:pt x="1418" y="248"/>
                  </a:lnTo>
                  <a:lnTo>
                    <a:pt x="1418" y="248"/>
                  </a:lnTo>
                  <a:lnTo>
                    <a:pt x="1418" y="248"/>
                  </a:lnTo>
                  <a:close/>
                  <a:moveTo>
                    <a:pt x="838" y="248"/>
                  </a:moveTo>
                  <a:lnTo>
                    <a:pt x="838" y="248"/>
                  </a:lnTo>
                  <a:lnTo>
                    <a:pt x="838" y="248"/>
                  </a:lnTo>
                  <a:lnTo>
                    <a:pt x="838" y="242"/>
                  </a:lnTo>
                  <a:lnTo>
                    <a:pt x="844" y="242"/>
                  </a:lnTo>
                  <a:lnTo>
                    <a:pt x="844" y="248"/>
                  </a:lnTo>
                  <a:lnTo>
                    <a:pt x="850" y="248"/>
                  </a:lnTo>
                  <a:lnTo>
                    <a:pt x="850" y="254"/>
                  </a:lnTo>
                  <a:lnTo>
                    <a:pt x="844" y="254"/>
                  </a:lnTo>
                  <a:lnTo>
                    <a:pt x="838" y="254"/>
                  </a:lnTo>
                  <a:lnTo>
                    <a:pt x="838" y="254"/>
                  </a:lnTo>
                  <a:lnTo>
                    <a:pt x="832" y="248"/>
                  </a:lnTo>
                  <a:lnTo>
                    <a:pt x="838" y="248"/>
                  </a:lnTo>
                  <a:lnTo>
                    <a:pt x="838" y="248"/>
                  </a:lnTo>
                  <a:lnTo>
                    <a:pt x="838" y="248"/>
                  </a:lnTo>
                  <a:lnTo>
                    <a:pt x="838" y="248"/>
                  </a:lnTo>
                  <a:close/>
                  <a:moveTo>
                    <a:pt x="812" y="266"/>
                  </a:moveTo>
                  <a:lnTo>
                    <a:pt x="812" y="260"/>
                  </a:lnTo>
                  <a:lnTo>
                    <a:pt x="812" y="260"/>
                  </a:lnTo>
                  <a:lnTo>
                    <a:pt x="812" y="260"/>
                  </a:lnTo>
                  <a:lnTo>
                    <a:pt x="818" y="260"/>
                  </a:lnTo>
                  <a:lnTo>
                    <a:pt x="822" y="260"/>
                  </a:lnTo>
                  <a:lnTo>
                    <a:pt x="822" y="260"/>
                  </a:lnTo>
                  <a:lnTo>
                    <a:pt x="826" y="260"/>
                  </a:lnTo>
                  <a:lnTo>
                    <a:pt x="826" y="260"/>
                  </a:lnTo>
                  <a:lnTo>
                    <a:pt x="822" y="260"/>
                  </a:lnTo>
                  <a:lnTo>
                    <a:pt x="822" y="266"/>
                  </a:lnTo>
                  <a:lnTo>
                    <a:pt x="822" y="266"/>
                  </a:lnTo>
                  <a:lnTo>
                    <a:pt x="818" y="266"/>
                  </a:lnTo>
                  <a:lnTo>
                    <a:pt x="812" y="266"/>
                  </a:lnTo>
                  <a:lnTo>
                    <a:pt x="812" y="266"/>
                  </a:lnTo>
                  <a:lnTo>
                    <a:pt x="812" y="266"/>
                  </a:lnTo>
                  <a:lnTo>
                    <a:pt x="812" y="266"/>
                  </a:lnTo>
                  <a:lnTo>
                    <a:pt x="812" y="266"/>
                  </a:lnTo>
                  <a:close/>
                  <a:moveTo>
                    <a:pt x="1678" y="288"/>
                  </a:moveTo>
                  <a:lnTo>
                    <a:pt x="1678" y="282"/>
                  </a:lnTo>
                  <a:lnTo>
                    <a:pt x="1682" y="282"/>
                  </a:lnTo>
                  <a:lnTo>
                    <a:pt x="1682" y="288"/>
                  </a:lnTo>
                  <a:lnTo>
                    <a:pt x="1678" y="288"/>
                  </a:lnTo>
                  <a:lnTo>
                    <a:pt x="1678" y="288"/>
                  </a:lnTo>
                  <a:lnTo>
                    <a:pt x="1678" y="288"/>
                  </a:lnTo>
                  <a:lnTo>
                    <a:pt x="1678" y="288"/>
                  </a:lnTo>
                  <a:close/>
                  <a:moveTo>
                    <a:pt x="1672" y="288"/>
                  </a:moveTo>
                  <a:lnTo>
                    <a:pt x="1672" y="288"/>
                  </a:lnTo>
                  <a:lnTo>
                    <a:pt x="1668" y="288"/>
                  </a:lnTo>
                  <a:lnTo>
                    <a:pt x="1662" y="288"/>
                  </a:lnTo>
                  <a:lnTo>
                    <a:pt x="1662" y="288"/>
                  </a:lnTo>
                  <a:lnTo>
                    <a:pt x="1662" y="288"/>
                  </a:lnTo>
                  <a:lnTo>
                    <a:pt x="1662" y="288"/>
                  </a:lnTo>
                  <a:lnTo>
                    <a:pt x="1668" y="288"/>
                  </a:lnTo>
                  <a:lnTo>
                    <a:pt x="1672" y="288"/>
                  </a:lnTo>
                  <a:lnTo>
                    <a:pt x="1672" y="288"/>
                  </a:lnTo>
                  <a:lnTo>
                    <a:pt x="1672" y="288"/>
                  </a:lnTo>
                  <a:lnTo>
                    <a:pt x="1672" y="288"/>
                  </a:lnTo>
                  <a:lnTo>
                    <a:pt x="1672" y="288"/>
                  </a:lnTo>
                  <a:close/>
                  <a:moveTo>
                    <a:pt x="470" y="296"/>
                  </a:moveTo>
                  <a:lnTo>
                    <a:pt x="464" y="296"/>
                  </a:lnTo>
                  <a:lnTo>
                    <a:pt x="464" y="292"/>
                  </a:lnTo>
                  <a:lnTo>
                    <a:pt x="464" y="292"/>
                  </a:lnTo>
                  <a:lnTo>
                    <a:pt x="458" y="292"/>
                  </a:lnTo>
                  <a:lnTo>
                    <a:pt x="464" y="292"/>
                  </a:lnTo>
                  <a:lnTo>
                    <a:pt x="464" y="288"/>
                  </a:lnTo>
                  <a:lnTo>
                    <a:pt x="464" y="288"/>
                  </a:lnTo>
                  <a:lnTo>
                    <a:pt x="470" y="288"/>
                  </a:lnTo>
                  <a:lnTo>
                    <a:pt x="470" y="292"/>
                  </a:lnTo>
                  <a:lnTo>
                    <a:pt x="464" y="292"/>
                  </a:lnTo>
                  <a:lnTo>
                    <a:pt x="464" y="288"/>
                  </a:lnTo>
                  <a:lnTo>
                    <a:pt x="464" y="292"/>
                  </a:lnTo>
                  <a:lnTo>
                    <a:pt x="470" y="292"/>
                  </a:lnTo>
                  <a:lnTo>
                    <a:pt x="476" y="292"/>
                  </a:lnTo>
                  <a:lnTo>
                    <a:pt x="470" y="292"/>
                  </a:lnTo>
                  <a:lnTo>
                    <a:pt x="476" y="292"/>
                  </a:lnTo>
                  <a:lnTo>
                    <a:pt x="476" y="296"/>
                  </a:lnTo>
                  <a:lnTo>
                    <a:pt x="476" y="296"/>
                  </a:lnTo>
                  <a:lnTo>
                    <a:pt x="470" y="296"/>
                  </a:lnTo>
                  <a:lnTo>
                    <a:pt x="470" y="296"/>
                  </a:lnTo>
                  <a:lnTo>
                    <a:pt x="476" y="296"/>
                  </a:lnTo>
                  <a:lnTo>
                    <a:pt x="470" y="296"/>
                  </a:lnTo>
                  <a:lnTo>
                    <a:pt x="470" y="296"/>
                  </a:lnTo>
                  <a:lnTo>
                    <a:pt x="470" y="296"/>
                  </a:lnTo>
                  <a:lnTo>
                    <a:pt x="470" y="296"/>
                  </a:lnTo>
                  <a:close/>
                  <a:moveTo>
                    <a:pt x="2008" y="308"/>
                  </a:moveTo>
                  <a:lnTo>
                    <a:pt x="2008" y="308"/>
                  </a:lnTo>
                  <a:lnTo>
                    <a:pt x="2008" y="302"/>
                  </a:lnTo>
                  <a:lnTo>
                    <a:pt x="2008" y="302"/>
                  </a:lnTo>
                  <a:lnTo>
                    <a:pt x="2008" y="308"/>
                  </a:lnTo>
                  <a:lnTo>
                    <a:pt x="2008" y="308"/>
                  </a:lnTo>
                  <a:lnTo>
                    <a:pt x="2008" y="308"/>
                  </a:lnTo>
                  <a:lnTo>
                    <a:pt x="2008" y="308"/>
                  </a:lnTo>
                  <a:close/>
                  <a:moveTo>
                    <a:pt x="568" y="336"/>
                  </a:moveTo>
                  <a:lnTo>
                    <a:pt x="562" y="336"/>
                  </a:lnTo>
                  <a:lnTo>
                    <a:pt x="562" y="330"/>
                  </a:lnTo>
                  <a:lnTo>
                    <a:pt x="562" y="330"/>
                  </a:lnTo>
                  <a:lnTo>
                    <a:pt x="556" y="330"/>
                  </a:lnTo>
                  <a:lnTo>
                    <a:pt x="556" y="324"/>
                  </a:lnTo>
                  <a:lnTo>
                    <a:pt x="556" y="330"/>
                  </a:lnTo>
                  <a:lnTo>
                    <a:pt x="550" y="324"/>
                  </a:lnTo>
                  <a:lnTo>
                    <a:pt x="550" y="324"/>
                  </a:lnTo>
                  <a:lnTo>
                    <a:pt x="550" y="320"/>
                  </a:lnTo>
                  <a:lnTo>
                    <a:pt x="550" y="320"/>
                  </a:lnTo>
                  <a:lnTo>
                    <a:pt x="550" y="320"/>
                  </a:lnTo>
                  <a:lnTo>
                    <a:pt x="550" y="314"/>
                  </a:lnTo>
                  <a:lnTo>
                    <a:pt x="556" y="314"/>
                  </a:lnTo>
                  <a:lnTo>
                    <a:pt x="562" y="314"/>
                  </a:lnTo>
                  <a:lnTo>
                    <a:pt x="562" y="320"/>
                  </a:lnTo>
                  <a:lnTo>
                    <a:pt x="562" y="320"/>
                  </a:lnTo>
                  <a:lnTo>
                    <a:pt x="562" y="320"/>
                  </a:lnTo>
                  <a:lnTo>
                    <a:pt x="568" y="320"/>
                  </a:lnTo>
                  <a:lnTo>
                    <a:pt x="572" y="324"/>
                  </a:lnTo>
                  <a:lnTo>
                    <a:pt x="572" y="324"/>
                  </a:lnTo>
                  <a:lnTo>
                    <a:pt x="578" y="330"/>
                  </a:lnTo>
                  <a:lnTo>
                    <a:pt x="572" y="336"/>
                  </a:lnTo>
                  <a:lnTo>
                    <a:pt x="572" y="336"/>
                  </a:lnTo>
                  <a:lnTo>
                    <a:pt x="568" y="336"/>
                  </a:lnTo>
                  <a:lnTo>
                    <a:pt x="568" y="336"/>
                  </a:lnTo>
                  <a:lnTo>
                    <a:pt x="568" y="336"/>
                  </a:lnTo>
                  <a:lnTo>
                    <a:pt x="568" y="336"/>
                  </a:lnTo>
                  <a:close/>
                  <a:moveTo>
                    <a:pt x="2116" y="336"/>
                  </a:moveTo>
                  <a:lnTo>
                    <a:pt x="2116" y="336"/>
                  </a:lnTo>
                  <a:lnTo>
                    <a:pt x="2116" y="336"/>
                  </a:lnTo>
                  <a:lnTo>
                    <a:pt x="2112" y="336"/>
                  </a:lnTo>
                  <a:lnTo>
                    <a:pt x="2106" y="336"/>
                  </a:lnTo>
                  <a:lnTo>
                    <a:pt x="2100" y="336"/>
                  </a:lnTo>
                  <a:lnTo>
                    <a:pt x="2100" y="336"/>
                  </a:lnTo>
                  <a:lnTo>
                    <a:pt x="2096" y="330"/>
                  </a:lnTo>
                  <a:lnTo>
                    <a:pt x="2096" y="324"/>
                  </a:lnTo>
                  <a:lnTo>
                    <a:pt x="2100" y="324"/>
                  </a:lnTo>
                  <a:lnTo>
                    <a:pt x="2100" y="324"/>
                  </a:lnTo>
                  <a:lnTo>
                    <a:pt x="2106" y="324"/>
                  </a:lnTo>
                  <a:lnTo>
                    <a:pt x="2112" y="324"/>
                  </a:lnTo>
                  <a:lnTo>
                    <a:pt x="2112" y="330"/>
                  </a:lnTo>
                  <a:lnTo>
                    <a:pt x="2116" y="330"/>
                  </a:lnTo>
                  <a:lnTo>
                    <a:pt x="2116" y="330"/>
                  </a:lnTo>
                  <a:lnTo>
                    <a:pt x="2116" y="336"/>
                  </a:lnTo>
                  <a:lnTo>
                    <a:pt x="2116" y="336"/>
                  </a:lnTo>
                  <a:lnTo>
                    <a:pt x="2116" y="336"/>
                  </a:lnTo>
                  <a:lnTo>
                    <a:pt x="2116" y="336"/>
                  </a:lnTo>
                  <a:close/>
                  <a:moveTo>
                    <a:pt x="2008" y="336"/>
                  </a:moveTo>
                  <a:lnTo>
                    <a:pt x="2008" y="336"/>
                  </a:lnTo>
                  <a:lnTo>
                    <a:pt x="2008" y="336"/>
                  </a:lnTo>
                  <a:lnTo>
                    <a:pt x="2008" y="336"/>
                  </a:lnTo>
                  <a:lnTo>
                    <a:pt x="2008" y="336"/>
                  </a:lnTo>
                  <a:lnTo>
                    <a:pt x="2008" y="336"/>
                  </a:lnTo>
                  <a:lnTo>
                    <a:pt x="2008" y="336"/>
                  </a:lnTo>
                  <a:lnTo>
                    <a:pt x="2008" y="336"/>
                  </a:lnTo>
                  <a:close/>
                  <a:moveTo>
                    <a:pt x="2004" y="342"/>
                  </a:moveTo>
                  <a:lnTo>
                    <a:pt x="2008" y="342"/>
                  </a:lnTo>
                  <a:lnTo>
                    <a:pt x="2008" y="336"/>
                  </a:lnTo>
                  <a:lnTo>
                    <a:pt x="2004" y="336"/>
                  </a:lnTo>
                  <a:lnTo>
                    <a:pt x="2008" y="336"/>
                  </a:lnTo>
                  <a:lnTo>
                    <a:pt x="2008" y="336"/>
                  </a:lnTo>
                  <a:lnTo>
                    <a:pt x="2008" y="342"/>
                  </a:lnTo>
                  <a:lnTo>
                    <a:pt x="2004" y="342"/>
                  </a:lnTo>
                  <a:lnTo>
                    <a:pt x="2004" y="342"/>
                  </a:lnTo>
                  <a:lnTo>
                    <a:pt x="2004" y="342"/>
                  </a:lnTo>
                  <a:lnTo>
                    <a:pt x="2004" y="342"/>
                  </a:lnTo>
                  <a:close/>
                  <a:moveTo>
                    <a:pt x="670" y="336"/>
                  </a:moveTo>
                  <a:lnTo>
                    <a:pt x="670" y="336"/>
                  </a:lnTo>
                  <a:lnTo>
                    <a:pt x="676" y="336"/>
                  </a:lnTo>
                  <a:lnTo>
                    <a:pt x="670" y="342"/>
                  </a:lnTo>
                  <a:lnTo>
                    <a:pt x="670" y="342"/>
                  </a:lnTo>
                  <a:lnTo>
                    <a:pt x="670" y="336"/>
                  </a:lnTo>
                  <a:lnTo>
                    <a:pt x="670" y="336"/>
                  </a:lnTo>
                  <a:lnTo>
                    <a:pt x="670" y="336"/>
                  </a:lnTo>
                  <a:lnTo>
                    <a:pt x="670" y="336"/>
                  </a:lnTo>
                  <a:close/>
                  <a:moveTo>
                    <a:pt x="2008" y="350"/>
                  </a:moveTo>
                  <a:lnTo>
                    <a:pt x="2004" y="350"/>
                  </a:lnTo>
                  <a:lnTo>
                    <a:pt x="2004" y="348"/>
                  </a:lnTo>
                  <a:lnTo>
                    <a:pt x="1998" y="348"/>
                  </a:lnTo>
                  <a:lnTo>
                    <a:pt x="1998" y="348"/>
                  </a:lnTo>
                  <a:lnTo>
                    <a:pt x="2004" y="348"/>
                  </a:lnTo>
                  <a:lnTo>
                    <a:pt x="2004" y="342"/>
                  </a:lnTo>
                  <a:lnTo>
                    <a:pt x="1998" y="342"/>
                  </a:lnTo>
                  <a:lnTo>
                    <a:pt x="2004" y="336"/>
                  </a:lnTo>
                  <a:lnTo>
                    <a:pt x="2004" y="342"/>
                  </a:lnTo>
                  <a:lnTo>
                    <a:pt x="2004" y="348"/>
                  </a:lnTo>
                  <a:lnTo>
                    <a:pt x="2004" y="348"/>
                  </a:lnTo>
                  <a:lnTo>
                    <a:pt x="2008" y="348"/>
                  </a:lnTo>
                  <a:lnTo>
                    <a:pt x="2008" y="350"/>
                  </a:lnTo>
                  <a:lnTo>
                    <a:pt x="2008" y="350"/>
                  </a:lnTo>
                  <a:lnTo>
                    <a:pt x="2008" y="350"/>
                  </a:lnTo>
                  <a:lnTo>
                    <a:pt x="2008" y="350"/>
                  </a:lnTo>
                  <a:close/>
                  <a:moveTo>
                    <a:pt x="404" y="348"/>
                  </a:moveTo>
                  <a:lnTo>
                    <a:pt x="404" y="348"/>
                  </a:lnTo>
                  <a:lnTo>
                    <a:pt x="410" y="348"/>
                  </a:lnTo>
                  <a:lnTo>
                    <a:pt x="410" y="342"/>
                  </a:lnTo>
                  <a:lnTo>
                    <a:pt x="410" y="342"/>
                  </a:lnTo>
                  <a:lnTo>
                    <a:pt x="410" y="336"/>
                  </a:lnTo>
                  <a:lnTo>
                    <a:pt x="416" y="336"/>
                  </a:lnTo>
                  <a:lnTo>
                    <a:pt x="422" y="336"/>
                  </a:lnTo>
                  <a:lnTo>
                    <a:pt x="422" y="342"/>
                  </a:lnTo>
                  <a:lnTo>
                    <a:pt x="426" y="342"/>
                  </a:lnTo>
                  <a:lnTo>
                    <a:pt x="432" y="348"/>
                  </a:lnTo>
                  <a:lnTo>
                    <a:pt x="432" y="348"/>
                  </a:lnTo>
                  <a:lnTo>
                    <a:pt x="432" y="350"/>
                  </a:lnTo>
                  <a:lnTo>
                    <a:pt x="432" y="348"/>
                  </a:lnTo>
                  <a:lnTo>
                    <a:pt x="432" y="348"/>
                  </a:lnTo>
                  <a:lnTo>
                    <a:pt x="432" y="348"/>
                  </a:lnTo>
                  <a:lnTo>
                    <a:pt x="426" y="350"/>
                  </a:lnTo>
                  <a:lnTo>
                    <a:pt x="426" y="356"/>
                  </a:lnTo>
                  <a:lnTo>
                    <a:pt x="422" y="356"/>
                  </a:lnTo>
                  <a:lnTo>
                    <a:pt x="422" y="356"/>
                  </a:lnTo>
                  <a:lnTo>
                    <a:pt x="416" y="356"/>
                  </a:lnTo>
                  <a:lnTo>
                    <a:pt x="410" y="356"/>
                  </a:lnTo>
                  <a:lnTo>
                    <a:pt x="410" y="356"/>
                  </a:lnTo>
                  <a:lnTo>
                    <a:pt x="404" y="350"/>
                  </a:lnTo>
                  <a:lnTo>
                    <a:pt x="404" y="348"/>
                  </a:lnTo>
                  <a:lnTo>
                    <a:pt x="404" y="348"/>
                  </a:lnTo>
                  <a:lnTo>
                    <a:pt x="404" y="348"/>
                  </a:lnTo>
                  <a:lnTo>
                    <a:pt x="404" y="348"/>
                  </a:lnTo>
                  <a:close/>
                  <a:moveTo>
                    <a:pt x="204" y="342"/>
                  </a:moveTo>
                  <a:lnTo>
                    <a:pt x="210" y="342"/>
                  </a:lnTo>
                  <a:lnTo>
                    <a:pt x="204" y="342"/>
                  </a:lnTo>
                  <a:lnTo>
                    <a:pt x="204" y="342"/>
                  </a:lnTo>
                  <a:lnTo>
                    <a:pt x="204" y="342"/>
                  </a:lnTo>
                  <a:lnTo>
                    <a:pt x="204" y="342"/>
                  </a:lnTo>
                  <a:lnTo>
                    <a:pt x="204" y="342"/>
                  </a:lnTo>
                  <a:lnTo>
                    <a:pt x="204" y="342"/>
                  </a:lnTo>
                  <a:close/>
                  <a:moveTo>
                    <a:pt x="654" y="348"/>
                  </a:moveTo>
                  <a:lnTo>
                    <a:pt x="658" y="348"/>
                  </a:lnTo>
                  <a:lnTo>
                    <a:pt x="658" y="348"/>
                  </a:lnTo>
                  <a:lnTo>
                    <a:pt x="658" y="350"/>
                  </a:lnTo>
                  <a:lnTo>
                    <a:pt x="664" y="350"/>
                  </a:lnTo>
                  <a:lnTo>
                    <a:pt x="658" y="350"/>
                  </a:lnTo>
                  <a:lnTo>
                    <a:pt x="658" y="348"/>
                  </a:lnTo>
                  <a:lnTo>
                    <a:pt x="654" y="348"/>
                  </a:lnTo>
                  <a:lnTo>
                    <a:pt x="654" y="348"/>
                  </a:lnTo>
                  <a:lnTo>
                    <a:pt x="654" y="348"/>
                  </a:lnTo>
                  <a:lnTo>
                    <a:pt x="654" y="348"/>
                  </a:lnTo>
                  <a:close/>
                  <a:moveTo>
                    <a:pt x="530" y="356"/>
                  </a:moveTo>
                  <a:lnTo>
                    <a:pt x="536" y="356"/>
                  </a:lnTo>
                  <a:lnTo>
                    <a:pt x="536" y="356"/>
                  </a:lnTo>
                  <a:lnTo>
                    <a:pt x="540" y="356"/>
                  </a:lnTo>
                  <a:lnTo>
                    <a:pt x="536" y="356"/>
                  </a:lnTo>
                  <a:lnTo>
                    <a:pt x="536" y="356"/>
                  </a:lnTo>
                  <a:lnTo>
                    <a:pt x="536" y="356"/>
                  </a:lnTo>
                  <a:lnTo>
                    <a:pt x="530" y="356"/>
                  </a:lnTo>
                  <a:lnTo>
                    <a:pt x="530" y="356"/>
                  </a:lnTo>
                  <a:lnTo>
                    <a:pt x="530" y="356"/>
                  </a:lnTo>
                  <a:lnTo>
                    <a:pt x="530" y="356"/>
                  </a:lnTo>
                  <a:lnTo>
                    <a:pt x="530" y="356"/>
                  </a:lnTo>
                  <a:close/>
                  <a:moveTo>
                    <a:pt x="442" y="368"/>
                  </a:moveTo>
                  <a:lnTo>
                    <a:pt x="442" y="362"/>
                  </a:lnTo>
                  <a:lnTo>
                    <a:pt x="442" y="362"/>
                  </a:lnTo>
                  <a:lnTo>
                    <a:pt x="448" y="362"/>
                  </a:lnTo>
                  <a:lnTo>
                    <a:pt x="442" y="362"/>
                  </a:lnTo>
                  <a:lnTo>
                    <a:pt x="442" y="368"/>
                  </a:lnTo>
                  <a:lnTo>
                    <a:pt x="442" y="368"/>
                  </a:lnTo>
                  <a:lnTo>
                    <a:pt x="442" y="368"/>
                  </a:lnTo>
                  <a:lnTo>
                    <a:pt x="442" y="368"/>
                  </a:lnTo>
                  <a:lnTo>
                    <a:pt x="442" y="368"/>
                  </a:lnTo>
                  <a:close/>
                  <a:moveTo>
                    <a:pt x="324" y="406"/>
                  </a:moveTo>
                  <a:lnTo>
                    <a:pt x="324" y="406"/>
                  </a:lnTo>
                  <a:lnTo>
                    <a:pt x="324" y="406"/>
                  </a:lnTo>
                  <a:lnTo>
                    <a:pt x="324" y="406"/>
                  </a:lnTo>
                  <a:lnTo>
                    <a:pt x="324" y="406"/>
                  </a:lnTo>
                  <a:lnTo>
                    <a:pt x="324" y="406"/>
                  </a:lnTo>
                  <a:lnTo>
                    <a:pt x="324" y="406"/>
                  </a:lnTo>
                  <a:lnTo>
                    <a:pt x="324" y="406"/>
                  </a:lnTo>
                  <a:close/>
                  <a:moveTo>
                    <a:pt x="228" y="444"/>
                  </a:moveTo>
                  <a:lnTo>
                    <a:pt x="228" y="450"/>
                  </a:lnTo>
                  <a:lnTo>
                    <a:pt x="228" y="450"/>
                  </a:lnTo>
                  <a:lnTo>
                    <a:pt x="228" y="444"/>
                  </a:lnTo>
                  <a:lnTo>
                    <a:pt x="228" y="444"/>
                  </a:lnTo>
                  <a:lnTo>
                    <a:pt x="228" y="444"/>
                  </a:lnTo>
                  <a:lnTo>
                    <a:pt x="228" y="444"/>
                  </a:lnTo>
                  <a:lnTo>
                    <a:pt x="228" y="444"/>
                  </a:lnTo>
                  <a:close/>
                  <a:moveTo>
                    <a:pt x="2412" y="456"/>
                  </a:moveTo>
                  <a:lnTo>
                    <a:pt x="2412" y="456"/>
                  </a:lnTo>
                  <a:lnTo>
                    <a:pt x="2418" y="456"/>
                  </a:lnTo>
                  <a:lnTo>
                    <a:pt x="2418" y="456"/>
                  </a:lnTo>
                  <a:lnTo>
                    <a:pt x="2418" y="456"/>
                  </a:lnTo>
                  <a:lnTo>
                    <a:pt x="2418" y="456"/>
                  </a:lnTo>
                  <a:lnTo>
                    <a:pt x="2412" y="456"/>
                  </a:lnTo>
                  <a:lnTo>
                    <a:pt x="2412" y="456"/>
                  </a:lnTo>
                  <a:lnTo>
                    <a:pt x="2412" y="456"/>
                  </a:lnTo>
                  <a:lnTo>
                    <a:pt x="2412" y="456"/>
                  </a:lnTo>
                  <a:close/>
                  <a:moveTo>
                    <a:pt x="2408" y="456"/>
                  </a:moveTo>
                  <a:lnTo>
                    <a:pt x="2412" y="456"/>
                  </a:lnTo>
                  <a:lnTo>
                    <a:pt x="2412" y="460"/>
                  </a:lnTo>
                  <a:lnTo>
                    <a:pt x="2412" y="456"/>
                  </a:lnTo>
                  <a:lnTo>
                    <a:pt x="2408" y="456"/>
                  </a:lnTo>
                  <a:lnTo>
                    <a:pt x="2408" y="456"/>
                  </a:lnTo>
                  <a:lnTo>
                    <a:pt x="2408" y="456"/>
                  </a:lnTo>
                  <a:lnTo>
                    <a:pt x="2408" y="456"/>
                  </a:lnTo>
                  <a:close/>
                  <a:moveTo>
                    <a:pt x="2036" y="596"/>
                  </a:moveTo>
                  <a:lnTo>
                    <a:pt x="2036" y="596"/>
                  </a:lnTo>
                  <a:lnTo>
                    <a:pt x="2036" y="596"/>
                  </a:lnTo>
                  <a:lnTo>
                    <a:pt x="2036" y="590"/>
                  </a:lnTo>
                  <a:lnTo>
                    <a:pt x="2040" y="590"/>
                  </a:lnTo>
                  <a:lnTo>
                    <a:pt x="2040" y="584"/>
                  </a:lnTo>
                  <a:lnTo>
                    <a:pt x="2036" y="584"/>
                  </a:lnTo>
                  <a:lnTo>
                    <a:pt x="2036" y="590"/>
                  </a:lnTo>
                  <a:lnTo>
                    <a:pt x="2036" y="584"/>
                  </a:lnTo>
                  <a:lnTo>
                    <a:pt x="2040" y="584"/>
                  </a:lnTo>
                  <a:lnTo>
                    <a:pt x="2046" y="584"/>
                  </a:lnTo>
                  <a:lnTo>
                    <a:pt x="2046" y="584"/>
                  </a:lnTo>
                  <a:lnTo>
                    <a:pt x="2046" y="584"/>
                  </a:lnTo>
                  <a:lnTo>
                    <a:pt x="2052" y="584"/>
                  </a:lnTo>
                  <a:lnTo>
                    <a:pt x="2052" y="584"/>
                  </a:lnTo>
                  <a:lnTo>
                    <a:pt x="2052" y="590"/>
                  </a:lnTo>
                  <a:lnTo>
                    <a:pt x="2046" y="590"/>
                  </a:lnTo>
                  <a:lnTo>
                    <a:pt x="2046" y="590"/>
                  </a:lnTo>
                  <a:lnTo>
                    <a:pt x="2046" y="596"/>
                  </a:lnTo>
                  <a:lnTo>
                    <a:pt x="2040" y="596"/>
                  </a:lnTo>
                  <a:lnTo>
                    <a:pt x="2036" y="596"/>
                  </a:lnTo>
                  <a:lnTo>
                    <a:pt x="2036" y="602"/>
                  </a:lnTo>
                  <a:lnTo>
                    <a:pt x="2036" y="596"/>
                  </a:lnTo>
                  <a:lnTo>
                    <a:pt x="2036" y="596"/>
                  </a:lnTo>
                  <a:lnTo>
                    <a:pt x="2036" y="596"/>
                  </a:lnTo>
                  <a:lnTo>
                    <a:pt x="2036" y="596"/>
                  </a:lnTo>
                  <a:close/>
                  <a:moveTo>
                    <a:pt x="2072" y="666"/>
                  </a:moveTo>
                  <a:lnTo>
                    <a:pt x="2072" y="672"/>
                  </a:lnTo>
                  <a:lnTo>
                    <a:pt x="2072" y="676"/>
                  </a:lnTo>
                  <a:lnTo>
                    <a:pt x="2078" y="682"/>
                  </a:lnTo>
                  <a:lnTo>
                    <a:pt x="2078" y="682"/>
                  </a:lnTo>
                  <a:lnTo>
                    <a:pt x="2078" y="682"/>
                  </a:lnTo>
                  <a:lnTo>
                    <a:pt x="2072" y="682"/>
                  </a:lnTo>
                  <a:lnTo>
                    <a:pt x="2072" y="676"/>
                  </a:lnTo>
                  <a:lnTo>
                    <a:pt x="2068" y="676"/>
                  </a:lnTo>
                  <a:lnTo>
                    <a:pt x="2068" y="672"/>
                  </a:lnTo>
                  <a:lnTo>
                    <a:pt x="2068" y="672"/>
                  </a:lnTo>
                  <a:lnTo>
                    <a:pt x="2068" y="666"/>
                  </a:lnTo>
                  <a:lnTo>
                    <a:pt x="2068" y="666"/>
                  </a:lnTo>
                  <a:lnTo>
                    <a:pt x="2072" y="666"/>
                  </a:lnTo>
                  <a:lnTo>
                    <a:pt x="2072" y="666"/>
                  </a:lnTo>
                  <a:lnTo>
                    <a:pt x="2072" y="666"/>
                  </a:lnTo>
                  <a:lnTo>
                    <a:pt x="2072" y="666"/>
                  </a:lnTo>
                  <a:close/>
                  <a:moveTo>
                    <a:pt x="1662" y="682"/>
                  </a:moveTo>
                  <a:lnTo>
                    <a:pt x="1662" y="682"/>
                  </a:lnTo>
                  <a:lnTo>
                    <a:pt x="1662" y="676"/>
                  </a:lnTo>
                  <a:lnTo>
                    <a:pt x="1668" y="676"/>
                  </a:lnTo>
                  <a:lnTo>
                    <a:pt x="1668" y="672"/>
                  </a:lnTo>
                  <a:lnTo>
                    <a:pt x="1672" y="672"/>
                  </a:lnTo>
                  <a:lnTo>
                    <a:pt x="1672" y="676"/>
                  </a:lnTo>
                  <a:lnTo>
                    <a:pt x="1672" y="676"/>
                  </a:lnTo>
                  <a:lnTo>
                    <a:pt x="1672" y="682"/>
                  </a:lnTo>
                  <a:lnTo>
                    <a:pt x="1672" y="682"/>
                  </a:lnTo>
                  <a:lnTo>
                    <a:pt x="1668" y="682"/>
                  </a:lnTo>
                  <a:lnTo>
                    <a:pt x="1668" y="682"/>
                  </a:lnTo>
                  <a:lnTo>
                    <a:pt x="1662" y="682"/>
                  </a:lnTo>
                  <a:lnTo>
                    <a:pt x="1662" y="682"/>
                  </a:lnTo>
                  <a:lnTo>
                    <a:pt x="1662" y="682"/>
                  </a:lnTo>
                  <a:lnTo>
                    <a:pt x="1662" y="682"/>
                  </a:lnTo>
                  <a:lnTo>
                    <a:pt x="1662" y="682"/>
                  </a:lnTo>
                  <a:close/>
                  <a:moveTo>
                    <a:pt x="2090" y="682"/>
                  </a:moveTo>
                  <a:lnTo>
                    <a:pt x="2096" y="682"/>
                  </a:lnTo>
                  <a:lnTo>
                    <a:pt x="2096" y="682"/>
                  </a:lnTo>
                  <a:lnTo>
                    <a:pt x="2100" y="688"/>
                  </a:lnTo>
                  <a:lnTo>
                    <a:pt x="2096" y="688"/>
                  </a:lnTo>
                  <a:lnTo>
                    <a:pt x="2096" y="682"/>
                  </a:lnTo>
                  <a:lnTo>
                    <a:pt x="2096" y="682"/>
                  </a:lnTo>
                  <a:lnTo>
                    <a:pt x="2090" y="682"/>
                  </a:lnTo>
                  <a:lnTo>
                    <a:pt x="2090" y="682"/>
                  </a:lnTo>
                  <a:lnTo>
                    <a:pt x="2090" y="682"/>
                  </a:lnTo>
                  <a:lnTo>
                    <a:pt x="2090" y="682"/>
                  </a:lnTo>
                  <a:close/>
                  <a:moveTo>
                    <a:pt x="1748" y="866"/>
                  </a:moveTo>
                  <a:lnTo>
                    <a:pt x="1748" y="860"/>
                  </a:lnTo>
                  <a:lnTo>
                    <a:pt x="1748" y="860"/>
                  </a:lnTo>
                  <a:lnTo>
                    <a:pt x="1748" y="856"/>
                  </a:lnTo>
                  <a:lnTo>
                    <a:pt x="1748" y="850"/>
                  </a:lnTo>
                  <a:lnTo>
                    <a:pt x="1748" y="856"/>
                  </a:lnTo>
                  <a:lnTo>
                    <a:pt x="1748" y="850"/>
                  </a:lnTo>
                  <a:lnTo>
                    <a:pt x="1742" y="850"/>
                  </a:lnTo>
                  <a:lnTo>
                    <a:pt x="1736" y="850"/>
                  </a:lnTo>
                  <a:lnTo>
                    <a:pt x="1732" y="856"/>
                  </a:lnTo>
                  <a:lnTo>
                    <a:pt x="1732" y="860"/>
                  </a:lnTo>
                  <a:lnTo>
                    <a:pt x="1732" y="860"/>
                  </a:lnTo>
                  <a:lnTo>
                    <a:pt x="1732" y="866"/>
                  </a:lnTo>
                  <a:lnTo>
                    <a:pt x="1732" y="866"/>
                  </a:lnTo>
                  <a:lnTo>
                    <a:pt x="1732" y="860"/>
                  </a:lnTo>
                  <a:lnTo>
                    <a:pt x="1728" y="860"/>
                  </a:lnTo>
                  <a:lnTo>
                    <a:pt x="1728" y="856"/>
                  </a:lnTo>
                  <a:lnTo>
                    <a:pt x="1728" y="850"/>
                  </a:lnTo>
                  <a:lnTo>
                    <a:pt x="1732" y="850"/>
                  </a:lnTo>
                  <a:lnTo>
                    <a:pt x="1732" y="844"/>
                  </a:lnTo>
                  <a:lnTo>
                    <a:pt x="1732" y="838"/>
                  </a:lnTo>
                  <a:lnTo>
                    <a:pt x="1732" y="838"/>
                  </a:lnTo>
                  <a:lnTo>
                    <a:pt x="1732" y="834"/>
                  </a:lnTo>
                  <a:lnTo>
                    <a:pt x="1732" y="830"/>
                  </a:lnTo>
                  <a:lnTo>
                    <a:pt x="1732" y="824"/>
                  </a:lnTo>
                  <a:lnTo>
                    <a:pt x="1732" y="824"/>
                  </a:lnTo>
                  <a:lnTo>
                    <a:pt x="1732" y="824"/>
                  </a:lnTo>
                  <a:lnTo>
                    <a:pt x="1732" y="824"/>
                  </a:lnTo>
                  <a:lnTo>
                    <a:pt x="1732" y="818"/>
                  </a:lnTo>
                  <a:lnTo>
                    <a:pt x="1732" y="812"/>
                  </a:lnTo>
                  <a:lnTo>
                    <a:pt x="1732" y="812"/>
                  </a:lnTo>
                  <a:lnTo>
                    <a:pt x="1728" y="812"/>
                  </a:lnTo>
                  <a:lnTo>
                    <a:pt x="1728" y="806"/>
                  </a:lnTo>
                  <a:lnTo>
                    <a:pt x="1732" y="806"/>
                  </a:lnTo>
                  <a:lnTo>
                    <a:pt x="1732" y="802"/>
                  </a:lnTo>
                  <a:lnTo>
                    <a:pt x="1732" y="802"/>
                  </a:lnTo>
                  <a:lnTo>
                    <a:pt x="1732" y="796"/>
                  </a:lnTo>
                  <a:lnTo>
                    <a:pt x="1732" y="790"/>
                  </a:lnTo>
                  <a:lnTo>
                    <a:pt x="1732" y="790"/>
                  </a:lnTo>
                  <a:lnTo>
                    <a:pt x="1732" y="784"/>
                  </a:lnTo>
                  <a:lnTo>
                    <a:pt x="1732" y="780"/>
                  </a:lnTo>
                  <a:lnTo>
                    <a:pt x="1732" y="774"/>
                  </a:lnTo>
                  <a:lnTo>
                    <a:pt x="1732" y="774"/>
                  </a:lnTo>
                  <a:lnTo>
                    <a:pt x="1732" y="770"/>
                  </a:lnTo>
                  <a:lnTo>
                    <a:pt x="1732" y="764"/>
                  </a:lnTo>
                  <a:lnTo>
                    <a:pt x="1732" y="764"/>
                  </a:lnTo>
                  <a:lnTo>
                    <a:pt x="1732" y="764"/>
                  </a:lnTo>
                  <a:lnTo>
                    <a:pt x="1732" y="758"/>
                  </a:lnTo>
                  <a:lnTo>
                    <a:pt x="1732" y="752"/>
                  </a:lnTo>
                  <a:lnTo>
                    <a:pt x="1732" y="752"/>
                  </a:lnTo>
                  <a:lnTo>
                    <a:pt x="1728" y="746"/>
                  </a:lnTo>
                  <a:lnTo>
                    <a:pt x="1728" y="742"/>
                  </a:lnTo>
                  <a:lnTo>
                    <a:pt x="1728" y="742"/>
                  </a:lnTo>
                  <a:lnTo>
                    <a:pt x="1728" y="736"/>
                  </a:lnTo>
                  <a:lnTo>
                    <a:pt x="1728" y="730"/>
                  </a:lnTo>
                  <a:lnTo>
                    <a:pt x="1728" y="726"/>
                  </a:lnTo>
                  <a:lnTo>
                    <a:pt x="1728" y="726"/>
                  </a:lnTo>
                  <a:lnTo>
                    <a:pt x="1728" y="720"/>
                  </a:lnTo>
                  <a:lnTo>
                    <a:pt x="1732" y="720"/>
                  </a:lnTo>
                  <a:lnTo>
                    <a:pt x="1732" y="716"/>
                  </a:lnTo>
                  <a:lnTo>
                    <a:pt x="1728" y="716"/>
                  </a:lnTo>
                  <a:lnTo>
                    <a:pt x="1728" y="716"/>
                  </a:lnTo>
                  <a:lnTo>
                    <a:pt x="1732" y="710"/>
                  </a:lnTo>
                  <a:lnTo>
                    <a:pt x="1732" y="710"/>
                  </a:lnTo>
                  <a:lnTo>
                    <a:pt x="1732" y="716"/>
                  </a:lnTo>
                  <a:lnTo>
                    <a:pt x="1736" y="716"/>
                  </a:lnTo>
                  <a:lnTo>
                    <a:pt x="1736" y="710"/>
                  </a:lnTo>
                  <a:lnTo>
                    <a:pt x="1736" y="704"/>
                  </a:lnTo>
                  <a:lnTo>
                    <a:pt x="1742" y="704"/>
                  </a:lnTo>
                  <a:lnTo>
                    <a:pt x="1742" y="704"/>
                  </a:lnTo>
                  <a:lnTo>
                    <a:pt x="1736" y="704"/>
                  </a:lnTo>
                  <a:lnTo>
                    <a:pt x="1736" y="704"/>
                  </a:lnTo>
                  <a:lnTo>
                    <a:pt x="1742" y="704"/>
                  </a:lnTo>
                  <a:lnTo>
                    <a:pt x="1742" y="698"/>
                  </a:lnTo>
                  <a:lnTo>
                    <a:pt x="1736" y="698"/>
                  </a:lnTo>
                  <a:lnTo>
                    <a:pt x="1736" y="692"/>
                  </a:lnTo>
                  <a:lnTo>
                    <a:pt x="1732" y="692"/>
                  </a:lnTo>
                  <a:lnTo>
                    <a:pt x="1736" y="692"/>
                  </a:lnTo>
                  <a:lnTo>
                    <a:pt x="1736" y="692"/>
                  </a:lnTo>
                  <a:lnTo>
                    <a:pt x="1736" y="692"/>
                  </a:lnTo>
                  <a:lnTo>
                    <a:pt x="1742" y="692"/>
                  </a:lnTo>
                  <a:lnTo>
                    <a:pt x="1742" y="692"/>
                  </a:lnTo>
                  <a:lnTo>
                    <a:pt x="1748" y="692"/>
                  </a:lnTo>
                  <a:lnTo>
                    <a:pt x="1748" y="698"/>
                  </a:lnTo>
                  <a:lnTo>
                    <a:pt x="1742" y="698"/>
                  </a:lnTo>
                  <a:lnTo>
                    <a:pt x="1742" y="704"/>
                  </a:lnTo>
                  <a:lnTo>
                    <a:pt x="1742" y="704"/>
                  </a:lnTo>
                  <a:lnTo>
                    <a:pt x="1748" y="704"/>
                  </a:lnTo>
                  <a:lnTo>
                    <a:pt x="1748" y="710"/>
                  </a:lnTo>
                  <a:lnTo>
                    <a:pt x="1748" y="716"/>
                  </a:lnTo>
                  <a:lnTo>
                    <a:pt x="1748" y="710"/>
                  </a:lnTo>
                  <a:lnTo>
                    <a:pt x="1748" y="716"/>
                  </a:lnTo>
                  <a:lnTo>
                    <a:pt x="1748" y="716"/>
                  </a:lnTo>
                  <a:lnTo>
                    <a:pt x="1748" y="716"/>
                  </a:lnTo>
                  <a:lnTo>
                    <a:pt x="1748" y="720"/>
                  </a:lnTo>
                  <a:lnTo>
                    <a:pt x="1748" y="726"/>
                  </a:lnTo>
                  <a:lnTo>
                    <a:pt x="1748" y="726"/>
                  </a:lnTo>
                  <a:lnTo>
                    <a:pt x="1748" y="730"/>
                  </a:lnTo>
                  <a:lnTo>
                    <a:pt x="1748" y="736"/>
                  </a:lnTo>
                  <a:lnTo>
                    <a:pt x="1748" y="730"/>
                  </a:lnTo>
                  <a:lnTo>
                    <a:pt x="1748" y="730"/>
                  </a:lnTo>
                  <a:lnTo>
                    <a:pt x="1748" y="726"/>
                  </a:lnTo>
                  <a:lnTo>
                    <a:pt x="1748" y="730"/>
                  </a:lnTo>
                  <a:lnTo>
                    <a:pt x="1748" y="736"/>
                  </a:lnTo>
                  <a:lnTo>
                    <a:pt x="1748" y="742"/>
                  </a:lnTo>
                  <a:lnTo>
                    <a:pt x="1748" y="742"/>
                  </a:lnTo>
                  <a:lnTo>
                    <a:pt x="1748" y="742"/>
                  </a:lnTo>
                  <a:lnTo>
                    <a:pt x="1748" y="746"/>
                  </a:lnTo>
                  <a:lnTo>
                    <a:pt x="1748" y="752"/>
                  </a:lnTo>
                  <a:lnTo>
                    <a:pt x="1748" y="752"/>
                  </a:lnTo>
                  <a:lnTo>
                    <a:pt x="1748" y="758"/>
                  </a:lnTo>
                  <a:lnTo>
                    <a:pt x="1754" y="752"/>
                  </a:lnTo>
                  <a:lnTo>
                    <a:pt x="1754" y="758"/>
                  </a:lnTo>
                  <a:lnTo>
                    <a:pt x="1754" y="764"/>
                  </a:lnTo>
                  <a:lnTo>
                    <a:pt x="1754" y="764"/>
                  </a:lnTo>
                  <a:lnTo>
                    <a:pt x="1754" y="770"/>
                  </a:lnTo>
                  <a:lnTo>
                    <a:pt x="1754" y="774"/>
                  </a:lnTo>
                  <a:lnTo>
                    <a:pt x="1758" y="774"/>
                  </a:lnTo>
                  <a:lnTo>
                    <a:pt x="1758" y="780"/>
                  </a:lnTo>
                  <a:lnTo>
                    <a:pt x="1758" y="784"/>
                  </a:lnTo>
                  <a:lnTo>
                    <a:pt x="1758" y="790"/>
                  </a:lnTo>
                  <a:lnTo>
                    <a:pt x="1758" y="796"/>
                  </a:lnTo>
                  <a:lnTo>
                    <a:pt x="1764" y="802"/>
                  </a:lnTo>
                  <a:lnTo>
                    <a:pt x="1764" y="802"/>
                  </a:lnTo>
                  <a:lnTo>
                    <a:pt x="1770" y="806"/>
                  </a:lnTo>
                  <a:lnTo>
                    <a:pt x="1770" y="812"/>
                  </a:lnTo>
                  <a:lnTo>
                    <a:pt x="1770" y="806"/>
                  </a:lnTo>
                  <a:lnTo>
                    <a:pt x="1764" y="802"/>
                  </a:lnTo>
                  <a:lnTo>
                    <a:pt x="1758" y="802"/>
                  </a:lnTo>
                  <a:lnTo>
                    <a:pt x="1758" y="802"/>
                  </a:lnTo>
                  <a:lnTo>
                    <a:pt x="1758" y="802"/>
                  </a:lnTo>
                  <a:lnTo>
                    <a:pt x="1754" y="802"/>
                  </a:lnTo>
                  <a:lnTo>
                    <a:pt x="1748" y="796"/>
                  </a:lnTo>
                  <a:lnTo>
                    <a:pt x="1748" y="802"/>
                  </a:lnTo>
                  <a:lnTo>
                    <a:pt x="1754" y="796"/>
                  </a:lnTo>
                  <a:lnTo>
                    <a:pt x="1754" y="802"/>
                  </a:lnTo>
                  <a:lnTo>
                    <a:pt x="1748" y="802"/>
                  </a:lnTo>
                  <a:lnTo>
                    <a:pt x="1748" y="802"/>
                  </a:lnTo>
                  <a:lnTo>
                    <a:pt x="1748" y="802"/>
                  </a:lnTo>
                  <a:lnTo>
                    <a:pt x="1748" y="806"/>
                  </a:lnTo>
                  <a:lnTo>
                    <a:pt x="1742" y="806"/>
                  </a:lnTo>
                  <a:lnTo>
                    <a:pt x="1742" y="812"/>
                  </a:lnTo>
                  <a:lnTo>
                    <a:pt x="1742" y="812"/>
                  </a:lnTo>
                  <a:lnTo>
                    <a:pt x="1736" y="818"/>
                  </a:lnTo>
                  <a:lnTo>
                    <a:pt x="1736" y="824"/>
                  </a:lnTo>
                  <a:lnTo>
                    <a:pt x="1736" y="824"/>
                  </a:lnTo>
                  <a:lnTo>
                    <a:pt x="1736" y="830"/>
                  </a:lnTo>
                  <a:lnTo>
                    <a:pt x="1736" y="834"/>
                  </a:lnTo>
                  <a:lnTo>
                    <a:pt x="1742" y="838"/>
                  </a:lnTo>
                  <a:lnTo>
                    <a:pt x="1748" y="838"/>
                  </a:lnTo>
                  <a:lnTo>
                    <a:pt x="1748" y="850"/>
                  </a:lnTo>
                  <a:lnTo>
                    <a:pt x="1748" y="850"/>
                  </a:lnTo>
                  <a:lnTo>
                    <a:pt x="1748" y="850"/>
                  </a:lnTo>
                  <a:lnTo>
                    <a:pt x="1748" y="850"/>
                  </a:lnTo>
                  <a:lnTo>
                    <a:pt x="1754" y="850"/>
                  </a:lnTo>
                  <a:lnTo>
                    <a:pt x="1754" y="850"/>
                  </a:lnTo>
                  <a:lnTo>
                    <a:pt x="1754" y="856"/>
                  </a:lnTo>
                  <a:lnTo>
                    <a:pt x="1754" y="860"/>
                  </a:lnTo>
                  <a:lnTo>
                    <a:pt x="1754" y="860"/>
                  </a:lnTo>
                  <a:lnTo>
                    <a:pt x="1748" y="860"/>
                  </a:lnTo>
                  <a:lnTo>
                    <a:pt x="1748" y="866"/>
                  </a:lnTo>
                  <a:lnTo>
                    <a:pt x="1748" y="866"/>
                  </a:lnTo>
                  <a:lnTo>
                    <a:pt x="1748" y="866"/>
                  </a:lnTo>
                  <a:lnTo>
                    <a:pt x="1748" y="866"/>
                  </a:lnTo>
                  <a:close/>
                  <a:moveTo>
                    <a:pt x="1922" y="764"/>
                  </a:moveTo>
                  <a:lnTo>
                    <a:pt x="1922" y="764"/>
                  </a:lnTo>
                  <a:lnTo>
                    <a:pt x="1922" y="764"/>
                  </a:lnTo>
                  <a:lnTo>
                    <a:pt x="1922" y="764"/>
                  </a:lnTo>
                  <a:lnTo>
                    <a:pt x="1922" y="764"/>
                  </a:lnTo>
                  <a:lnTo>
                    <a:pt x="1922" y="764"/>
                  </a:lnTo>
                  <a:lnTo>
                    <a:pt x="1922" y="764"/>
                  </a:lnTo>
                  <a:lnTo>
                    <a:pt x="1922" y="764"/>
                  </a:lnTo>
                  <a:close/>
                  <a:moveTo>
                    <a:pt x="1938" y="770"/>
                  </a:moveTo>
                  <a:lnTo>
                    <a:pt x="1932" y="770"/>
                  </a:lnTo>
                  <a:lnTo>
                    <a:pt x="1932" y="764"/>
                  </a:lnTo>
                  <a:lnTo>
                    <a:pt x="1938" y="764"/>
                  </a:lnTo>
                  <a:lnTo>
                    <a:pt x="1938" y="770"/>
                  </a:lnTo>
                  <a:lnTo>
                    <a:pt x="1938" y="770"/>
                  </a:lnTo>
                  <a:lnTo>
                    <a:pt x="1938" y="770"/>
                  </a:lnTo>
                  <a:lnTo>
                    <a:pt x="1938" y="770"/>
                  </a:lnTo>
                  <a:close/>
                  <a:moveTo>
                    <a:pt x="1916" y="780"/>
                  </a:moveTo>
                  <a:lnTo>
                    <a:pt x="1916" y="774"/>
                  </a:lnTo>
                  <a:lnTo>
                    <a:pt x="1922" y="774"/>
                  </a:lnTo>
                  <a:lnTo>
                    <a:pt x="1922" y="774"/>
                  </a:lnTo>
                  <a:lnTo>
                    <a:pt x="1922" y="774"/>
                  </a:lnTo>
                  <a:lnTo>
                    <a:pt x="1922" y="770"/>
                  </a:lnTo>
                  <a:lnTo>
                    <a:pt x="1928" y="770"/>
                  </a:lnTo>
                  <a:lnTo>
                    <a:pt x="1928" y="764"/>
                  </a:lnTo>
                  <a:lnTo>
                    <a:pt x="1928" y="770"/>
                  </a:lnTo>
                  <a:lnTo>
                    <a:pt x="1932" y="774"/>
                  </a:lnTo>
                  <a:lnTo>
                    <a:pt x="1928" y="774"/>
                  </a:lnTo>
                  <a:lnTo>
                    <a:pt x="1922" y="780"/>
                  </a:lnTo>
                  <a:lnTo>
                    <a:pt x="1922" y="780"/>
                  </a:lnTo>
                  <a:lnTo>
                    <a:pt x="1916" y="780"/>
                  </a:lnTo>
                  <a:lnTo>
                    <a:pt x="1916" y="780"/>
                  </a:lnTo>
                  <a:lnTo>
                    <a:pt x="1916" y="780"/>
                  </a:lnTo>
                  <a:lnTo>
                    <a:pt x="1916" y="780"/>
                  </a:lnTo>
                  <a:close/>
                  <a:moveTo>
                    <a:pt x="1910" y="802"/>
                  </a:moveTo>
                  <a:lnTo>
                    <a:pt x="1910" y="796"/>
                  </a:lnTo>
                  <a:lnTo>
                    <a:pt x="1910" y="790"/>
                  </a:lnTo>
                  <a:lnTo>
                    <a:pt x="1910" y="790"/>
                  </a:lnTo>
                  <a:lnTo>
                    <a:pt x="1910" y="796"/>
                  </a:lnTo>
                  <a:lnTo>
                    <a:pt x="1910" y="796"/>
                  </a:lnTo>
                  <a:lnTo>
                    <a:pt x="1910" y="802"/>
                  </a:lnTo>
                  <a:lnTo>
                    <a:pt x="1910" y="802"/>
                  </a:lnTo>
                  <a:lnTo>
                    <a:pt x="1910" y="802"/>
                  </a:lnTo>
                  <a:lnTo>
                    <a:pt x="1910" y="802"/>
                  </a:lnTo>
                  <a:lnTo>
                    <a:pt x="1910" y="802"/>
                  </a:lnTo>
                  <a:close/>
                  <a:moveTo>
                    <a:pt x="1904" y="802"/>
                  </a:moveTo>
                  <a:lnTo>
                    <a:pt x="1910" y="802"/>
                  </a:lnTo>
                  <a:lnTo>
                    <a:pt x="1910" y="802"/>
                  </a:lnTo>
                  <a:lnTo>
                    <a:pt x="1904" y="802"/>
                  </a:lnTo>
                  <a:lnTo>
                    <a:pt x="1904" y="802"/>
                  </a:lnTo>
                  <a:lnTo>
                    <a:pt x="1904" y="802"/>
                  </a:lnTo>
                  <a:lnTo>
                    <a:pt x="1904" y="802"/>
                  </a:lnTo>
                  <a:lnTo>
                    <a:pt x="1904" y="802"/>
                  </a:lnTo>
                  <a:close/>
                  <a:moveTo>
                    <a:pt x="1898" y="812"/>
                  </a:moveTo>
                  <a:lnTo>
                    <a:pt x="1898" y="806"/>
                  </a:lnTo>
                  <a:lnTo>
                    <a:pt x="1898" y="806"/>
                  </a:lnTo>
                  <a:lnTo>
                    <a:pt x="1898" y="812"/>
                  </a:lnTo>
                  <a:lnTo>
                    <a:pt x="1898" y="812"/>
                  </a:lnTo>
                  <a:lnTo>
                    <a:pt x="1898" y="812"/>
                  </a:lnTo>
                  <a:lnTo>
                    <a:pt x="1898" y="812"/>
                  </a:lnTo>
                  <a:lnTo>
                    <a:pt x="1898" y="812"/>
                  </a:lnTo>
                  <a:close/>
                  <a:moveTo>
                    <a:pt x="1878" y="844"/>
                  </a:moveTo>
                  <a:lnTo>
                    <a:pt x="1878" y="838"/>
                  </a:lnTo>
                  <a:lnTo>
                    <a:pt x="1878" y="844"/>
                  </a:lnTo>
                  <a:lnTo>
                    <a:pt x="1872" y="844"/>
                  </a:lnTo>
                  <a:lnTo>
                    <a:pt x="1872" y="850"/>
                  </a:lnTo>
                  <a:lnTo>
                    <a:pt x="1868" y="850"/>
                  </a:lnTo>
                  <a:lnTo>
                    <a:pt x="1868" y="850"/>
                  </a:lnTo>
                  <a:lnTo>
                    <a:pt x="1868" y="850"/>
                  </a:lnTo>
                  <a:lnTo>
                    <a:pt x="1872" y="844"/>
                  </a:lnTo>
                  <a:lnTo>
                    <a:pt x="1878" y="838"/>
                  </a:lnTo>
                  <a:lnTo>
                    <a:pt x="1878" y="844"/>
                  </a:lnTo>
                  <a:lnTo>
                    <a:pt x="1878" y="844"/>
                  </a:lnTo>
                  <a:lnTo>
                    <a:pt x="1878" y="844"/>
                  </a:lnTo>
                  <a:lnTo>
                    <a:pt x="1878" y="844"/>
                  </a:lnTo>
                  <a:close/>
                  <a:moveTo>
                    <a:pt x="1836" y="872"/>
                  </a:moveTo>
                  <a:lnTo>
                    <a:pt x="1842" y="872"/>
                  </a:lnTo>
                  <a:lnTo>
                    <a:pt x="1842" y="866"/>
                  </a:lnTo>
                  <a:lnTo>
                    <a:pt x="1842" y="866"/>
                  </a:lnTo>
                  <a:lnTo>
                    <a:pt x="1842" y="860"/>
                  </a:lnTo>
                  <a:lnTo>
                    <a:pt x="1844" y="860"/>
                  </a:lnTo>
                  <a:lnTo>
                    <a:pt x="1850" y="860"/>
                  </a:lnTo>
                  <a:lnTo>
                    <a:pt x="1844" y="860"/>
                  </a:lnTo>
                  <a:lnTo>
                    <a:pt x="1844" y="866"/>
                  </a:lnTo>
                  <a:lnTo>
                    <a:pt x="1842" y="872"/>
                  </a:lnTo>
                  <a:lnTo>
                    <a:pt x="1842" y="872"/>
                  </a:lnTo>
                  <a:lnTo>
                    <a:pt x="1842" y="872"/>
                  </a:lnTo>
                  <a:lnTo>
                    <a:pt x="1836" y="872"/>
                  </a:lnTo>
                  <a:lnTo>
                    <a:pt x="1836" y="872"/>
                  </a:lnTo>
                  <a:lnTo>
                    <a:pt x="1836" y="872"/>
                  </a:lnTo>
                  <a:lnTo>
                    <a:pt x="1836" y="872"/>
                  </a:lnTo>
                  <a:close/>
                  <a:moveTo>
                    <a:pt x="1796" y="898"/>
                  </a:moveTo>
                  <a:lnTo>
                    <a:pt x="1802" y="892"/>
                  </a:lnTo>
                  <a:lnTo>
                    <a:pt x="1802" y="888"/>
                  </a:lnTo>
                  <a:lnTo>
                    <a:pt x="1802" y="888"/>
                  </a:lnTo>
                  <a:lnTo>
                    <a:pt x="1802" y="884"/>
                  </a:lnTo>
                  <a:lnTo>
                    <a:pt x="1808" y="884"/>
                  </a:lnTo>
                  <a:lnTo>
                    <a:pt x="1808" y="884"/>
                  </a:lnTo>
                  <a:lnTo>
                    <a:pt x="1814" y="884"/>
                  </a:lnTo>
                  <a:lnTo>
                    <a:pt x="1814" y="878"/>
                  </a:lnTo>
                  <a:lnTo>
                    <a:pt x="1814" y="878"/>
                  </a:lnTo>
                  <a:lnTo>
                    <a:pt x="1814" y="884"/>
                  </a:lnTo>
                  <a:lnTo>
                    <a:pt x="1818" y="884"/>
                  </a:lnTo>
                  <a:lnTo>
                    <a:pt x="1818" y="878"/>
                  </a:lnTo>
                  <a:lnTo>
                    <a:pt x="1824" y="878"/>
                  </a:lnTo>
                  <a:lnTo>
                    <a:pt x="1824" y="872"/>
                  </a:lnTo>
                  <a:lnTo>
                    <a:pt x="1830" y="872"/>
                  </a:lnTo>
                  <a:lnTo>
                    <a:pt x="1830" y="878"/>
                  </a:lnTo>
                  <a:lnTo>
                    <a:pt x="1824" y="878"/>
                  </a:lnTo>
                  <a:lnTo>
                    <a:pt x="1824" y="884"/>
                  </a:lnTo>
                  <a:lnTo>
                    <a:pt x="1818" y="884"/>
                  </a:lnTo>
                  <a:lnTo>
                    <a:pt x="1814" y="884"/>
                  </a:lnTo>
                  <a:lnTo>
                    <a:pt x="1814" y="884"/>
                  </a:lnTo>
                  <a:lnTo>
                    <a:pt x="1814" y="884"/>
                  </a:lnTo>
                  <a:lnTo>
                    <a:pt x="1808" y="884"/>
                  </a:lnTo>
                  <a:lnTo>
                    <a:pt x="1808" y="888"/>
                  </a:lnTo>
                  <a:lnTo>
                    <a:pt x="1802" y="892"/>
                  </a:lnTo>
                  <a:lnTo>
                    <a:pt x="1802" y="898"/>
                  </a:lnTo>
                  <a:lnTo>
                    <a:pt x="1802" y="898"/>
                  </a:lnTo>
                  <a:lnTo>
                    <a:pt x="1796" y="898"/>
                  </a:lnTo>
                  <a:lnTo>
                    <a:pt x="1796" y="898"/>
                  </a:lnTo>
                  <a:lnTo>
                    <a:pt x="1796" y="898"/>
                  </a:lnTo>
                  <a:lnTo>
                    <a:pt x="1796" y="898"/>
                  </a:lnTo>
                  <a:close/>
                  <a:moveTo>
                    <a:pt x="1790" y="898"/>
                  </a:moveTo>
                  <a:lnTo>
                    <a:pt x="1790" y="898"/>
                  </a:lnTo>
                  <a:lnTo>
                    <a:pt x="1790" y="898"/>
                  </a:lnTo>
                  <a:lnTo>
                    <a:pt x="1790" y="898"/>
                  </a:lnTo>
                  <a:lnTo>
                    <a:pt x="1786" y="898"/>
                  </a:lnTo>
                  <a:lnTo>
                    <a:pt x="1786" y="904"/>
                  </a:lnTo>
                  <a:lnTo>
                    <a:pt x="1782" y="904"/>
                  </a:lnTo>
                  <a:lnTo>
                    <a:pt x="1782" y="910"/>
                  </a:lnTo>
                  <a:lnTo>
                    <a:pt x="1782" y="910"/>
                  </a:lnTo>
                  <a:lnTo>
                    <a:pt x="1782" y="910"/>
                  </a:lnTo>
                  <a:lnTo>
                    <a:pt x="1782" y="910"/>
                  </a:lnTo>
                  <a:lnTo>
                    <a:pt x="1782" y="910"/>
                  </a:lnTo>
                  <a:lnTo>
                    <a:pt x="1782" y="904"/>
                  </a:lnTo>
                  <a:lnTo>
                    <a:pt x="1786" y="898"/>
                  </a:lnTo>
                  <a:lnTo>
                    <a:pt x="1786" y="898"/>
                  </a:lnTo>
                  <a:lnTo>
                    <a:pt x="1790" y="898"/>
                  </a:lnTo>
                  <a:lnTo>
                    <a:pt x="1790" y="898"/>
                  </a:lnTo>
                  <a:lnTo>
                    <a:pt x="1790" y="898"/>
                  </a:lnTo>
                  <a:lnTo>
                    <a:pt x="1790" y="898"/>
                  </a:lnTo>
                  <a:close/>
                  <a:moveTo>
                    <a:pt x="1796" y="910"/>
                  </a:moveTo>
                  <a:lnTo>
                    <a:pt x="1796" y="910"/>
                  </a:lnTo>
                  <a:lnTo>
                    <a:pt x="1790" y="910"/>
                  </a:lnTo>
                  <a:lnTo>
                    <a:pt x="1790" y="910"/>
                  </a:lnTo>
                  <a:lnTo>
                    <a:pt x="1796" y="910"/>
                  </a:lnTo>
                  <a:lnTo>
                    <a:pt x="1796" y="910"/>
                  </a:lnTo>
                  <a:lnTo>
                    <a:pt x="1796" y="910"/>
                  </a:lnTo>
                  <a:lnTo>
                    <a:pt x="1796" y="91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21" name="Freeform 14"/>
            <p:cNvSpPr>
              <a:spLocks/>
            </p:cNvSpPr>
            <p:nvPr/>
          </p:nvSpPr>
          <p:spPr bwMode="auto">
            <a:xfrm>
              <a:off x="7248774" y="4029685"/>
              <a:ext cx="113037" cy="96761"/>
            </a:xfrm>
            <a:custGeom>
              <a:avLst/>
              <a:gdLst>
                <a:gd name="T0" fmla="*/ 126 w 180"/>
                <a:gd name="T1" fmla="*/ 30 h 148"/>
                <a:gd name="T2" fmla="*/ 112 w 180"/>
                <a:gd name="T3" fmla="*/ 44 h 148"/>
                <a:gd name="T4" fmla="*/ 106 w 180"/>
                <a:gd name="T5" fmla="*/ 38 h 148"/>
                <a:gd name="T6" fmla="*/ 100 w 180"/>
                <a:gd name="T7" fmla="*/ 36 h 148"/>
                <a:gd name="T8" fmla="*/ 96 w 180"/>
                <a:gd name="T9" fmla="*/ 34 h 148"/>
                <a:gd name="T10" fmla="*/ 80 w 180"/>
                <a:gd name="T11" fmla="*/ 52 h 148"/>
                <a:gd name="T12" fmla="*/ 74 w 180"/>
                <a:gd name="T13" fmla="*/ 50 h 148"/>
                <a:gd name="T14" fmla="*/ 56 w 180"/>
                <a:gd name="T15" fmla="*/ 46 h 148"/>
                <a:gd name="T16" fmla="*/ 40 w 180"/>
                <a:gd name="T17" fmla="*/ 40 h 148"/>
                <a:gd name="T18" fmla="*/ 34 w 180"/>
                <a:gd name="T19" fmla="*/ 28 h 148"/>
                <a:gd name="T20" fmla="*/ 34 w 180"/>
                <a:gd name="T21" fmla="*/ 30 h 148"/>
                <a:gd name="T22" fmla="*/ 28 w 180"/>
                <a:gd name="T23" fmla="*/ 30 h 148"/>
                <a:gd name="T24" fmla="*/ 26 w 180"/>
                <a:gd name="T25" fmla="*/ 32 h 148"/>
                <a:gd name="T26" fmla="*/ 16 w 180"/>
                <a:gd name="T27" fmla="*/ 42 h 148"/>
                <a:gd name="T28" fmla="*/ 10 w 180"/>
                <a:gd name="T29" fmla="*/ 42 h 148"/>
                <a:gd name="T30" fmla="*/ 8 w 180"/>
                <a:gd name="T31" fmla="*/ 48 h 148"/>
                <a:gd name="T32" fmla="*/ 2 w 180"/>
                <a:gd name="T33" fmla="*/ 38 h 148"/>
                <a:gd name="T34" fmla="*/ 0 w 180"/>
                <a:gd name="T35" fmla="*/ 54 h 148"/>
                <a:gd name="T36" fmla="*/ 10 w 180"/>
                <a:gd name="T37" fmla="*/ 58 h 148"/>
                <a:gd name="T38" fmla="*/ 12 w 180"/>
                <a:gd name="T39" fmla="*/ 62 h 148"/>
                <a:gd name="T40" fmla="*/ 24 w 180"/>
                <a:gd name="T41" fmla="*/ 68 h 148"/>
                <a:gd name="T42" fmla="*/ 26 w 180"/>
                <a:gd name="T43" fmla="*/ 76 h 148"/>
                <a:gd name="T44" fmla="*/ 42 w 180"/>
                <a:gd name="T45" fmla="*/ 90 h 148"/>
                <a:gd name="T46" fmla="*/ 56 w 180"/>
                <a:gd name="T47" fmla="*/ 110 h 148"/>
                <a:gd name="T48" fmla="*/ 68 w 180"/>
                <a:gd name="T49" fmla="*/ 130 h 148"/>
                <a:gd name="T50" fmla="*/ 76 w 180"/>
                <a:gd name="T51" fmla="*/ 130 h 148"/>
                <a:gd name="T52" fmla="*/ 90 w 180"/>
                <a:gd name="T53" fmla="*/ 130 h 148"/>
                <a:gd name="T54" fmla="*/ 108 w 180"/>
                <a:gd name="T55" fmla="*/ 146 h 148"/>
                <a:gd name="T56" fmla="*/ 110 w 180"/>
                <a:gd name="T57" fmla="*/ 144 h 148"/>
                <a:gd name="T58" fmla="*/ 122 w 180"/>
                <a:gd name="T59" fmla="*/ 144 h 148"/>
                <a:gd name="T60" fmla="*/ 136 w 180"/>
                <a:gd name="T61" fmla="*/ 142 h 148"/>
                <a:gd name="T62" fmla="*/ 152 w 180"/>
                <a:gd name="T63" fmla="*/ 138 h 148"/>
                <a:gd name="T64" fmla="*/ 180 w 180"/>
                <a:gd name="T65" fmla="*/ 130 h 148"/>
                <a:gd name="T66" fmla="*/ 168 w 180"/>
                <a:gd name="T67" fmla="*/ 112 h 148"/>
                <a:gd name="T68" fmla="*/ 162 w 180"/>
                <a:gd name="T69" fmla="*/ 94 h 148"/>
                <a:gd name="T70" fmla="*/ 150 w 180"/>
                <a:gd name="T71" fmla="*/ 78 h 148"/>
                <a:gd name="T72" fmla="*/ 138 w 180"/>
                <a:gd name="T73" fmla="*/ 70 h 148"/>
                <a:gd name="T74" fmla="*/ 140 w 180"/>
                <a:gd name="T75" fmla="*/ 62 h 148"/>
                <a:gd name="T76" fmla="*/ 154 w 180"/>
                <a:gd name="T77" fmla="*/ 58 h 148"/>
                <a:gd name="T78" fmla="*/ 156 w 180"/>
                <a:gd name="T79" fmla="*/ 26 h 148"/>
                <a:gd name="T80" fmla="*/ 156 w 180"/>
                <a:gd name="T81" fmla="*/ 26 h 148"/>
                <a:gd name="T82" fmla="*/ 154 w 180"/>
                <a:gd name="T83" fmla="*/ 28 h 148"/>
                <a:gd name="T84" fmla="*/ 152 w 180"/>
                <a:gd name="T85" fmla="*/ 28 h 148"/>
                <a:gd name="T86" fmla="*/ 152 w 180"/>
                <a:gd name="T87" fmla="*/ 32 h 148"/>
                <a:gd name="T88" fmla="*/ 148 w 180"/>
                <a:gd name="T89" fmla="*/ 28 h 148"/>
                <a:gd name="T90" fmla="*/ 142 w 180"/>
                <a:gd name="T91" fmla="*/ 24 h 148"/>
                <a:gd name="T92" fmla="*/ 142 w 180"/>
                <a:gd name="T93" fmla="*/ 0 h 148"/>
                <a:gd name="T94" fmla="*/ 136 w 180"/>
                <a:gd name="T95" fmla="*/ 6 h 148"/>
                <a:gd name="T96" fmla="*/ 134 w 180"/>
                <a:gd name="T97" fmla="*/ 14 h 148"/>
                <a:gd name="T98" fmla="*/ 132 w 180"/>
                <a:gd name="T99" fmla="*/ 20 h 148"/>
                <a:gd name="T100" fmla="*/ 130 w 180"/>
                <a:gd name="T101" fmla="*/ 22 h 148"/>
                <a:gd name="T102" fmla="*/ 126 w 180"/>
                <a:gd name="T103" fmla="*/ 3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0" h="148">
                  <a:moveTo>
                    <a:pt x="126" y="30"/>
                  </a:moveTo>
                  <a:lnTo>
                    <a:pt x="126" y="30"/>
                  </a:lnTo>
                  <a:lnTo>
                    <a:pt x="120" y="38"/>
                  </a:lnTo>
                  <a:lnTo>
                    <a:pt x="112" y="44"/>
                  </a:lnTo>
                  <a:lnTo>
                    <a:pt x="106" y="38"/>
                  </a:lnTo>
                  <a:lnTo>
                    <a:pt x="106" y="38"/>
                  </a:lnTo>
                  <a:lnTo>
                    <a:pt x="104" y="38"/>
                  </a:lnTo>
                  <a:lnTo>
                    <a:pt x="100" y="36"/>
                  </a:lnTo>
                  <a:lnTo>
                    <a:pt x="98" y="34"/>
                  </a:lnTo>
                  <a:lnTo>
                    <a:pt x="96" y="34"/>
                  </a:lnTo>
                  <a:lnTo>
                    <a:pt x="92" y="44"/>
                  </a:lnTo>
                  <a:lnTo>
                    <a:pt x="80" y="52"/>
                  </a:lnTo>
                  <a:lnTo>
                    <a:pt x="80" y="52"/>
                  </a:lnTo>
                  <a:lnTo>
                    <a:pt x="74" y="50"/>
                  </a:lnTo>
                  <a:lnTo>
                    <a:pt x="70" y="50"/>
                  </a:lnTo>
                  <a:lnTo>
                    <a:pt x="56" y="46"/>
                  </a:lnTo>
                  <a:lnTo>
                    <a:pt x="50" y="48"/>
                  </a:lnTo>
                  <a:lnTo>
                    <a:pt x="40" y="40"/>
                  </a:lnTo>
                  <a:lnTo>
                    <a:pt x="40" y="40"/>
                  </a:lnTo>
                  <a:lnTo>
                    <a:pt x="34" y="28"/>
                  </a:lnTo>
                  <a:lnTo>
                    <a:pt x="34" y="28"/>
                  </a:lnTo>
                  <a:lnTo>
                    <a:pt x="34" y="30"/>
                  </a:lnTo>
                  <a:lnTo>
                    <a:pt x="30" y="30"/>
                  </a:lnTo>
                  <a:lnTo>
                    <a:pt x="28" y="30"/>
                  </a:lnTo>
                  <a:lnTo>
                    <a:pt x="26" y="32"/>
                  </a:lnTo>
                  <a:lnTo>
                    <a:pt x="26" y="32"/>
                  </a:lnTo>
                  <a:lnTo>
                    <a:pt x="24" y="40"/>
                  </a:lnTo>
                  <a:lnTo>
                    <a:pt x="16" y="42"/>
                  </a:lnTo>
                  <a:lnTo>
                    <a:pt x="10" y="42"/>
                  </a:lnTo>
                  <a:lnTo>
                    <a:pt x="10" y="42"/>
                  </a:lnTo>
                  <a:lnTo>
                    <a:pt x="8" y="48"/>
                  </a:lnTo>
                  <a:lnTo>
                    <a:pt x="8" y="48"/>
                  </a:lnTo>
                  <a:lnTo>
                    <a:pt x="2" y="38"/>
                  </a:lnTo>
                  <a:lnTo>
                    <a:pt x="2" y="38"/>
                  </a:lnTo>
                  <a:lnTo>
                    <a:pt x="0" y="54"/>
                  </a:lnTo>
                  <a:lnTo>
                    <a:pt x="0" y="54"/>
                  </a:lnTo>
                  <a:lnTo>
                    <a:pt x="2" y="56"/>
                  </a:lnTo>
                  <a:lnTo>
                    <a:pt x="10" y="58"/>
                  </a:lnTo>
                  <a:lnTo>
                    <a:pt x="10" y="58"/>
                  </a:lnTo>
                  <a:lnTo>
                    <a:pt x="12" y="62"/>
                  </a:lnTo>
                  <a:lnTo>
                    <a:pt x="20" y="64"/>
                  </a:lnTo>
                  <a:lnTo>
                    <a:pt x="24" y="68"/>
                  </a:lnTo>
                  <a:lnTo>
                    <a:pt x="24" y="68"/>
                  </a:lnTo>
                  <a:lnTo>
                    <a:pt x="26" y="76"/>
                  </a:lnTo>
                  <a:lnTo>
                    <a:pt x="42" y="90"/>
                  </a:lnTo>
                  <a:lnTo>
                    <a:pt x="42" y="90"/>
                  </a:lnTo>
                  <a:lnTo>
                    <a:pt x="46" y="104"/>
                  </a:lnTo>
                  <a:lnTo>
                    <a:pt x="56" y="110"/>
                  </a:lnTo>
                  <a:lnTo>
                    <a:pt x="60" y="118"/>
                  </a:lnTo>
                  <a:lnTo>
                    <a:pt x="68" y="130"/>
                  </a:lnTo>
                  <a:lnTo>
                    <a:pt x="72" y="134"/>
                  </a:lnTo>
                  <a:lnTo>
                    <a:pt x="76" y="130"/>
                  </a:lnTo>
                  <a:lnTo>
                    <a:pt x="86" y="132"/>
                  </a:lnTo>
                  <a:lnTo>
                    <a:pt x="90" y="130"/>
                  </a:lnTo>
                  <a:lnTo>
                    <a:pt x="108" y="146"/>
                  </a:lnTo>
                  <a:lnTo>
                    <a:pt x="108" y="146"/>
                  </a:lnTo>
                  <a:lnTo>
                    <a:pt x="108" y="146"/>
                  </a:lnTo>
                  <a:lnTo>
                    <a:pt x="110" y="144"/>
                  </a:lnTo>
                  <a:lnTo>
                    <a:pt x="122" y="144"/>
                  </a:lnTo>
                  <a:lnTo>
                    <a:pt x="122" y="144"/>
                  </a:lnTo>
                  <a:lnTo>
                    <a:pt x="124" y="148"/>
                  </a:lnTo>
                  <a:lnTo>
                    <a:pt x="136" y="142"/>
                  </a:lnTo>
                  <a:lnTo>
                    <a:pt x="144" y="142"/>
                  </a:lnTo>
                  <a:lnTo>
                    <a:pt x="152" y="138"/>
                  </a:lnTo>
                  <a:lnTo>
                    <a:pt x="160" y="130"/>
                  </a:lnTo>
                  <a:lnTo>
                    <a:pt x="180" y="130"/>
                  </a:lnTo>
                  <a:lnTo>
                    <a:pt x="180" y="116"/>
                  </a:lnTo>
                  <a:lnTo>
                    <a:pt x="168" y="112"/>
                  </a:lnTo>
                  <a:lnTo>
                    <a:pt x="168" y="112"/>
                  </a:lnTo>
                  <a:lnTo>
                    <a:pt x="162" y="94"/>
                  </a:lnTo>
                  <a:lnTo>
                    <a:pt x="156" y="86"/>
                  </a:lnTo>
                  <a:lnTo>
                    <a:pt x="150" y="78"/>
                  </a:lnTo>
                  <a:lnTo>
                    <a:pt x="138" y="70"/>
                  </a:lnTo>
                  <a:lnTo>
                    <a:pt x="138" y="70"/>
                  </a:lnTo>
                  <a:lnTo>
                    <a:pt x="140" y="68"/>
                  </a:lnTo>
                  <a:lnTo>
                    <a:pt x="140" y="62"/>
                  </a:lnTo>
                  <a:lnTo>
                    <a:pt x="150" y="62"/>
                  </a:lnTo>
                  <a:lnTo>
                    <a:pt x="154" y="58"/>
                  </a:lnTo>
                  <a:lnTo>
                    <a:pt x="154" y="58"/>
                  </a:lnTo>
                  <a:lnTo>
                    <a:pt x="156" y="26"/>
                  </a:lnTo>
                  <a:lnTo>
                    <a:pt x="156" y="26"/>
                  </a:lnTo>
                  <a:lnTo>
                    <a:pt x="156" y="26"/>
                  </a:lnTo>
                  <a:lnTo>
                    <a:pt x="156" y="26"/>
                  </a:lnTo>
                  <a:lnTo>
                    <a:pt x="154" y="28"/>
                  </a:lnTo>
                  <a:lnTo>
                    <a:pt x="152" y="28"/>
                  </a:lnTo>
                  <a:lnTo>
                    <a:pt x="152" y="28"/>
                  </a:lnTo>
                  <a:lnTo>
                    <a:pt x="152" y="32"/>
                  </a:lnTo>
                  <a:lnTo>
                    <a:pt x="152" y="32"/>
                  </a:lnTo>
                  <a:lnTo>
                    <a:pt x="150" y="30"/>
                  </a:lnTo>
                  <a:lnTo>
                    <a:pt x="148" y="28"/>
                  </a:lnTo>
                  <a:lnTo>
                    <a:pt x="144" y="26"/>
                  </a:lnTo>
                  <a:lnTo>
                    <a:pt x="142" y="24"/>
                  </a:lnTo>
                  <a:lnTo>
                    <a:pt x="142" y="24"/>
                  </a:lnTo>
                  <a:lnTo>
                    <a:pt x="142" y="0"/>
                  </a:lnTo>
                  <a:lnTo>
                    <a:pt x="136" y="6"/>
                  </a:lnTo>
                  <a:lnTo>
                    <a:pt x="136" y="6"/>
                  </a:lnTo>
                  <a:lnTo>
                    <a:pt x="134" y="10"/>
                  </a:lnTo>
                  <a:lnTo>
                    <a:pt x="134" y="14"/>
                  </a:lnTo>
                  <a:lnTo>
                    <a:pt x="134" y="14"/>
                  </a:lnTo>
                  <a:lnTo>
                    <a:pt x="132" y="20"/>
                  </a:lnTo>
                  <a:lnTo>
                    <a:pt x="132" y="20"/>
                  </a:lnTo>
                  <a:lnTo>
                    <a:pt x="130" y="22"/>
                  </a:lnTo>
                  <a:lnTo>
                    <a:pt x="126" y="30"/>
                  </a:lnTo>
                  <a:lnTo>
                    <a:pt x="126" y="30"/>
                  </a:lnTo>
                  <a:lnTo>
                    <a:pt x="126" y="3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22" name="Freeform 15"/>
            <p:cNvSpPr>
              <a:spLocks/>
            </p:cNvSpPr>
            <p:nvPr/>
          </p:nvSpPr>
          <p:spPr bwMode="auto">
            <a:xfrm>
              <a:off x="7234959" y="3896312"/>
              <a:ext cx="149459" cy="167371"/>
            </a:xfrm>
            <a:custGeom>
              <a:avLst/>
              <a:gdLst>
                <a:gd name="T0" fmla="*/ 30 w 238"/>
                <a:gd name="T1" fmla="*/ 102 h 256"/>
                <a:gd name="T2" fmla="*/ 16 w 238"/>
                <a:gd name="T3" fmla="*/ 138 h 256"/>
                <a:gd name="T4" fmla="*/ 6 w 238"/>
                <a:gd name="T5" fmla="*/ 158 h 256"/>
                <a:gd name="T6" fmla="*/ 2 w 238"/>
                <a:gd name="T7" fmla="*/ 178 h 256"/>
                <a:gd name="T8" fmla="*/ 6 w 238"/>
                <a:gd name="T9" fmla="*/ 188 h 256"/>
                <a:gd name="T10" fmla="*/ 14 w 238"/>
                <a:gd name="T11" fmla="*/ 218 h 256"/>
                <a:gd name="T12" fmla="*/ 22 w 238"/>
                <a:gd name="T13" fmla="*/ 238 h 256"/>
                <a:gd name="T14" fmla="*/ 24 w 238"/>
                <a:gd name="T15" fmla="*/ 244 h 256"/>
                <a:gd name="T16" fmla="*/ 28 w 238"/>
                <a:gd name="T17" fmla="*/ 250 h 256"/>
                <a:gd name="T18" fmla="*/ 30 w 238"/>
                <a:gd name="T19" fmla="*/ 250 h 256"/>
                <a:gd name="T20" fmla="*/ 36 w 238"/>
                <a:gd name="T21" fmla="*/ 246 h 256"/>
                <a:gd name="T22" fmla="*/ 46 w 238"/>
                <a:gd name="T23" fmla="*/ 244 h 256"/>
                <a:gd name="T24" fmla="*/ 48 w 238"/>
                <a:gd name="T25" fmla="*/ 238 h 256"/>
                <a:gd name="T26" fmla="*/ 58 w 238"/>
                <a:gd name="T27" fmla="*/ 238 h 256"/>
                <a:gd name="T28" fmla="*/ 62 w 238"/>
                <a:gd name="T29" fmla="*/ 246 h 256"/>
                <a:gd name="T30" fmla="*/ 74 w 238"/>
                <a:gd name="T31" fmla="*/ 250 h 256"/>
                <a:gd name="T32" fmla="*/ 90 w 238"/>
                <a:gd name="T33" fmla="*/ 254 h 256"/>
                <a:gd name="T34" fmla="*/ 100 w 238"/>
                <a:gd name="T35" fmla="*/ 256 h 256"/>
                <a:gd name="T36" fmla="*/ 112 w 238"/>
                <a:gd name="T37" fmla="*/ 250 h 256"/>
                <a:gd name="T38" fmla="*/ 118 w 238"/>
                <a:gd name="T39" fmla="*/ 238 h 256"/>
                <a:gd name="T40" fmla="*/ 128 w 238"/>
                <a:gd name="T41" fmla="*/ 244 h 256"/>
                <a:gd name="T42" fmla="*/ 130 w 238"/>
                <a:gd name="T43" fmla="*/ 246 h 256"/>
                <a:gd name="T44" fmla="*/ 142 w 238"/>
                <a:gd name="T45" fmla="*/ 244 h 256"/>
                <a:gd name="T46" fmla="*/ 150 w 238"/>
                <a:gd name="T47" fmla="*/ 230 h 256"/>
                <a:gd name="T48" fmla="*/ 156 w 238"/>
                <a:gd name="T49" fmla="*/ 224 h 256"/>
                <a:gd name="T50" fmla="*/ 156 w 238"/>
                <a:gd name="T51" fmla="*/ 218 h 256"/>
                <a:gd name="T52" fmla="*/ 158 w 238"/>
                <a:gd name="T53" fmla="*/ 210 h 256"/>
                <a:gd name="T54" fmla="*/ 164 w 238"/>
                <a:gd name="T55" fmla="*/ 216 h 256"/>
                <a:gd name="T56" fmla="*/ 166 w 238"/>
                <a:gd name="T57" fmla="*/ 232 h 256"/>
                <a:gd name="T58" fmla="*/ 174 w 238"/>
                <a:gd name="T59" fmla="*/ 236 h 256"/>
                <a:gd name="T60" fmla="*/ 176 w 238"/>
                <a:gd name="T61" fmla="*/ 234 h 256"/>
                <a:gd name="T62" fmla="*/ 178 w 238"/>
                <a:gd name="T63" fmla="*/ 230 h 256"/>
                <a:gd name="T64" fmla="*/ 186 w 238"/>
                <a:gd name="T65" fmla="*/ 220 h 256"/>
                <a:gd name="T66" fmla="*/ 206 w 238"/>
                <a:gd name="T67" fmla="*/ 186 h 256"/>
                <a:gd name="T68" fmla="*/ 210 w 238"/>
                <a:gd name="T69" fmla="*/ 162 h 256"/>
                <a:gd name="T70" fmla="*/ 222 w 238"/>
                <a:gd name="T71" fmla="*/ 110 h 256"/>
                <a:gd name="T72" fmla="*/ 236 w 238"/>
                <a:gd name="T73" fmla="*/ 102 h 256"/>
                <a:gd name="T74" fmla="*/ 238 w 238"/>
                <a:gd name="T75" fmla="*/ 92 h 256"/>
                <a:gd name="T76" fmla="*/ 232 w 238"/>
                <a:gd name="T77" fmla="*/ 84 h 256"/>
                <a:gd name="T78" fmla="*/ 222 w 238"/>
                <a:gd name="T79" fmla="*/ 78 h 256"/>
                <a:gd name="T80" fmla="*/ 220 w 238"/>
                <a:gd name="T81" fmla="*/ 38 h 256"/>
                <a:gd name="T82" fmla="*/ 214 w 238"/>
                <a:gd name="T83" fmla="*/ 22 h 256"/>
                <a:gd name="T84" fmla="*/ 196 w 238"/>
                <a:gd name="T85" fmla="*/ 0 h 256"/>
                <a:gd name="T86" fmla="*/ 184 w 238"/>
                <a:gd name="T87" fmla="*/ 14 h 256"/>
                <a:gd name="T88" fmla="*/ 174 w 238"/>
                <a:gd name="T89" fmla="*/ 24 h 256"/>
                <a:gd name="T90" fmla="*/ 150 w 238"/>
                <a:gd name="T91" fmla="*/ 22 h 256"/>
                <a:gd name="T92" fmla="*/ 138 w 238"/>
                <a:gd name="T93" fmla="*/ 16 h 256"/>
                <a:gd name="T94" fmla="*/ 136 w 238"/>
                <a:gd name="T95" fmla="*/ 22 h 256"/>
                <a:gd name="T96" fmla="*/ 100 w 238"/>
                <a:gd name="T97" fmla="*/ 22 h 256"/>
                <a:gd name="T98" fmla="*/ 66 w 238"/>
                <a:gd name="T99" fmla="*/ 22 h 256"/>
                <a:gd name="T100" fmla="*/ 44 w 238"/>
                <a:gd name="T101" fmla="*/ 38 h 256"/>
                <a:gd name="T102" fmla="*/ 30 w 238"/>
                <a:gd name="T103" fmla="*/ 6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8" h="256">
                  <a:moveTo>
                    <a:pt x="30" y="66"/>
                  </a:moveTo>
                  <a:lnTo>
                    <a:pt x="30" y="84"/>
                  </a:lnTo>
                  <a:lnTo>
                    <a:pt x="30" y="102"/>
                  </a:lnTo>
                  <a:lnTo>
                    <a:pt x="30" y="118"/>
                  </a:lnTo>
                  <a:lnTo>
                    <a:pt x="30" y="134"/>
                  </a:lnTo>
                  <a:lnTo>
                    <a:pt x="16" y="138"/>
                  </a:lnTo>
                  <a:lnTo>
                    <a:pt x="16" y="138"/>
                  </a:lnTo>
                  <a:lnTo>
                    <a:pt x="12" y="146"/>
                  </a:lnTo>
                  <a:lnTo>
                    <a:pt x="6" y="158"/>
                  </a:lnTo>
                  <a:lnTo>
                    <a:pt x="6" y="168"/>
                  </a:lnTo>
                  <a:lnTo>
                    <a:pt x="2" y="170"/>
                  </a:lnTo>
                  <a:lnTo>
                    <a:pt x="2" y="178"/>
                  </a:lnTo>
                  <a:lnTo>
                    <a:pt x="0" y="184"/>
                  </a:lnTo>
                  <a:lnTo>
                    <a:pt x="0" y="190"/>
                  </a:lnTo>
                  <a:lnTo>
                    <a:pt x="6" y="188"/>
                  </a:lnTo>
                  <a:lnTo>
                    <a:pt x="6" y="188"/>
                  </a:lnTo>
                  <a:lnTo>
                    <a:pt x="6" y="198"/>
                  </a:lnTo>
                  <a:lnTo>
                    <a:pt x="14" y="218"/>
                  </a:lnTo>
                  <a:lnTo>
                    <a:pt x="14" y="218"/>
                  </a:lnTo>
                  <a:lnTo>
                    <a:pt x="12" y="220"/>
                  </a:lnTo>
                  <a:lnTo>
                    <a:pt x="22" y="238"/>
                  </a:lnTo>
                  <a:lnTo>
                    <a:pt x="22" y="238"/>
                  </a:lnTo>
                  <a:lnTo>
                    <a:pt x="24" y="244"/>
                  </a:lnTo>
                  <a:lnTo>
                    <a:pt x="24" y="244"/>
                  </a:lnTo>
                  <a:lnTo>
                    <a:pt x="24" y="246"/>
                  </a:lnTo>
                  <a:lnTo>
                    <a:pt x="26" y="248"/>
                  </a:lnTo>
                  <a:lnTo>
                    <a:pt x="28" y="250"/>
                  </a:lnTo>
                  <a:lnTo>
                    <a:pt x="28" y="252"/>
                  </a:lnTo>
                  <a:lnTo>
                    <a:pt x="28" y="252"/>
                  </a:lnTo>
                  <a:lnTo>
                    <a:pt x="30" y="250"/>
                  </a:lnTo>
                  <a:lnTo>
                    <a:pt x="32" y="248"/>
                  </a:lnTo>
                  <a:lnTo>
                    <a:pt x="32" y="248"/>
                  </a:lnTo>
                  <a:lnTo>
                    <a:pt x="36" y="246"/>
                  </a:lnTo>
                  <a:lnTo>
                    <a:pt x="38" y="246"/>
                  </a:lnTo>
                  <a:lnTo>
                    <a:pt x="40" y="246"/>
                  </a:lnTo>
                  <a:lnTo>
                    <a:pt x="46" y="244"/>
                  </a:lnTo>
                  <a:lnTo>
                    <a:pt x="46" y="244"/>
                  </a:lnTo>
                  <a:lnTo>
                    <a:pt x="48" y="240"/>
                  </a:lnTo>
                  <a:lnTo>
                    <a:pt x="48" y="238"/>
                  </a:lnTo>
                  <a:lnTo>
                    <a:pt x="56" y="234"/>
                  </a:lnTo>
                  <a:lnTo>
                    <a:pt x="56" y="234"/>
                  </a:lnTo>
                  <a:lnTo>
                    <a:pt x="58" y="238"/>
                  </a:lnTo>
                  <a:lnTo>
                    <a:pt x="60" y="240"/>
                  </a:lnTo>
                  <a:lnTo>
                    <a:pt x="62" y="246"/>
                  </a:lnTo>
                  <a:lnTo>
                    <a:pt x="62" y="246"/>
                  </a:lnTo>
                  <a:lnTo>
                    <a:pt x="70" y="250"/>
                  </a:lnTo>
                  <a:lnTo>
                    <a:pt x="70" y="250"/>
                  </a:lnTo>
                  <a:lnTo>
                    <a:pt x="74" y="250"/>
                  </a:lnTo>
                  <a:lnTo>
                    <a:pt x="76" y="250"/>
                  </a:lnTo>
                  <a:lnTo>
                    <a:pt x="90" y="254"/>
                  </a:lnTo>
                  <a:lnTo>
                    <a:pt x="90" y="254"/>
                  </a:lnTo>
                  <a:lnTo>
                    <a:pt x="94" y="256"/>
                  </a:lnTo>
                  <a:lnTo>
                    <a:pt x="100" y="256"/>
                  </a:lnTo>
                  <a:lnTo>
                    <a:pt x="100" y="256"/>
                  </a:lnTo>
                  <a:lnTo>
                    <a:pt x="106" y="254"/>
                  </a:lnTo>
                  <a:lnTo>
                    <a:pt x="112" y="250"/>
                  </a:lnTo>
                  <a:lnTo>
                    <a:pt x="112" y="250"/>
                  </a:lnTo>
                  <a:lnTo>
                    <a:pt x="116" y="244"/>
                  </a:lnTo>
                  <a:lnTo>
                    <a:pt x="118" y="238"/>
                  </a:lnTo>
                  <a:lnTo>
                    <a:pt x="118" y="238"/>
                  </a:lnTo>
                  <a:lnTo>
                    <a:pt x="122" y="240"/>
                  </a:lnTo>
                  <a:lnTo>
                    <a:pt x="124" y="240"/>
                  </a:lnTo>
                  <a:lnTo>
                    <a:pt x="128" y="244"/>
                  </a:lnTo>
                  <a:lnTo>
                    <a:pt x="128" y="244"/>
                  </a:lnTo>
                  <a:lnTo>
                    <a:pt x="128" y="244"/>
                  </a:lnTo>
                  <a:lnTo>
                    <a:pt x="130" y="246"/>
                  </a:lnTo>
                  <a:lnTo>
                    <a:pt x="132" y="250"/>
                  </a:lnTo>
                  <a:lnTo>
                    <a:pt x="138" y="246"/>
                  </a:lnTo>
                  <a:lnTo>
                    <a:pt x="142" y="244"/>
                  </a:lnTo>
                  <a:lnTo>
                    <a:pt x="146" y="238"/>
                  </a:lnTo>
                  <a:lnTo>
                    <a:pt x="150" y="230"/>
                  </a:lnTo>
                  <a:lnTo>
                    <a:pt x="150" y="230"/>
                  </a:lnTo>
                  <a:lnTo>
                    <a:pt x="152" y="226"/>
                  </a:lnTo>
                  <a:lnTo>
                    <a:pt x="156" y="224"/>
                  </a:lnTo>
                  <a:lnTo>
                    <a:pt x="156" y="224"/>
                  </a:lnTo>
                  <a:lnTo>
                    <a:pt x="156" y="220"/>
                  </a:lnTo>
                  <a:lnTo>
                    <a:pt x="156" y="220"/>
                  </a:lnTo>
                  <a:lnTo>
                    <a:pt x="156" y="218"/>
                  </a:lnTo>
                  <a:lnTo>
                    <a:pt x="156" y="214"/>
                  </a:lnTo>
                  <a:lnTo>
                    <a:pt x="156" y="214"/>
                  </a:lnTo>
                  <a:lnTo>
                    <a:pt x="158" y="210"/>
                  </a:lnTo>
                  <a:lnTo>
                    <a:pt x="164" y="204"/>
                  </a:lnTo>
                  <a:lnTo>
                    <a:pt x="164" y="204"/>
                  </a:lnTo>
                  <a:lnTo>
                    <a:pt x="164" y="216"/>
                  </a:lnTo>
                  <a:lnTo>
                    <a:pt x="164" y="228"/>
                  </a:lnTo>
                  <a:lnTo>
                    <a:pt x="164" y="228"/>
                  </a:lnTo>
                  <a:lnTo>
                    <a:pt x="166" y="232"/>
                  </a:lnTo>
                  <a:lnTo>
                    <a:pt x="170" y="234"/>
                  </a:lnTo>
                  <a:lnTo>
                    <a:pt x="174" y="236"/>
                  </a:lnTo>
                  <a:lnTo>
                    <a:pt x="174" y="236"/>
                  </a:lnTo>
                  <a:lnTo>
                    <a:pt x="176" y="232"/>
                  </a:lnTo>
                  <a:lnTo>
                    <a:pt x="176" y="234"/>
                  </a:lnTo>
                  <a:lnTo>
                    <a:pt x="176" y="234"/>
                  </a:lnTo>
                  <a:lnTo>
                    <a:pt x="178" y="230"/>
                  </a:lnTo>
                  <a:lnTo>
                    <a:pt x="178" y="230"/>
                  </a:lnTo>
                  <a:lnTo>
                    <a:pt x="178" y="230"/>
                  </a:lnTo>
                  <a:lnTo>
                    <a:pt x="182" y="224"/>
                  </a:lnTo>
                  <a:lnTo>
                    <a:pt x="186" y="220"/>
                  </a:lnTo>
                  <a:lnTo>
                    <a:pt x="186" y="220"/>
                  </a:lnTo>
                  <a:lnTo>
                    <a:pt x="190" y="208"/>
                  </a:lnTo>
                  <a:lnTo>
                    <a:pt x="198" y="194"/>
                  </a:lnTo>
                  <a:lnTo>
                    <a:pt x="206" y="186"/>
                  </a:lnTo>
                  <a:lnTo>
                    <a:pt x="210" y="168"/>
                  </a:lnTo>
                  <a:lnTo>
                    <a:pt x="210" y="162"/>
                  </a:lnTo>
                  <a:lnTo>
                    <a:pt x="210" y="162"/>
                  </a:lnTo>
                  <a:lnTo>
                    <a:pt x="210" y="152"/>
                  </a:lnTo>
                  <a:lnTo>
                    <a:pt x="218" y="110"/>
                  </a:lnTo>
                  <a:lnTo>
                    <a:pt x="222" y="110"/>
                  </a:lnTo>
                  <a:lnTo>
                    <a:pt x="222" y="110"/>
                  </a:lnTo>
                  <a:lnTo>
                    <a:pt x="226" y="108"/>
                  </a:lnTo>
                  <a:lnTo>
                    <a:pt x="236" y="102"/>
                  </a:lnTo>
                  <a:lnTo>
                    <a:pt x="236" y="102"/>
                  </a:lnTo>
                  <a:lnTo>
                    <a:pt x="238" y="92"/>
                  </a:lnTo>
                  <a:lnTo>
                    <a:pt x="238" y="92"/>
                  </a:lnTo>
                  <a:lnTo>
                    <a:pt x="238" y="90"/>
                  </a:lnTo>
                  <a:lnTo>
                    <a:pt x="234" y="90"/>
                  </a:lnTo>
                  <a:lnTo>
                    <a:pt x="232" y="84"/>
                  </a:lnTo>
                  <a:lnTo>
                    <a:pt x="226" y="82"/>
                  </a:lnTo>
                  <a:lnTo>
                    <a:pt x="226" y="82"/>
                  </a:lnTo>
                  <a:lnTo>
                    <a:pt x="222" y="78"/>
                  </a:lnTo>
                  <a:lnTo>
                    <a:pt x="222" y="78"/>
                  </a:lnTo>
                  <a:lnTo>
                    <a:pt x="220" y="62"/>
                  </a:lnTo>
                  <a:lnTo>
                    <a:pt x="220" y="38"/>
                  </a:lnTo>
                  <a:lnTo>
                    <a:pt x="216" y="30"/>
                  </a:lnTo>
                  <a:lnTo>
                    <a:pt x="216" y="30"/>
                  </a:lnTo>
                  <a:lnTo>
                    <a:pt x="214" y="22"/>
                  </a:lnTo>
                  <a:lnTo>
                    <a:pt x="208" y="10"/>
                  </a:lnTo>
                  <a:lnTo>
                    <a:pt x="200" y="6"/>
                  </a:lnTo>
                  <a:lnTo>
                    <a:pt x="196" y="0"/>
                  </a:lnTo>
                  <a:lnTo>
                    <a:pt x="190" y="6"/>
                  </a:lnTo>
                  <a:lnTo>
                    <a:pt x="186" y="4"/>
                  </a:lnTo>
                  <a:lnTo>
                    <a:pt x="184" y="14"/>
                  </a:lnTo>
                  <a:lnTo>
                    <a:pt x="176" y="16"/>
                  </a:lnTo>
                  <a:lnTo>
                    <a:pt x="176" y="16"/>
                  </a:lnTo>
                  <a:lnTo>
                    <a:pt x="174" y="24"/>
                  </a:lnTo>
                  <a:lnTo>
                    <a:pt x="168" y="24"/>
                  </a:lnTo>
                  <a:lnTo>
                    <a:pt x="162" y="22"/>
                  </a:lnTo>
                  <a:lnTo>
                    <a:pt x="150" y="22"/>
                  </a:lnTo>
                  <a:lnTo>
                    <a:pt x="138" y="22"/>
                  </a:lnTo>
                  <a:lnTo>
                    <a:pt x="138" y="22"/>
                  </a:lnTo>
                  <a:lnTo>
                    <a:pt x="138" y="16"/>
                  </a:lnTo>
                  <a:lnTo>
                    <a:pt x="136" y="16"/>
                  </a:lnTo>
                  <a:lnTo>
                    <a:pt x="136" y="16"/>
                  </a:lnTo>
                  <a:lnTo>
                    <a:pt x="136" y="22"/>
                  </a:lnTo>
                  <a:lnTo>
                    <a:pt x="124" y="22"/>
                  </a:lnTo>
                  <a:lnTo>
                    <a:pt x="112" y="22"/>
                  </a:lnTo>
                  <a:lnTo>
                    <a:pt x="100" y="22"/>
                  </a:lnTo>
                  <a:lnTo>
                    <a:pt x="90" y="22"/>
                  </a:lnTo>
                  <a:lnTo>
                    <a:pt x="78" y="22"/>
                  </a:lnTo>
                  <a:lnTo>
                    <a:pt x="66" y="22"/>
                  </a:lnTo>
                  <a:lnTo>
                    <a:pt x="56" y="22"/>
                  </a:lnTo>
                  <a:lnTo>
                    <a:pt x="44" y="22"/>
                  </a:lnTo>
                  <a:lnTo>
                    <a:pt x="44" y="38"/>
                  </a:lnTo>
                  <a:lnTo>
                    <a:pt x="44" y="58"/>
                  </a:lnTo>
                  <a:lnTo>
                    <a:pt x="30" y="58"/>
                  </a:lnTo>
                  <a:lnTo>
                    <a:pt x="30" y="66"/>
                  </a:lnTo>
                  <a:lnTo>
                    <a:pt x="30" y="66"/>
                  </a:lnTo>
                  <a:lnTo>
                    <a:pt x="30" y="6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23" name="Freeform 16"/>
            <p:cNvSpPr>
              <a:spLocks/>
            </p:cNvSpPr>
            <p:nvPr/>
          </p:nvSpPr>
          <p:spPr bwMode="auto">
            <a:xfrm>
              <a:off x="7577836" y="3713250"/>
              <a:ext cx="126852" cy="112452"/>
            </a:xfrm>
            <a:custGeom>
              <a:avLst/>
              <a:gdLst>
                <a:gd name="T0" fmla="*/ 20 w 202"/>
                <a:gd name="T1" fmla="*/ 60 h 172"/>
                <a:gd name="T2" fmla="*/ 30 w 202"/>
                <a:gd name="T3" fmla="*/ 64 h 172"/>
                <a:gd name="T4" fmla="*/ 34 w 202"/>
                <a:gd name="T5" fmla="*/ 56 h 172"/>
                <a:gd name="T6" fmla="*/ 38 w 202"/>
                <a:gd name="T7" fmla="*/ 52 h 172"/>
                <a:gd name="T8" fmla="*/ 50 w 202"/>
                <a:gd name="T9" fmla="*/ 44 h 172"/>
                <a:gd name="T10" fmla="*/ 56 w 202"/>
                <a:gd name="T11" fmla="*/ 38 h 172"/>
                <a:gd name="T12" fmla="*/ 60 w 202"/>
                <a:gd name="T13" fmla="*/ 26 h 172"/>
                <a:gd name="T14" fmla="*/ 72 w 202"/>
                <a:gd name="T15" fmla="*/ 22 h 172"/>
                <a:gd name="T16" fmla="*/ 80 w 202"/>
                <a:gd name="T17" fmla="*/ 22 h 172"/>
                <a:gd name="T18" fmla="*/ 94 w 202"/>
                <a:gd name="T19" fmla="*/ 22 h 172"/>
                <a:gd name="T20" fmla="*/ 102 w 202"/>
                <a:gd name="T21" fmla="*/ 26 h 172"/>
                <a:gd name="T22" fmla="*/ 112 w 202"/>
                <a:gd name="T23" fmla="*/ 26 h 172"/>
                <a:gd name="T24" fmla="*/ 124 w 202"/>
                <a:gd name="T25" fmla="*/ 26 h 172"/>
                <a:gd name="T26" fmla="*/ 136 w 202"/>
                <a:gd name="T27" fmla="*/ 18 h 172"/>
                <a:gd name="T28" fmla="*/ 136 w 202"/>
                <a:gd name="T29" fmla="*/ 10 h 172"/>
                <a:gd name="T30" fmla="*/ 146 w 202"/>
                <a:gd name="T31" fmla="*/ 0 h 172"/>
                <a:gd name="T32" fmla="*/ 150 w 202"/>
                <a:gd name="T33" fmla="*/ 10 h 172"/>
                <a:gd name="T34" fmla="*/ 154 w 202"/>
                <a:gd name="T35" fmla="*/ 14 h 172"/>
                <a:gd name="T36" fmla="*/ 154 w 202"/>
                <a:gd name="T37" fmla="*/ 30 h 172"/>
                <a:gd name="T38" fmla="*/ 166 w 202"/>
                <a:gd name="T39" fmla="*/ 30 h 172"/>
                <a:gd name="T40" fmla="*/ 176 w 202"/>
                <a:gd name="T41" fmla="*/ 26 h 172"/>
                <a:gd name="T42" fmla="*/ 184 w 202"/>
                <a:gd name="T43" fmla="*/ 22 h 172"/>
                <a:gd name="T44" fmla="*/ 188 w 202"/>
                <a:gd name="T45" fmla="*/ 26 h 172"/>
                <a:gd name="T46" fmla="*/ 202 w 202"/>
                <a:gd name="T47" fmla="*/ 22 h 172"/>
                <a:gd name="T48" fmla="*/ 196 w 202"/>
                <a:gd name="T49" fmla="*/ 26 h 172"/>
                <a:gd name="T50" fmla="*/ 188 w 202"/>
                <a:gd name="T51" fmla="*/ 30 h 172"/>
                <a:gd name="T52" fmla="*/ 172 w 202"/>
                <a:gd name="T53" fmla="*/ 34 h 172"/>
                <a:gd name="T54" fmla="*/ 162 w 202"/>
                <a:gd name="T55" fmla="*/ 38 h 172"/>
                <a:gd name="T56" fmla="*/ 150 w 202"/>
                <a:gd name="T57" fmla="*/ 48 h 172"/>
                <a:gd name="T58" fmla="*/ 154 w 202"/>
                <a:gd name="T59" fmla="*/ 56 h 172"/>
                <a:gd name="T60" fmla="*/ 154 w 202"/>
                <a:gd name="T61" fmla="*/ 66 h 172"/>
                <a:gd name="T62" fmla="*/ 146 w 202"/>
                <a:gd name="T63" fmla="*/ 74 h 172"/>
                <a:gd name="T64" fmla="*/ 150 w 202"/>
                <a:gd name="T65" fmla="*/ 86 h 172"/>
                <a:gd name="T66" fmla="*/ 136 w 202"/>
                <a:gd name="T67" fmla="*/ 86 h 172"/>
                <a:gd name="T68" fmla="*/ 136 w 202"/>
                <a:gd name="T69" fmla="*/ 94 h 172"/>
                <a:gd name="T70" fmla="*/ 136 w 202"/>
                <a:gd name="T71" fmla="*/ 100 h 172"/>
                <a:gd name="T72" fmla="*/ 124 w 202"/>
                <a:gd name="T73" fmla="*/ 108 h 172"/>
                <a:gd name="T74" fmla="*/ 124 w 202"/>
                <a:gd name="T75" fmla="*/ 116 h 172"/>
                <a:gd name="T76" fmla="*/ 120 w 202"/>
                <a:gd name="T77" fmla="*/ 126 h 172"/>
                <a:gd name="T78" fmla="*/ 112 w 202"/>
                <a:gd name="T79" fmla="*/ 126 h 172"/>
                <a:gd name="T80" fmla="*/ 98 w 202"/>
                <a:gd name="T81" fmla="*/ 130 h 172"/>
                <a:gd name="T82" fmla="*/ 94 w 202"/>
                <a:gd name="T83" fmla="*/ 138 h 172"/>
                <a:gd name="T84" fmla="*/ 86 w 202"/>
                <a:gd name="T85" fmla="*/ 138 h 172"/>
                <a:gd name="T86" fmla="*/ 84 w 202"/>
                <a:gd name="T87" fmla="*/ 152 h 172"/>
                <a:gd name="T88" fmla="*/ 84 w 202"/>
                <a:gd name="T89" fmla="*/ 160 h 172"/>
                <a:gd name="T90" fmla="*/ 68 w 202"/>
                <a:gd name="T91" fmla="*/ 168 h 172"/>
                <a:gd name="T92" fmla="*/ 54 w 202"/>
                <a:gd name="T93" fmla="*/ 168 h 172"/>
                <a:gd name="T94" fmla="*/ 38 w 202"/>
                <a:gd name="T95" fmla="*/ 168 h 172"/>
                <a:gd name="T96" fmla="*/ 16 w 202"/>
                <a:gd name="T97" fmla="*/ 168 h 172"/>
                <a:gd name="T98" fmla="*/ 8 w 202"/>
                <a:gd name="T99" fmla="*/ 160 h 172"/>
                <a:gd name="T100" fmla="*/ 20 w 202"/>
                <a:gd name="T101" fmla="*/ 142 h 172"/>
                <a:gd name="T102" fmla="*/ 12 w 202"/>
                <a:gd name="T103" fmla="*/ 134 h 172"/>
                <a:gd name="T104" fmla="*/ 4 w 202"/>
                <a:gd name="T105" fmla="*/ 122 h 172"/>
                <a:gd name="T106" fmla="*/ 0 w 202"/>
                <a:gd name="T107" fmla="*/ 108 h 172"/>
                <a:gd name="T108" fmla="*/ 4 w 202"/>
                <a:gd name="T109" fmla="*/ 96 h 172"/>
                <a:gd name="T110" fmla="*/ 0 w 202"/>
                <a:gd name="T111" fmla="*/ 86 h 172"/>
                <a:gd name="T112" fmla="*/ 0 w 202"/>
                <a:gd name="T113" fmla="*/ 74 h 172"/>
                <a:gd name="T114" fmla="*/ 8 w 202"/>
                <a:gd name="T115" fmla="*/ 64 h 172"/>
                <a:gd name="T116" fmla="*/ 12 w 202"/>
                <a:gd name="T117" fmla="*/ 5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2" h="172">
                  <a:moveTo>
                    <a:pt x="12" y="56"/>
                  </a:moveTo>
                  <a:lnTo>
                    <a:pt x="12" y="60"/>
                  </a:lnTo>
                  <a:lnTo>
                    <a:pt x="16" y="60"/>
                  </a:lnTo>
                  <a:lnTo>
                    <a:pt x="20" y="60"/>
                  </a:lnTo>
                  <a:lnTo>
                    <a:pt x="24" y="60"/>
                  </a:lnTo>
                  <a:lnTo>
                    <a:pt x="24" y="64"/>
                  </a:lnTo>
                  <a:lnTo>
                    <a:pt x="28" y="64"/>
                  </a:lnTo>
                  <a:lnTo>
                    <a:pt x="30" y="64"/>
                  </a:lnTo>
                  <a:lnTo>
                    <a:pt x="30" y="60"/>
                  </a:lnTo>
                  <a:lnTo>
                    <a:pt x="34" y="60"/>
                  </a:lnTo>
                  <a:lnTo>
                    <a:pt x="38" y="56"/>
                  </a:lnTo>
                  <a:lnTo>
                    <a:pt x="34" y="56"/>
                  </a:lnTo>
                  <a:lnTo>
                    <a:pt x="38" y="56"/>
                  </a:lnTo>
                  <a:lnTo>
                    <a:pt x="38" y="52"/>
                  </a:lnTo>
                  <a:lnTo>
                    <a:pt x="34" y="52"/>
                  </a:lnTo>
                  <a:lnTo>
                    <a:pt x="38" y="52"/>
                  </a:lnTo>
                  <a:lnTo>
                    <a:pt x="42" y="48"/>
                  </a:lnTo>
                  <a:lnTo>
                    <a:pt x="46" y="48"/>
                  </a:lnTo>
                  <a:lnTo>
                    <a:pt x="50" y="48"/>
                  </a:lnTo>
                  <a:lnTo>
                    <a:pt x="50" y="44"/>
                  </a:lnTo>
                  <a:lnTo>
                    <a:pt x="54" y="44"/>
                  </a:lnTo>
                  <a:lnTo>
                    <a:pt x="56" y="44"/>
                  </a:lnTo>
                  <a:lnTo>
                    <a:pt x="56" y="40"/>
                  </a:lnTo>
                  <a:lnTo>
                    <a:pt x="56" y="38"/>
                  </a:lnTo>
                  <a:lnTo>
                    <a:pt x="56" y="34"/>
                  </a:lnTo>
                  <a:lnTo>
                    <a:pt x="60" y="34"/>
                  </a:lnTo>
                  <a:lnTo>
                    <a:pt x="60" y="30"/>
                  </a:lnTo>
                  <a:lnTo>
                    <a:pt x="60" y="26"/>
                  </a:lnTo>
                  <a:lnTo>
                    <a:pt x="64" y="26"/>
                  </a:lnTo>
                  <a:lnTo>
                    <a:pt x="68" y="26"/>
                  </a:lnTo>
                  <a:lnTo>
                    <a:pt x="72" y="26"/>
                  </a:lnTo>
                  <a:lnTo>
                    <a:pt x="72" y="22"/>
                  </a:lnTo>
                  <a:lnTo>
                    <a:pt x="72" y="18"/>
                  </a:lnTo>
                  <a:lnTo>
                    <a:pt x="76" y="18"/>
                  </a:lnTo>
                  <a:lnTo>
                    <a:pt x="76" y="22"/>
                  </a:lnTo>
                  <a:lnTo>
                    <a:pt x="80" y="22"/>
                  </a:lnTo>
                  <a:lnTo>
                    <a:pt x="84" y="22"/>
                  </a:lnTo>
                  <a:lnTo>
                    <a:pt x="86" y="22"/>
                  </a:lnTo>
                  <a:lnTo>
                    <a:pt x="90" y="22"/>
                  </a:lnTo>
                  <a:lnTo>
                    <a:pt x="94" y="22"/>
                  </a:lnTo>
                  <a:lnTo>
                    <a:pt x="94" y="26"/>
                  </a:lnTo>
                  <a:lnTo>
                    <a:pt x="98" y="26"/>
                  </a:lnTo>
                  <a:lnTo>
                    <a:pt x="98" y="22"/>
                  </a:lnTo>
                  <a:lnTo>
                    <a:pt x="102" y="26"/>
                  </a:lnTo>
                  <a:lnTo>
                    <a:pt x="106" y="30"/>
                  </a:lnTo>
                  <a:lnTo>
                    <a:pt x="110" y="30"/>
                  </a:lnTo>
                  <a:lnTo>
                    <a:pt x="110" y="26"/>
                  </a:lnTo>
                  <a:lnTo>
                    <a:pt x="112" y="26"/>
                  </a:lnTo>
                  <a:lnTo>
                    <a:pt x="116" y="22"/>
                  </a:lnTo>
                  <a:lnTo>
                    <a:pt x="120" y="22"/>
                  </a:lnTo>
                  <a:lnTo>
                    <a:pt x="120" y="26"/>
                  </a:lnTo>
                  <a:lnTo>
                    <a:pt x="124" y="26"/>
                  </a:lnTo>
                  <a:lnTo>
                    <a:pt x="124" y="22"/>
                  </a:lnTo>
                  <a:lnTo>
                    <a:pt x="128" y="18"/>
                  </a:lnTo>
                  <a:lnTo>
                    <a:pt x="132" y="18"/>
                  </a:lnTo>
                  <a:lnTo>
                    <a:pt x="136" y="18"/>
                  </a:lnTo>
                  <a:lnTo>
                    <a:pt x="140" y="18"/>
                  </a:lnTo>
                  <a:lnTo>
                    <a:pt x="140" y="14"/>
                  </a:lnTo>
                  <a:lnTo>
                    <a:pt x="136" y="14"/>
                  </a:lnTo>
                  <a:lnTo>
                    <a:pt x="136" y="10"/>
                  </a:lnTo>
                  <a:lnTo>
                    <a:pt x="140" y="10"/>
                  </a:lnTo>
                  <a:lnTo>
                    <a:pt x="142" y="8"/>
                  </a:lnTo>
                  <a:lnTo>
                    <a:pt x="142" y="4"/>
                  </a:lnTo>
                  <a:lnTo>
                    <a:pt x="146" y="0"/>
                  </a:lnTo>
                  <a:lnTo>
                    <a:pt x="150" y="4"/>
                  </a:lnTo>
                  <a:lnTo>
                    <a:pt x="154" y="4"/>
                  </a:lnTo>
                  <a:lnTo>
                    <a:pt x="154" y="8"/>
                  </a:lnTo>
                  <a:lnTo>
                    <a:pt x="150" y="10"/>
                  </a:lnTo>
                  <a:lnTo>
                    <a:pt x="154" y="10"/>
                  </a:lnTo>
                  <a:lnTo>
                    <a:pt x="158" y="10"/>
                  </a:lnTo>
                  <a:lnTo>
                    <a:pt x="158" y="14"/>
                  </a:lnTo>
                  <a:lnTo>
                    <a:pt x="154" y="14"/>
                  </a:lnTo>
                  <a:lnTo>
                    <a:pt x="154" y="18"/>
                  </a:lnTo>
                  <a:lnTo>
                    <a:pt x="154" y="22"/>
                  </a:lnTo>
                  <a:lnTo>
                    <a:pt x="154" y="26"/>
                  </a:lnTo>
                  <a:lnTo>
                    <a:pt x="154" y="30"/>
                  </a:lnTo>
                  <a:lnTo>
                    <a:pt x="158" y="34"/>
                  </a:lnTo>
                  <a:lnTo>
                    <a:pt x="158" y="38"/>
                  </a:lnTo>
                  <a:lnTo>
                    <a:pt x="162" y="34"/>
                  </a:lnTo>
                  <a:lnTo>
                    <a:pt x="166" y="30"/>
                  </a:lnTo>
                  <a:lnTo>
                    <a:pt x="168" y="30"/>
                  </a:lnTo>
                  <a:lnTo>
                    <a:pt x="172" y="30"/>
                  </a:lnTo>
                  <a:lnTo>
                    <a:pt x="172" y="26"/>
                  </a:lnTo>
                  <a:lnTo>
                    <a:pt x="176" y="26"/>
                  </a:lnTo>
                  <a:lnTo>
                    <a:pt x="176" y="22"/>
                  </a:lnTo>
                  <a:lnTo>
                    <a:pt x="180" y="22"/>
                  </a:lnTo>
                  <a:lnTo>
                    <a:pt x="184" y="18"/>
                  </a:lnTo>
                  <a:lnTo>
                    <a:pt x="184" y="22"/>
                  </a:lnTo>
                  <a:lnTo>
                    <a:pt x="188" y="22"/>
                  </a:lnTo>
                  <a:lnTo>
                    <a:pt x="184" y="22"/>
                  </a:lnTo>
                  <a:lnTo>
                    <a:pt x="184" y="26"/>
                  </a:lnTo>
                  <a:lnTo>
                    <a:pt x="188" y="26"/>
                  </a:lnTo>
                  <a:lnTo>
                    <a:pt x="192" y="22"/>
                  </a:lnTo>
                  <a:lnTo>
                    <a:pt x="196" y="22"/>
                  </a:lnTo>
                  <a:lnTo>
                    <a:pt x="198" y="22"/>
                  </a:lnTo>
                  <a:lnTo>
                    <a:pt x="202" y="22"/>
                  </a:lnTo>
                  <a:lnTo>
                    <a:pt x="202" y="26"/>
                  </a:lnTo>
                  <a:lnTo>
                    <a:pt x="202" y="22"/>
                  </a:lnTo>
                  <a:lnTo>
                    <a:pt x="198" y="26"/>
                  </a:lnTo>
                  <a:lnTo>
                    <a:pt x="196" y="26"/>
                  </a:lnTo>
                  <a:lnTo>
                    <a:pt x="198" y="30"/>
                  </a:lnTo>
                  <a:lnTo>
                    <a:pt x="196" y="30"/>
                  </a:lnTo>
                  <a:lnTo>
                    <a:pt x="192" y="34"/>
                  </a:lnTo>
                  <a:lnTo>
                    <a:pt x="188" y="30"/>
                  </a:lnTo>
                  <a:lnTo>
                    <a:pt x="184" y="30"/>
                  </a:lnTo>
                  <a:lnTo>
                    <a:pt x="180" y="30"/>
                  </a:lnTo>
                  <a:lnTo>
                    <a:pt x="176" y="34"/>
                  </a:lnTo>
                  <a:lnTo>
                    <a:pt x="172" y="34"/>
                  </a:lnTo>
                  <a:lnTo>
                    <a:pt x="168" y="34"/>
                  </a:lnTo>
                  <a:lnTo>
                    <a:pt x="166" y="34"/>
                  </a:lnTo>
                  <a:lnTo>
                    <a:pt x="166" y="38"/>
                  </a:lnTo>
                  <a:lnTo>
                    <a:pt x="162" y="38"/>
                  </a:lnTo>
                  <a:lnTo>
                    <a:pt x="158" y="40"/>
                  </a:lnTo>
                  <a:lnTo>
                    <a:pt x="154" y="44"/>
                  </a:lnTo>
                  <a:lnTo>
                    <a:pt x="150" y="44"/>
                  </a:lnTo>
                  <a:lnTo>
                    <a:pt x="150" y="48"/>
                  </a:lnTo>
                  <a:lnTo>
                    <a:pt x="154" y="48"/>
                  </a:lnTo>
                  <a:lnTo>
                    <a:pt x="154" y="52"/>
                  </a:lnTo>
                  <a:lnTo>
                    <a:pt x="158" y="52"/>
                  </a:lnTo>
                  <a:lnTo>
                    <a:pt x="154" y="56"/>
                  </a:lnTo>
                  <a:lnTo>
                    <a:pt x="158" y="56"/>
                  </a:lnTo>
                  <a:lnTo>
                    <a:pt x="158" y="60"/>
                  </a:lnTo>
                  <a:lnTo>
                    <a:pt x="158" y="64"/>
                  </a:lnTo>
                  <a:lnTo>
                    <a:pt x="154" y="66"/>
                  </a:lnTo>
                  <a:lnTo>
                    <a:pt x="154" y="70"/>
                  </a:lnTo>
                  <a:lnTo>
                    <a:pt x="150" y="70"/>
                  </a:lnTo>
                  <a:lnTo>
                    <a:pt x="150" y="74"/>
                  </a:lnTo>
                  <a:lnTo>
                    <a:pt x="146" y="74"/>
                  </a:lnTo>
                  <a:lnTo>
                    <a:pt x="146" y="78"/>
                  </a:lnTo>
                  <a:lnTo>
                    <a:pt x="150" y="78"/>
                  </a:lnTo>
                  <a:lnTo>
                    <a:pt x="150" y="82"/>
                  </a:lnTo>
                  <a:lnTo>
                    <a:pt x="150" y="86"/>
                  </a:lnTo>
                  <a:lnTo>
                    <a:pt x="146" y="86"/>
                  </a:lnTo>
                  <a:lnTo>
                    <a:pt x="142" y="86"/>
                  </a:lnTo>
                  <a:lnTo>
                    <a:pt x="140" y="86"/>
                  </a:lnTo>
                  <a:lnTo>
                    <a:pt x="136" y="86"/>
                  </a:lnTo>
                  <a:lnTo>
                    <a:pt x="132" y="86"/>
                  </a:lnTo>
                  <a:lnTo>
                    <a:pt x="132" y="90"/>
                  </a:lnTo>
                  <a:lnTo>
                    <a:pt x="136" y="90"/>
                  </a:lnTo>
                  <a:lnTo>
                    <a:pt x="136" y="94"/>
                  </a:lnTo>
                  <a:lnTo>
                    <a:pt x="136" y="96"/>
                  </a:lnTo>
                  <a:lnTo>
                    <a:pt x="140" y="96"/>
                  </a:lnTo>
                  <a:lnTo>
                    <a:pt x="140" y="100"/>
                  </a:lnTo>
                  <a:lnTo>
                    <a:pt x="136" y="100"/>
                  </a:lnTo>
                  <a:lnTo>
                    <a:pt x="132" y="104"/>
                  </a:lnTo>
                  <a:lnTo>
                    <a:pt x="128" y="104"/>
                  </a:lnTo>
                  <a:lnTo>
                    <a:pt x="128" y="108"/>
                  </a:lnTo>
                  <a:lnTo>
                    <a:pt x="124" y="108"/>
                  </a:lnTo>
                  <a:lnTo>
                    <a:pt x="128" y="108"/>
                  </a:lnTo>
                  <a:lnTo>
                    <a:pt x="128" y="112"/>
                  </a:lnTo>
                  <a:lnTo>
                    <a:pt x="124" y="112"/>
                  </a:lnTo>
                  <a:lnTo>
                    <a:pt x="124" y="116"/>
                  </a:lnTo>
                  <a:lnTo>
                    <a:pt x="124" y="120"/>
                  </a:lnTo>
                  <a:lnTo>
                    <a:pt x="124" y="122"/>
                  </a:lnTo>
                  <a:lnTo>
                    <a:pt x="124" y="126"/>
                  </a:lnTo>
                  <a:lnTo>
                    <a:pt x="120" y="126"/>
                  </a:lnTo>
                  <a:lnTo>
                    <a:pt x="120" y="130"/>
                  </a:lnTo>
                  <a:lnTo>
                    <a:pt x="116" y="130"/>
                  </a:lnTo>
                  <a:lnTo>
                    <a:pt x="116" y="126"/>
                  </a:lnTo>
                  <a:lnTo>
                    <a:pt x="112" y="126"/>
                  </a:lnTo>
                  <a:lnTo>
                    <a:pt x="110" y="126"/>
                  </a:lnTo>
                  <a:lnTo>
                    <a:pt x="106" y="130"/>
                  </a:lnTo>
                  <a:lnTo>
                    <a:pt x="102" y="130"/>
                  </a:lnTo>
                  <a:lnTo>
                    <a:pt x="98" y="130"/>
                  </a:lnTo>
                  <a:lnTo>
                    <a:pt x="102" y="134"/>
                  </a:lnTo>
                  <a:lnTo>
                    <a:pt x="102" y="138"/>
                  </a:lnTo>
                  <a:lnTo>
                    <a:pt x="98" y="138"/>
                  </a:lnTo>
                  <a:lnTo>
                    <a:pt x="94" y="138"/>
                  </a:lnTo>
                  <a:lnTo>
                    <a:pt x="90" y="138"/>
                  </a:lnTo>
                  <a:lnTo>
                    <a:pt x="90" y="134"/>
                  </a:lnTo>
                  <a:lnTo>
                    <a:pt x="90" y="138"/>
                  </a:lnTo>
                  <a:lnTo>
                    <a:pt x="86" y="138"/>
                  </a:lnTo>
                  <a:lnTo>
                    <a:pt x="86" y="142"/>
                  </a:lnTo>
                  <a:lnTo>
                    <a:pt x="84" y="142"/>
                  </a:lnTo>
                  <a:lnTo>
                    <a:pt x="84" y="150"/>
                  </a:lnTo>
                  <a:lnTo>
                    <a:pt x="84" y="152"/>
                  </a:lnTo>
                  <a:lnTo>
                    <a:pt x="84" y="156"/>
                  </a:lnTo>
                  <a:lnTo>
                    <a:pt x="80" y="156"/>
                  </a:lnTo>
                  <a:lnTo>
                    <a:pt x="80" y="160"/>
                  </a:lnTo>
                  <a:lnTo>
                    <a:pt x="84" y="160"/>
                  </a:lnTo>
                  <a:lnTo>
                    <a:pt x="80" y="164"/>
                  </a:lnTo>
                  <a:lnTo>
                    <a:pt x="76" y="164"/>
                  </a:lnTo>
                  <a:lnTo>
                    <a:pt x="72" y="164"/>
                  </a:lnTo>
                  <a:lnTo>
                    <a:pt x="68" y="168"/>
                  </a:lnTo>
                  <a:lnTo>
                    <a:pt x="64" y="168"/>
                  </a:lnTo>
                  <a:lnTo>
                    <a:pt x="60" y="168"/>
                  </a:lnTo>
                  <a:lnTo>
                    <a:pt x="56" y="168"/>
                  </a:lnTo>
                  <a:lnTo>
                    <a:pt x="54" y="168"/>
                  </a:lnTo>
                  <a:lnTo>
                    <a:pt x="50" y="172"/>
                  </a:lnTo>
                  <a:lnTo>
                    <a:pt x="46" y="168"/>
                  </a:lnTo>
                  <a:lnTo>
                    <a:pt x="42" y="168"/>
                  </a:lnTo>
                  <a:lnTo>
                    <a:pt x="38" y="168"/>
                  </a:lnTo>
                  <a:lnTo>
                    <a:pt x="28" y="172"/>
                  </a:lnTo>
                  <a:lnTo>
                    <a:pt x="24" y="168"/>
                  </a:lnTo>
                  <a:lnTo>
                    <a:pt x="20" y="168"/>
                  </a:lnTo>
                  <a:lnTo>
                    <a:pt x="16" y="168"/>
                  </a:lnTo>
                  <a:lnTo>
                    <a:pt x="8" y="164"/>
                  </a:lnTo>
                  <a:lnTo>
                    <a:pt x="4" y="164"/>
                  </a:lnTo>
                  <a:lnTo>
                    <a:pt x="4" y="160"/>
                  </a:lnTo>
                  <a:lnTo>
                    <a:pt x="8" y="160"/>
                  </a:lnTo>
                  <a:lnTo>
                    <a:pt x="8" y="156"/>
                  </a:lnTo>
                  <a:lnTo>
                    <a:pt x="12" y="152"/>
                  </a:lnTo>
                  <a:lnTo>
                    <a:pt x="16" y="146"/>
                  </a:lnTo>
                  <a:lnTo>
                    <a:pt x="20" y="142"/>
                  </a:lnTo>
                  <a:lnTo>
                    <a:pt x="20" y="138"/>
                  </a:lnTo>
                  <a:lnTo>
                    <a:pt x="16" y="138"/>
                  </a:lnTo>
                  <a:lnTo>
                    <a:pt x="16" y="134"/>
                  </a:lnTo>
                  <a:lnTo>
                    <a:pt x="12" y="134"/>
                  </a:lnTo>
                  <a:lnTo>
                    <a:pt x="8" y="134"/>
                  </a:lnTo>
                  <a:lnTo>
                    <a:pt x="4" y="130"/>
                  </a:lnTo>
                  <a:lnTo>
                    <a:pt x="4" y="126"/>
                  </a:lnTo>
                  <a:lnTo>
                    <a:pt x="4" y="122"/>
                  </a:lnTo>
                  <a:lnTo>
                    <a:pt x="4" y="120"/>
                  </a:lnTo>
                  <a:lnTo>
                    <a:pt x="4" y="116"/>
                  </a:lnTo>
                  <a:lnTo>
                    <a:pt x="0" y="112"/>
                  </a:lnTo>
                  <a:lnTo>
                    <a:pt x="0" y="108"/>
                  </a:lnTo>
                  <a:lnTo>
                    <a:pt x="0" y="104"/>
                  </a:lnTo>
                  <a:lnTo>
                    <a:pt x="0" y="100"/>
                  </a:lnTo>
                  <a:lnTo>
                    <a:pt x="0" y="96"/>
                  </a:lnTo>
                  <a:lnTo>
                    <a:pt x="4" y="96"/>
                  </a:lnTo>
                  <a:lnTo>
                    <a:pt x="4" y="94"/>
                  </a:lnTo>
                  <a:lnTo>
                    <a:pt x="0" y="94"/>
                  </a:lnTo>
                  <a:lnTo>
                    <a:pt x="0" y="90"/>
                  </a:lnTo>
                  <a:lnTo>
                    <a:pt x="0" y="86"/>
                  </a:lnTo>
                  <a:lnTo>
                    <a:pt x="0" y="82"/>
                  </a:lnTo>
                  <a:lnTo>
                    <a:pt x="0" y="78"/>
                  </a:lnTo>
                  <a:lnTo>
                    <a:pt x="4" y="78"/>
                  </a:lnTo>
                  <a:lnTo>
                    <a:pt x="0" y="74"/>
                  </a:lnTo>
                  <a:lnTo>
                    <a:pt x="4" y="74"/>
                  </a:lnTo>
                  <a:lnTo>
                    <a:pt x="8" y="70"/>
                  </a:lnTo>
                  <a:lnTo>
                    <a:pt x="8" y="66"/>
                  </a:lnTo>
                  <a:lnTo>
                    <a:pt x="8" y="64"/>
                  </a:lnTo>
                  <a:lnTo>
                    <a:pt x="8" y="60"/>
                  </a:lnTo>
                  <a:lnTo>
                    <a:pt x="12" y="56"/>
                  </a:lnTo>
                  <a:lnTo>
                    <a:pt x="12" y="56"/>
                  </a:lnTo>
                  <a:lnTo>
                    <a:pt x="12" y="5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24" name="Freeform 17"/>
            <p:cNvSpPr>
              <a:spLocks noEditPoints="1"/>
            </p:cNvSpPr>
            <p:nvPr/>
          </p:nvSpPr>
          <p:spPr bwMode="auto">
            <a:xfrm>
              <a:off x="7427121" y="3679253"/>
              <a:ext cx="27631" cy="28767"/>
            </a:xfrm>
            <a:custGeom>
              <a:avLst/>
              <a:gdLst>
                <a:gd name="T0" fmla="*/ 40 w 44"/>
                <a:gd name="T1" fmla="*/ 44 h 44"/>
                <a:gd name="T2" fmla="*/ 36 w 44"/>
                <a:gd name="T3" fmla="*/ 44 h 44"/>
                <a:gd name="T4" fmla="*/ 36 w 44"/>
                <a:gd name="T5" fmla="*/ 44 h 44"/>
                <a:gd name="T6" fmla="*/ 36 w 44"/>
                <a:gd name="T7" fmla="*/ 36 h 44"/>
                <a:gd name="T8" fmla="*/ 32 w 44"/>
                <a:gd name="T9" fmla="*/ 32 h 44"/>
                <a:gd name="T10" fmla="*/ 28 w 44"/>
                <a:gd name="T11" fmla="*/ 32 h 44"/>
                <a:gd name="T12" fmla="*/ 28 w 44"/>
                <a:gd name="T13" fmla="*/ 32 h 44"/>
                <a:gd name="T14" fmla="*/ 22 w 44"/>
                <a:gd name="T15" fmla="*/ 30 h 44"/>
                <a:gd name="T16" fmla="*/ 18 w 44"/>
                <a:gd name="T17" fmla="*/ 30 h 44"/>
                <a:gd name="T18" fmla="*/ 18 w 44"/>
                <a:gd name="T19" fmla="*/ 30 h 44"/>
                <a:gd name="T20" fmla="*/ 14 w 44"/>
                <a:gd name="T21" fmla="*/ 26 h 44"/>
                <a:gd name="T22" fmla="*/ 10 w 44"/>
                <a:gd name="T23" fmla="*/ 22 h 44"/>
                <a:gd name="T24" fmla="*/ 6 w 44"/>
                <a:gd name="T25" fmla="*/ 22 h 44"/>
                <a:gd name="T26" fmla="*/ 2 w 44"/>
                <a:gd name="T27" fmla="*/ 22 h 44"/>
                <a:gd name="T28" fmla="*/ 0 w 44"/>
                <a:gd name="T29" fmla="*/ 14 h 44"/>
                <a:gd name="T30" fmla="*/ 2 w 44"/>
                <a:gd name="T31" fmla="*/ 10 h 44"/>
                <a:gd name="T32" fmla="*/ 0 w 44"/>
                <a:gd name="T33" fmla="*/ 4 h 44"/>
                <a:gd name="T34" fmla="*/ 0 w 44"/>
                <a:gd name="T35" fmla="*/ 4 h 44"/>
                <a:gd name="T36" fmla="*/ 2 w 44"/>
                <a:gd name="T37" fmla="*/ 4 h 44"/>
                <a:gd name="T38" fmla="*/ 2 w 44"/>
                <a:gd name="T39" fmla="*/ 0 h 44"/>
                <a:gd name="T40" fmla="*/ 6 w 44"/>
                <a:gd name="T41" fmla="*/ 0 h 44"/>
                <a:gd name="T42" fmla="*/ 10 w 44"/>
                <a:gd name="T43" fmla="*/ 0 h 44"/>
                <a:gd name="T44" fmla="*/ 18 w 44"/>
                <a:gd name="T45" fmla="*/ 0 h 44"/>
                <a:gd name="T46" fmla="*/ 22 w 44"/>
                <a:gd name="T47" fmla="*/ 0 h 44"/>
                <a:gd name="T48" fmla="*/ 24 w 44"/>
                <a:gd name="T49" fmla="*/ 0 h 44"/>
                <a:gd name="T50" fmla="*/ 22 w 44"/>
                <a:gd name="T51" fmla="*/ 4 h 44"/>
                <a:gd name="T52" fmla="*/ 22 w 44"/>
                <a:gd name="T53" fmla="*/ 4 h 44"/>
                <a:gd name="T54" fmla="*/ 28 w 44"/>
                <a:gd name="T55" fmla="*/ 8 h 44"/>
                <a:gd name="T56" fmla="*/ 24 w 44"/>
                <a:gd name="T57" fmla="*/ 10 h 44"/>
                <a:gd name="T58" fmla="*/ 28 w 44"/>
                <a:gd name="T59" fmla="*/ 14 h 44"/>
                <a:gd name="T60" fmla="*/ 32 w 44"/>
                <a:gd name="T61" fmla="*/ 18 h 44"/>
                <a:gd name="T62" fmla="*/ 32 w 44"/>
                <a:gd name="T63" fmla="*/ 22 h 44"/>
                <a:gd name="T64" fmla="*/ 32 w 44"/>
                <a:gd name="T65" fmla="*/ 22 h 44"/>
                <a:gd name="T66" fmla="*/ 28 w 44"/>
                <a:gd name="T67" fmla="*/ 22 h 44"/>
                <a:gd name="T68" fmla="*/ 32 w 44"/>
                <a:gd name="T69" fmla="*/ 26 h 44"/>
                <a:gd name="T70" fmla="*/ 32 w 44"/>
                <a:gd name="T71" fmla="*/ 26 h 44"/>
                <a:gd name="T72" fmla="*/ 32 w 44"/>
                <a:gd name="T73" fmla="*/ 30 h 44"/>
                <a:gd name="T74" fmla="*/ 36 w 44"/>
                <a:gd name="T75" fmla="*/ 30 h 44"/>
                <a:gd name="T76" fmla="*/ 36 w 44"/>
                <a:gd name="T77" fmla="*/ 32 h 44"/>
                <a:gd name="T78" fmla="*/ 40 w 44"/>
                <a:gd name="T79" fmla="*/ 30 h 44"/>
                <a:gd name="T80" fmla="*/ 40 w 44"/>
                <a:gd name="T81" fmla="*/ 32 h 44"/>
                <a:gd name="T82" fmla="*/ 40 w 44"/>
                <a:gd name="T83" fmla="*/ 36 h 44"/>
                <a:gd name="T84" fmla="*/ 44 w 44"/>
                <a:gd name="T85" fmla="*/ 36 h 44"/>
                <a:gd name="T86" fmla="*/ 40 w 44"/>
                <a:gd name="T87" fmla="*/ 40 h 44"/>
                <a:gd name="T88" fmla="*/ 40 w 44"/>
                <a:gd name="T89" fmla="*/ 40 h 44"/>
                <a:gd name="T90" fmla="*/ 40 w 44"/>
                <a:gd name="T91" fmla="*/ 44 h 44"/>
                <a:gd name="T92" fmla="*/ 44 w 44"/>
                <a:gd name="T93" fmla="*/ 44 h 44"/>
                <a:gd name="T94" fmla="*/ 22 w 44"/>
                <a:gd name="T95" fmla="*/ 4 h 44"/>
                <a:gd name="T96" fmla="*/ 22 w 44"/>
                <a:gd name="T97" fmla="*/ 4 h 44"/>
                <a:gd name="T98" fmla="*/ 24 w 44"/>
                <a:gd name="T99" fmla="*/ 4 h 44"/>
                <a:gd name="T100" fmla="*/ 24 w 44"/>
                <a:gd name="T101" fmla="*/ 4 h 44"/>
                <a:gd name="T102" fmla="*/ 28 w 44"/>
                <a:gd name="T103" fmla="*/ 10 h 44"/>
                <a:gd name="T104" fmla="*/ 28 w 44"/>
                <a:gd name="T105" fmla="*/ 1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44">
                  <a:moveTo>
                    <a:pt x="44" y="44"/>
                  </a:moveTo>
                  <a:lnTo>
                    <a:pt x="44" y="44"/>
                  </a:lnTo>
                  <a:lnTo>
                    <a:pt x="40" y="44"/>
                  </a:lnTo>
                  <a:lnTo>
                    <a:pt x="40" y="44"/>
                  </a:lnTo>
                  <a:lnTo>
                    <a:pt x="40" y="44"/>
                  </a:lnTo>
                  <a:lnTo>
                    <a:pt x="40" y="44"/>
                  </a:lnTo>
                  <a:lnTo>
                    <a:pt x="40" y="44"/>
                  </a:lnTo>
                  <a:lnTo>
                    <a:pt x="36" y="44"/>
                  </a:lnTo>
                  <a:lnTo>
                    <a:pt x="36" y="44"/>
                  </a:lnTo>
                  <a:lnTo>
                    <a:pt x="36" y="44"/>
                  </a:lnTo>
                  <a:lnTo>
                    <a:pt x="36" y="44"/>
                  </a:lnTo>
                  <a:lnTo>
                    <a:pt x="36" y="44"/>
                  </a:lnTo>
                  <a:lnTo>
                    <a:pt x="32" y="40"/>
                  </a:lnTo>
                  <a:lnTo>
                    <a:pt x="32" y="40"/>
                  </a:lnTo>
                  <a:lnTo>
                    <a:pt x="36" y="36"/>
                  </a:lnTo>
                  <a:lnTo>
                    <a:pt x="36" y="36"/>
                  </a:lnTo>
                  <a:lnTo>
                    <a:pt x="36" y="36"/>
                  </a:lnTo>
                  <a:lnTo>
                    <a:pt x="32" y="36"/>
                  </a:lnTo>
                  <a:lnTo>
                    <a:pt x="32" y="32"/>
                  </a:lnTo>
                  <a:lnTo>
                    <a:pt x="32" y="32"/>
                  </a:lnTo>
                  <a:lnTo>
                    <a:pt x="32" y="32"/>
                  </a:lnTo>
                  <a:lnTo>
                    <a:pt x="32" y="32"/>
                  </a:lnTo>
                  <a:lnTo>
                    <a:pt x="28" y="32"/>
                  </a:lnTo>
                  <a:lnTo>
                    <a:pt x="28" y="32"/>
                  </a:lnTo>
                  <a:lnTo>
                    <a:pt x="28" y="32"/>
                  </a:lnTo>
                  <a:lnTo>
                    <a:pt x="28" y="32"/>
                  </a:lnTo>
                  <a:lnTo>
                    <a:pt x="28" y="32"/>
                  </a:lnTo>
                  <a:lnTo>
                    <a:pt x="28" y="32"/>
                  </a:lnTo>
                  <a:lnTo>
                    <a:pt x="24" y="32"/>
                  </a:lnTo>
                  <a:lnTo>
                    <a:pt x="24"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4" y="26"/>
                  </a:lnTo>
                  <a:lnTo>
                    <a:pt x="14" y="26"/>
                  </a:lnTo>
                  <a:lnTo>
                    <a:pt x="14" y="26"/>
                  </a:lnTo>
                  <a:lnTo>
                    <a:pt x="14" y="26"/>
                  </a:lnTo>
                  <a:lnTo>
                    <a:pt x="14" y="26"/>
                  </a:lnTo>
                  <a:lnTo>
                    <a:pt x="10" y="22"/>
                  </a:lnTo>
                  <a:lnTo>
                    <a:pt x="10" y="22"/>
                  </a:lnTo>
                  <a:lnTo>
                    <a:pt x="10" y="22"/>
                  </a:lnTo>
                  <a:lnTo>
                    <a:pt x="6" y="22"/>
                  </a:lnTo>
                  <a:lnTo>
                    <a:pt x="6" y="22"/>
                  </a:lnTo>
                  <a:lnTo>
                    <a:pt x="6" y="22"/>
                  </a:lnTo>
                  <a:lnTo>
                    <a:pt x="6" y="22"/>
                  </a:lnTo>
                  <a:lnTo>
                    <a:pt x="2" y="22"/>
                  </a:lnTo>
                  <a:lnTo>
                    <a:pt x="2" y="22"/>
                  </a:lnTo>
                  <a:lnTo>
                    <a:pt x="2" y="22"/>
                  </a:lnTo>
                  <a:lnTo>
                    <a:pt x="2" y="22"/>
                  </a:lnTo>
                  <a:lnTo>
                    <a:pt x="2" y="18"/>
                  </a:lnTo>
                  <a:lnTo>
                    <a:pt x="0" y="18"/>
                  </a:lnTo>
                  <a:lnTo>
                    <a:pt x="0" y="14"/>
                  </a:lnTo>
                  <a:lnTo>
                    <a:pt x="0" y="14"/>
                  </a:lnTo>
                  <a:lnTo>
                    <a:pt x="2" y="14"/>
                  </a:lnTo>
                  <a:lnTo>
                    <a:pt x="2" y="10"/>
                  </a:lnTo>
                  <a:lnTo>
                    <a:pt x="2" y="10"/>
                  </a:lnTo>
                  <a:lnTo>
                    <a:pt x="2" y="10"/>
                  </a:lnTo>
                  <a:lnTo>
                    <a:pt x="2" y="8"/>
                  </a:lnTo>
                  <a:lnTo>
                    <a:pt x="2" y="8"/>
                  </a:lnTo>
                  <a:lnTo>
                    <a:pt x="0" y="4"/>
                  </a:lnTo>
                  <a:lnTo>
                    <a:pt x="0" y="4"/>
                  </a:lnTo>
                  <a:lnTo>
                    <a:pt x="0" y="4"/>
                  </a:lnTo>
                  <a:lnTo>
                    <a:pt x="0" y="4"/>
                  </a:lnTo>
                  <a:lnTo>
                    <a:pt x="0" y="4"/>
                  </a:lnTo>
                  <a:lnTo>
                    <a:pt x="0" y="4"/>
                  </a:lnTo>
                  <a:lnTo>
                    <a:pt x="0" y="4"/>
                  </a:lnTo>
                  <a:lnTo>
                    <a:pt x="0" y="4"/>
                  </a:lnTo>
                  <a:lnTo>
                    <a:pt x="2" y="4"/>
                  </a:lnTo>
                  <a:lnTo>
                    <a:pt x="2" y="4"/>
                  </a:lnTo>
                  <a:lnTo>
                    <a:pt x="2" y="4"/>
                  </a:lnTo>
                  <a:lnTo>
                    <a:pt x="2" y="4"/>
                  </a:lnTo>
                  <a:lnTo>
                    <a:pt x="2" y="0"/>
                  </a:lnTo>
                  <a:lnTo>
                    <a:pt x="2" y="0"/>
                  </a:lnTo>
                  <a:lnTo>
                    <a:pt x="6" y="0"/>
                  </a:lnTo>
                  <a:lnTo>
                    <a:pt x="6" y="0"/>
                  </a:lnTo>
                  <a:lnTo>
                    <a:pt x="6"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2" y="0"/>
                  </a:lnTo>
                  <a:lnTo>
                    <a:pt x="24" y="0"/>
                  </a:lnTo>
                  <a:lnTo>
                    <a:pt x="24" y="0"/>
                  </a:lnTo>
                  <a:lnTo>
                    <a:pt x="24" y="4"/>
                  </a:lnTo>
                  <a:lnTo>
                    <a:pt x="24" y="4"/>
                  </a:lnTo>
                  <a:lnTo>
                    <a:pt x="22" y="4"/>
                  </a:lnTo>
                  <a:lnTo>
                    <a:pt x="22" y="4"/>
                  </a:lnTo>
                  <a:lnTo>
                    <a:pt x="22" y="4"/>
                  </a:lnTo>
                  <a:lnTo>
                    <a:pt x="22" y="4"/>
                  </a:lnTo>
                  <a:lnTo>
                    <a:pt x="22" y="4"/>
                  </a:lnTo>
                  <a:lnTo>
                    <a:pt x="24" y="4"/>
                  </a:lnTo>
                  <a:lnTo>
                    <a:pt x="28" y="8"/>
                  </a:lnTo>
                  <a:lnTo>
                    <a:pt x="28" y="8"/>
                  </a:lnTo>
                  <a:lnTo>
                    <a:pt x="28" y="8"/>
                  </a:lnTo>
                  <a:lnTo>
                    <a:pt x="28" y="8"/>
                  </a:lnTo>
                  <a:lnTo>
                    <a:pt x="28" y="8"/>
                  </a:lnTo>
                  <a:lnTo>
                    <a:pt x="28" y="10"/>
                  </a:lnTo>
                  <a:lnTo>
                    <a:pt x="24" y="10"/>
                  </a:lnTo>
                  <a:lnTo>
                    <a:pt x="24" y="10"/>
                  </a:lnTo>
                  <a:lnTo>
                    <a:pt x="24" y="10"/>
                  </a:lnTo>
                  <a:lnTo>
                    <a:pt x="24" y="10"/>
                  </a:lnTo>
                  <a:lnTo>
                    <a:pt x="28" y="14"/>
                  </a:lnTo>
                  <a:lnTo>
                    <a:pt x="28" y="14"/>
                  </a:lnTo>
                  <a:lnTo>
                    <a:pt x="28" y="14"/>
                  </a:lnTo>
                  <a:lnTo>
                    <a:pt x="32" y="18"/>
                  </a:lnTo>
                  <a:lnTo>
                    <a:pt x="32" y="18"/>
                  </a:lnTo>
                  <a:lnTo>
                    <a:pt x="32" y="18"/>
                  </a:lnTo>
                  <a:lnTo>
                    <a:pt x="36" y="18"/>
                  </a:lnTo>
                  <a:lnTo>
                    <a:pt x="32" y="22"/>
                  </a:lnTo>
                  <a:lnTo>
                    <a:pt x="32" y="22"/>
                  </a:lnTo>
                  <a:lnTo>
                    <a:pt x="32" y="22"/>
                  </a:lnTo>
                  <a:lnTo>
                    <a:pt x="32" y="22"/>
                  </a:lnTo>
                  <a:lnTo>
                    <a:pt x="32" y="22"/>
                  </a:lnTo>
                  <a:lnTo>
                    <a:pt x="32" y="22"/>
                  </a:lnTo>
                  <a:lnTo>
                    <a:pt x="28" y="22"/>
                  </a:lnTo>
                  <a:lnTo>
                    <a:pt x="28" y="22"/>
                  </a:lnTo>
                  <a:lnTo>
                    <a:pt x="28" y="22"/>
                  </a:lnTo>
                  <a:lnTo>
                    <a:pt x="28" y="22"/>
                  </a:lnTo>
                  <a:lnTo>
                    <a:pt x="28" y="22"/>
                  </a:lnTo>
                  <a:lnTo>
                    <a:pt x="28" y="26"/>
                  </a:lnTo>
                  <a:lnTo>
                    <a:pt x="28" y="26"/>
                  </a:lnTo>
                  <a:lnTo>
                    <a:pt x="32" y="26"/>
                  </a:lnTo>
                  <a:lnTo>
                    <a:pt x="32" y="26"/>
                  </a:lnTo>
                  <a:lnTo>
                    <a:pt x="32" y="26"/>
                  </a:lnTo>
                  <a:lnTo>
                    <a:pt x="32" y="26"/>
                  </a:lnTo>
                  <a:lnTo>
                    <a:pt x="32" y="26"/>
                  </a:lnTo>
                  <a:lnTo>
                    <a:pt x="32" y="26"/>
                  </a:lnTo>
                  <a:lnTo>
                    <a:pt x="32" y="26"/>
                  </a:lnTo>
                  <a:lnTo>
                    <a:pt x="32" y="26"/>
                  </a:lnTo>
                  <a:lnTo>
                    <a:pt x="32" y="30"/>
                  </a:lnTo>
                  <a:lnTo>
                    <a:pt x="32" y="30"/>
                  </a:lnTo>
                  <a:lnTo>
                    <a:pt x="36" y="30"/>
                  </a:lnTo>
                  <a:lnTo>
                    <a:pt x="36" y="30"/>
                  </a:lnTo>
                  <a:lnTo>
                    <a:pt x="36" y="30"/>
                  </a:lnTo>
                  <a:lnTo>
                    <a:pt x="36" y="30"/>
                  </a:lnTo>
                  <a:lnTo>
                    <a:pt x="36" y="30"/>
                  </a:lnTo>
                  <a:lnTo>
                    <a:pt x="36" y="30"/>
                  </a:lnTo>
                  <a:lnTo>
                    <a:pt x="36" y="32"/>
                  </a:lnTo>
                  <a:lnTo>
                    <a:pt x="36" y="32"/>
                  </a:lnTo>
                  <a:lnTo>
                    <a:pt x="40" y="30"/>
                  </a:lnTo>
                  <a:lnTo>
                    <a:pt x="40" y="30"/>
                  </a:lnTo>
                  <a:lnTo>
                    <a:pt x="40" y="30"/>
                  </a:lnTo>
                  <a:lnTo>
                    <a:pt x="44" y="32"/>
                  </a:lnTo>
                  <a:lnTo>
                    <a:pt x="44" y="32"/>
                  </a:lnTo>
                  <a:lnTo>
                    <a:pt x="44" y="32"/>
                  </a:lnTo>
                  <a:lnTo>
                    <a:pt x="40" y="32"/>
                  </a:lnTo>
                  <a:lnTo>
                    <a:pt x="40" y="32"/>
                  </a:lnTo>
                  <a:lnTo>
                    <a:pt x="40" y="32"/>
                  </a:lnTo>
                  <a:lnTo>
                    <a:pt x="40" y="36"/>
                  </a:lnTo>
                  <a:lnTo>
                    <a:pt x="40" y="36"/>
                  </a:lnTo>
                  <a:lnTo>
                    <a:pt x="44" y="36"/>
                  </a:lnTo>
                  <a:lnTo>
                    <a:pt x="44" y="36"/>
                  </a:lnTo>
                  <a:lnTo>
                    <a:pt x="44" y="36"/>
                  </a:lnTo>
                  <a:lnTo>
                    <a:pt x="44" y="36"/>
                  </a:lnTo>
                  <a:lnTo>
                    <a:pt x="44" y="40"/>
                  </a:lnTo>
                  <a:lnTo>
                    <a:pt x="40" y="40"/>
                  </a:lnTo>
                  <a:lnTo>
                    <a:pt x="40" y="36"/>
                  </a:lnTo>
                  <a:lnTo>
                    <a:pt x="40" y="40"/>
                  </a:lnTo>
                  <a:lnTo>
                    <a:pt x="40" y="40"/>
                  </a:lnTo>
                  <a:lnTo>
                    <a:pt x="40" y="40"/>
                  </a:lnTo>
                  <a:lnTo>
                    <a:pt x="40" y="40"/>
                  </a:lnTo>
                  <a:lnTo>
                    <a:pt x="40" y="40"/>
                  </a:lnTo>
                  <a:lnTo>
                    <a:pt x="44" y="40"/>
                  </a:lnTo>
                  <a:lnTo>
                    <a:pt x="44" y="40"/>
                  </a:lnTo>
                  <a:lnTo>
                    <a:pt x="44" y="40"/>
                  </a:lnTo>
                  <a:lnTo>
                    <a:pt x="40" y="44"/>
                  </a:lnTo>
                  <a:lnTo>
                    <a:pt x="40" y="44"/>
                  </a:lnTo>
                  <a:lnTo>
                    <a:pt x="44" y="44"/>
                  </a:lnTo>
                  <a:lnTo>
                    <a:pt x="44" y="44"/>
                  </a:lnTo>
                  <a:lnTo>
                    <a:pt x="44" y="44"/>
                  </a:lnTo>
                  <a:close/>
                  <a:moveTo>
                    <a:pt x="22" y="4"/>
                  </a:moveTo>
                  <a:lnTo>
                    <a:pt x="22" y="4"/>
                  </a:lnTo>
                  <a:lnTo>
                    <a:pt x="22" y="4"/>
                  </a:lnTo>
                  <a:lnTo>
                    <a:pt x="22" y="4"/>
                  </a:lnTo>
                  <a:lnTo>
                    <a:pt x="22" y="4"/>
                  </a:lnTo>
                  <a:lnTo>
                    <a:pt x="22" y="4"/>
                  </a:lnTo>
                  <a:lnTo>
                    <a:pt x="22" y="4"/>
                  </a:lnTo>
                  <a:lnTo>
                    <a:pt x="22" y="4"/>
                  </a:lnTo>
                  <a:lnTo>
                    <a:pt x="22" y="4"/>
                  </a:lnTo>
                  <a:lnTo>
                    <a:pt x="22" y="4"/>
                  </a:lnTo>
                  <a:close/>
                  <a:moveTo>
                    <a:pt x="24" y="4"/>
                  </a:moveTo>
                  <a:lnTo>
                    <a:pt x="24" y="4"/>
                  </a:lnTo>
                  <a:lnTo>
                    <a:pt x="24" y="4"/>
                  </a:lnTo>
                  <a:lnTo>
                    <a:pt x="24" y="4"/>
                  </a:lnTo>
                  <a:lnTo>
                    <a:pt x="24" y="4"/>
                  </a:lnTo>
                  <a:lnTo>
                    <a:pt x="24" y="4"/>
                  </a:lnTo>
                  <a:lnTo>
                    <a:pt x="24" y="4"/>
                  </a:lnTo>
                  <a:close/>
                  <a:moveTo>
                    <a:pt x="28" y="10"/>
                  </a:moveTo>
                  <a:lnTo>
                    <a:pt x="28" y="10"/>
                  </a:lnTo>
                  <a:lnTo>
                    <a:pt x="28" y="10"/>
                  </a:lnTo>
                  <a:lnTo>
                    <a:pt x="28" y="10"/>
                  </a:lnTo>
                  <a:lnTo>
                    <a:pt x="28" y="10"/>
                  </a:lnTo>
                  <a:lnTo>
                    <a:pt x="28" y="10"/>
                  </a:lnTo>
                  <a:lnTo>
                    <a:pt x="28" y="10"/>
                  </a:lnTo>
                  <a:lnTo>
                    <a:pt x="28" y="10"/>
                  </a:lnTo>
                  <a:lnTo>
                    <a:pt x="28" y="10"/>
                  </a:lnTo>
                  <a:lnTo>
                    <a:pt x="28" y="1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25" name="Freeform 18"/>
            <p:cNvSpPr>
              <a:spLocks noEditPoints="1"/>
            </p:cNvSpPr>
            <p:nvPr/>
          </p:nvSpPr>
          <p:spPr bwMode="auto">
            <a:xfrm>
              <a:off x="7438425" y="3659639"/>
              <a:ext cx="60286" cy="56226"/>
            </a:xfrm>
            <a:custGeom>
              <a:avLst/>
              <a:gdLst>
                <a:gd name="T0" fmla="*/ 78 w 96"/>
                <a:gd name="T1" fmla="*/ 86 h 86"/>
                <a:gd name="T2" fmla="*/ 56 w 96"/>
                <a:gd name="T3" fmla="*/ 86 h 86"/>
                <a:gd name="T4" fmla="*/ 48 w 96"/>
                <a:gd name="T5" fmla="*/ 82 h 86"/>
                <a:gd name="T6" fmla="*/ 44 w 96"/>
                <a:gd name="T7" fmla="*/ 74 h 86"/>
                <a:gd name="T8" fmla="*/ 48 w 96"/>
                <a:gd name="T9" fmla="*/ 74 h 86"/>
                <a:gd name="T10" fmla="*/ 48 w 96"/>
                <a:gd name="T11" fmla="*/ 70 h 86"/>
                <a:gd name="T12" fmla="*/ 48 w 96"/>
                <a:gd name="T13" fmla="*/ 66 h 86"/>
                <a:gd name="T14" fmla="*/ 48 w 96"/>
                <a:gd name="T15" fmla="*/ 62 h 86"/>
                <a:gd name="T16" fmla="*/ 40 w 96"/>
                <a:gd name="T17" fmla="*/ 60 h 86"/>
                <a:gd name="T18" fmla="*/ 32 w 96"/>
                <a:gd name="T19" fmla="*/ 66 h 86"/>
                <a:gd name="T20" fmla="*/ 30 w 96"/>
                <a:gd name="T21" fmla="*/ 70 h 86"/>
                <a:gd name="T22" fmla="*/ 26 w 96"/>
                <a:gd name="T23" fmla="*/ 74 h 86"/>
                <a:gd name="T24" fmla="*/ 22 w 96"/>
                <a:gd name="T25" fmla="*/ 70 h 86"/>
                <a:gd name="T26" fmla="*/ 26 w 96"/>
                <a:gd name="T27" fmla="*/ 66 h 86"/>
                <a:gd name="T28" fmla="*/ 22 w 96"/>
                <a:gd name="T29" fmla="*/ 62 h 86"/>
                <a:gd name="T30" fmla="*/ 22 w 96"/>
                <a:gd name="T31" fmla="*/ 60 h 86"/>
                <a:gd name="T32" fmla="*/ 18 w 96"/>
                <a:gd name="T33" fmla="*/ 60 h 86"/>
                <a:gd name="T34" fmla="*/ 14 w 96"/>
                <a:gd name="T35" fmla="*/ 56 h 86"/>
                <a:gd name="T36" fmla="*/ 10 w 96"/>
                <a:gd name="T37" fmla="*/ 52 h 86"/>
                <a:gd name="T38" fmla="*/ 14 w 96"/>
                <a:gd name="T39" fmla="*/ 52 h 86"/>
                <a:gd name="T40" fmla="*/ 14 w 96"/>
                <a:gd name="T41" fmla="*/ 48 h 86"/>
                <a:gd name="T42" fmla="*/ 6 w 96"/>
                <a:gd name="T43" fmla="*/ 40 h 86"/>
                <a:gd name="T44" fmla="*/ 6 w 96"/>
                <a:gd name="T45" fmla="*/ 32 h 86"/>
                <a:gd name="T46" fmla="*/ 6 w 96"/>
                <a:gd name="T47" fmla="*/ 32 h 86"/>
                <a:gd name="T48" fmla="*/ 4 w 96"/>
                <a:gd name="T49" fmla="*/ 26 h 86"/>
                <a:gd name="T50" fmla="*/ 10 w 96"/>
                <a:gd name="T51" fmla="*/ 26 h 86"/>
                <a:gd name="T52" fmla="*/ 14 w 96"/>
                <a:gd name="T53" fmla="*/ 30 h 86"/>
                <a:gd name="T54" fmla="*/ 18 w 96"/>
                <a:gd name="T55" fmla="*/ 30 h 86"/>
                <a:gd name="T56" fmla="*/ 22 w 96"/>
                <a:gd name="T57" fmla="*/ 32 h 86"/>
                <a:gd name="T58" fmla="*/ 26 w 96"/>
                <a:gd name="T59" fmla="*/ 26 h 86"/>
                <a:gd name="T60" fmla="*/ 18 w 96"/>
                <a:gd name="T61" fmla="*/ 22 h 86"/>
                <a:gd name="T62" fmla="*/ 22 w 96"/>
                <a:gd name="T63" fmla="*/ 18 h 86"/>
                <a:gd name="T64" fmla="*/ 26 w 96"/>
                <a:gd name="T65" fmla="*/ 18 h 86"/>
                <a:gd name="T66" fmla="*/ 30 w 96"/>
                <a:gd name="T67" fmla="*/ 22 h 86"/>
                <a:gd name="T68" fmla="*/ 36 w 96"/>
                <a:gd name="T69" fmla="*/ 30 h 86"/>
                <a:gd name="T70" fmla="*/ 40 w 96"/>
                <a:gd name="T71" fmla="*/ 30 h 86"/>
                <a:gd name="T72" fmla="*/ 48 w 96"/>
                <a:gd name="T73" fmla="*/ 26 h 86"/>
                <a:gd name="T74" fmla="*/ 52 w 96"/>
                <a:gd name="T75" fmla="*/ 22 h 86"/>
                <a:gd name="T76" fmla="*/ 70 w 96"/>
                <a:gd name="T77" fmla="*/ 0 h 86"/>
                <a:gd name="T78" fmla="*/ 88 w 96"/>
                <a:gd name="T79" fmla="*/ 30 h 86"/>
                <a:gd name="T80" fmla="*/ 96 w 96"/>
                <a:gd name="T81" fmla="*/ 56 h 86"/>
                <a:gd name="T82" fmla="*/ 92 w 96"/>
                <a:gd name="T83" fmla="*/ 74 h 86"/>
                <a:gd name="T84" fmla="*/ 10 w 96"/>
                <a:gd name="T85" fmla="*/ 40 h 86"/>
                <a:gd name="T86" fmla="*/ 4 w 96"/>
                <a:gd name="T87" fmla="*/ 32 h 86"/>
                <a:gd name="T88" fmla="*/ 4 w 96"/>
                <a:gd name="T89" fmla="*/ 32 h 86"/>
                <a:gd name="T90" fmla="*/ 6 w 96"/>
                <a:gd name="T91" fmla="*/ 32 h 86"/>
                <a:gd name="T92" fmla="*/ 0 w 96"/>
                <a:gd name="T93" fmla="*/ 60 h 86"/>
                <a:gd name="T94" fmla="*/ 4 w 96"/>
                <a:gd name="T95" fmla="*/ 60 h 86"/>
                <a:gd name="T96" fmla="*/ 10 w 96"/>
                <a:gd name="T97" fmla="*/ 62 h 86"/>
                <a:gd name="T98" fmla="*/ 14 w 96"/>
                <a:gd name="T99" fmla="*/ 66 h 86"/>
                <a:gd name="T100" fmla="*/ 18 w 96"/>
                <a:gd name="T101" fmla="*/ 74 h 86"/>
                <a:gd name="T102" fmla="*/ 10 w 96"/>
                <a:gd name="T103" fmla="*/ 74 h 86"/>
                <a:gd name="T104" fmla="*/ 6 w 96"/>
                <a:gd name="T105" fmla="*/ 70 h 86"/>
                <a:gd name="T106" fmla="*/ 4 w 96"/>
                <a:gd name="T107" fmla="*/ 62 h 86"/>
                <a:gd name="T108" fmla="*/ 0 w 96"/>
                <a:gd name="T109" fmla="*/ 6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 h="86">
                  <a:moveTo>
                    <a:pt x="92" y="78"/>
                  </a:moveTo>
                  <a:lnTo>
                    <a:pt x="88" y="82"/>
                  </a:lnTo>
                  <a:lnTo>
                    <a:pt x="86" y="82"/>
                  </a:lnTo>
                  <a:lnTo>
                    <a:pt x="82" y="82"/>
                  </a:lnTo>
                  <a:lnTo>
                    <a:pt x="82" y="82"/>
                  </a:lnTo>
                  <a:lnTo>
                    <a:pt x="78" y="86"/>
                  </a:lnTo>
                  <a:lnTo>
                    <a:pt x="78" y="86"/>
                  </a:lnTo>
                  <a:lnTo>
                    <a:pt x="74" y="86"/>
                  </a:lnTo>
                  <a:lnTo>
                    <a:pt x="70" y="86"/>
                  </a:lnTo>
                  <a:lnTo>
                    <a:pt x="58" y="82"/>
                  </a:lnTo>
                  <a:lnTo>
                    <a:pt x="56" y="82"/>
                  </a:lnTo>
                  <a:lnTo>
                    <a:pt x="56" y="82"/>
                  </a:lnTo>
                  <a:lnTo>
                    <a:pt x="56" y="86"/>
                  </a:lnTo>
                  <a:lnTo>
                    <a:pt x="56" y="86"/>
                  </a:lnTo>
                  <a:lnTo>
                    <a:pt x="56" y="86"/>
                  </a:lnTo>
                  <a:lnTo>
                    <a:pt x="52" y="86"/>
                  </a:lnTo>
                  <a:lnTo>
                    <a:pt x="52" y="82"/>
                  </a:lnTo>
                  <a:lnTo>
                    <a:pt x="52" y="82"/>
                  </a:lnTo>
                  <a:lnTo>
                    <a:pt x="52" y="82"/>
                  </a:lnTo>
                  <a:lnTo>
                    <a:pt x="52" y="82"/>
                  </a:lnTo>
                  <a:lnTo>
                    <a:pt x="48" y="82"/>
                  </a:lnTo>
                  <a:lnTo>
                    <a:pt x="48" y="78"/>
                  </a:lnTo>
                  <a:lnTo>
                    <a:pt x="48" y="78"/>
                  </a:lnTo>
                  <a:lnTo>
                    <a:pt x="48" y="78"/>
                  </a:lnTo>
                  <a:lnTo>
                    <a:pt x="48" y="78"/>
                  </a:lnTo>
                  <a:lnTo>
                    <a:pt x="48" y="78"/>
                  </a:lnTo>
                  <a:lnTo>
                    <a:pt x="48" y="78"/>
                  </a:lnTo>
                  <a:lnTo>
                    <a:pt x="44" y="74"/>
                  </a:lnTo>
                  <a:lnTo>
                    <a:pt x="44" y="74"/>
                  </a:lnTo>
                  <a:lnTo>
                    <a:pt x="44" y="74"/>
                  </a:lnTo>
                  <a:lnTo>
                    <a:pt x="44" y="74"/>
                  </a:lnTo>
                  <a:lnTo>
                    <a:pt x="48" y="74"/>
                  </a:lnTo>
                  <a:lnTo>
                    <a:pt x="48" y="74"/>
                  </a:lnTo>
                  <a:lnTo>
                    <a:pt x="48" y="74"/>
                  </a:lnTo>
                  <a:lnTo>
                    <a:pt x="48" y="74"/>
                  </a:lnTo>
                  <a:lnTo>
                    <a:pt x="48" y="74"/>
                  </a:lnTo>
                  <a:lnTo>
                    <a:pt x="48" y="74"/>
                  </a:lnTo>
                  <a:lnTo>
                    <a:pt x="48" y="70"/>
                  </a:lnTo>
                  <a:lnTo>
                    <a:pt x="48" y="70"/>
                  </a:lnTo>
                  <a:lnTo>
                    <a:pt x="48" y="70"/>
                  </a:lnTo>
                  <a:lnTo>
                    <a:pt x="48" y="70"/>
                  </a:lnTo>
                  <a:lnTo>
                    <a:pt x="48" y="70"/>
                  </a:lnTo>
                  <a:lnTo>
                    <a:pt x="48" y="70"/>
                  </a:lnTo>
                  <a:lnTo>
                    <a:pt x="48" y="66"/>
                  </a:lnTo>
                  <a:lnTo>
                    <a:pt x="48" y="66"/>
                  </a:lnTo>
                  <a:lnTo>
                    <a:pt x="48" y="66"/>
                  </a:lnTo>
                  <a:lnTo>
                    <a:pt x="48" y="66"/>
                  </a:lnTo>
                  <a:lnTo>
                    <a:pt x="48" y="66"/>
                  </a:lnTo>
                  <a:lnTo>
                    <a:pt x="48" y="66"/>
                  </a:lnTo>
                  <a:lnTo>
                    <a:pt x="52" y="66"/>
                  </a:lnTo>
                  <a:lnTo>
                    <a:pt x="48" y="62"/>
                  </a:lnTo>
                  <a:lnTo>
                    <a:pt x="48" y="62"/>
                  </a:lnTo>
                  <a:lnTo>
                    <a:pt x="48" y="62"/>
                  </a:lnTo>
                  <a:lnTo>
                    <a:pt x="48" y="62"/>
                  </a:lnTo>
                  <a:lnTo>
                    <a:pt x="48" y="62"/>
                  </a:lnTo>
                  <a:lnTo>
                    <a:pt x="48" y="62"/>
                  </a:lnTo>
                  <a:lnTo>
                    <a:pt x="44" y="60"/>
                  </a:lnTo>
                  <a:lnTo>
                    <a:pt x="44" y="60"/>
                  </a:lnTo>
                  <a:lnTo>
                    <a:pt x="44" y="60"/>
                  </a:lnTo>
                  <a:lnTo>
                    <a:pt x="44" y="60"/>
                  </a:lnTo>
                  <a:lnTo>
                    <a:pt x="44" y="60"/>
                  </a:lnTo>
                  <a:lnTo>
                    <a:pt x="40" y="60"/>
                  </a:lnTo>
                  <a:lnTo>
                    <a:pt x="40" y="60"/>
                  </a:lnTo>
                  <a:lnTo>
                    <a:pt x="40" y="60"/>
                  </a:lnTo>
                  <a:lnTo>
                    <a:pt x="36" y="62"/>
                  </a:lnTo>
                  <a:lnTo>
                    <a:pt x="36" y="62"/>
                  </a:lnTo>
                  <a:lnTo>
                    <a:pt x="36" y="62"/>
                  </a:lnTo>
                  <a:lnTo>
                    <a:pt x="36" y="62"/>
                  </a:lnTo>
                  <a:lnTo>
                    <a:pt x="36" y="66"/>
                  </a:lnTo>
                  <a:lnTo>
                    <a:pt x="32" y="66"/>
                  </a:lnTo>
                  <a:lnTo>
                    <a:pt x="32" y="66"/>
                  </a:lnTo>
                  <a:lnTo>
                    <a:pt x="32" y="66"/>
                  </a:lnTo>
                  <a:lnTo>
                    <a:pt x="32" y="66"/>
                  </a:lnTo>
                  <a:lnTo>
                    <a:pt x="32" y="66"/>
                  </a:lnTo>
                  <a:lnTo>
                    <a:pt x="30" y="70"/>
                  </a:lnTo>
                  <a:lnTo>
                    <a:pt x="30" y="70"/>
                  </a:lnTo>
                  <a:lnTo>
                    <a:pt x="30" y="70"/>
                  </a:lnTo>
                  <a:lnTo>
                    <a:pt x="30" y="70"/>
                  </a:lnTo>
                  <a:lnTo>
                    <a:pt x="30" y="70"/>
                  </a:lnTo>
                  <a:lnTo>
                    <a:pt x="26" y="70"/>
                  </a:lnTo>
                  <a:lnTo>
                    <a:pt x="26" y="70"/>
                  </a:lnTo>
                  <a:lnTo>
                    <a:pt x="26" y="74"/>
                  </a:lnTo>
                  <a:lnTo>
                    <a:pt x="26" y="74"/>
                  </a:lnTo>
                  <a:lnTo>
                    <a:pt x="26" y="74"/>
                  </a:lnTo>
                  <a:lnTo>
                    <a:pt x="22" y="74"/>
                  </a:lnTo>
                  <a:lnTo>
                    <a:pt x="22" y="74"/>
                  </a:lnTo>
                  <a:lnTo>
                    <a:pt x="26" y="70"/>
                  </a:lnTo>
                  <a:lnTo>
                    <a:pt x="26" y="70"/>
                  </a:lnTo>
                  <a:lnTo>
                    <a:pt x="26" y="70"/>
                  </a:lnTo>
                  <a:lnTo>
                    <a:pt x="22" y="70"/>
                  </a:lnTo>
                  <a:lnTo>
                    <a:pt x="22" y="70"/>
                  </a:lnTo>
                  <a:lnTo>
                    <a:pt x="22" y="70"/>
                  </a:lnTo>
                  <a:lnTo>
                    <a:pt x="22" y="70"/>
                  </a:lnTo>
                  <a:lnTo>
                    <a:pt x="22" y="70"/>
                  </a:lnTo>
                  <a:lnTo>
                    <a:pt x="22" y="66"/>
                  </a:lnTo>
                  <a:lnTo>
                    <a:pt x="22" y="70"/>
                  </a:lnTo>
                  <a:lnTo>
                    <a:pt x="26" y="70"/>
                  </a:lnTo>
                  <a:lnTo>
                    <a:pt x="26" y="66"/>
                  </a:lnTo>
                  <a:lnTo>
                    <a:pt x="26" y="66"/>
                  </a:lnTo>
                  <a:lnTo>
                    <a:pt x="26" y="66"/>
                  </a:lnTo>
                  <a:lnTo>
                    <a:pt x="26" y="66"/>
                  </a:lnTo>
                  <a:lnTo>
                    <a:pt x="22" y="66"/>
                  </a:lnTo>
                  <a:lnTo>
                    <a:pt x="22" y="66"/>
                  </a:lnTo>
                  <a:lnTo>
                    <a:pt x="22" y="62"/>
                  </a:lnTo>
                  <a:lnTo>
                    <a:pt x="22" y="62"/>
                  </a:lnTo>
                  <a:lnTo>
                    <a:pt x="22" y="62"/>
                  </a:lnTo>
                  <a:lnTo>
                    <a:pt x="26" y="62"/>
                  </a:lnTo>
                  <a:lnTo>
                    <a:pt x="26" y="62"/>
                  </a:lnTo>
                  <a:lnTo>
                    <a:pt x="26" y="62"/>
                  </a:lnTo>
                  <a:lnTo>
                    <a:pt x="22" y="60"/>
                  </a:lnTo>
                  <a:lnTo>
                    <a:pt x="22" y="60"/>
                  </a:lnTo>
                  <a:lnTo>
                    <a:pt x="22" y="60"/>
                  </a:lnTo>
                  <a:lnTo>
                    <a:pt x="18" y="62"/>
                  </a:lnTo>
                  <a:lnTo>
                    <a:pt x="18" y="62"/>
                  </a:lnTo>
                  <a:lnTo>
                    <a:pt x="18" y="60"/>
                  </a:lnTo>
                  <a:lnTo>
                    <a:pt x="18" y="60"/>
                  </a:lnTo>
                  <a:lnTo>
                    <a:pt x="18" y="60"/>
                  </a:lnTo>
                  <a:lnTo>
                    <a:pt x="18" y="60"/>
                  </a:lnTo>
                  <a:lnTo>
                    <a:pt x="18" y="60"/>
                  </a:lnTo>
                  <a:lnTo>
                    <a:pt x="18" y="60"/>
                  </a:lnTo>
                  <a:lnTo>
                    <a:pt x="14" y="60"/>
                  </a:lnTo>
                  <a:lnTo>
                    <a:pt x="14" y="60"/>
                  </a:lnTo>
                  <a:lnTo>
                    <a:pt x="14" y="56"/>
                  </a:lnTo>
                  <a:lnTo>
                    <a:pt x="14" y="56"/>
                  </a:lnTo>
                  <a:lnTo>
                    <a:pt x="14" y="56"/>
                  </a:lnTo>
                  <a:lnTo>
                    <a:pt x="14" y="56"/>
                  </a:lnTo>
                  <a:lnTo>
                    <a:pt x="14" y="56"/>
                  </a:lnTo>
                  <a:lnTo>
                    <a:pt x="14" y="56"/>
                  </a:lnTo>
                  <a:lnTo>
                    <a:pt x="14" y="56"/>
                  </a:lnTo>
                  <a:lnTo>
                    <a:pt x="14" y="56"/>
                  </a:lnTo>
                  <a:lnTo>
                    <a:pt x="10" y="56"/>
                  </a:lnTo>
                  <a:lnTo>
                    <a:pt x="10" y="56"/>
                  </a:lnTo>
                  <a:lnTo>
                    <a:pt x="10" y="52"/>
                  </a:lnTo>
                  <a:lnTo>
                    <a:pt x="10" y="52"/>
                  </a:lnTo>
                  <a:lnTo>
                    <a:pt x="10" y="52"/>
                  </a:lnTo>
                  <a:lnTo>
                    <a:pt x="10" y="52"/>
                  </a:lnTo>
                  <a:lnTo>
                    <a:pt x="10" y="52"/>
                  </a:lnTo>
                  <a:lnTo>
                    <a:pt x="14" y="52"/>
                  </a:lnTo>
                  <a:lnTo>
                    <a:pt x="14" y="52"/>
                  </a:lnTo>
                  <a:lnTo>
                    <a:pt x="14" y="52"/>
                  </a:lnTo>
                  <a:lnTo>
                    <a:pt x="14" y="52"/>
                  </a:lnTo>
                  <a:lnTo>
                    <a:pt x="14" y="52"/>
                  </a:lnTo>
                  <a:lnTo>
                    <a:pt x="14" y="52"/>
                  </a:lnTo>
                  <a:lnTo>
                    <a:pt x="18" y="48"/>
                  </a:lnTo>
                  <a:lnTo>
                    <a:pt x="14" y="48"/>
                  </a:lnTo>
                  <a:lnTo>
                    <a:pt x="14" y="48"/>
                  </a:lnTo>
                  <a:lnTo>
                    <a:pt x="14" y="48"/>
                  </a:lnTo>
                  <a:lnTo>
                    <a:pt x="10" y="44"/>
                  </a:lnTo>
                  <a:lnTo>
                    <a:pt x="10" y="44"/>
                  </a:lnTo>
                  <a:lnTo>
                    <a:pt x="10" y="44"/>
                  </a:lnTo>
                  <a:lnTo>
                    <a:pt x="6" y="40"/>
                  </a:lnTo>
                  <a:lnTo>
                    <a:pt x="6" y="40"/>
                  </a:lnTo>
                  <a:lnTo>
                    <a:pt x="6" y="40"/>
                  </a:lnTo>
                  <a:lnTo>
                    <a:pt x="6" y="40"/>
                  </a:lnTo>
                  <a:lnTo>
                    <a:pt x="10" y="40"/>
                  </a:lnTo>
                  <a:lnTo>
                    <a:pt x="10" y="36"/>
                  </a:lnTo>
                  <a:lnTo>
                    <a:pt x="10" y="36"/>
                  </a:lnTo>
                  <a:lnTo>
                    <a:pt x="10" y="36"/>
                  </a:lnTo>
                  <a:lnTo>
                    <a:pt x="10" y="36"/>
                  </a:lnTo>
                  <a:lnTo>
                    <a:pt x="10" y="36"/>
                  </a:lnTo>
                  <a:lnTo>
                    <a:pt x="6" y="32"/>
                  </a:lnTo>
                  <a:lnTo>
                    <a:pt x="4" y="32"/>
                  </a:lnTo>
                  <a:lnTo>
                    <a:pt x="4" y="32"/>
                  </a:lnTo>
                  <a:lnTo>
                    <a:pt x="4" y="32"/>
                  </a:lnTo>
                  <a:lnTo>
                    <a:pt x="4" y="32"/>
                  </a:lnTo>
                  <a:lnTo>
                    <a:pt x="4" y="32"/>
                  </a:lnTo>
                  <a:lnTo>
                    <a:pt x="6" y="32"/>
                  </a:lnTo>
                  <a:lnTo>
                    <a:pt x="6" y="32"/>
                  </a:lnTo>
                  <a:lnTo>
                    <a:pt x="6" y="30"/>
                  </a:lnTo>
                  <a:lnTo>
                    <a:pt x="6" y="30"/>
                  </a:lnTo>
                  <a:lnTo>
                    <a:pt x="4" y="30"/>
                  </a:lnTo>
                  <a:lnTo>
                    <a:pt x="4" y="30"/>
                  </a:lnTo>
                  <a:lnTo>
                    <a:pt x="4" y="30"/>
                  </a:lnTo>
                  <a:lnTo>
                    <a:pt x="4" y="30"/>
                  </a:lnTo>
                  <a:lnTo>
                    <a:pt x="4" y="26"/>
                  </a:lnTo>
                  <a:lnTo>
                    <a:pt x="4" y="26"/>
                  </a:lnTo>
                  <a:lnTo>
                    <a:pt x="6" y="26"/>
                  </a:lnTo>
                  <a:lnTo>
                    <a:pt x="6" y="26"/>
                  </a:lnTo>
                  <a:lnTo>
                    <a:pt x="6" y="26"/>
                  </a:lnTo>
                  <a:lnTo>
                    <a:pt x="6" y="26"/>
                  </a:lnTo>
                  <a:lnTo>
                    <a:pt x="10" y="26"/>
                  </a:lnTo>
                  <a:lnTo>
                    <a:pt x="10" y="26"/>
                  </a:lnTo>
                  <a:lnTo>
                    <a:pt x="10" y="30"/>
                  </a:lnTo>
                  <a:lnTo>
                    <a:pt x="10" y="30"/>
                  </a:lnTo>
                  <a:lnTo>
                    <a:pt x="14" y="30"/>
                  </a:lnTo>
                  <a:lnTo>
                    <a:pt x="14" y="30"/>
                  </a:lnTo>
                  <a:lnTo>
                    <a:pt x="14" y="30"/>
                  </a:lnTo>
                  <a:lnTo>
                    <a:pt x="14" y="30"/>
                  </a:lnTo>
                  <a:lnTo>
                    <a:pt x="14" y="30"/>
                  </a:lnTo>
                  <a:lnTo>
                    <a:pt x="14" y="30"/>
                  </a:lnTo>
                  <a:lnTo>
                    <a:pt x="14" y="30"/>
                  </a:lnTo>
                  <a:lnTo>
                    <a:pt x="18" y="30"/>
                  </a:lnTo>
                  <a:lnTo>
                    <a:pt x="18" y="30"/>
                  </a:lnTo>
                  <a:lnTo>
                    <a:pt x="18" y="30"/>
                  </a:lnTo>
                  <a:lnTo>
                    <a:pt x="18" y="30"/>
                  </a:lnTo>
                  <a:lnTo>
                    <a:pt x="18" y="30"/>
                  </a:lnTo>
                  <a:lnTo>
                    <a:pt x="18" y="30"/>
                  </a:lnTo>
                  <a:lnTo>
                    <a:pt x="22" y="30"/>
                  </a:lnTo>
                  <a:lnTo>
                    <a:pt x="22" y="30"/>
                  </a:lnTo>
                  <a:lnTo>
                    <a:pt x="22" y="32"/>
                  </a:lnTo>
                  <a:lnTo>
                    <a:pt x="22" y="32"/>
                  </a:lnTo>
                  <a:lnTo>
                    <a:pt x="22" y="32"/>
                  </a:lnTo>
                  <a:lnTo>
                    <a:pt x="22" y="32"/>
                  </a:lnTo>
                  <a:lnTo>
                    <a:pt x="26" y="32"/>
                  </a:lnTo>
                  <a:lnTo>
                    <a:pt x="26" y="32"/>
                  </a:lnTo>
                  <a:lnTo>
                    <a:pt x="26" y="30"/>
                  </a:lnTo>
                  <a:lnTo>
                    <a:pt x="26" y="30"/>
                  </a:lnTo>
                  <a:lnTo>
                    <a:pt x="26" y="30"/>
                  </a:lnTo>
                  <a:lnTo>
                    <a:pt x="26" y="30"/>
                  </a:lnTo>
                  <a:lnTo>
                    <a:pt x="26" y="26"/>
                  </a:lnTo>
                  <a:lnTo>
                    <a:pt x="26" y="26"/>
                  </a:lnTo>
                  <a:lnTo>
                    <a:pt x="26" y="26"/>
                  </a:lnTo>
                  <a:lnTo>
                    <a:pt x="22" y="26"/>
                  </a:lnTo>
                  <a:lnTo>
                    <a:pt x="22" y="26"/>
                  </a:lnTo>
                  <a:lnTo>
                    <a:pt x="18" y="22"/>
                  </a:lnTo>
                  <a:lnTo>
                    <a:pt x="18" y="22"/>
                  </a:lnTo>
                  <a:lnTo>
                    <a:pt x="18" y="22"/>
                  </a:lnTo>
                  <a:lnTo>
                    <a:pt x="18" y="22"/>
                  </a:lnTo>
                  <a:lnTo>
                    <a:pt x="18" y="18"/>
                  </a:lnTo>
                  <a:lnTo>
                    <a:pt x="18" y="18"/>
                  </a:lnTo>
                  <a:lnTo>
                    <a:pt x="18" y="18"/>
                  </a:lnTo>
                  <a:lnTo>
                    <a:pt x="22" y="18"/>
                  </a:lnTo>
                  <a:lnTo>
                    <a:pt x="22" y="18"/>
                  </a:lnTo>
                  <a:lnTo>
                    <a:pt x="22" y="18"/>
                  </a:lnTo>
                  <a:lnTo>
                    <a:pt x="22" y="18"/>
                  </a:lnTo>
                  <a:lnTo>
                    <a:pt x="22" y="18"/>
                  </a:lnTo>
                  <a:lnTo>
                    <a:pt x="22" y="18"/>
                  </a:lnTo>
                  <a:lnTo>
                    <a:pt x="22" y="18"/>
                  </a:lnTo>
                  <a:lnTo>
                    <a:pt x="22" y="18"/>
                  </a:lnTo>
                  <a:lnTo>
                    <a:pt x="26" y="18"/>
                  </a:lnTo>
                  <a:lnTo>
                    <a:pt x="26" y="18"/>
                  </a:lnTo>
                  <a:lnTo>
                    <a:pt x="26" y="18"/>
                  </a:lnTo>
                  <a:lnTo>
                    <a:pt x="26" y="18"/>
                  </a:lnTo>
                  <a:lnTo>
                    <a:pt x="30" y="18"/>
                  </a:lnTo>
                  <a:lnTo>
                    <a:pt x="30" y="18"/>
                  </a:lnTo>
                  <a:lnTo>
                    <a:pt x="30" y="18"/>
                  </a:lnTo>
                  <a:lnTo>
                    <a:pt x="30" y="22"/>
                  </a:lnTo>
                  <a:lnTo>
                    <a:pt x="30" y="22"/>
                  </a:lnTo>
                  <a:lnTo>
                    <a:pt x="32" y="22"/>
                  </a:lnTo>
                  <a:lnTo>
                    <a:pt x="32" y="22"/>
                  </a:lnTo>
                  <a:lnTo>
                    <a:pt x="32" y="22"/>
                  </a:lnTo>
                  <a:lnTo>
                    <a:pt x="32" y="26"/>
                  </a:lnTo>
                  <a:lnTo>
                    <a:pt x="32" y="26"/>
                  </a:lnTo>
                  <a:lnTo>
                    <a:pt x="32" y="30"/>
                  </a:lnTo>
                  <a:lnTo>
                    <a:pt x="36" y="30"/>
                  </a:lnTo>
                  <a:lnTo>
                    <a:pt x="40" y="30"/>
                  </a:lnTo>
                  <a:lnTo>
                    <a:pt x="40" y="30"/>
                  </a:lnTo>
                  <a:lnTo>
                    <a:pt x="40" y="30"/>
                  </a:lnTo>
                  <a:lnTo>
                    <a:pt x="40" y="30"/>
                  </a:lnTo>
                  <a:lnTo>
                    <a:pt x="40" y="30"/>
                  </a:lnTo>
                  <a:lnTo>
                    <a:pt x="40" y="30"/>
                  </a:lnTo>
                  <a:lnTo>
                    <a:pt x="40" y="30"/>
                  </a:lnTo>
                  <a:lnTo>
                    <a:pt x="44" y="30"/>
                  </a:lnTo>
                  <a:lnTo>
                    <a:pt x="44" y="30"/>
                  </a:lnTo>
                  <a:lnTo>
                    <a:pt x="44" y="30"/>
                  </a:lnTo>
                  <a:lnTo>
                    <a:pt x="44" y="30"/>
                  </a:lnTo>
                  <a:lnTo>
                    <a:pt x="44" y="26"/>
                  </a:lnTo>
                  <a:lnTo>
                    <a:pt x="44" y="26"/>
                  </a:lnTo>
                  <a:lnTo>
                    <a:pt x="48" y="26"/>
                  </a:lnTo>
                  <a:lnTo>
                    <a:pt x="48" y="26"/>
                  </a:lnTo>
                  <a:lnTo>
                    <a:pt x="48" y="26"/>
                  </a:lnTo>
                  <a:lnTo>
                    <a:pt x="48" y="26"/>
                  </a:lnTo>
                  <a:lnTo>
                    <a:pt x="48" y="26"/>
                  </a:lnTo>
                  <a:lnTo>
                    <a:pt x="52" y="22"/>
                  </a:lnTo>
                  <a:lnTo>
                    <a:pt x="52" y="22"/>
                  </a:lnTo>
                  <a:lnTo>
                    <a:pt x="52" y="22"/>
                  </a:lnTo>
                  <a:lnTo>
                    <a:pt x="52" y="22"/>
                  </a:lnTo>
                  <a:lnTo>
                    <a:pt x="52" y="18"/>
                  </a:lnTo>
                  <a:lnTo>
                    <a:pt x="52" y="18"/>
                  </a:lnTo>
                  <a:lnTo>
                    <a:pt x="56" y="14"/>
                  </a:lnTo>
                  <a:lnTo>
                    <a:pt x="58" y="10"/>
                  </a:lnTo>
                  <a:lnTo>
                    <a:pt x="62" y="6"/>
                  </a:lnTo>
                  <a:lnTo>
                    <a:pt x="70" y="0"/>
                  </a:lnTo>
                  <a:lnTo>
                    <a:pt x="74" y="6"/>
                  </a:lnTo>
                  <a:lnTo>
                    <a:pt x="78" y="10"/>
                  </a:lnTo>
                  <a:lnTo>
                    <a:pt x="82" y="14"/>
                  </a:lnTo>
                  <a:lnTo>
                    <a:pt x="82" y="18"/>
                  </a:lnTo>
                  <a:lnTo>
                    <a:pt x="86" y="22"/>
                  </a:lnTo>
                  <a:lnTo>
                    <a:pt x="88" y="26"/>
                  </a:lnTo>
                  <a:lnTo>
                    <a:pt x="88" y="30"/>
                  </a:lnTo>
                  <a:lnTo>
                    <a:pt x="92" y="32"/>
                  </a:lnTo>
                  <a:lnTo>
                    <a:pt x="96" y="36"/>
                  </a:lnTo>
                  <a:lnTo>
                    <a:pt x="96" y="36"/>
                  </a:lnTo>
                  <a:lnTo>
                    <a:pt x="96" y="40"/>
                  </a:lnTo>
                  <a:lnTo>
                    <a:pt x="96" y="44"/>
                  </a:lnTo>
                  <a:lnTo>
                    <a:pt x="96" y="48"/>
                  </a:lnTo>
                  <a:lnTo>
                    <a:pt x="96" y="56"/>
                  </a:lnTo>
                  <a:lnTo>
                    <a:pt x="96" y="60"/>
                  </a:lnTo>
                  <a:lnTo>
                    <a:pt x="96" y="62"/>
                  </a:lnTo>
                  <a:lnTo>
                    <a:pt x="96" y="62"/>
                  </a:lnTo>
                  <a:lnTo>
                    <a:pt x="96" y="62"/>
                  </a:lnTo>
                  <a:lnTo>
                    <a:pt x="96" y="66"/>
                  </a:lnTo>
                  <a:lnTo>
                    <a:pt x="92" y="70"/>
                  </a:lnTo>
                  <a:lnTo>
                    <a:pt x="92" y="74"/>
                  </a:lnTo>
                  <a:lnTo>
                    <a:pt x="92" y="78"/>
                  </a:lnTo>
                  <a:lnTo>
                    <a:pt x="92" y="78"/>
                  </a:lnTo>
                  <a:lnTo>
                    <a:pt x="92" y="78"/>
                  </a:lnTo>
                  <a:close/>
                  <a:moveTo>
                    <a:pt x="10" y="40"/>
                  </a:moveTo>
                  <a:lnTo>
                    <a:pt x="10" y="40"/>
                  </a:lnTo>
                  <a:lnTo>
                    <a:pt x="10" y="40"/>
                  </a:lnTo>
                  <a:lnTo>
                    <a:pt x="10" y="40"/>
                  </a:lnTo>
                  <a:lnTo>
                    <a:pt x="10" y="40"/>
                  </a:lnTo>
                  <a:lnTo>
                    <a:pt x="10" y="40"/>
                  </a:lnTo>
                  <a:lnTo>
                    <a:pt x="10" y="40"/>
                  </a:lnTo>
                  <a:lnTo>
                    <a:pt x="10" y="40"/>
                  </a:lnTo>
                  <a:lnTo>
                    <a:pt x="10" y="40"/>
                  </a:lnTo>
                  <a:lnTo>
                    <a:pt x="10" y="40"/>
                  </a:lnTo>
                  <a:close/>
                  <a:moveTo>
                    <a:pt x="4" y="32"/>
                  </a:moveTo>
                  <a:lnTo>
                    <a:pt x="4" y="32"/>
                  </a:lnTo>
                  <a:lnTo>
                    <a:pt x="4" y="32"/>
                  </a:lnTo>
                  <a:lnTo>
                    <a:pt x="4" y="32"/>
                  </a:lnTo>
                  <a:lnTo>
                    <a:pt x="4" y="32"/>
                  </a:lnTo>
                  <a:lnTo>
                    <a:pt x="4" y="32"/>
                  </a:lnTo>
                  <a:lnTo>
                    <a:pt x="4" y="32"/>
                  </a:lnTo>
                  <a:lnTo>
                    <a:pt x="4" y="32"/>
                  </a:lnTo>
                  <a:lnTo>
                    <a:pt x="4" y="32"/>
                  </a:lnTo>
                  <a:lnTo>
                    <a:pt x="4" y="32"/>
                  </a:lnTo>
                  <a:close/>
                  <a:moveTo>
                    <a:pt x="6" y="32"/>
                  </a:moveTo>
                  <a:lnTo>
                    <a:pt x="6" y="32"/>
                  </a:lnTo>
                  <a:lnTo>
                    <a:pt x="6" y="32"/>
                  </a:lnTo>
                  <a:lnTo>
                    <a:pt x="6" y="32"/>
                  </a:lnTo>
                  <a:lnTo>
                    <a:pt x="6" y="32"/>
                  </a:lnTo>
                  <a:lnTo>
                    <a:pt x="6" y="32"/>
                  </a:lnTo>
                  <a:lnTo>
                    <a:pt x="6" y="32"/>
                  </a:lnTo>
                  <a:close/>
                  <a:moveTo>
                    <a:pt x="0" y="60"/>
                  </a:moveTo>
                  <a:lnTo>
                    <a:pt x="0" y="60"/>
                  </a:lnTo>
                  <a:lnTo>
                    <a:pt x="0" y="60"/>
                  </a:lnTo>
                  <a:lnTo>
                    <a:pt x="0" y="60"/>
                  </a:lnTo>
                  <a:lnTo>
                    <a:pt x="0" y="60"/>
                  </a:lnTo>
                  <a:lnTo>
                    <a:pt x="0" y="60"/>
                  </a:lnTo>
                  <a:lnTo>
                    <a:pt x="0" y="60"/>
                  </a:lnTo>
                  <a:lnTo>
                    <a:pt x="0" y="60"/>
                  </a:lnTo>
                  <a:lnTo>
                    <a:pt x="4" y="60"/>
                  </a:lnTo>
                  <a:lnTo>
                    <a:pt x="4" y="60"/>
                  </a:lnTo>
                  <a:lnTo>
                    <a:pt x="4" y="60"/>
                  </a:lnTo>
                  <a:lnTo>
                    <a:pt x="4" y="60"/>
                  </a:lnTo>
                  <a:lnTo>
                    <a:pt x="4" y="60"/>
                  </a:lnTo>
                  <a:lnTo>
                    <a:pt x="6" y="60"/>
                  </a:lnTo>
                  <a:lnTo>
                    <a:pt x="6" y="62"/>
                  </a:lnTo>
                  <a:lnTo>
                    <a:pt x="10" y="62"/>
                  </a:lnTo>
                  <a:lnTo>
                    <a:pt x="10" y="62"/>
                  </a:lnTo>
                  <a:lnTo>
                    <a:pt x="10" y="62"/>
                  </a:lnTo>
                  <a:lnTo>
                    <a:pt x="10" y="62"/>
                  </a:lnTo>
                  <a:lnTo>
                    <a:pt x="10" y="62"/>
                  </a:lnTo>
                  <a:lnTo>
                    <a:pt x="10" y="62"/>
                  </a:lnTo>
                  <a:lnTo>
                    <a:pt x="14" y="62"/>
                  </a:lnTo>
                  <a:lnTo>
                    <a:pt x="14" y="62"/>
                  </a:lnTo>
                  <a:lnTo>
                    <a:pt x="14" y="62"/>
                  </a:lnTo>
                  <a:lnTo>
                    <a:pt x="14" y="62"/>
                  </a:lnTo>
                  <a:lnTo>
                    <a:pt x="14" y="66"/>
                  </a:lnTo>
                  <a:lnTo>
                    <a:pt x="18" y="66"/>
                  </a:lnTo>
                  <a:lnTo>
                    <a:pt x="18" y="66"/>
                  </a:lnTo>
                  <a:lnTo>
                    <a:pt x="18" y="66"/>
                  </a:lnTo>
                  <a:lnTo>
                    <a:pt x="14" y="70"/>
                  </a:lnTo>
                  <a:lnTo>
                    <a:pt x="14" y="70"/>
                  </a:lnTo>
                  <a:lnTo>
                    <a:pt x="18" y="74"/>
                  </a:lnTo>
                  <a:lnTo>
                    <a:pt x="18" y="74"/>
                  </a:lnTo>
                  <a:lnTo>
                    <a:pt x="18" y="74"/>
                  </a:lnTo>
                  <a:lnTo>
                    <a:pt x="18" y="74"/>
                  </a:lnTo>
                  <a:lnTo>
                    <a:pt x="14" y="74"/>
                  </a:lnTo>
                  <a:lnTo>
                    <a:pt x="14" y="74"/>
                  </a:lnTo>
                  <a:lnTo>
                    <a:pt x="10" y="74"/>
                  </a:lnTo>
                  <a:lnTo>
                    <a:pt x="10" y="74"/>
                  </a:lnTo>
                  <a:lnTo>
                    <a:pt x="10" y="74"/>
                  </a:lnTo>
                  <a:lnTo>
                    <a:pt x="10" y="74"/>
                  </a:lnTo>
                  <a:lnTo>
                    <a:pt x="6" y="74"/>
                  </a:lnTo>
                  <a:lnTo>
                    <a:pt x="6" y="70"/>
                  </a:lnTo>
                  <a:lnTo>
                    <a:pt x="6" y="70"/>
                  </a:lnTo>
                  <a:lnTo>
                    <a:pt x="6" y="70"/>
                  </a:lnTo>
                  <a:lnTo>
                    <a:pt x="6" y="70"/>
                  </a:lnTo>
                  <a:lnTo>
                    <a:pt x="6" y="70"/>
                  </a:lnTo>
                  <a:lnTo>
                    <a:pt x="6" y="70"/>
                  </a:lnTo>
                  <a:lnTo>
                    <a:pt x="4" y="66"/>
                  </a:lnTo>
                  <a:lnTo>
                    <a:pt x="4" y="66"/>
                  </a:lnTo>
                  <a:lnTo>
                    <a:pt x="4" y="66"/>
                  </a:lnTo>
                  <a:lnTo>
                    <a:pt x="4" y="66"/>
                  </a:lnTo>
                  <a:lnTo>
                    <a:pt x="4" y="66"/>
                  </a:lnTo>
                  <a:lnTo>
                    <a:pt x="4" y="62"/>
                  </a:lnTo>
                  <a:lnTo>
                    <a:pt x="4" y="62"/>
                  </a:lnTo>
                  <a:lnTo>
                    <a:pt x="4" y="62"/>
                  </a:lnTo>
                  <a:lnTo>
                    <a:pt x="0" y="62"/>
                  </a:lnTo>
                  <a:lnTo>
                    <a:pt x="0" y="62"/>
                  </a:lnTo>
                  <a:lnTo>
                    <a:pt x="0" y="62"/>
                  </a:lnTo>
                  <a:lnTo>
                    <a:pt x="0" y="60"/>
                  </a:lnTo>
                  <a:lnTo>
                    <a:pt x="0" y="60"/>
                  </a:lnTo>
                  <a:lnTo>
                    <a:pt x="0" y="60"/>
                  </a:lnTo>
                  <a:lnTo>
                    <a:pt x="0" y="60"/>
                  </a:lnTo>
                  <a:lnTo>
                    <a:pt x="0" y="6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26" name="Freeform 19"/>
            <p:cNvSpPr>
              <a:spLocks noEditPoints="1"/>
            </p:cNvSpPr>
            <p:nvPr/>
          </p:nvSpPr>
          <p:spPr bwMode="auto">
            <a:xfrm>
              <a:off x="7487407" y="3862314"/>
              <a:ext cx="5024" cy="6538"/>
            </a:xfrm>
            <a:custGeom>
              <a:avLst/>
              <a:gdLst>
                <a:gd name="T0" fmla="*/ 4 w 8"/>
                <a:gd name="T1" fmla="*/ 0 h 10"/>
                <a:gd name="T2" fmla="*/ 4 w 8"/>
                <a:gd name="T3" fmla="*/ 0 h 10"/>
                <a:gd name="T4" fmla="*/ 4 w 8"/>
                <a:gd name="T5" fmla="*/ 0 h 10"/>
                <a:gd name="T6" fmla="*/ 4 w 8"/>
                <a:gd name="T7" fmla="*/ 0 h 10"/>
                <a:gd name="T8" fmla="*/ 4 w 8"/>
                <a:gd name="T9" fmla="*/ 0 h 10"/>
                <a:gd name="T10" fmla="*/ 4 w 8"/>
                <a:gd name="T11" fmla="*/ 4 h 10"/>
                <a:gd name="T12" fmla="*/ 4 w 8"/>
                <a:gd name="T13" fmla="*/ 4 h 10"/>
                <a:gd name="T14" fmla="*/ 4 w 8"/>
                <a:gd name="T15" fmla="*/ 4 h 10"/>
                <a:gd name="T16" fmla="*/ 4 w 8"/>
                <a:gd name="T17" fmla="*/ 4 h 10"/>
                <a:gd name="T18" fmla="*/ 4 w 8"/>
                <a:gd name="T19" fmla="*/ 4 h 10"/>
                <a:gd name="T20" fmla="*/ 4 w 8"/>
                <a:gd name="T21" fmla="*/ 8 h 10"/>
                <a:gd name="T22" fmla="*/ 4 w 8"/>
                <a:gd name="T23" fmla="*/ 8 h 10"/>
                <a:gd name="T24" fmla="*/ 4 w 8"/>
                <a:gd name="T25" fmla="*/ 8 h 10"/>
                <a:gd name="T26" fmla="*/ 4 w 8"/>
                <a:gd name="T27" fmla="*/ 8 h 10"/>
                <a:gd name="T28" fmla="*/ 4 w 8"/>
                <a:gd name="T29" fmla="*/ 4 h 10"/>
                <a:gd name="T30" fmla="*/ 4 w 8"/>
                <a:gd name="T31" fmla="*/ 4 h 10"/>
                <a:gd name="T32" fmla="*/ 4 w 8"/>
                <a:gd name="T33" fmla="*/ 4 h 10"/>
                <a:gd name="T34" fmla="*/ 4 w 8"/>
                <a:gd name="T35" fmla="*/ 4 h 10"/>
                <a:gd name="T36" fmla="*/ 4 w 8"/>
                <a:gd name="T37" fmla="*/ 4 h 10"/>
                <a:gd name="T38" fmla="*/ 0 w 8"/>
                <a:gd name="T39" fmla="*/ 0 h 10"/>
                <a:gd name="T40" fmla="*/ 4 w 8"/>
                <a:gd name="T41" fmla="*/ 0 h 10"/>
                <a:gd name="T42" fmla="*/ 4 w 8"/>
                <a:gd name="T43" fmla="*/ 0 h 10"/>
                <a:gd name="T44" fmla="*/ 4 w 8"/>
                <a:gd name="T45" fmla="*/ 0 h 10"/>
                <a:gd name="T46" fmla="*/ 4 w 8"/>
                <a:gd name="T47" fmla="*/ 0 h 10"/>
                <a:gd name="T48" fmla="*/ 4 w 8"/>
                <a:gd name="T49" fmla="*/ 0 h 10"/>
                <a:gd name="T50" fmla="*/ 4 w 8"/>
                <a:gd name="T51" fmla="*/ 0 h 10"/>
                <a:gd name="T52" fmla="*/ 4 w 8"/>
                <a:gd name="T53" fmla="*/ 4 h 10"/>
                <a:gd name="T54" fmla="*/ 4 w 8"/>
                <a:gd name="T55" fmla="*/ 4 h 10"/>
                <a:gd name="T56" fmla="*/ 8 w 8"/>
                <a:gd name="T57" fmla="*/ 10 h 10"/>
                <a:gd name="T58" fmla="*/ 8 w 8"/>
                <a:gd name="T59" fmla="*/ 10 h 10"/>
                <a:gd name="T60" fmla="*/ 8 w 8"/>
                <a:gd name="T61" fmla="*/ 10 h 10"/>
                <a:gd name="T62" fmla="*/ 8 w 8"/>
                <a:gd name="T63" fmla="*/ 10 h 10"/>
                <a:gd name="T64" fmla="*/ 8 w 8"/>
                <a:gd name="T65" fmla="*/ 10 h 10"/>
                <a:gd name="T66" fmla="*/ 8 w 8"/>
                <a:gd name="T67" fmla="*/ 10 h 10"/>
                <a:gd name="T68" fmla="*/ 8 w 8"/>
                <a:gd name="T69" fmla="*/ 10 h 10"/>
                <a:gd name="T70" fmla="*/ 8 w 8"/>
                <a:gd name="T71" fmla="*/ 10 h 10"/>
                <a:gd name="T72" fmla="*/ 8 w 8"/>
                <a:gd name="T7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 h="10">
                  <a:moveTo>
                    <a:pt x="4" y="0"/>
                  </a:moveTo>
                  <a:lnTo>
                    <a:pt x="4" y="0"/>
                  </a:lnTo>
                  <a:lnTo>
                    <a:pt x="4" y="0"/>
                  </a:lnTo>
                  <a:lnTo>
                    <a:pt x="4" y="0"/>
                  </a:lnTo>
                  <a:lnTo>
                    <a:pt x="4" y="0"/>
                  </a:lnTo>
                  <a:lnTo>
                    <a:pt x="4" y="0"/>
                  </a:lnTo>
                  <a:lnTo>
                    <a:pt x="4" y="0"/>
                  </a:lnTo>
                  <a:lnTo>
                    <a:pt x="4" y="0"/>
                  </a:lnTo>
                  <a:lnTo>
                    <a:pt x="4" y="0"/>
                  </a:lnTo>
                  <a:lnTo>
                    <a:pt x="4" y="0"/>
                  </a:lnTo>
                  <a:lnTo>
                    <a:pt x="4" y="0"/>
                  </a:lnTo>
                  <a:close/>
                  <a:moveTo>
                    <a:pt x="4" y="4"/>
                  </a:moveTo>
                  <a:lnTo>
                    <a:pt x="4" y="4"/>
                  </a:lnTo>
                  <a:lnTo>
                    <a:pt x="4" y="4"/>
                  </a:lnTo>
                  <a:lnTo>
                    <a:pt x="4" y="4"/>
                  </a:lnTo>
                  <a:lnTo>
                    <a:pt x="4" y="4"/>
                  </a:lnTo>
                  <a:lnTo>
                    <a:pt x="4" y="4"/>
                  </a:lnTo>
                  <a:lnTo>
                    <a:pt x="4" y="4"/>
                  </a:lnTo>
                  <a:lnTo>
                    <a:pt x="4" y="4"/>
                  </a:lnTo>
                  <a:lnTo>
                    <a:pt x="4" y="4"/>
                  </a:lnTo>
                  <a:lnTo>
                    <a:pt x="4" y="8"/>
                  </a:lnTo>
                  <a:lnTo>
                    <a:pt x="4" y="8"/>
                  </a:lnTo>
                  <a:lnTo>
                    <a:pt x="4" y="8"/>
                  </a:lnTo>
                  <a:lnTo>
                    <a:pt x="4" y="8"/>
                  </a:lnTo>
                  <a:lnTo>
                    <a:pt x="4" y="8"/>
                  </a:lnTo>
                  <a:lnTo>
                    <a:pt x="4" y="8"/>
                  </a:lnTo>
                  <a:lnTo>
                    <a:pt x="4" y="8"/>
                  </a:lnTo>
                  <a:lnTo>
                    <a:pt x="4" y="8"/>
                  </a:lnTo>
                  <a:lnTo>
                    <a:pt x="0" y="4"/>
                  </a:lnTo>
                  <a:lnTo>
                    <a:pt x="4" y="4"/>
                  </a:lnTo>
                  <a:lnTo>
                    <a:pt x="4" y="4"/>
                  </a:lnTo>
                  <a:lnTo>
                    <a:pt x="4" y="4"/>
                  </a:lnTo>
                  <a:lnTo>
                    <a:pt x="4" y="4"/>
                  </a:lnTo>
                  <a:lnTo>
                    <a:pt x="4" y="4"/>
                  </a:lnTo>
                  <a:lnTo>
                    <a:pt x="4" y="4"/>
                  </a:lnTo>
                  <a:lnTo>
                    <a:pt x="4" y="4"/>
                  </a:lnTo>
                  <a:lnTo>
                    <a:pt x="4" y="4"/>
                  </a:lnTo>
                  <a:lnTo>
                    <a:pt x="4" y="4"/>
                  </a:lnTo>
                  <a:lnTo>
                    <a:pt x="0" y="0"/>
                  </a:lnTo>
                  <a:lnTo>
                    <a:pt x="0" y="0"/>
                  </a:lnTo>
                  <a:lnTo>
                    <a:pt x="0"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4"/>
                  </a:lnTo>
                  <a:lnTo>
                    <a:pt x="4" y="4"/>
                  </a:lnTo>
                  <a:lnTo>
                    <a:pt x="4" y="4"/>
                  </a:lnTo>
                  <a:close/>
                  <a:moveTo>
                    <a:pt x="8" y="10"/>
                  </a:move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lnTo>
                    <a:pt x="8" y="1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27" name="Freeform 20"/>
            <p:cNvSpPr>
              <a:spLocks noEditPoints="1"/>
            </p:cNvSpPr>
            <p:nvPr/>
          </p:nvSpPr>
          <p:spPr bwMode="auto">
            <a:xfrm>
              <a:off x="7821493" y="3857084"/>
              <a:ext cx="42703" cy="69302"/>
            </a:xfrm>
            <a:custGeom>
              <a:avLst/>
              <a:gdLst>
                <a:gd name="T0" fmla="*/ 38 w 68"/>
                <a:gd name="T1" fmla="*/ 76 h 106"/>
                <a:gd name="T2" fmla="*/ 34 w 68"/>
                <a:gd name="T3" fmla="*/ 78 h 106"/>
                <a:gd name="T4" fmla="*/ 30 w 68"/>
                <a:gd name="T5" fmla="*/ 82 h 106"/>
                <a:gd name="T6" fmla="*/ 26 w 68"/>
                <a:gd name="T7" fmla="*/ 86 h 106"/>
                <a:gd name="T8" fmla="*/ 30 w 68"/>
                <a:gd name="T9" fmla="*/ 76 h 106"/>
                <a:gd name="T10" fmla="*/ 26 w 68"/>
                <a:gd name="T11" fmla="*/ 86 h 106"/>
                <a:gd name="T12" fmla="*/ 22 w 68"/>
                <a:gd name="T13" fmla="*/ 82 h 106"/>
                <a:gd name="T14" fmla="*/ 22 w 68"/>
                <a:gd name="T15" fmla="*/ 82 h 106"/>
                <a:gd name="T16" fmla="*/ 22 w 68"/>
                <a:gd name="T17" fmla="*/ 86 h 106"/>
                <a:gd name="T18" fmla="*/ 18 w 68"/>
                <a:gd name="T19" fmla="*/ 90 h 106"/>
                <a:gd name="T20" fmla="*/ 12 w 68"/>
                <a:gd name="T21" fmla="*/ 68 h 106"/>
                <a:gd name="T22" fmla="*/ 12 w 68"/>
                <a:gd name="T23" fmla="*/ 60 h 106"/>
                <a:gd name="T24" fmla="*/ 12 w 68"/>
                <a:gd name="T25" fmla="*/ 50 h 106"/>
                <a:gd name="T26" fmla="*/ 8 w 68"/>
                <a:gd name="T27" fmla="*/ 46 h 106"/>
                <a:gd name="T28" fmla="*/ 0 w 68"/>
                <a:gd name="T29" fmla="*/ 34 h 106"/>
                <a:gd name="T30" fmla="*/ 4 w 68"/>
                <a:gd name="T31" fmla="*/ 34 h 106"/>
                <a:gd name="T32" fmla="*/ 12 w 68"/>
                <a:gd name="T33" fmla="*/ 26 h 106"/>
                <a:gd name="T34" fmla="*/ 8 w 68"/>
                <a:gd name="T35" fmla="*/ 22 h 106"/>
                <a:gd name="T36" fmla="*/ 4 w 68"/>
                <a:gd name="T37" fmla="*/ 12 h 106"/>
                <a:gd name="T38" fmla="*/ 4 w 68"/>
                <a:gd name="T39" fmla="*/ 4 h 106"/>
                <a:gd name="T40" fmla="*/ 12 w 68"/>
                <a:gd name="T41" fmla="*/ 8 h 106"/>
                <a:gd name="T42" fmla="*/ 14 w 68"/>
                <a:gd name="T43" fmla="*/ 4 h 106"/>
                <a:gd name="T44" fmla="*/ 22 w 68"/>
                <a:gd name="T45" fmla="*/ 12 h 106"/>
                <a:gd name="T46" fmla="*/ 26 w 68"/>
                <a:gd name="T47" fmla="*/ 16 h 106"/>
                <a:gd name="T48" fmla="*/ 30 w 68"/>
                <a:gd name="T49" fmla="*/ 26 h 106"/>
                <a:gd name="T50" fmla="*/ 44 w 68"/>
                <a:gd name="T51" fmla="*/ 26 h 106"/>
                <a:gd name="T52" fmla="*/ 60 w 68"/>
                <a:gd name="T53" fmla="*/ 26 h 106"/>
                <a:gd name="T54" fmla="*/ 60 w 68"/>
                <a:gd name="T55" fmla="*/ 34 h 106"/>
                <a:gd name="T56" fmla="*/ 56 w 68"/>
                <a:gd name="T57" fmla="*/ 46 h 106"/>
                <a:gd name="T58" fmla="*/ 48 w 68"/>
                <a:gd name="T59" fmla="*/ 46 h 106"/>
                <a:gd name="T60" fmla="*/ 44 w 68"/>
                <a:gd name="T61" fmla="*/ 60 h 106"/>
                <a:gd name="T62" fmla="*/ 48 w 68"/>
                <a:gd name="T63" fmla="*/ 68 h 106"/>
                <a:gd name="T64" fmla="*/ 56 w 68"/>
                <a:gd name="T65" fmla="*/ 60 h 106"/>
                <a:gd name="T66" fmla="*/ 60 w 68"/>
                <a:gd name="T67" fmla="*/ 52 h 106"/>
                <a:gd name="T68" fmla="*/ 64 w 68"/>
                <a:gd name="T69" fmla="*/ 64 h 106"/>
                <a:gd name="T70" fmla="*/ 64 w 68"/>
                <a:gd name="T71" fmla="*/ 76 h 106"/>
                <a:gd name="T72" fmla="*/ 64 w 68"/>
                <a:gd name="T73" fmla="*/ 90 h 106"/>
                <a:gd name="T74" fmla="*/ 64 w 68"/>
                <a:gd name="T75" fmla="*/ 98 h 106"/>
                <a:gd name="T76" fmla="*/ 60 w 68"/>
                <a:gd name="T77" fmla="*/ 102 h 106"/>
                <a:gd name="T78" fmla="*/ 56 w 68"/>
                <a:gd name="T79" fmla="*/ 98 h 106"/>
                <a:gd name="T80" fmla="*/ 56 w 68"/>
                <a:gd name="T81" fmla="*/ 90 h 106"/>
                <a:gd name="T82" fmla="*/ 52 w 68"/>
                <a:gd name="T83" fmla="*/ 78 h 106"/>
                <a:gd name="T84" fmla="*/ 44 w 68"/>
                <a:gd name="T85" fmla="*/ 76 h 106"/>
                <a:gd name="T86" fmla="*/ 38 w 68"/>
                <a:gd name="T87" fmla="*/ 68 h 106"/>
                <a:gd name="T88" fmla="*/ 34 w 68"/>
                <a:gd name="T89" fmla="*/ 56 h 106"/>
                <a:gd name="T90" fmla="*/ 38 w 68"/>
                <a:gd name="T91" fmla="*/ 60 h 106"/>
                <a:gd name="T92" fmla="*/ 34 w 68"/>
                <a:gd name="T93" fmla="*/ 64 h 106"/>
                <a:gd name="T94" fmla="*/ 38 w 68"/>
                <a:gd name="T95" fmla="*/ 68 h 106"/>
                <a:gd name="T96" fmla="*/ 38 w 68"/>
                <a:gd name="T97" fmla="*/ 86 h 106"/>
                <a:gd name="T98" fmla="*/ 38 w 68"/>
                <a:gd name="T99" fmla="*/ 86 h 106"/>
                <a:gd name="T100" fmla="*/ 38 w 68"/>
                <a:gd name="T101" fmla="*/ 82 h 106"/>
                <a:gd name="T102" fmla="*/ 40 w 68"/>
                <a:gd name="T103" fmla="*/ 76 h 106"/>
                <a:gd name="T104" fmla="*/ 38 w 68"/>
                <a:gd name="T105" fmla="*/ 86 h 106"/>
                <a:gd name="T106" fmla="*/ 48 w 68"/>
                <a:gd name="T107" fmla="*/ 76 h 106"/>
                <a:gd name="T108" fmla="*/ 40 w 68"/>
                <a:gd name="T109" fmla="*/ 82 h 106"/>
                <a:gd name="T110" fmla="*/ 44 w 68"/>
                <a:gd name="T111" fmla="*/ 78 h 106"/>
                <a:gd name="T112" fmla="*/ 40 w 68"/>
                <a:gd name="T113" fmla="*/ 82 h 106"/>
                <a:gd name="T114" fmla="*/ 56 w 68"/>
                <a:gd name="T115" fmla="*/ 9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 h="106">
                  <a:moveTo>
                    <a:pt x="34" y="64"/>
                  </a:moveTo>
                  <a:lnTo>
                    <a:pt x="34" y="68"/>
                  </a:lnTo>
                  <a:lnTo>
                    <a:pt x="34" y="72"/>
                  </a:lnTo>
                  <a:lnTo>
                    <a:pt x="38" y="76"/>
                  </a:lnTo>
                  <a:lnTo>
                    <a:pt x="38" y="78"/>
                  </a:lnTo>
                  <a:lnTo>
                    <a:pt x="38" y="82"/>
                  </a:lnTo>
                  <a:lnTo>
                    <a:pt x="34" y="82"/>
                  </a:lnTo>
                  <a:lnTo>
                    <a:pt x="34" y="78"/>
                  </a:lnTo>
                  <a:lnTo>
                    <a:pt x="34" y="82"/>
                  </a:lnTo>
                  <a:lnTo>
                    <a:pt x="34" y="86"/>
                  </a:lnTo>
                  <a:lnTo>
                    <a:pt x="30" y="86"/>
                  </a:lnTo>
                  <a:lnTo>
                    <a:pt x="30" y="82"/>
                  </a:lnTo>
                  <a:lnTo>
                    <a:pt x="30" y="86"/>
                  </a:lnTo>
                  <a:lnTo>
                    <a:pt x="30" y="82"/>
                  </a:lnTo>
                  <a:lnTo>
                    <a:pt x="26" y="82"/>
                  </a:lnTo>
                  <a:lnTo>
                    <a:pt x="26" y="86"/>
                  </a:lnTo>
                  <a:lnTo>
                    <a:pt x="26" y="82"/>
                  </a:lnTo>
                  <a:lnTo>
                    <a:pt x="26" y="78"/>
                  </a:lnTo>
                  <a:lnTo>
                    <a:pt x="26" y="76"/>
                  </a:lnTo>
                  <a:lnTo>
                    <a:pt x="30" y="76"/>
                  </a:lnTo>
                  <a:lnTo>
                    <a:pt x="26" y="76"/>
                  </a:lnTo>
                  <a:lnTo>
                    <a:pt x="26" y="78"/>
                  </a:lnTo>
                  <a:lnTo>
                    <a:pt x="26" y="82"/>
                  </a:lnTo>
                  <a:lnTo>
                    <a:pt x="26" y="86"/>
                  </a:lnTo>
                  <a:lnTo>
                    <a:pt x="22" y="86"/>
                  </a:lnTo>
                  <a:lnTo>
                    <a:pt x="22" y="90"/>
                  </a:lnTo>
                  <a:lnTo>
                    <a:pt x="22" y="86"/>
                  </a:lnTo>
                  <a:lnTo>
                    <a:pt x="22" y="82"/>
                  </a:lnTo>
                  <a:lnTo>
                    <a:pt x="22" y="78"/>
                  </a:lnTo>
                  <a:lnTo>
                    <a:pt x="22" y="82"/>
                  </a:lnTo>
                  <a:lnTo>
                    <a:pt x="22" y="86"/>
                  </a:lnTo>
                  <a:lnTo>
                    <a:pt x="22" y="82"/>
                  </a:lnTo>
                  <a:lnTo>
                    <a:pt x="22" y="78"/>
                  </a:lnTo>
                  <a:lnTo>
                    <a:pt x="18" y="78"/>
                  </a:lnTo>
                  <a:lnTo>
                    <a:pt x="22" y="82"/>
                  </a:lnTo>
                  <a:lnTo>
                    <a:pt x="22" y="86"/>
                  </a:lnTo>
                  <a:lnTo>
                    <a:pt x="22" y="90"/>
                  </a:lnTo>
                  <a:lnTo>
                    <a:pt x="18" y="90"/>
                  </a:lnTo>
                  <a:lnTo>
                    <a:pt x="18" y="86"/>
                  </a:lnTo>
                  <a:lnTo>
                    <a:pt x="18" y="90"/>
                  </a:lnTo>
                  <a:lnTo>
                    <a:pt x="14" y="86"/>
                  </a:lnTo>
                  <a:lnTo>
                    <a:pt x="14" y="82"/>
                  </a:lnTo>
                  <a:lnTo>
                    <a:pt x="14" y="78"/>
                  </a:lnTo>
                  <a:lnTo>
                    <a:pt x="12" y="68"/>
                  </a:lnTo>
                  <a:lnTo>
                    <a:pt x="12" y="64"/>
                  </a:lnTo>
                  <a:lnTo>
                    <a:pt x="14" y="64"/>
                  </a:lnTo>
                  <a:lnTo>
                    <a:pt x="12" y="64"/>
                  </a:lnTo>
                  <a:lnTo>
                    <a:pt x="12" y="60"/>
                  </a:lnTo>
                  <a:lnTo>
                    <a:pt x="12" y="56"/>
                  </a:lnTo>
                  <a:lnTo>
                    <a:pt x="8" y="56"/>
                  </a:lnTo>
                  <a:lnTo>
                    <a:pt x="8" y="52"/>
                  </a:lnTo>
                  <a:lnTo>
                    <a:pt x="12" y="50"/>
                  </a:lnTo>
                  <a:lnTo>
                    <a:pt x="12" y="46"/>
                  </a:lnTo>
                  <a:lnTo>
                    <a:pt x="12" y="42"/>
                  </a:lnTo>
                  <a:lnTo>
                    <a:pt x="8" y="42"/>
                  </a:lnTo>
                  <a:lnTo>
                    <a:pt x="8" y="46"/>
                  </a:lnTo>
                  <a:lnTo>
                    <a:pt x="8" y="42"/>
                  </a:lnTo>
                  <a:lnTo>
                    <a:pt x="4" y="42"/>
                  </a:lnTo>
                  <a:lnTo>
                    <a:pt x="0" y="38"/>
                  </a:lnTo>
                  <a:lnTo>
                    <a:pt x="0" y="34"/>
                  </a:lnTo>
                  <a:lnTo>
                    <a:pt x="4" y="34"/>
                  </a:lnTo>
                  <a:lnTo>
                    <a:pt x="0" y="34"/>
                  </a:lnTo>
                  <a:lnTo>
                    <a:pt x="4" y="30"/>
                  </a:lnTo>
                  <a:lnTo>
                    <a:pt x="4" y="34"/>
                  </a:lnTo>
                  <a:lnTo>
                    <a:pt x="4" y="30"/>
                  </a:lnTo>
                  <a:lnTo>
                    <a:pt x="8" y="30"/>
                  </a:lnTo>
                  <a:lnTo>
                    <a:pt x="8" y="26"/>
                  </a:lnTo>
                  <a:lnTo>
                    <a:pt x="12" y="26"/>
                  </a:lnTo>
                  <a:lnTo>
                    <a:pt x="14" y="26"/>
                  </a:lnTo>
                  <a:lnTo>
                    <a:pt x="12" y="26"/>
                  </a:lnTo>
                  <a:lnTo>
                    <a:pt x="12" y="22"/>
                  </a:lnTo>
                  <a:lnTo>
                    <a:pt x="8" y="22"/>
                  </a:lnTo>
                  <a:lnTo>
                    <a:pt x="8" y="20"/>
                  </a:lnTo>
                  <a:lnTo>
                    <a:pt x="4" y="16"/>
                  </a:lnTo>
                  <a:lnTo>
                    <a:pt x="0" y="16"/>
                  </a:lnTo>
                  <a:lnTo>
                    <a:pt x="4" y="12"/>
                  </a:lnTo>
                  <a:lnTo>
                    <a:pt x="4" y="8"/>
                  </a:lnTo>
                  <a:lnTo>
                    <a:pt x="8" y="8"/>
                  </a:lnTo>
                  <a:lnTo>
                    <a:pt x="8" y="4"/>
                  </a:lnTo>
                  <a:lnTo>
                    <a:pt x="4" y="4"/>
                  </a:lnTo>
                  <a:lnTo>
                    <a:pt x="8" y="0"/>
                  </a:lnTo>
                  <a:lnTo>
                    <a:pt x="8" y="4"/>
                  </a:lnTo>
                  <a:lnTo>
                    <a:pt x="12" y="4"/>
                  </a:lnTo>
                  <a:lnTo>
                    <a:pt x="12" y="8"/>
                  </a:lnTo>
                  <a:lnTo>
                    <a:pt x="14" y="8"/>
                  </a:lnTo>
                  <a:lnTo>
                    <a:pt x="12" y="8"/>
                  </a:lnTo>
                  <a:lnTo>
                    <a:pt x="12" y="4"/>
                  </a:lnTo>
                  <a:lnTo>
                    <a:pt x="14" y="4"/>
                  </a:lnTo>
                  <a:lnTo>
                    <a:pt x="14" y="8"/>
                  </a:lnTo>
                  <a:lnTo>
                    <a:pt x="14" y="12"/>
                  </a:lnTo>
                  <a:lnTo>
                    <a:pt x="18" y="12"/>
                  </a:lnTo>
                  <a:lnTo>
                    <a:pt x="22" y="12"/>
                  </a:lnTo>
                  <a:lnTo>
                    <a:pt x="22" y="8"/>
                  </a:lnTo>
                  <a:lnTo>
                    <a:pt x="22" y="12"/>
                  </a:lnTo>
                  <a:lnTo>
                    <a:pt x="26" y="12"/>
                  </a:lnTo>
                  <a:lnTo>
                    <a:pt x="26" y="16"/>
                  </a:lnTo>
                  <a:lnTo>
                    <a:pt x="26" y="20"/>
                  </a:lnTo>
                  <a:lnTo>
                    <a:pt x="26" y="22"/>
                  </a:lnTo>
                  <a:lnTo>
                    <a:pt x="26" y="26"/>
                  </a:lnTo>
                  <a:lnTo>
                    <a:pt x="30" y="26"/>
                  </a:lnTo>
                  <a:lnTo>
                    <a:pt x="34" y="26"/>
                  </a:lnTo>
                  <a:lnTo>
                    <a:pt x="38" y="26"/>
                  </a:lnTo>
                  <a:lnTo>
                    <a:pt x="40" y="26"/>
                  </a:lnTo>
                  <a:lnTo>
                    <a:pt x="44" y="26"/>
                  </a:lnTo>
                  <a:lnTo>
                    <a:pt x="48" y="26"/>
                  </a:lnTo>
                  <a:lnTo>
                    <a:pt x="52" y="26"/>
                  </a:lnTo>
                  <a:lnTo>
                    <a:pt x="56" y="26"/>
                  </a:lnTo>
                  <a:lnTo>
                    <a:pt x="60" y="26"/>
                  </a:lnTo>
                  <a:lnTo>
                    <a:pt x="60" y="30"/>
                  </a:lnTo>
                  <a:lnTo>
                    <a:pt x="64" y="30"/>
                  </a:lnTo>
                  <a:lnTo>
                    <a:pt x="64" y="34"/>
                  </a:lnTo>
                  <a:lnTo>
                    <a:pt x="60" y="34"/>
                  </a:lnTo>
                  <a:lnTo>
                    <a:pt x="60" y="38"/>
                  </a:lnTo>
                  <a:lnTo>
                    <a:pt x="60" y="42"/>
                  </a:lnTo>
                  <a:lnTo>
                    <a:pt x="56" y="42"/>
                  </a:lnTo>
                  <a:lnTo>
                    <a:pt x="56" y="46"/>
                  </a:lnTo>
                  <a:lnTo>
                    <a:pt x="52" y="46"/>
                  </a:lnTo>
                  <a:lnTo>
                    <a:pt x="48" y="46"/>
                  </a:lnTo>
                  <a:lnTo>
                    <a:pt x="48" y="50"/>
                  </a:lnTo>
                  <a:lnTo>
                    <a:pt x="48" y="46"/>
                  </a:lnTo>
                  <a:lnTo>
                    <a:pt x="44" y="50"/>
                  </a:lnTo>
                  <a:lnTo>
                    <a:pt x="44" y="52"/>
                  </a:lnTo>
                  <a:lnTo>
                    <a:pt x="44" y="56"/>
                  </a:lnTo>
                  <a:lnTo>
                    <a:pt x="44" y="60"/>
                  </a:lnTo>
                  <a:lnTo>
                    <a:pt x="48" y="64"/>
                  </a:lnTo>
                  <a:lnTo>
                    <a:pt x="48" y="60"/>
                  </a:lnTo>
                  <a:lnTo>
                    <a:pt x="48" y="64"/>
                  </a:lnTo>
                  <a:lnTo>
                    <a:pt x="48" y="68"/>
                  </a:lnTo>
                  <a:lnTo>
                    <a:pt x="52" y="68"/>
                  </a:lnTo>
                  <a:lnTo>
                    <a:pt x="52" y="64"/>
                  </a:lnTo>
                  <a:lnTo>
                    <a:pt x="52" y="60"/>
                  </a:lnTo>
                  <a:lnTo>
                    <a:pt x="56" y="60"/>
                  </a:lnTo>
                  <a:lnTo>
                    <a:pt x="56" y="56"/>
                  </a:lnTo>
                  <a:lnTo>
                    <a:pt x="56" y="52"/>
                  </a:lnTo>
                  <a:lnTo>
                    <a:pt x="56" y="56"/>
                  </a:lnTo>
                  <a:lnTo>
                    <a:pt x="60" y="52"/>
                  </a:lnTo>
                  <a:lnTo>
                    <a:pt x="60" y="56"/>
                  </a:lnTo>
                  <a:lnTo>
                    <a:pt x="60" y="60"/>
                  </a:lnTo>
                  <a:lnTo>
                    <a:pt x="64" y="60"/>
                  </a:lnTo>
                  <a:lnTo>
                    <a:pt x="64" y="64"/>
                  </a:lnTo>
                  <a:lnTo>
                    <a:pt x="60" y="64"/>
                  </a:lnTo>
                  <a:lnTo>
                    <a:pt x="64" y="68"/>
                  </a:lnTo>
                  <a:lnTo>
                    <a:pt x="64" y="72"/>
                  </a:lnTo>
                  <a:lnTo>
                    <a:pt x="64" y="76"/>
                  </a:lnTo>
                  <a:lnTo>
                    <a:pt x="64" y="78"/>
                  </a:lnTo>
                  <a:lnTo>
                    <a:pt x="64" y="82"/>
                  </a:lnTo>
                  <a:lnTo>
                    <a:pt x="64" y="86"/>
                  </a:lnTo>
                  <a:lnTo>
                    <a:pt x="64" y="90"/>
                  </a:lnTo>
                  <a:lnTo>
                    <a:pt x="64" y="94"/>
                  </a:lnTo>
                  <a:lnTo>
                    <a:pt x="68" y="94"/>
                  </a:lnTo>
                  <a:lnTo>
                    <a:pt x="68" y="98"/>
                  </a:lnTo>
                  <a:lnTo>
                    <a:pt x="64" y="98"/>
                  </a:lnTo>
                  <a:lnTo>
                    <a:pt x="64" y="94"/>
                  </a:lnTo>
                  <a:lnTo>
                    <a:pt x="60" y="94"/>
                  </a:lnTo>
                  <a:lnTo>
                    <a:pt x="60" y="98"/>
                  </a:lnTo>
                  <a:lnTo>
                    <a:pt x="60" y="102"/>
                  </a:lnTo>
                  <a:lnTo>
                    <a:pt x="60" y="106"/>
                  </a:lnTo>
                  <a:lnTo>
                    <a:pt x="60" y="102"/>
                  </a:lnTo>
                  <a:lnTo>
                    <a:pt x="56" y="102"/>
                  </a:lnTo>
                  <a:lnTo>
                    <a:pt x="56" y="98"/>
                  </a:lnTo>
                  <a:lnTo>
                    <a:pt x="56" y="94"/>
                  </a:lnTo>
                  <a:lnTo>
                    <a:pt x="56" y="90"/>
                  </a:lnTo>
                  <a:lnTo>
                    <a:pt x="56" y="86"/>
                  </a:lnTo>
                  <a:lnTo>
                    <a:pt x="56" y="90"/>
                  </a:lnTo>
                  <a:lnTo>
                    <a:pt x="56" y="86"/>
                  </a:lnTo>
                  <a:lnTo>
                    <a:pt x="56" y="82"/>
                  </a:lnTo>
                  <a:lnTo>
                    <a:pt x="52" y="82"/>
                  </a:lnTo>
                  <a:lnTo>
                    <a:pt x="52" y="78"/>
                  </a:lnTo>
                  <a:lnTo>
                    <a:pt x="52" y="76"/>
                  </a:lnTo>
                  <a:lnTo>
                    <a:pt x="48" y="72"/>
                  </a:lnTo>
                  <a:lnTo>
                    <a:pt x="44" y="72"/>
                  </a:lnTo>
                  <a:lnTo>
                    <a:pt x="44" y="76"/>
                  </a:lnTo>
                  <a:lnTo>
                    <a:pt x="40" y="76"/>
                  </a:lnTo>
                  <a:lnTo>
                    <a:pt x="40" y="72"/>
                  </a:lnTo>
                  <a:lnTo>
                    <a:pt x="38" y="72"/>
                  </a:lnTo>
                  <a:lnTo>
                    <a:pt x="38" y="68"/>
                  </a:lnTo>
                  <a:lnTo>
                    <a:pt x="38" y="64"/>
                  </a:lnTo>
                  <a:lnTo>
                    <a:pt x="38" y="60"/>
                  </a:lnTo>
                  <a:lnTo>
                    <a:pt x="38" y="56"/>
                  </a:lnTo>
                  <a:lnTo>
                    <a:pt x="34" y="56"/>
                  </a:lnTo>
                  <a:lnTo>
                    <a:pt x="38" y="56"/>
                  </a:lnTo>
                  <a:lnTo>
                    <a:pt x="38" y="60"/>
                  </a:lnTo>
                  <a:lnTo>
                    <a:pt x="34" y="60"/>
                  </a:lnTo>
                  <a:lnTo>
                    <a:pt x="38" y="60"/>
                  </a:lnTo>
                  <a:lnTo>
                    <a:pt x="38" y="64"/>
                  </a:lnTo>
                  <a:lnTo>
                    <a:pt x="34" y="64"/>
                  </a:lnTo>
                  <a:lnTo>
                    <a:pt x="34" y="64"/>
                  </a:lnTo>
                  <a:lnTo>
                    <a:pt x="34" y="64"/>
                  </a:lnTo>
                  <a:close/>
                  <a:moveTo>
                    <a:pt x="38" y="72"/>
                  </a:moveTo>
                  <a:lnTo>
                    <a:pt x="34" y="72"/>
                  </a:lnTo>
                  <a:lnTo>
                    <a:pt x="34" y="68"/>
                  </a:lnTo>
                  <a:lnTo>
                    <a:pt x="38" y="68"/>
                  </a:lnTo>
                  <a:lnTo>
                    <a:pt x="38" y="72"/>
                  </a:lnTo>
                  <a:lnTo>
                    <a:pt x="38" y="72"/>
                  </a:lnTo>
                  <a:lnTo>
                    <a:pt x="38" y="72"/>
                  </a:lnTo>
                  <a:close/>
                  <a:moveTo>
                    <a:pt x="38" y="86"/>
                  </a:moveTo>
                  <a:lnTo>
                    <a:pt x="34" y="86"/>
                  </a:lnTo>
                  <a:lnTo>
                    <a:pt x="34" y="82"/>
                  </a:lnTo>
                  <a:lnTo>
                    <a:pt x="38" y="82"/>
                  </a:lnTo>
                  <a:lnTo>
                    <a:pt x="38" y="86"/>
                  </a:lnTo>
                  <a:lnTo>
                    <a:pt x="38" y="86"/>
                  </a:lnTo>
                  <a:lnTo>
                    <a:pt x="38" y="86"/>
                  </a:lnTo>
                  <a:close/>
                  <a:moveTo>
                    <a:pt x="38" y="86"/>
                  </a:moveTo>
                  <a:lnTo>
                    <a:pt x="38" y="82"/>
                  </a:lnTo>
                  <a:lnTo>
                    <a:pt x="38" y="78"/>
                  </a:lnTo>
                  <a:lnTo>
                    <a:pt x="38" y="76"/>
                  </a:lnTo>
                  <a:lnTo>
                    <a:pt x="38" y="72"/>
                  </a:lnTo>
                  <a:lnTo>
                    <a:pt x="40" y="76"/>
                  </a:lnTo>
                  <a:lnTo>
                    <a:pt x="40" y="78"/>
                  </a:lnTo>
                  <a:lnTo>
                    <a:pt x="40" y="82"/>
                  </a:lnTo>
                  <a:lnTo>
                    <a:pt x="38" y="82"/>
                  </a:lnTo>
                  <a:lnTo>
                    <a:pt x="38" y="86"/>
                  </a:lnTo>
                  <a:lnTo>
                    <a:pt x="38" y="86"/>
                  </a:lnTo>
                  <a:lnTo>
                    <a:pt x="38" y="86"/>
                  </a:lnTo>
                  <a:close/>
                  <a:moveTo>
                    <a:pt x="48" y="78"/>
                  </a:moveTo>
                  <a:lnTo>
                    <a:pt x="48" y="76"/>
                  </a:lnTo>
                  <a:lnTo>
                    <a:pt x="48" y="78"/>
                  </a:lnTo>
                  <a:lnTo>
                    <a:pt x="48" y="78"/>
                  </a:lnTo>
                  <a:lnTo>
                    <a:pt x="48" y="78"/>
                  </a:lnTo>
                  <a:close/>
                  <a:moveTo>
                    <a:pt x="40" y="82"/>
                  </a:moveTo>
                  <a:lnTo>
                    <a:pt x="44" y="82"/>
                  </a:lnTo>
                  <a:lnTo>
                    <a:pt x="44" y="78"/>
                  </a:lnTo>
                  <a:lnTo>
                    <a:pt x="44" y="76"/>
                  </a:lnTo>
                  <a:lnTo>
                    <a:pt x="44" y="78"/>
                  </a:lnTo>
                  <a:lnTo>
                    <a:pt x="44" y="82"/>
                  </a:lnTo>
                  <a:lnTo>
                    <a:pt x="40" y="82"/>
                  </a:lnTo>
                  <a:lnTo>
                    <a:pt x="40" y="82"/>
                  </a:lnTo>
                  <a:lnTo>
                    <a:pt x="40" y="82"/>
                  </a:lnTo>
                  <a:close/>
                  <a:moveTo>
                    <a:pt x="56" y="94"/>
                  </a:moveTo>
                  <a:lnTo>
                    <a:pt x="56" y="90"/>
                  </a:lnTo>
                  <a:lnTo>
                    <a:pt x="56" y="94"/>
                  </a:lnTo>
                  <a:lnTo>
                    <a:pt x="56" y="94"/>
                  </a:lnTo>
                  <a:lnTo>
                    <a:pt x="56" y="9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28" name="Freeform 21"/>
            <p:cNvSpPr>
              <a:spLocks/>
            </p:cNvSpPr>
            <p:nvPr/>
          </p:nvSpPr>
          <p:spPr bwMode="auto">
            <a:xfrm>
              <a:off x="7829029" y="3837470"/>
              <a:ext cx="30143" cy="19614"/>
            </a:xfrm>
            <a:custGeom>
              <a:avLst/>
              <a:gdLst>
                <a:gd name="T0" fmla="*/ 44 w 48"/>
                <a:gd name="T1" fmla="*/ 26 h 30"/>
                <a:gd name="T2" fmla="*/ 38 w 48"/>
                <a:gd name="T3" fmla="*/ 26 h 30"/>
                <a:gd name="T4" fmla="*/ 38 w 48"/>
                <a:gd name="T5" fmla="*/ 26 h 30"/>
                <a:gd name="T6" fmla="*/ 38 w 48"/>
                <a:gd name="T7" fmla="*/ 30 h 30"/>
                <a:gd name="T8" fmla="*/ 34 w 48"/>
                <a:gd name="T9" fmla="*/ 26 h 30"/>
                <a:gd name="T10" fmla="*/ 30 w 48"/>
                <a:gd name="T11" fmla="*/ 30 h 30"/>
                <a:gd name="T12" fmla="*/ 26 w 48"/>
                <a:gd name="T13" fmla="*/ 30 h 30"/>
                <a:gd name="T14" fmla="*/ 22 w 48"/>
                <a:gd name="T15" fmla="*/ 26 h 30"/>
                <a:gd name="T16" fmla="*/ 18 w 48"/>
                <a:gd name="T17" fmla="*/ 26 h 30"/>
                <a:gd name="T18" fmla="*/ 18 w 48"/>
                <a:gd name="T19" fmla="*/ 30 h 30"/>
                <a:gd name="T20" fmla="*/ 14 w 48"/>
                <a:gd name="T21" fmla="*/ 30 h 30"/>
                <a:gd name="T22" fmla="*/ 10 w 48"/>
                <a:gd name="T23" fmla="*/ 30 h 30"/>
                <a:gd name="T24" fmla="*/ 10 w 48"/>
                <a:gd name="T25" fmla="*/ 26 h 30"/>
                <a:gd name="T26" fmla="*/ 6 w 48"/>
                <a:gd name="T27" fmla="*/ 26 h 30"/>
                <a:gd name="T28" fmla="*/ 6 w 48"/>
                <a:gd name="T29" fmla="*/ 26 h 30"/>
                <a:gd name="T30" fmla="*/ 4 w 48"/>
                <a:gd name="T31" fmla="*/ 26 h 30"/>
                <a:gd name="T32" fmla="*/ 0 w 48"/>
                <a:gd name="T33" fmla="*/ 26 h 30"/>
                <a:gd name="T34" fmla="*/ 0 w 48"/>
                <a:gd name="T35" fmla="*/ 24 h 30"/>
                <a:gd name="T36" fmla="*/ 0 w 48"/>
                <a:gd name="T37" fmla="*/ 20 h 30"/>
                <a:gd name="T38" fmla="*/ 0 w 48"/>
                <a:gd name="T39" fmla="*/ 20 h 30"/>
                <a:gd name="T40" fmla="*/ 4 w 48"/>
                <a:gd name="T41" fmla="*/ 20 h 30"/>
                <a:gd name="T42" fmla="*/ 4 w 48"/>
                <a:gd name="T43" fmla="*/ 16 h 30"/>
                <a:gd name="T44" fmla="*/ 4 w 48"/>
                <a:gd name="T45" fmla="*/ 16 h 30"/>
                <a:gd name="T46" fmla="*/ 6 w 48"/>
                <a:gd name="T47" fmla="*/ 12 h 30"/>
                <a:gd name="T48" fmla="*/ 6 w 48"/>
                <a:gd name="T49" fmla="*/ 8 h 30"/>
                <a:gd name="T50" fmla="*/ 6 w 48"/>
                <a:gd name="T51" fmla="*/ 8 h 30"/>
                <a:gd name="T52" fmla="*/ 10 w 48"/>
                <a:gd name="T53" fmla="*/ 4 h 30"/>
                <a:gd name="T54" fmla="*/ 14 w 48"/>
                <a:gd name="T55" fmla="*/ 4 h 30"/>
                <a:gd name="T56" fmla="*/ 18 w 48"/>
                <a:gd name="T57" fmla="*/ 0 h 30"/>
                <a:gd name="T58" fmla="*/ 18 w 48"/>
                <a:gd name="T59" fmla="*/ 0 h 30"/>
                <a:gd name="T60" fmla="*/ 22 w 48"/>
                <a:gd name="T61" fmla="*/ 0 h 30"/>
                <a:gd name="T62" fmla="*/ 22 w 48"/>
                <a:gd name="T63" fmla="*/ 4 h 30"/>
                <a:gd name="T64" fmla="*/ 22 w 48"/>
                <a:gd name="T65" fmla="*/ 4 h 30"/>
                <a:gd name="T66" fmla="*/ 26 w 48"/>
                <a:gd name="T67" fmla="*/ 4 h 30"/>
                <a:gd name="T68" fmla="*/ 30 w 48"/>
                <a:gd name="T69" fmla="*/ 4 h 30"/>
                <a:gd name="T70" fmla="*/ 30 w 48"/>
                <a:gd name="T71" fmla="*/ 8 h 30"/>
                <a:gd name="T72" fmla="*/ 34 w 48"/>
                <a:gd name="T73" fmla="*/ 8 h 30"/>
                <a:gd name="T74" fmla="*/ 38 w 48"/>
                <a:gd name="T75" fmla="*/ 4 h 30"/>
                <a:gd name="T76" fmla="*/ 38 w 48"/>
                <a:gd name="T77" fmla="*/ 8 h 30"/>
                <a:gd name="T78" fmla="*/ 40 w 48"/>
                <a:gd name="T79" fmla="*/ 8 h 30"/>
                <a:gd name="T80" fmla="*/ 40 w 48"/>
                <a:gd name="T81" fmla="*/ 8 h 30"/>
                <a:gd name="T82" fmla="*/ 40 w 48"/>
                <a:gd name="T83" fmla="*/ 12 h 30"/>
                <a:gd name="T84" fmla="*/ 40 w 48"/>
                <a:gd name="T85" fmla="*/ 12 h 30"/>
                <a:gd name="T86" fmla="*/ 40 w 48"/>
                <a:gd name="T87" fmla="*/ 16 h 30"/>
                <a:gd name="T88" fmla="*/ 44 w 48"/>
                <a:gd name="T89" fmla="*/ 16 h 30"/>
                <a:gd name="T90" fmla="*/ 48 w 48"/>
                <a:gd name="T91" fmla="*/ 20 h 30"/>
                <a:gd name="T92" fmla="*/ 44 w 48"/>
                <a:gd name="T93" fmla="*/ 24 h 30"/>
                <a:gd name="T94" fmla="*/ 48 w 48"/>
                <a:gd name="T95" fmla="*/ 26 h 30"/>
                <a:gd name="T96" fmla="*/ 44 w 48"/>
                <a:gd name="T97"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 h="30">
                  <a:moveTo>
                    <a:pt x="44" y="26"/>
                  </a:moveTo>
                  <a:lnTo>
                    <a:pt x="44" y="26"/>
                  </a:lnTo>
                  <a:lnTo>
                    <a:pt x="44" y="26"/>
                  </a:lnTo>
                  <a:lnTo>
                    <a:pt x="44" y="26"/>
                  </a:lnTo>
                  <a:lnTo>
                    <a:pt x="44" y="26"/>
                  </a:lnTo>
                  <a:lnTo>
                    <a:pt x="40" y="26"/>
                  </a:lnTo>
                  <a:lnTo>
                    <a:pt x="40" y="26"/>
                  </a:lnTo>
                  <a:lnTo>
                    <a:pt x="38" y="26"/>
                  </a:lnTo>
                  <a:lnTo>
                    <a:pt x="38" y="26"/>
                  </a:lnTo>
                  <a:lnTo>
                    <a:pt x="38" y="26"/>
                  </a:lnTo>
                  <a:lnTo>
                    <a:pt x="38" y="26"/>
                  </a:lnTo>
                  <a:lnTo>
                    <a:pt x="38" y="26"/>
                  </a:lnTo>
                  <a:lnTo>
                    <a:pt x="38" y="26"/>
                  </a:lnTo>
                  <a:lnTo>
                    <a:pt x="38" y="26"/>
                  </a:lnTo>
                  <a:lnTo>
                    <a:pt x="38" y="30"/>
                  </a:lnTo>
                  <a:lnTo>
                    <a:pt x="38" y="30"/>
                  </a:lnTo>
                  <a:lnTo>
                    <a:pt x="34" y="30"/>
                  </a:lnTo>
                  <a:lnTo>
                    <a:pt x="34" y="26"/>
                  </a:lnTo>
                  <a:lnTo>
                    <a:pt x="34" y="26"/>
                  </a:lnTo>
                  <a:lnTo>
                    <a:pt x="34" y="26"/>
                  </a:lnTo>
                  <a:lnTo>
                    <a:pt x="34" y="26"/>
                  </a:lnTo>
                  <a:lnTo>
                    <a:pt x="30" y="30"/>
                  </a:lnTo>
                  <a:lnTo>
                    <a:pt x="30" y="30"/>
                  </a:lnTo>
                  <a:lnTo>
                    <a:pt x="30" y="30"/>
                  </a:lnTo>
                  <a:lnTo>
                    <a:pt x="30" y="30"/>
                  </a:lnTo>
                  <a:lnTo>
                    <a:pt x="26" y="30"/>
                  </a:lnTo>
                  <a:lnTo>
                    <a:pt x="26" y="30"/>
                  </a:lnTo>
                  <a:lnTo>
                    <a:pt x="26" y="30"/>
                  </a:lnTo>
                  <a:lnTo>
                    <a:pt x="26" y="30"/>
                  </a:lnTo>
                  <a:lnTo>
                    <a:pt x="26" y="26"/>
                  </a:lnTo>
                  <a:lnTo>
                    <a:pt x="26" y="26"/>
                  </a:lnTo>
                  <a:lnTo>
                    <a:pt x="22" y="26"/>
                  </a:lnTo>
                  <a:lnTo>
                    <a:pt x="22" y="26"/>
                  </a:lnTo>
                  <a:lnTo>
                    <a:pt x="22" y="26"/>
                  </a:lnTo>
                  <a:lnTo>
                    <a:pt x="22" y="26"/>
                  </a:lnTo>
                  <a:lnTo>
                    <a:pt x="18" y="26"/>
                  </a:lnTo>
                  <a:lnTo>
                    <a:pt x="18" y="26"/>
                  </a:lnTo>
                  <a:lnTo>
                    <a:pt x="18" y="26"/>
                  </a:lnTo>
                  <a:lnTo>
                    <a:pt x="18" y="30"/>
                  </a:lnTo>
                  <a:lnTo>
                    <a:pt x="18" y="30"/>
                  </a:lnTo>
                  <a:lnTo>
                    <a:pt x="18" y="30"/>
                  </a:lnTo>
                  <a:lnTo>
                    <a:pt x="18" y="30"/>
                  </a:lnTo>
                  <a:lnTo>
                    <a:pt x="14" y="30"/>
                  </a:lnTo>
                  <a:lnTo>
                    <a:pt x="14" y="30"/>
                  </a:lnTo>
                  <a:lnTo>
                    <a:pt x="14" y="30"/>
                  </a:lnTo>
                  <a:lnTo>
                    <a:pt x="14" y="30"/>
                  </a:lnTo>
                  <a:lnTo>
                    <a:pt x="10" y="30"/>
                  </a:lnTo>
                  <a:lnTo>
                    <a:pt x="10" y="30"/>
                  </a:lnTo>
                  <a:lnTo>
                    <a:pt x="10" y="30"/>
                  </a:lnTo>
                  <a:lnTo>
                    <a:pt x="10" y="30"/>
                  </a:lnTo>
                  <a:lnTo>
                    <a:pt x="10" y="26"/>
                  </a:lnTo>
                  <a:lnTo>
                    <a:pt x="10" y="26"/>
                  </a:lnTo>
                  <a:lnTo>
                    <a:pt x="10" y="26"/>
                  </a:lnTo>
                  <a:lnTo>
                    <a:pt x="10" y="26"/>
                  </a:lnTo>
                  <a:lnTo>
                    <a:pt x="6" y="26"/>
                  </a:lnTo>
                  <a:lnTo>
                    <a:pt x="6" y="26"/>
                  </a:lnTo>
                  <a:lnTo>
                    <a:pt x="6" y="26"/>
                  </a:lnTo>
                  <a:lnTo>
                    <a:pt x="6" y="26"/>
                  </a:lnTo>
                  <a:lnTo>
                    <a:pt x="6" y="26"/>
                  </a:lnTo>
                  <a:lnTo>
                    <a:pt x="6" y="26"/>
                  </a:lnTo>
                  <a:lnTo>
                    <a:pt x="4" y="26"/>
                  </a:lnTo>
                  <a:lnTo>
                    <a:pt x="4" y="26"/>
                  </a:lnTo>
                  <a:lnTo>
                    <a:pt x="4" y="26"/>
                  </a:lnTo>
                  <a:lnTo>
                    <a:pt x="4" y="26"/>
                  </a:lnTo>
                  <a:lnTo>
                    <a:pt x="4" y="26"/>
                  </a:lnTo>
                  <a:lnTo>
                    <a:pt x="4" y="26"/>
                  </a:lnTo>
                  <a:lnTo>
                    <a:pt x="4" y="26"/>
                  </a:lnTo>
                  <a:lnTo>
                    <a:pt x="0" y="26"/>
                  </a:lnTo>
                  <a:lnTo>
                    <a:pt x="0" y="24"/>
                  </a:lnTo>
                  <a:lnTo>
                    <a:pt x="0" y="24"/>
                  </a:lnTo>
                  <a:lnTo>
                    <a:pt x="0" y="24"/>
                  </a:lnTo>
                  <a:lnTo>
                    <a:pt x="0" y="24"/>
                  </a:lnTo>
                  <a:lnTo>
                    <a:pt x="0" y="24"/>
                  </a:lnTo>
                  <a:lnTo>
                    <a:pt x="0" y="24"/>
                  </a:lnTo>
                  <a:lnTo>
                    <a:pt x="0" y="24"/>
                  </a:lnTo>
                  <a:lnTo>
                    <a:pt x="0" y="20"/>
                  </a:lnTo>
                  <a:lnTo>
                    <a:pt x="0" y="20"/>
                  </a:lnTo>
                  <a:lnTo>
                    <a:pt x="0" y="20"/>
                  </a:lnTo>
                  <a:lnTo>
                    <a:pt x="0" y="20"/>
                  </a:lnTo>
                  <a:lnTo>
                    <a:pt x="0" y="20"/>
                  </a:lnTo>
                  <a:lnTo>
                    <a:pt x="0" y="20"/>
                  </a:lnTo>
                  <a:lnTo>
                    <a:pt x="0" y="20"/>
                  </a:lnTo>
                  <a:lnTo>
                    <a:pt x="4" y="20"/>
                  </a:lnTo>
                  <a:lnTo>
                    <a:pt x="4" y="20"/>
                  </a:lnTo>
                  <a:lnTo>
                    <a:pt x="4" y="16"/>
                  </a:lnTo>
                  <a:lnTo>
                    <a:pt x="4" y="16"/>
                  </a:lnTo>
                  <a:lnTo>
                    <a:pt x="4" y="16"/>
                  </a:lnTo>
                  <a:lnTo>
                    <a:pt x="4" y="16"/>
                  </a:lnTo>
                  <a:lnTo>
                    <a:pt x="4" y="16"/>
                  </a:lnTo>
                  <a:lnTo>
                    <a:pt x="4" y="16"/>
                  </a:lnTo>
                  <a:lnTo>
                    <a:pt x="4" y="16"/>
                  </a:lnTo>
                  <a:lnTo>
                    <a:pt x="4" y="16"/>
                  </a:lnTo>
                  <a:lnTo>
                    <a:pt x="4" y="12"/>
                  </a:lnTo>
                  <a:lnTo>
                    <a:pt x="4" y="12"/>
                  </a:lnTo>
                  <a:lnTo>
                    <a:pt x="4" y="12"/>
                  </a:lnTo>
                  <a:lnTo>
                    <a:pt x="6" y="12"/>
                  </a:lnTo>
                  <a:lnTo>
                    <a:pt x="6" y="12"/>
                  </a:lnTo>
                  <a:lnTo>
                    <a:pt x="6" y="12"/>
                  </a:lnTo>
                  <a:lnTo>
                    <a:pt x="6" y="8"/>
                  </a:lnTo>
                  <a:lnTo>
                    <a:pt x="6" y="8"/>
                  </a:lnTo>
                  <a:lnTo>
                    <a:pt x="6" y="8"/>
                  </a:lnTo>
                  <a:lnTo>
                    <a:pt x="6" y="8"/>
                  </a:lnTo>
                  <a:lnTo>
                    <a:pt x="6" y="8"/>
                  </a:lnTo>
                  <a:lnTo>
                    <a:pt x="6" y="8"/>
                  </a:lnTo>
                  <a:lnTo>
                    <a:pt x="6" y="8"/>
                  </a:lnTo>
                  <a:lnTo>
                    <a:pt x="10" y="4"/>
                  </a:lnTo>
                  <a:lnTo>
                    <a:pt x="10" y="4"/>
                  </a:lnTo>
                  <a:lnTo>
                    <a:pt x="10" y="4"/>
                  </a:lnTo>
                  <a:lnTo>
                    <a:pt x="10" y="4"/>
                  </a:lnTo>
                  <a:lnTo>
                    <a:pt x="10" y="4"/>
                  </a:lnTo>
                  <a:lnTo>
                    <a:pt x="10" y="4"/>
                  </a:lnTo>
                  <a:lnTo>
                    <a:pt x="14" y="4"/>
                  </a:lnTo>
                  <a:lnTo>
                    <a:pt x="14" y="4"/>
                  </a:lnTo>
                  <a:lnTo>
                    <a:pt x="14" y="0"/>
                  </a:lnTo>
                  <a:lnTo>
                    <a:pt x="14" y="0"/>
                  </a:lnTo>
                  <a:lnTo>
                    <a:pt x="18" y="0"/>
                  </a:lnTo>
                  <a:lnTo>
                    <a:pt x="18" y="0"/>
                  </a:lnTo>
                  <a:lnTo>
                    <a:pt x="18" y="0"/>
                  </a:lnTo>
                  <a:lnTo>
                    <a:pt x="18" y="0"/>
                  </a:lnTo>
                  <a:lnTo>
                    <a:pt x="18" y="0"/>
                  </a:lnTo>
                  <a:lnTo>
                    <a:pt x="22" y="0"/>
                  </a:lnTo>
                  <a:lnTo>
                    <a:pt x="22" y="0"/>
                  </a:lnTo>
                  <a:lnTo>
                    <a:pt x="22" y="0"/>
                  </a:lnTo>
                  <a:lnTo>
                    <a:pt x="22" y="0"/>
                  </a:lnTo>
                  <a:lnTo>
                    <a:pt x="22" y="4"/>
                  </a:lnTo>
                  <a:lnTo>
                    <a:pt x="22" y="4"/>
                  </a:lnTo>
                  <a:lnTo>
                    <a:pt x="22" y="4"/>
                  </a:lnTo>
                  <a:lnTo>
                    <a:pt x="22" y="4"/>
                  </a:lnTo>
                  <a:lnTo>
                    <a:pt x="22" y="4"/>
                  </a:lnTo>
                  <a:lnTo>
                    <a:pt x="22" y="4"/>
                  </a:lnTo>
                  <a:lnTo>
                    <a:pt x="22" y="4"/>
                  </a:lnTo>
                  <a:lnTo>
                    <a:pt x="22" y="4"/>
                  </a:lnTo>
                  <a:lnTo>
                    <a:pt x="26" y="4"/>
                  </a:lnTo>
                  <a:lnTo>
                    <a:pt x="26" y="4"/>
                  </a:lnTo>
                  <a:lnTo>
                    <a:pt x="26" y="4"/>
                  </a:lnTo>
                  <a:lnTo>
                    <a:pt x="26" y="4"/>
                  </a:lnTo>
                  <a:lnTo>
                    <a:pt x="26" y="4"/>
                  </a:lnTo>
                  <a:lnTo>
                    <a:pt x="30" y="4"/>
                  </a:lnTo>
                  <a:lnTo>
                    <a:pt x="30" y="4"/>
                  </a:lnTo>
                  <a:lnTo>
                    <a:pt x="30" y="4"/>
                  </a:lnTo>
                  <a:lnTo>
                    <a:pt x="30" y="4"/>
                  </a:lnTo>
                  <a:lnTo>
                    <a:pt x="30" y="8"/>
                  </a:lnTo>
                  <a:lnTo>
                    <a:pt x="30" y="8"/>
                  </a:lnTo>
                  <a:lnTo>
                    <a:pt x="30" y="8"/>
                  </a:lnTo>
                  <a:lnTo>
                    <a:pt x="34" y="8"/>
                  </a:lnTo>
                  <a:lnTo>
                    <a:pt x="34" y="8"/>
                  </a:lnTo>
                  <a:lnTo>
                    <a:pt x="34" y="8"/>
                  </a:lnTo>
                  <a:lnTo>
                    <a:pt x="34" y="8"/>
                  </a:lnTo>
                  <a:lnTo>
                    <a:pt x="34" y="4"/>
                  </a:lnTo>
                  <a:lnTo>
                    <a:pt x="34" y="4"/>
                  </a:lnTo>
                  <a:lnTo>
                    <a:pt x="34" y="4"/>
                  </a:lnTo>
                  <a:lnTo>
                    <a:pt x="38" y="4"/>
                  </a:lnTo>
                  <a:lnTo>
                    <a:pt x="38" y="4"/>
                  </a:lnTo>
                  <a:lnTo>
                    <a:pt x="38" y="8"/>
                  </a:lnTo>
                  <a:lnTo>
                    <a:pt x="38" y="8"/>
                  </a:lnTo>
                  <a:lnTo>
                    <a:pt x="38" y="8"/>
                  </a:lnTo>
                  <a:lnTo>
                    <a:pt x="38" y="8"/>
                  </a:lnTo>
                  <a:lnTo>
                    <a:pt x="38"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2"/>
                  </a:lnTo>
                  <a:lnTo>
                    <a:pt x="40" y="12"/>
                  </a:lnTo>
                  <a:lnTo>
                    <a:pt x="40" y="12"/>
                  </a:lnTo>
                  <a:lnTo>
                    <a:pt x="40" y="12"/>
                  </a:lnTo>
                  <a:lnTo>
                    <a:pt x="40" y="12"/>
                  </a:lnTo>
                  <a:lnTo>
                    <a:pt x="40" y="16"/>
                  </a:lnTo>
                  <a:lnTo>
                    <a:pt x="40" y="16"/>
                  </a:lnTo>
                  <a:lnTo>
                    <a:pt x="40" y="16"/>
                  </a:lnTo>
                  <a:lnTo>
                    <a:pt x="40" y="16"/>
                  </a:lnTo>
                  <a:lnTo>
                    <a:pt x="44" y="16"/>
                  </a:lnTo>
                  <a:lnTo>
                    <a:pt x="44" y="16"/>
                  </a:lnTo>
                  <a:lnTo>
                    <a:pt x="44" y="16"/>
                  </a:lnTo>
                  <a:lnTo>
                    <a:pt x="44" y="20"/>
                  </a:lnTo>
                  <a:lnTo>
                    <a:pt x="44" y="20"/>
                  </a:lnTo>
                  <a:lnTo>
                    <a:pt x="48" y="20"/>
                  </a:lnTo>
                  <a:lnTo>
                    <a:pt x="44" y="24"/>
                  </a:lnTo>
                  <a:lnTo>
                    <a:pt x="44" y="24"/>
                  </a:lnTo>
                  <a:lnTo>
                    <a:pt x="44" y="24"/>
                  </a:lnTo>
                  <a:lnTo>
                    <a:pt x="44" y="24"/>
                  </a:lnTo>
                  <a:lnTo>
                    <a:pt x="44" y="24"/>
                  </a:lnTo>
                  <a:lnTo>
                    <a:pt x="44" y="24"/>
                  </a:lnTo>
                  <a:lnTo>
                    <a:pt x="44" y="24"/>
                  </a:lnTo>
                  <a:lnTo>
                    <a:pt x="48" y="26"/>
                  </a:lnTo>
                  <a:lnTo>
                    <a:pt x="48" y="26"/>
                  </a:lnTo>
                  <a:lnTo>
                    <a:pt x="48" y="26"/>
                  </a:lnTo>
                  <a:lnTo>
                    <a:pt x="44" y="26"/>
                  </a:lnTo>
                  <a:lnTo>
                    <a:pt x="44" y="26"/>
                  </a:lnTo>
                  <a:lnTo>
                    <a:pt x="44" y="26"/>
                  </a:lnTo>
                  <a:lnTo>
                    <a:pt x="44" y="2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29" name="Freeform 22"/>
            <p:cNvSpPr>
              <a:spLocks noEditPoints="1"/>
            </p:cNvSpPr>
            <p:nvPr/>
          </p:nvSpPr>
          <p:spPr bwMode="auto">
            <a:xfrm>
              <a:off x="8053846" y="4102910"/>
              <a:ext cx="11304" cy="13076"/>
            </a:xfrm>
            <a:custGeom>
              <a:avLst/>
              <a:gdLst>
                <a:gd name="T0" fmla="*/ 10 w 18"/>
                <a:gd name="T1" fmla="*/ 4 h 20"/>
                <a:gd name="T2" fmla="*/ 10 w 18"/>
                <a:gd name="T3" fmla="*/ 4 h 20"/>
                <a:gd name="T4" fmla="*/ 10 w 18"/>
                <a:gd name="T5" fmla="*/ 4 h 20"/>
                <a:gd name="T6" fmla="*/ 10 w 18"/>
                <a:gd name="T7" fmla="*/ 4 h 20"/>
                <a:gd name="T8" fmla="*/ 10 w 18"/>
                <a:gd name="T9" fmla="*/ 4 h 20"/>
                <a:gd name="T10" fmla="*/ 10 w 18"/>
                <a:gd name="T11" fmla="*/ 8 h 20"/>
                <a:gd name="T12" fmla="*/ 10 w 18"/>
                <a:gd name="T13" fmla="*/ 8 h 20"/>
                <a:gd name="T14" fmla="*/ 10 w 18"/>
                <a:gd name="T15" fmla="*/ 12 h 20"/>
                <a:gd name="T16" fmla="*/ 10 w 18"/>
                <a:gd name="T17" fmla="*/ 12 h 20"/>
                <a:gd name="T18" fmla="*/ 10 w 18"/>
                <a:gd name="T19" fmla="*/ 12 h 20"/>
                <a:gd name="T20" fmla="*/ 10 w 18"/>
                <a:gd name="T21" fmla="*/ 16 h 20"/>
                <a:gd name="T22" fmla="*/ 10 w 18"/>
                <a:gd name="T23" fmla="*/ 20 h 20"/>
                <a:gd name="T24" fmla="*/ 6 w 18"/>
                <a:gd name="T25" fmla="*/ 20 h 20"/>
                <a:gd name="T26" fmla="*/ 6 w 18"/>
                <a:gd name="T27" fmla="*/ 20 h 20"/>
                <a:gd name="T28" fmla="*/ 6 w 18"/>
                <a:gd name="T29" fmla="*/ 20 h 20"/>
                <a:gd name="T30" fmla="*/ 4 w 18"/>
                <a:gd name="T31" fmla="*/ 16 h 20"/>
                <a:gd name="T32" fmla="*/ 4 w 18"/>
                <a:gd name="T33" fmla="*/ 16 h 20"/>
                <a:gd name="T34" fmla="*/ 4 w 18"/>
                <a:gd name="T35" fmla="*/ 12 h 20"/>
                <a:gd name="T36" fmla="*/ 4 w 18"/>
                <a:gd name="T37" fmla="*/ 12 h 20"/>
                <a:gd name="T38" fmla="*/ 0 w 18"/>
                <a:gd name="T39" fmla="*/ 12 h 20"/>
                <a:gd name="T40" fmla="*/ 0 w 18"/>
                <a:gd name="T41" fmla="*/ 12 h 20"/>
                <a:gd name="T42" fmla="*/ 0 w 18"/>
                <a:gd name="T43" fmla="*/ 8 h 20"/>
                <a:gd name="T44" fmla="*/ 0 w 18"/>
                <a:gd name="T45" fmla="*/ 8 h 20"/>
                <a:gd name="T46" fmla="*/ 0 w 18"/>
                <a:gd name="T47" fmla="*/ 8 h 20"/>
                <a:gd name="T48" fmla="*/ 0 w 18"/>
                <a:gd name="T49" fmla="*/ 12 h 20"/>
                <a:gd name="T50" fmla="*/ 4 w 18"/>
                <a:gd name="T51" fmla="*/ 8 h 20"/>
                <a:gd name="T52" fmla="*/ 6 w 18"/>
                <a:gd name="T53" fmla="*/ 8 h 20"/>
                <a:gd name="T54" fmla="*/ 6 w 18"/>
                <a:gd name="T55" fmla="*/ 8 h 20"/>
                <a:gd name="T56" fmla="*/ 6 w 18"/>
                <a:gd name="T57" fmla="*/ 8 h 20"/>
                <a:gd name="T58" fmla="*/ 6 w 18"/>
                <a:gd name="T59" fmla="*/ 4 h 20"/>
                <a:gd name="T60" fmla="*/ 6 w 18"/>
                <a:gd name="T61" fmla="*/ 4 h 20"/>
                <a:gd name="T62" fmla="*/ 6 w 18"/>
                <a:gd name="T63" fmla="*/ 4 h 20"/>
                <a:gd name="T64" fmla="*/ 10 w 18"/>
                <a:gd name="T65" fmla="*/ 4 h 20"/>
                <a:gd name="T66" fmla="*/ 10 w 18"/>
                <a:gd name="T67" fmla="*/ 4 h 20"/>
                <a:gd name="T68" fmla="*/ 10 w 18"/>
                <a:gd name="T69" fmla="*/ 0 h 20"/>
                <a:gd name="T70" fmla="*/ 14 w 18"/>
                <a:gd name="T71" fmla="*/ 0 h 20"/>
                <a:gd name="T72" fmla="*/ 14 w 18"/>
                <a:gd name="T73" fmla="*/ 0 h 20"/>
                <a:gd name="T74" fmla="*/ 14 w 18"/>
                <a:gd name="T75" fmla="*/ 0 h 20"/>
                <a:gd name="T76" fmla="*/ 10 w 18"/>
                <a:gd name="T77" fmla="*/ 4 h 20"/>
                <a:gd name="T78" fmla="*/ 10 w 18"/>
                <a:gd name="T79" fmla="*/ 4 h 20"/>
                <a:gd name="T80" fmla="*/ 10 w 18"/>
                <a:gd name="T81" fmla="*/ 4 h 20"/>
                <a:gd name="T82" fmla="*/ 14 w 18"/>
                <a:gd name="T83" fmla="*/ 4 h 20"/>
                <a:gd name="T84" fmla="*/ 14 w 18"/>
                <a:gd name="T85" fmla="*/ 4 h 20"/>
                <a:gd name="T86" fmla="*/ 14 w 18"/>
                <a:gd name="T87" fmla="*/ 4 h 20"/>
                <a:gd name="T88" fmla="*/ 14 w 18"/>
                <a:gd name="T89" fmla="*/ 4 h 20"/>
                <a:gd name="T90" fmla="*/ 14 w 18"/>
                <a:gd name="T91" fmla="*/ 8 h 20"/>
                <a:gd name="T92" fmla="*/ 14 w 18"/>
                <a:gd name="T93" fmla="*/ 8 h 20"/>
                <a:gd name="T94" fmla="*/ 14 w 18"/>
                <a:gd name="T95" fmla="*/ 12 h 20"/>
                <a:gd name="T96" fmla="*/ 14 w 18"/>
                <a:gd name="T97" fmla="*/ 12 h 20"/>
                <a:gd name="T98" fmla="*/ 14 w 18"/>
                <a:gd name="T99" fmla="*/ 12 h 20"/>
                <a:gd name="T100" fmla="*/ 18 w 18"/>
                <a:gd name="T101" fmla="*/ 12 h 20"/>
                <a:gd name="T102" fmla="*/ 18 w 18"/>
                <a:gd name="T103" fmla="*/ 12 h 20"/>
                <a:gd name="T104" fmla="*/ 18 w 18"/>
                <a:gd name="T105" fmla="*/ 16 h 20"/>
                <a:gd name="T106" fmla="*/ 18 w 18"/>
                <a:gd name="T107" fmla="*/ 16 h 20"/>
                <a:gd name="T108" fmla="*/ 18 w 18"/>
                <a:gd name="T109" fmla="*/ 16 h 20"/>
                <a:gd name="T110" fmla="*/ 14 w 18"/>
                <a:gd name="T111" fmla="*/ 12 h 20"/>
                <a:gd name="T112" fmla="*/ 14 w 18"/>
                <a:gd name="T113" fmla="*/ 12 h 20"/>
                <a:gd name="T114" fmla="*/ 14 w 18"/>
                <a:gd name="T115" fmla="*/ 8 h 20"/>
                <a:gd name="T116" fmla="*/ 10 w 18"/>
                <a:gd name="T117" fmla="*/ 8 h 20"/>
                <a:gd name="T118" fmla="*/ 14 w 18"/>
                <a:gd name="T1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20">
                  <a:moveTo>
                    <a:pt x="10" y="4"/>
                  </a:moveTo>
                  <a:lnTo>
                    <a:pt x="10" y="4"/>
                  </a:lnTo>
                  <a:lnTo>
                    <a:pt x="10" y="4"/>
                  </a:lnTo>
                  <a:lnTo>
                    <a:pt x="10" y="4"/>
                  </a:lnTo>
                  <a:lnTo>
                    <a:pt x="10" y="4"/>
                  </a:lnTo>
                  <a:lnTo>
                    <a:pt x="10" y="4"/>
                  </a:lnTo>
                  <a:lnTo>
                    <a:pt x="10" y="4"/>
                  </a:lnTo>
                  <a:lnTo>
                    <a:pt x="10" y="4"/>
                  </a:lnTo>
                  <a:lnTo>
                    <a:pt x="10" y="4"/>
                  </a:lnTo>
                  <a:lnTo>
                    <a:pt x="10" y="4"/>
                  </a:lnTo>
                  <a:lnTo>
                    <a:pt x="10" y="8"/>
                  </a:lnTo>
                  <a:lnTo>
                    <a:pt x="10" y="8"/>
                  </a:lnTo>
                  <a:lnTo>
                    <a:pt x="10" y="8"/>
                  </a:lnTo>
                  <a:lnTo>
                    <a:pt x="10" y="8"/>
                  </a:lnTo>
                  <a:lnTo>
                    <a:pt x="10" y="8"/>
                  </a:lnTo>
                  <a:lnTo>
                    <a:pt x="10" y="12"/>
                  </a:lnTo>
                  <a:lnTo>
                    <a:pt x="10" y="12"/>
                  </a:lnTo>
                  <a:lnTo>
                    <a:pt x="10" y="12"/>
                  </a:lnTo>
                  <a:lnTo>
                    <a:pt x="10" y="12"/>
                  </a:lnTo>
                  <a:lnTo>
                    <a:pt x="10" y="12"/>
                  </a:lnTo>
                  <a:lnTo>
                    <a:pt x="10" y="12"/>
                  </a:lnTo>
                  <a:lnTo>
                    <a:pt x="10" y="16"/>
                  </a:lnTo>
                  <a:lnTo>
                    <a:pt x="10" y="20"/>
                  </a:lnTo>
                  <a:lnTo>
                    <a:pt x="10" y="20"/>
                  </a:lnTo>
                  <a:lnTo>
                    <a:pt x="6" y="20"/>
                  </a:lnTo>
                  <a:lnTo>
                    <a:pt x="6" y="20"/>
                  </a:lnTo>
                  <a:lnTo>
                    <a:pt x="6" y="20"/>
                  </a:lnTo>
                  <a:lnTo>
                    <a:pt x="6" y="20"/>
                  </a:lnTo>
                  <a:lnTo>
                    <a:pt x="6" y="20"/>
                  </a:lnTo>
                  <a:lnTo>
                    <a:pt x="6" y="20"/>
                  </a:lnTo>
                  <a:lnTo>
                    <a:pt x="6" y="20"/>
                  </a:lnTo>
                  <a:lnTo>
                    <a:pt x="4" y="16"/>
                  </a:lnTo>
                  <a:lnTo>
                    <a:pt x="4" y="16"/>
                  </a:lnTo>
                  <a:lnTo>
                    <a:pt x="4" y="16"/>
                  </a:lnTo>
                  <a:lnTo>
                    <a:pt x="4" y="16"/>
                  </a:lnTo>
                  <a:lnTo>
                    <a:pt x="4" y="12"/>
                  </a:lnTo>
                  <a:lnTo>
                    <a:pt x="4" y="12"/>
                  </a:lnTo>
                  <a:lnTo>
                    <a:pt x="4" y="12"/>
                  </a:lnTo>
                  <a:lnTo>
                    <a:pt x="4" y="12"/>
                  </a:lnTo>
                  <a:lnTo>
                    <a:pt x="0" y="12"/>
                  </a:lnTo>
                  <a:lnTo>
                    <a:pt x="0" y="12"/>
                  </a:lnTo>
                  <a:lnTo>
                    <a:pt x="0" y="12"/>
                  </a:lnTo>
                  <a:lnTo>
                    <a:pt x="0" y="12"/>
                  </a:lnTo>
                  <a:lnTo>
                    <a:pt x="0" y="8"/>
                  </a:lnTo>
                  <a:lnTo>
                    <a:pt x="0" y="8"/>
                  </a:lnTo>
                  <a:lnTo>
                    <a:pt x="0" y="8"/>
                  </a:lnTo>
                  <a:lnTo>
                    <a:pt x="0" y="8"/>
                  </a:lnTo>
                  <a:lnTo>
                    <a:pt x="0" y="8"/>
                  </a:lnTo>
                  <a:lnTo>
                    <a:pt x="0" y="8"/>
                  </a:lnTo>
                  <a:lnTo>
                    <a:pt x="0" y="12"/>
                  </a:lnTo>
                  <a:lnTo>
                    <a:pt x="4" y="8"/>
                  </a:lnTo>
                  <a:lnTo>
                    <a:pt x="4" y="8"/>
                  </a:lnTo>
                  <a:lnTo>
                    <a:pt x="6" y="8"/>
                  </a:lnTo>
                  <a:lnTo>
                    <a:pt x="6" y="8"/>
                  </a:lnTo>
                  <a:lnTo>
                    <a:pt x="6" y="8"/>
                  </a:lnTo>
                  <a:lnTo>
                    <a:pt x="6" y="8"/>
                  </a:lnTo>
                  <a:lnTo>
                    <a:pt x="6" y="8"/>
                  </a:lnTo>
                  <a:lnTo>
                    <a:pt x="6" y="8"/>
                  </a:lnTo>
                  <a:lnTo>
                    <a:pt x="6" y="8"/>
                  </a:lnTo>
                  <a:lnTo>
                    <a:pt x="6" y="4"/>
                  </a:lnTo>
                  <a:lnTo>
                    <a:pt x="6" y="4"/>
                  </a:lnTo>
                  <a:lnTo>
                    <a:pt x="6" y="4"/>
                  </a:lnTo>
                  <a:lnTo>
                    <a:pt x="6" y="4"/>
                  </a:lnTo>
                  <a:lnTo>
                    <a:pt x="6" y="4"/>
                  </a:lnTo>
                  <a:lnTo>
                    <a:pt x="6" y="4"/>
                  </a:lnTo>
                  <a:lnTo>
                    <a:pt x="10" y="4"/>
                  </a:lnTo>
                  <a:lnTo>
                    <a:pt x="10" y="4"/>
                  </a:lnTo>
                  <a:lnTo>
                    <a:pt x="10" y="4"/>
                  </a:lnTo>
                  <a:lnTo>
                    <a:pt x="10" y="0"/>
                  </a:lnTo>
                  <a:lnTo>
                    <a:pt x="10" y="0"/>
                  </a:lnTo>
                  <a:lnTo>
                    <a:pt x="14" y="0"/>
                  </a:lnTo>
                  <a:lnTo>
                    <a:pt x="14" y="0"/>
                  </a:lnTo>
                  <a:lnTo>
                    <a:pt x="14" y="0"/>
                  </a:lnTo>
                  <a:lnTo>
                    <a:pt x="14" y="0"/>
                  </a:lnTo>
                  <a:lnTo>
                    <a:pt x="14" y="0"/>
                  </a:lnTo>
                  <a:lnTo>
                    <a:pt x="14" y="0"/>
                  </a:lnTo>
                  <a:lnTo>
                    <a:pt x="14" y="4"/>
                  </a:lnTo>
                  <a:lnTo>
                    <a:pt x="10" y="4"/>
                  </a:lnTo>
                  <a:lnTo>
                    <a:pt x="10" y="4"/>
                  </a:lnTo>
                  <a:lnTo>
                    <a:pt x="10" y="4"/>
                  </a:lnTo>
                  <a:lnTo>
                    <a:pt x="10" y="4"/>
                  </a:lnTo>
                  <a:lnTo>
                    <a:pt x="10" y="4"/>
                  </a:lnTo>
                  <a:close/>
                  <a:moveTo>
                    <a:pt x="14" y="4"/>
                  </a:moveTo>
                  <a:lnTo>
                    <a:pt x="14" y="4"/>
                  </a:lnTo>
                  <a:lnTo>
                    <a:pt x="14" y="8"/>
                  </a:lnTo>
                  <a:lnTo>
                    <a:pt x="14" y="4"/>
                  </a:lnTo>
                  <a:lnTo>
                    <a:pt x="14" y="4"/>
                  </a:lnTo>
                  <a:lnTo>
                    <a:pt x="14" y="4"/>
                  </a:lnTo>
                  <a:lnTo>
                    <a:pt x="14" y="4"/>
                  </a:lnTo>
                  <a:lnTo>
                    <a:pt x="14" y="4"/>
                  </a:lnTo>
                  <a:lnTo>
                    <a:pt x="14" y="4"/>
                  </a:lnTo>
                  <a:lnTo>
                    <a:pt x="14" y="8"/>
                  </a:lnTo>
                  <a:lnTo>
                    <a:pt x="14" y="8"/>
                  </a:lnTo>
                  <a:lnTo>
                    <a:pt x="14" y="8"/>
                  </a:lnTo>
                  <a:lnTo>
                    <a:pt x="14" y="8"/>
                  </a:lnTo>
                  <a:lnTo>
                    <a:pt x="14" y="12"/>
                  </a:lnTo>
                  <a:lnTo>
                    <a:pt x="14" y="12"/>
                  </a:lnTo>
                  <a:lnTo>
                    <a:pt x="14" y="12"/>
                  </a:lnTo>
                  <a:lnTo>
                    <a:pt x="14" y="12"/>
                  </a:lnTo>
                  <a:lnTo>
                    <a:pt x="14" y="12"/>
                  </a:lnTo>
                  <a:lnTo>
                    <a:pt x="14" y="12"/>
                  </a:lnTo>
                  <a:lnTo>
                    <a:pt x="18" y="12"/>
                  </a:lnTo>
                  <a:lnTo>
                    <a:pt x="18" y="12"/>
                  </a:lnTo>
                  <a:lnTo>
                    <a:pt x="18" y="12"/>
                  </a:lnTo>
                  <a:lnTo>
                    <a:pt x="18" y="16"/>
                  </a:lnTo>
                  <a:lnTo>
                    <a:pt x="18" y="16"/>
                  </a:lnTo>
                  <a:lnTo>
                    <a:pt x="18" y="16"/>
                  </a:lnTo>
                  <a:lnTo>
                    <a:pt x="18" y="16"/>
                  </a:lnTo>
                  <a:lnTo>
                    <a:pt x="18" y="16"/>
                  </a:lnTo>
                  <a:lnTo>
                    <a:pt x="18" y="16"/>
                  </a:lnTo>
                  <a:lnTo>
                    <a:pt x="14" y="12"/>
                  </a:lnTo>
                  <a:lnTo>
                    <a:pt x="14" y="12"/>
                  </a:lnTo>
                  <a:lnTo>
                    <a:pt x="14" y="12"/>
                  </a:lnTo>
                  <a:lnTo>
                    <a:pt x="14" y="12"/>
                  </a:lnTo>
                  <a:lnTo>
                    <a:pt x="14" y="8"/>
                  </a:lnTo>
                  <a:lnTo>
                    <a:pt x="14" y="8"/>
                  </a:lnTo>
                  <a:lnTo>
                    <a:pt x="10" y="8"/>
                  </a:lnTo>
                  <a:lnTo>
                    <a:pt x="10" y="8"/>
                  </a:lnTo>
                  <a:lnTo>
                    <a:pt x="14" y="4"/>
                  </a:lnTo>
                  <a:lnTo>
                    <a:pt x="14" y="4"/>
                  </a:lnTo>
                  <a:lnTo>
                    <a:pt x="14" y="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30" name="Freeform 23"/>
            <p:cNvSpPr>
              <a:spLocks/>
            </p:cNvSpPr>
            <p:nvPr/>
          </p:nvSpPr>
          <p:spPr bwMode="auto">
            <a:xfrm>
              <a:off x="7948345" y="3995688"/>
              <a:ext cx="46471" cy="48381"/>
            </a:xfrm>
            <a:custGeom>
              <a:avLst/>
              <a:gdLst>
                <a:gd name="T0" fmla="*/ 40 w 74"/>
                <a:gd name="T1" fmla="*/ 68 h 74"/>
                <a:gd name="T2" fmla="*/ 36 w 74"/>
                <a:gd name="T3" fmla="*/ 70 h 74"/>
                <a:gd name="T4" fmla="*/ 36 w 74"/>
                <a:gd name="T5" fmla="*/ 70 h 74"/>
                <a:gd name="T6" fmla="*/ 32 w 74"/>
                <a:gd name="T7" fmla="*/ 70 h 74"/>
                <a:gd name="T8" fmla="*/ 30 w 74"/>
                <a:gd name="T9" fmla="*/ 70 h 74"/>
                <a:gd name="T10" fmla="*/ 26 w 74"/>
                <a:gd name="T11" fmla="*/ 70 h 74"/>
                <a:gd name="T12" fmla="*/ 22 w 74"/>
                <a:gd name="T13" fmla="*/ 70 h 74"/>
                <a:gd name="T14" fmla="*/ 18 w 74"/>
                <a:gd name="T15" fmla="*/ 68 h 74"/>
                <a:gd name="T16" fmla="*/ 22 w 74"/>
                <a:gd name="T17" fmla="*/ 64 h 74"/>
                <a:gd name="T18" fmla="*/ 18 w 74"/>
                <a:gd name="T19" fmla="*/ 64 h 74"/>
                <a:gd name="T20" fmla="*/ 10 w 74"/>
                <a:gd name="T21" fmla="*/ 64 h 74"/>
                <a:gd name="T22" fmla="*/ 10 w 74"/>
                <a:gd name="T23" fmla="*/ 56 h 74"/>
                <a:gd name="T24" fmla="*/ 10 w 74"/>
                <a:gd name="T25" fmla="*/ 52 h 74"/>
                <a:gd name="T26" fmla="*/ 10 w 74"/>
                <a:gd name="T27" fmla="*/ 52 h 74"/>
                <a:gd name="T28" fmla="*/ 10 w 74"/>
                <a:gd name="T29" fmla="*/ 52 h 74"/>
                <a:gd name="T30" fmla="*/ 10 w 74"/>
                <a:gd name="T31" fmla="*/ 48 h 74"/>
                <a:gd name="T32" fmla="*/ 10 w 74"/>
                <a:gd name="T33" fmla="*/ 52 h 74"/>
                <a:gd name="T34" fmla="*/ 6 w 74"/>
                <a:gd name="T35" fmla="*/ 48 h 74"/>
                <a:gd name="T36" fmla="*/ 6 w 74"/>
                <a:gd name="T37" fmla="*/ 38 h 74"/>
                <a:gd name="T38" fmla="*/ 4 w 74"/>
                <a:gd name="T39" fmla="*/ 34 h 74"/>
                <a:gd name="T40" fmla="*/ 4 w 74"/>
                <a:gd name="T41" fmla="*/ 26 h 74"/>
                <a:gd name="T42" fmla="*/ 4 w 74"/>
                <a:gd name="T43" fmla="*/ 20 h 74"/>
                <a:gd name="T44" fmla="*/ 4 w 74"/>
                <a:gd name="T45" fmla="*/ 20 h 74"/>
                <a:gd name="T46" fmla="*/ 6 w 74"/>
                <a:gd name="T47" fmla="*/ 16 h 74"/>
                <a:gd name="T48" fmla="*/ 10 w 74"/>
                <a:gd name="T49" fmla="*/ 8 h 74"/>
                <a:gd name="T50" fmla="*/ 10 w 74"/>
                <a:gd name="T51" fmla="*/ 8 h 74"/>
                <a:gd name="T52" fmla="*/ 14 w 74"/>
                <a:gd name="T53" fmla="*/ 4 h 74"/>
                <a:gd name="T54" fmla="*/ 18 w 74"/>
                <a:gd name="T55" fmla="*/ 4 h 74"/>
                <a:gd name="T56" fmla="*/ 26 w 74"/>
                <a:gd name="T57" fmla="*/ 4 h 74"/>
                <a:gd name="T58" fmla="*/ 32 w 74"/>
                <a:gd name="T59" fmla="*/ 4 h 74"/>
                <a:gd name="T60" fmla="*/ 36 w 74"/>
                <a:gd name="T61" fmla="*/ 4 h 74"/>
                <a:gd name="T62" fmla="*/ 40 w 74"/>
                <a:gd name="T63" fmla="*/ 8 h 74"/>
                <a:gd name="T64" fmla="*/ 40 w 74"/>
                <a:gd name="T65" fmla="*/ 4 h 74"/>
                <a:gd name="T66" fmla="*/ 48 w 74"/>
                <a:gd name="T67" fmla="*/ 8 h 74"/>
                <a:gd name="T68" fmla="*/ 52 w 74"/>
                <a:gd name="T69" fmla="*/ 12 h 74"/>
                <a:gd name="T70" fmla="*/ 54 w 74"/>
                <a:gd name="T71" fmla="*/ 8 h 74"/>
                <a:gd name="T72" fmla="*/ 54 w 74"/>
                <a:gd name="T73" fmla="*/ 4 h 74"/>
                <a:gd name="T74" fmla="*/ 54 w 74"/>
                <a:gd name="T75" fmla="*/ 4 h 74"/>
                <a:gd name="T76" fmla="*/ 58 w 74"/>
                <a:gd name="T77" fmla="*/ 0 h 74"/>
                <a:gd name="T78" fmla="*/ 62 w 74"/>
                <a:gd name="T79" fmla="*/ 4 h 74"/>
                <a:gd name="T80" fmla="*/ 70 w 74"/>
                <a:gd name="T81" fmla="*/ 0 h 74"/>
                <a:gd name="T82" fmla="*/ 74 w 74"/>
                <a:gd name="T83" fmla="*/ 4 h 74"/>
                <a:gd name="T84" fmla="*/ 74 w 74"/>
                <a:gd name="T85" fmla="*/ 8 h 74"/>
                <a:gd name="T86" fmla="*/ 74 w 74"/>
                <a:gd name="T87" fmla="*/ 12 h 74"/>
                <a:gd name="T88" fmla="*/ 74 w 74"/>
                <a:gd name="T89" fmla="*/ 22 h 74"/>
                <a:gd name="T90" fmla="*/ 74 w 74"/>
                <a:gd name="T91" fmla="*/ 38 h 74"/>
                <a:gd name="T92" fmla="*/ 74 w 74"/>
                <a:gd name="T93" fmla="*/ 42 h 74"/>
                <a:gd name="T94" fmla="*/ 70 w 74"/>
                <a:gd name="T95" fmla="*/ 42 h 74"/>
                <a:gd name="T96" fmla="*/ 66 w 74"/>
                <a:gd name="T97" fmla="*/ 44 h 74"/>
                <a:gd name="T98" fmla="*/ 62 w 74"/>
                <a:gd name="T99" fmla="*/ 44 h 74"/>
                <a:gd name="T100" fmla="*/ 58 w 74"/>
                <a:gd name="T101" fmla="*/ 48 h 74"/>
                <a:gd name="T102" fmla="*/ 54 w 74"/>
                <a:gd name="T103" fmla="*/ 48 h 74"/>
                <a:gd name="T104" fmla="*/ 52 w 74"/>
                <a:gd name="T105" fmla="*/ 52 h 74"/>
                <a:gd name="T106" fmla="*/ 52 w 74"/>
                <a:gd name="T107" fmla="*/ 56 h 74"/>
                <a:gd name="T108" fmla="*/ 54 w 74"/>
                <a:gd name="T109" fmla="*/ 64 h 74"/>
                <a:gd name="T110" fmla="*/ 54 w 74"/>
                <a:gd name="T111" fmla="*/ 64 h 74"/>
                <a:gd name="T112" fmla="*/ 48 w 74"/>
                <a:gd name="T113" fmla="*/ 64 h 74"/>
                <a:gd name="T114" fmla="*/ 48 w 74"/>
                <a:gd name="T115" fmla="*/ 64 h 74"/>
                <a:gd name="T116" fmla="*/ 44 w 74"/>
                <a:gd name="T117" fmla="*/ 6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 h="74">
                  <a:moveTo>
                    <a:pt x="40" y="64"/>
                  </a:moveTo>
                  <a:lnTo>
                    <a:pt x="40" y="64"/>
                  </a:lnTo>
                  <a:lnTo>
                    <a:pt x="40" y="64"/>
                  </a:lnTo>
                  <a:lnTo>
                    <a:pt x="40" y="64"/>
                  </a:lnTo>
                  <a:lnTo>
                    <a:pt x="40" y="68"/>
                  </a:lnTo>
                  <a:lnTo>
                    <a:pt x="40" y="68"/>
                  </a:lnTo>
                  <a:lnTo>
                    <a:pt x="40" y="68"/>
                  </a:lnTo>
                  <a:lnTo>
                    <a:pt x="40" y="68"/>
                  </a:lnTo>
                  <a:lnTo>
                    <a:pt x="40" y="68"/>
                  </a:lnTo>
                  <a:lnTo>
                    <a:pt x="40" y="68"/>
                  </a:lnTo>
                  <a:lnTo>
                    <a:pt x="36" y="70"/>
                  </a:lnTo>
                  <a:lnTo>
                    <a:pt x="36" y="70"/>
                  </a:lnTo>
                  <a:lnTo>
                    <a:pt x="36" y="70"/>
                  </a:lnTo>
                  <a:lnTo>
                    <a:pt x="36" y="70"/>
                  </a:lnTo>
                  <a:lnTo>
                    <a:pt x="36" y="70"/>
                  </a:lnTo>
                  <a:lnTo>
                    <a:pt x="36" y="70"/>
                  </a:lnTo>
                  <a:lnTo>
                    <a:pt x="36" y="70"/>
                  </a:lnTo>
                  <a:lnTo>
                    <a:pt x="36" y="70"/>
                  </a:lnTo>
                  <a:lnTo>
                    <a:pt x="36" y="70"/>
                  </a:lnTo>
                  <a:lnTo>
                    <a:pt x="36" y="70"/>
                  </a:lnTo>
                  <a:lnTo>
                    <a:pt x="32" y="70"/>
                  </a:lnTo>
                  <a:lnTo>
                    <a:pt x="32" y="70"/>
                  </a:lnTo>
                  <a:lnTo>
                    <a:pt x="32" y="70"/>
                  </a:lnTo>
                  <a:lnTo>
                    <a:pt x="32" y="70"/>
                  </a:lnTo>
                  <a:lnTo>
                    <a:pt x="32" y="70"/>
                  </a:lnTo>
                  <a:lnTo>
                    <a:pt x="32" y="70"/>
                  </a:lnTo>
                  <a:lnTo>
                    <a:pt x="32" y="70"/>
                  </a:lnTo>
                  <a:lnTo>
                    <a:pt x="32" y="74"/>
                  </a:lnTo>
                  <a:lnTo>
                    <a:pt x="30" y="74"/>
                  </a:lnTo>
                  <a:lnTo>
                    <a:pt x="30" y="70"/>
                  </a:lnTo>
                  <a:lnTo>
                    <a:pt x="30" y="70"/>
                  </a:lnTo>
                  <a:lnTo>
                    <a:pt x="30" y="70"/>
                  </a:lnTo>
                  <a:lnTo>
                    <a:pt x="26" y="70"/>
                  </a:lnTo>
                  <a:lnTo>
                    <a:pt x="26" y="70"/>
                  </a:lnTo>
                  <a:lnTo>
                    <a:pt x="26" y="70"/>
                  </a:lnTo>
                  <a:lnTo>
                    <a:pt x="26" y="70"/>
                  </a:lnTo>
                  <a:lnTo>
                    <a:pt x="26" y="70"/>
                  </a:lnTo>
                  <a:lnTo>
                    <a:pt x="22" y="70"/>
                  </a:lnTo>
                  <a:lnTo>
                    <a:pt x="22" y="70"/>
                  </a:lnTo>
                  <a:lnTo>
                    <a:pt x="22" y="70"/>
                  </a:lnTo>
                  <a:lnTo>
                    <a:pt x="22" y="70"/>
                  </a:lnTo>
                  <a:lnTo>
                    <a:pt x="22" y="70"/>
                  </a:lnTo>
                  <a:lnTo>
                    <a:pt x="18" y="70"/>
                  </a:lnTo>
                  <a:lnTo>
                    <a:pt x="18" y="70"/>
                  </a:lnTo>
                  <a:lnTo>
                    <a:pt x="18" y="70"/>
                  </a:lnTo>
                  <a:lnTo>
                    <a:pt x="18" y="68"/>
                  </a:lnTo>
                  <a:lnTo>
                    <a:pt x="18" y="68"/>
                  </a:lnTo>
                  <a:lnTo>
                    <a:pt x="18" y="68"/>
                  </a:lnTo>
                  <a:lnTo>
                    <a:pt x="18" y="68"/>
                  </a:lnTo>
                  <a:lnTo>
                    <a:pt x="18" y="68"/>
                  </a:lnTo>
                  <a:lnTo>
                    <a:pt x="22" y="68"/>
                  </a:lnTo>
                  <a:lnTo>
                    <a:pt x="22" y="68"/>
                  </a:lnTo>
                  <a:lnTo>
                    <a:pt x="22" y="68"/>
                  </a:lnTo>
                  <a:lnTo>
                    <a:pt x="22" y="64"/>
                  </a:lnTo>
                  <a:lnTo>
                    <a:pt x="22" y="64"/>
                  </a:lnTo>
                  <a:lnTo>
                    <a:pt x="18" y="64"/>
                  </a:lnTo>
                  <a:lnTo>
                    <a:pt x="18" y="60"/>
                  </a:lnTo>
                  <a:lnTo>
                    <a:pt x="18" y="60"/>
                  </a:lnTo>
                  <a:lnTo>
                    <a:pt x="18" y="60"/>
                  </a:lnTo>
                  <a:lnTo>
                    <a:pt x="18" y="64"/>
                  </a:lnTo>
                  <a:lnTo>
                    <a:pt x="18" y="64"/>
                  </a:lnTo>
                  <a:lnTo>
                    <a:pt x="14" y="64"/>
                  </a:lnTo>
                  <a:lnTo>
                    <a:pt x="14" y="64"/>
                  </a:lnTo>
                  <a:lnTo>
                    <a:pt x="14" y="68"/>
                  </a:lnTo>
                  <a:lnTo>
                    <a:pt x="10" y="68"/>
                  </a:lnTo>
                  <a:lnTo>
                    <a:pt x="10" y="64"/>
                  </a:lnTo>
                  <a:lnTo>
                    <a:pt x="10" y="64"/>
                  </a:lnTo>
                  <a:lnTo>
                    <a:pt x="10" y="64"/>
                  </a:lnTo>
                  <a:lnTo>
                    <a:pt x="10" y="60"/>
                  </a:lnTo>
                  <a:lnTo>
                    <a:pt x="10" y="60"/>
                  </a:lnTo>
                  <a:lnTo>
                    <a:pt x="10" y="60"/>
                  </a:lnTo>
                  <a:lnTo>
                    <a:pt x="10" y="56"/>
                  </a:lnTo>
                  <a:lnTo>
                    <a:pt x="10" y="56"/>
                  </a:lnTo>
                  <a:lnTo>
                    <a:pt x="10" y="52"/>
                  </a:lnTo>
                  <a:lnTo>
                    <a:pt x="10" y="56"/>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52"/>
                  </a:lnTo>
                  <a:lnTo>
                    <a:pt x="10" y="48"/>
                  </a:lnTo>
                  <a:lnTo>
                    <a:pt x="10" y="48"/>
                  </a:lnTo>
                  <a:lnTo>
                    <a:pt x="10" y="48"/>
                  </a:lnTo>
                  <a:lnTo>
                    <a:pt x="6" y="48"/>
                  </a:lnTo>
                  <a:lnTo>
                    <a:pt x="10" y="48"/>
                  </a:lnTo>
                  <a:lnTo>
                    <a:pt x="10" y="48"/>
                  </a:lnTo>
                  <a:lnTo>
                    <a:pt x="10" y="48"/>
                  </a:lnTo>
                  <a:lnTo>
                    <a:pt x="10" y="52"/>
                  </a:lnTo>
                  <a:lnTo>
                    <a:pt x="10" y="52"/>
                  </a:lnTo>
                  <a:lnTo>
                    <a:pt x="10" y="52"/>
                  </a:lnTo>
                  <a:lnTo>
                    <a:pt x="10" y="52"/>
                  </a:lnTo>
                  <a:lnTo>
                    <a:pt x="10" y="52"/>
                  </a:lnTo>
                  <a:lnTo>
                    <a:pt x="10" y="52"/>
                  </a:lnTo>
                  <a:lnTo>
                    <a:pt x="10" y="52"/>
                  </a:lnTo>
                  <a:lnTo>
                    <a:pt x="10" y="52"/>
                  </a:lnTo>
                  <a:lnTo>
                    <a:pt x="10" y="52"/>
                  </a:lnTo>
                  <a:lnTo>
                    <a:pt x="10" y="48"/>
                  </a:lnTo>
                  <a:lnTo>
                    <a:pt x="6" y="48"/>
                  </a:lnTo>
                  <a:lnTo>
                    <a:pt x="6" y="48"/>
                  </a:lnTo>
                  <a:lnTo>
                    <a:pt x="6" y="48"/>
                  </a:lnTo>
                  <a:lnTo>
                    <a:pt x="6" y="44"/>
                  </a:lnTo>
                  <a:lnTo>
                    <a:pt x="6" y="42"/>
                  </a:lnTo>
                  <a:lnTo>
                    <a:pt x="6" y="42"/>
                  </a:lnTo>
                  <a:lnTo>
                    <a:pt x="6" y="38"/>
                  </a:lnTo>
                  <a:lnTo>
                    <a:pt x="6" y="38"/>
                  </a:lnTo>
                  <a:lnTo>
                    <a:pt x="4" y="38"/>
                  </a:lnTo>
                  <a:lnTo>
                    <a:pt x="4" y="34"/>
                  </a:lnTo>
                  <a:lnTo>
                    <a:pt x="4" y="34"/>
                  </a:lnTo>
                  <a:lnTo>
                    <a:pt x="4" y="34"/>
                  </a:lnTo>
                  <a:lnTo>
                    <a:pt x="4" y="34"/>
                  </a:lnTo>
                  <a:lnTo>
                    <a:pt x="4" y="34"/>
                  </a:lnTo>
                  <a:lnTo>
                    <a:pt x="4" y="34"/>
                  </a:lnTo>
                  <a:lnTo>
                    <a:pt x="4" y="34"/>
                  </a:lnTo>
                  <a:lnTo>
                    <a:pt x="4" y="30"/>
                  </a:lnTo>
                  <a:lnTo>
                    <a:pt x="4" y="26"/>
                  </a:lnTo>
                  <a:lnTo>
                    <a:pt x="4" y="26"/>
                  </a:lnTo>
                  <a:lnTo>
                    <a:pt x="0" y="22"/>
                  </a:lnTo>
                  <a:lnTo>
                    <a:pt x="0" y="22"/>
                  </a:lnTo>
                  <a:lnTo>
                    <a:pt x="0" y="22"/>
                  </a:lnTo>
                  <a:lnTo>
                    <a:pt x="0" y="22"/>
                  </a:lnTo>
                  <a:lnTo>
                    <a:pt x="0" y="20"/>
                  </a:lnTo>
                  <a:lnTo>
                    <a:pt x="4" y="20"/>
                  </a:lnTo>
                  <a:lnTo>
                    <a:pt x="4" y="20"/>
                  </a:lnTo>
                  <a:lnTo>
                    <a:pt x="4" y="20"/>
                  </a:lnTo>
                  <a:lnTo>
                    <a:pt x="4" y="20"/>
                  </a:lnTo>
                  <a:lnTo>
                    <a:pt x="4" y="20"/>
                  </a:lnTo>
                  <a:lnTo>
                    <a:pt x="4" y="20"/>
                  </a:lnTo>
                  <a:lnTo>
                    <a:pt x="4" y="20"/>
                  </a:lnTo>
                  <a:lnTo>
                    <a:pt x="4" y="20"/>
                  </a:lnTo>
                  <a:lnTo>
                    <a:pt x="4" y="20"/>
                  </a:lnTo>
                  <a:lnTo>
                    <a:pt x="4" y="16"/>
                  </a:lnTo>
                  <a:lnTo>
                    <a:pt x="6" y="16"/>
                  </a:lnTo>
                  <a:lnTo>
                    <a:pt x="6" y="16"/>
                  </a:lnTo>
                  <a:lnTo>
                    <a:pt x="6" y="16"/>
                  </a:lnTo>
                  <a:lnTo>
                    <a:pt x="6" y="12"/>
                  </a:lnTo>
                  <a:lnTo>
                    <a:pt x="6" y="12"/>
                  </a:lnTo>
                  <a:lnTo>
                    <a:pt x="6" y="12"/>
                  </a:lnTo>
                  <a:lnTo>
                    <a:pt x="6" y="12"/>
                  </a:lnTo>
                  <a:lnTo>
                    <a:pt x="10" y="12"/>
                  </a:lnTo>
                  <a:lnTo>
                    <a:pt x="10" y="8"/>
                  </a:lnTo>
                  <a:lnTo>
                    <a:pt x="10" y="8"/>
                  </a:lnTo>
                  <a:lnTo>
                    <a:pt x="10" y="8"/>
                  </a:lnTo>
                  <a:lnTo>
                    <a:pt x="10" y="8"/>
                  </a:lnTo>
                  <a:lnTo>
                    <a:pt x="10" y="8"/>
                  </a:lnTo>
                  <a:lnTo>
                    <a:pt x="10" y="8"/>
                  </a:lnTo>
                  <a:lnTo>
                    <a:pt x="10" y="8"/>
                  </a:lnTo>
                  <a:lnTo>
                    <a:pt x="10" y="8"/>
                  </a:lnTo>
                  <a:lnTo>
                    <a:pt x="10" y="8"/>
                  </a:lnTo>
                  <a:lnTo>
                    <a:pt x="10" y="8"/>
                  </a:lnTo>
                  <a:lnTo>
                    <a:pt x="14" y="8"/>
                  </a:lnTo>
                  <a:lnTo>
                    <a:pt x="14" y="4"/>
                  </a:lnTo>
                  <a:lnTo>
                    <a:pt x="14" y="4"/>
                  </a:lnTo>
                  <a:lnTo>
                    <a:pt x="14" y="4"/>
                  </a:lnTo>
                  <a:lnTo>
                    <a:pt x="14" y="4"/>
                  </a:lnTo>
                  <a:lnTo>
                    <a:pt x="18" y="4"/>
                  </a:lnTo>
                  <a:lnTo>
                    <a:pt x="18" y="4"/>
                  </a:lnTo>
                  <a:lnTo>
                    <a:pt x="18" y="4"/>
                  </a:lnTo>
                  <a:lnTo>
                    <a:pt x="18" y="4"/>
                  </a:lnTo>
                  <a:lnTo>
                    <a:pt x="22" y="4"/>
                  </a:lnTo>
                  <a:lnTo>
                    <a:pt x="22" y="4"/>
                  </a:lnTo>
                  <a:lnTo>
                    <a:pt x="22" y="4"/>
                  </a:lnTo>
                  <a:lnTo>
                    <a:pt x="26" y="4"/>
                  </a:lnTo>
                  <a:lnTo>
                    <a:pt x="26" y="4"/>
                  </a:lnTo>
                  <a:lnTo>
                    <a:pt x="26" y="4"/>
                  </a:lnTo>
                  <a:lnTo>
                    <a:pt x="26" y="4"/>
                  </a:lnTo>
                  <a:lnTo>
                    <a:pt x="30" y="4"/>
                  </a:lnTo>
                  <a:lnTo>
                    <a:pt x="30" y="4"/>
                  </a:lnTo>
                  <a:lnTo>
                    <a:pt x="30" y="4"/>
                  </a:lnTo>
                  <a:lnTo>
                    <a:pt x="30" y="4"/>
                  </a:lnTo>
                  <a:lnTo>
                    <a:pt x="32" y="4"/>
                  </a:lnTo>
                  <a:lnTo>
                    <a:pt x="32" y="4"/>
                  </a:lnTo>
                  <a:lnTo>
                    <a:pt x="32" y="4"/>
                  </a:lnTo>
                  <a:lnTo>
                    <a:pt x="32" y="4"/>
                  </a:lnTo>
                  <a:lnTo>
                    <a:pt x="36" y="4"/>
                  </a:lnTo>
                  <a:lnTo>
                    <a:pt x="36" y="4"/>
                  </a:lnTo>
                  <a:lnTo>
                    <a:pt x="36" y="4"/>
                  </a:lnTo>
                  <a:lnTo>
                    <a:pt x="36" y="4"/>
                  </a:lnTo>
                  <a:lnTo>
                    <a:pt x="36" y="4"/>
                  </a:lnTo>
                  <a:lnTo>
                    <a:pt x="36" y="4"/>
                  </a:lnTo>
                  <a:lnTo>
                    <a:pt x="36" y="8"/>
                  </a:lnTo>
                  <a:lnTo>
                    <a:pt x="36" y="8"/>
                  </a:lnTo>
                  <a:lnTo>
                    <a:pt x="40" y="8"/>
                  </a:lnTo>
                  <a:lnTo>
                    <a:pt x="40" y="8"/>
                  </a:lnTo>
                  <a:lnTo>
                    <a:pt x="40" y="8"/>
                  </a:lnTo>
                  <a:lnTo>
                    <a:pt x="40" y="8"/>
                  </a:lnTo>
                  <a:lnTo>
                    <a:pt x="40" y="8"/>
                  </a:lnTo>
                  <a:lnTo>
                    <a:pt x="40" y="4"/>
                  </a:lnTo>
                  <a:lnTo>
                    <a:pt x="40" y="4"/>
                  </a:lnTo>
                  <a:lnTo>
                    <a:pt x="40" y="8"/>
                  </a:lnTo>
                  <a:lnTo>
                    <a:pt x="44" y="8"/>
                  </a:lnTo>
                  <a:lnTo>
                    <a:pt x="44" y="12"/>
                  </a:lnTo>
                  <a:lnTo>
                    <a:pt x="44" y="12"/>
                  </a:lnTo>
                  <a:lnTo>
                    <a:pt x="44" y="8"/>
                  </a:lnTo>
                  <a:lnTo>
                    <a:pt x="48" y="8"/>
                  </a:lnTo>
                  <a:lnTo>
                    <a:pt x="48" y="12"/>
                  </a:lnTo>
                  <a:lnTo>
                    <a:pt x="48" y="12"/>
                  </a:lnTo>
                  <a:lnTo>
                    <a:pt x="48" y="12"/>
                  </a:lnTo>
                  <a:lnTo>
                    <a:pt x="52" y="12"/>
                  </a:lnTo>
                  <a:lnTo>
                    <a:pt x="52" y="12"/>
                  </a:lnTo>
                  <a:lnTo>
                    <a:pt x="52" y="12"/>
                  </a:lnTo>
                  <a:lnTo>
                    <a:pt x="52" y="12"/>
                  </a:lnTo>
                  <a:lnTo>
                    <a:pt x="52" y="12"/>
                  </a:lnTo>
                  <a:lnTo>
                    <a:pt x="54" y="12"/>
                  </a:lnTo>
                  <a:lnTo>
                    <a:pt x="54" y="12"/>
                  </a:lnTo>
                  <a:lnTo>
                    <a:pt x="54" y="12"/>
                  </a:lnTo>
                  <a:lnTo>
                    <a:pt x="54" y="8"/>
                  </a:lnTo>
                  <a:lnTo>
                    <a:pt x="52" y="8"/>
                  </a:lnTo>
                  <a:lnTo>
                    <a:pt x="52" y="8"/>
                  </a:lnTo>
                  <a:lnTo>
                    <a:pt x="52" y="4"/>
                  </a:lnTo>
                  <a:lnTo>
                    <a:pt x="54" y="4"/>
                  </a:lnTo>
                  <a:lnTo>
                    <a:pt x="54" y="4"/>
                  </a:lnTo>
                  <a:lnTo>
                    <a:pt x="54" y="4"/>
                  </a:lnTo>
                  <a:lnTo>
                    <a:pt x="54" y="4"/>
                  </a:lnTo>
                  <a:lnTo>
                    <a:pt x="54" y="4"/>
                  </a:lnTo>
                  <a:lnTo>
                    <a:pt x="54" y="4"/>
                  </a:lnTo>
                  <a:lnTo>
                    <a:pt x="54" y="4"/>
                  </a:lnTo>
                  <a:lnTo>
                    <a:pt x="54" y="4"/>
                  </a:lnTo>
                  <a:lnTo>
                    <a:pt x="54" y="4"/>
                  </a:lnTo>
                  <a:lnTo>
                    <a:pt x="54" y="4"/>
                  </a:lnTo>
                  <a:lnTo>
                    <a:pt x="58" y="4"/>
                  </a:lnTo>
                  <a:lnTo>
                    <a:pt x="58" y="4"/>
                  </a:lnTo>
                  <a:lnTo>
                    <a:pt x="58" y="4"/>
                  </a:lnTo>
                  <a:lnTo>
                    <a:pt x="58" y="0"/>
                  </a:lnTo>
                  <a:lnTo>
                    <a:pt x="58" y="0"/>
                  </a:lnTo>
                  <a:lnTo>
                    <a:pt x="62" y="4"/>
                  </a:lnTo>
                  <a:lnTo>
                    <a:pt x="62" y="4"/>
                  </a:lnTo>
                  <a:lnTo>
                    <a:pt x="62" y="4"/>
                  </a:lnTo>
                  <a:lnTo>
                    <a:pt x="62" y="4"/>
                  </a:lnTo>
                  <a:lnTo>
                    <a:pt x="62" y="4"/>
                  </a:lnTo>
                  <a:lnTo>
                    <a:pt x="62" y="4"/>
                  </a:lnTo>
                  <a:lnTo>
                    <a:pt x="62" y="8"/>
                  </a:lnTo>
                  <a:lnTo>
                    <a:pt x="70" y="4"/>
                  </a:lnTo>
                  <a:lnTo>
                    <a:pt x="70" y="4"/>
                  </a:lnTo>
                  <a:lnTo>
                    <a:pt x="70" y="4"/>
                  </a:lnTo>
                  <a:lnTo>
                    <a:pt x="70" y="4"/>
                  </a:lnTo>
                  <a:lnTo>
                    <a:pt x="70" y="0"/>
                  </a:lnTo>
                  <a:lnTo>
                    <a:pt x="74" y="0"/>
                  </a:lnTo>
                  <a:lnTo>
                    <a:pt x="74" y="0"/>
                  </a:lnTo>
                  <a:lnTo>
                    <a:pt x="74" y="0"/>
                  </a:lnTo>
                  <a:lnTo>
                    <a:pt x="74" y="0"/>
                  </a:lnTo>
                  <a:lnTo>
                    <a:pt x="74" y="0"/>
                  </a:lnTo>
                  <a:lnTo>
                    <a:pt x="74" y="4"/>
                  </a:lnTo>
                  <a:lnTo>
                    <a:pt x="74" y="4"/>
                  </a:lnTo>
                  <a:lnTo>
                    <a:pt x="74" y="4"/>
                  </a:lnTo>
                  <a:lnTo>
                    <a:pt x="74" y="4"/>
                  </a:lnTo>
                  <a:lnTo>
                    <a:pt x="74" y="4"/>
                  </a:lnTo>
                  <a:lnTo>
                    <a:pt x="70" y="4"/>
                  </a:lnTo>
                  <a:lnTo>
                    <a:pt x="74" y="8"/>
                  </a:lnTo>
                  <a:lnTo>
                    <a:pt x="74" y="8"/>
                  </a:lnTo>
                  <a:lnTo>
                    <a:pt x="70" y="8"/>
                  </a:lnTo>
                  <a:lnTo>
                    <a:pt x="70" y="8"/>
                  </a:lnTo>
                  <a:lnTo>
                    <a:pt x="70" y="12"/>
                  </a:lnTo>
                  <a:lnTo>
                    <a:pt x="74" y="12"/>
                  </a:lnTo>
                  <a:lnTo>
                    <a:pt x="74" y="12"/>
                  </a:lnTo>
                  <a:lnTo>
                    <a:pt x="74" y="16"/>
                  </a:lnTo>
                  <a:lnTo>
                    <a:pt x="74" y="16"/>
                  </a:lnTo>
                  <a:lnTo>
                    <a:pt x="74" y="20"/>
                  </a:lnTo>
                  <a:lnTo>
                    <a:pt x="74" y="20"/>
                  </a:lnTo>
                  <a:lnTo>
                    <a:pt x="74" y="22"/>
                  </a:lnTo>
                  <a:lnTo>
                    <a:pt x="74" y="22"/>
                  </a:lnTo>
                  <a:lnTo>
                    <a:pt x="74" y="30"/>
                  </a:lnTo>
                  <a:lnTo>
                    <a:pt x="74" y="30"/>
                  </a:lnTo>
                  <a:lnTo>
                    <a:pt x="74" y="30"/>
                  </a:lnTo>
                  <a:lnTo>
                    <a:pt x="74" y="30"/>
                  </a:lnTo>
                  <a:lnTo>
                    <a:pt x="74" y="34"/>
                  </a:lnTo>
                  <a:lnTo>
                    <a:pt x="74" y="38"/>
                  </a:lnTo>
                  <a:lnTo>
                    <a:pt x="74" y="38"/>
                  </a:lnTo>
                  <a:lnTo>
                    <a:pt x="74" y="42"/>
                  </a:lnTo>
                  <a:lnTo>
                    <a:pt x="74" y="42"/>
                  </a:lnTo>
                  <a:lnTo>
                    <a:pt x="74" y="42"/>
                  </a:lnTo>
                  <a:lnTo>
                    <a:pt x="74" y="42"/>
                  </a:lnTo>
                  <a:lnTo>
                    <a:pt x="74" y="42"/>
                  </a:lnTo>
                  <a:lnTo>
                    <a:pt x="70" y="42"/>
                  </a:lnTo>
                  <a:lnTo>
                    <a:pt x="70" y="42"/>
                  </a:lnTo>
                  <a:lnTo>
                    <a:pt x="70" y="42"/>
                  </a:lnTo>
                  <a:lnTo>
                    <a:pt x="70" y="42"/>
                  </a:lnTo>
                  <a:lnTo>
                    <a:pt x="70" y="42"/>
                  </a:lnTo>
                  <a:lnTo>
                    <a:pt x="70" y="42"/>
                  </a:lnTo>
                  <a:lnTo>
                    <a:pt x="66" y="42"/>
                  </a:lnTo>
                  <a:lnTo>
                    <a:pt x="66" y="44"/>
                  </a:lnTo>
                  <a:lnTo>
                    <a:pt x="66" y="44"/>
                  </a:lnTo>
                  <a:lnTo>
                    <a:pt x="66" y="44"/>
                  </a:lnTo>
                  <a:lnTo>
                    <a:pt x="66" y="44"/>
                  </a:lnTo>
                  <a:lnTo>
                    <a:pt x="66" y="44"/>
                  </a:lnTo>
                  <a:lnTo>
                    <a:pt x="66" y="44"/>
                  </a:lnTo>
                  <a:lnTo>
                    <a:pt x="62" y="44"/>
                  </a:lnTo>
                  <a:lnTo>
                    <a:pt x="62" y="44"/>
                  </a:lnTo>
                  <a:lnTo>
                    <a:pt x="62" y="44"/>
                  </a:lnTo>
                  <a:lnTo>
                    <a:pt x="62" y="48"/>
                  </a:lnTo>
                  <a:lnTo>
                    <a:pt x="62" y="44"/>
                  </a:lnTo>
                  <a:lnTo>
                    <a:pt x="58" y="44"/>
                  </a:lnTo>
                  <a:lnTo>
                    <a:pt x="58" y="44"/>
                  </a:lnTo>
                  <a:lnTo>
                    <a:pt x="58" y="44"/>
                  </a:lnTo>
                  <a:lnTo>
                    <a:pt x="58" y="48"/>
                  </a:lnTo>
                  <a:lnTo>
                    <a:pt x="58" y="48"/>
                  </a:lnTo>
                  <a:lnTo>
                    <a:pt x="58" y="48"/>
                  </a:lnTo>
                  <a:lnTo>
                    <a:pt x="58" y="52"/>
                  </a:lnTo>
                  <a:lnTo>
                    <a:pt x="58" y="52"/>
                  </a:lnTo>
                  <a:lnTo>
                    <a:pt x="58" y="52"/>
                  </a:lnTo>
                  <a:lnTo>
                    <a:pt x="54" y="52"/>
                  </a:lnTo>
                  <a:lnTo>
                    <a:pt x="54" y="52"/>
                  </a:lnTo>
                  <a:lnTo>
                    <a:pt x="54" y="48"/>
                  </a:lnTo>
                  <a:lnTo>
                    <a:pt x="52" y="48"/>
                  </a:lnTo>
                  <a:lnTo>
                    <a:pt x="52" y="48"/>
                  </a:lnTo>
                  <a:lnTo>
                    <a:pt x="52" y="52"/>
                  </a:lnTo>
                  <a:lnTo>
                    <a:pt x="52" y="52"/>
                  </a:lnTo>
                  <a:lnTo>
                    <a:pt x="52" y="52"/>
                  </a:lnTo>
                  <a:lnTo>
                    <a:pt x="52" y="52"/>
                  </a:lnTo>
                  <a:lnTo>
                    <a:pt x="52" y="52"/>
                  </a:lnTo>
                  <a:lnTo>
                    <a:pt x="52" y="52"/>
                  </a:lnTo>
                  <a:lnTo>
                    <a:pt x="52" y="52"/>
                  </a:lnTo>
                  <a:lnTo>
                    <a:pt x="52" y="52"/>
                  </a:lnTo>
                  <a:lnTo>
                    <a:pt x="52" y="52"/>
                  </a:lnTo>
                  <a:lnTo>
                    <a:pt x="52" y="56"/>
                  </a:lnTo>
                  <a:lnTo>
                    <a:pt x="52" y="56"/>
                  </a:lnTo>
                  <a:lnTo>
                    <a:pt x="52" y="60"/>
                  </a:lnTo>
                  <a:lnTo>
                    <a:pt x="52" y="60"/>
                  </a:lnTo>
                  <a:lnTo>
                    <a:pt x="52" y="60"/>
                  </a:lnTo>
                  <a:lnTo>
                    <a:pt x="54" y="64"/>
                  </a:lnTo>
                  <a:lnTo>
                    <a:pt x="54" y="64"/>
                  </a:lnTo>
                  <a:lnTo>
                    <a:pt x="54" y="64"/>
                  </a:lnTo>
                  <a:lnTo>
                    <a:pt x="54" y="64"/>
                  </a:lnTo>
                  <a:lnTo>
                    <a:pt x="54" y="64"/>
                  </a:lnTo>
                  <a:lnTo>
                    <a:pt x="54" y="64"/>
                  </a:lnTo>
                  <a:lnTo>
                    <a:pt x="54" y="64"/>
                  </a:lnTo>
                  <a:lnTo>
                    <a:pt x="54" y="64"/>
                  </a:lnTo>
                  <a:lnTo>
                    <a:pt x="54" y="68"/>
                  </a:lnTo>
                  <a:lnTo>
                    <a:pt x="54" y="68"/>
                  </a:lnTo>
                  <a:lnTo>
                    <a:pt x="54" y="68"/>
                  </a:lnTo>
                  <a:lnTo>
                    <a:pt x="52" y="64"/>
                  </a:lnTo>
                  <a:lnTo>
                    <a:pt x="52" y="64"/>
                  </a:lnTo>
                  <a:lnTo>
                    <a:pt x="48" y="64"/>
                  </a:lnTo>
                  <a:lnTo>
                    <a:pt x="48" y="64"/>
                  </a:lnTo>
                  <a:lnTo>
                    <a:pt x="48" y="64"/>
                  </a:lnTo>
                  <a:lnTo>
                    <a:pt x="48" y="64"/>
                  </a:lnTo>
                  <a:lnTo>
                    <a:pt x="48" y="64"/>
                  </a:lnTo>
                  <a:lnTo>
                    <a:pt x="48" y="64"/>
                  </a:lnTo>
                  <a:lnTo>
                    <a:pt x="48" y="64"/>
                  </a:lnTo>
                  <a:lnTo>
                    <a:pt x="44" y="64"/>
                  </a:lnTo>
                  <a:lnTo>
                    <a:pt x="44" y="64"/>
                  </a:lnTo>
                  <a:lnTo>
                    <a:pt x="44" y="64"/>
                  </a:lnTo>
                  <a:lnTo>
                    <a:pt x="44" y="64"/>
                  </a:lnTo>
                  <a:lnTo>
                    <a:pt x="44" y="68"/>
                  </a:lnTo>
                  <a:lnTo>
                    <a:pt x="44" y="68"/>
                  </a:lnTo>
                  <a:lnTo>
                    <a:pt x="40" y="64"/>
                  </a:lnTo>
                  <a:lnTo>
                    <a:pt x="40" y="64"/>
                  </a:lnTo>
                  <a:lnTo>
                    <a:pt x="40" y="64"/>
                  </a:lnTo>
                  <a:lnTo>
                    <a:pt x="40" y="64"/>
                  </a:lnTo>
                  <a:lnTo>
                    <a:pt x="40" y="6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31" name="Freeform 24"/>
            <p:cNvSpPr>
              <a:spLocks noEditPoints="1"/>
            </p:cNvSpPr>
            <p:nvPr/>
          </p:nvSpPr>
          <p:spPr bwMode="auto">
            <a:xfrm>
              <a:off x="7693385" y="3515805"/>
              <a:ext cx="542575" cy="440656"/>
            </a:xfrm>
            <a:custGeom>
              <a:avLst/>
              <a:gdLst>
                <a:gd name="T0" fmla="*/ 356 w 864"/>
                <a:gd name="T1" fmla="*/ 518 h 674"/>
                <a:gd name="T2" fmla="*/ 328 w 864"/>
                <a:gd name="T3" fmla="*/ 484 h 674"/>
                <a:gd name="T4" fmla="*/ 282 w 864"/>
                <a:gd name="T5" fmla="*/ 484 h 674"/>
                <a:gd name="T6" fmla="*/ 226 w 864"/>
                <a:gd name="T7" fmla="*/ 496 h 674"/>
                <a:gd name="T8" fmla="*/ 182 w 864"/>
                <a:gd name="T9" fmla="*/ 500 h 674"/>
                <a:gd name="T10" fmla="*/ 136 w 864"/>
                <a:gd name="T11" fmla="*/ 470 h 674"/>
                <a:gd name="T12" fmla="*/ 84 w 864"/>
                <a:gd name="T13" fmla="*/ 444 h 674"/>
                <a:gd name="T14" fmla="*/ 76 w 864"/>
                <a:gd name="T15" fmla="*/ 402 h 674"/>
                <a:gd name="T16" fmla="*/ 44 w 864"/>
                <a:gd name="T17" fmla="*/ 354 h 674"/>
                <a:gd name="T18" fmla="*/ 20 w 864"/>
                <a:gd name="T19" fmla="*/ 316 h 674"/>
                <a:gd name="T20" fmla="*/ 18 w 864"/>
                <a:gd name="T21" fmla="*/ 268 h 674"/>
                <a:gd name="T22" fmla="*/ 74 w 864"/>
                <a:gd name="T23" fmla="*/ 242 h 674"/>
                <a:gd name="T24" fmla="*/ 96 w 864"/>
                <a:gd name="T25" fmla="*/ 194 h 674"/>
                <a:gd name="T26" fmla="*/ 122 w 864"/>
                <a:gd name="T27" fmla="*/ 164 h 674"/>
                <a:gd name="T28" fmla="*/ 170 w 864"/>
                <a:gd name="T29" fmla="*/ 120 h 674"/>
                <a:gd name="T30" fmla="*/ 218 w 864"/>
                <a:gd name="T31" fmla="*/ 112 h 674"/>
                <a:gd name="T32" fmla="*/ 242 w 864"/>
                <a:gd name="T33" fmla="*/ 168 h 674"/>
                <a:gd name="T34" fmla="*/ 312 w 864"/>
                <a:gd name="T35" fmla="*/ 198 h 674"/>
                <a:gd name="T36" fmla="*/ 386 w 864"/>
                <a:gd name="T37" fmla="*/ 220 h 674"/>
                <a:gd name="T38" fmla="*/ 476 w 864"/>
                <a:gd name="T39" fmla="*/ 228 h 674"/>
                <a:gd name="T40" fmla="*/ 542 w 864"/>
                <a:gd name="T41" fmla="*/ 198 h 674"/>
                <a:gd name="T42" fmla="*/ 600 w 864"/>
                <a:gd name="T43" fmla="*/ 164 h 674"/>
                <a:gd name="T44" fmla="*/ 656 w 864"/>
                <a:gd name="T45" fmla="*/ 138 h 674"/>
                <a:gd name="T46" fmla="*/ 600 w 864"/>
                <a:gd name="T47" fmla="*/ 108 h 674"/>
                <a:gd name="T48" fmla="*/ 648 w 864"/>
                <a:gd name="T49" fmla="*/ 64 h 674"/>
                <a:gd name="T50" fmla="*/ 676 w 864"/>
                <a:gd name="T51" fmla="*/ 4 h 674"/>
                <a:gd name="T52" fmla="*/ 744 w 864"/>
                <a:gd name="T53" fmla="*/ 18 h 674"/>
                <a:gd name="T54" fmla="*/ 762 w 864"/>
                <a:gd name="T55" fmla="*/ 78 h 674"/>
                <a:gd name="T56" fmla="*/ 814 w 864"/>
                <a:gd name="T57" fmla="*/ 120 h 674"/>
                <a:gd name="T58" fmla="*/ 856 w 864"/>
                <a:gd name="T59" fmla="*/ 138 h 674"/>
                <a:gd name="T60" fmla="*/ 814 w 864"/>
                <a:gd name="T61" fmla="*/ 180 h 674"/>
                <a:gd name="T62" fmla="*/ 796 w 864"/>
                <a:gd name="T63" fmla="*/ 220 h 674"/>
                <a:gd name="T64" fmla="*/ 748 w 864"/>
                <a:gd name="T65" fmla="*/ 242 h 674"/>
                <a:gd name="T66" fmla="*/ 696 w 864"/>
                <a:gd name="T67" fmla="*/ 284 h 674"/>
                <a:gd name="T68" fmla="*/ 688 w 864"/>
                <a:gd name="T69" fmla="*/ 268 h 674"/>
                <a:gd name="T70" fmla="*/ 628 w 864"/>
                <a:gd name="T71" fmla="*/ 286 h 674"/>
                <a:gd name="T72" fmla="*/ 662 w 864"/>
                <a:gd name="T73" fmla="*/ 320 h 674"/>
                <a:gd name="T74" fmla="*/ 666 w 864"/>
                <a:gd name="T75" fmla="*/ 340 h 674"/>
                <a:gd name="T76" fmla="*/ 662 w 864"/>
                <a:gd name="T77" fmla="*/ 384 h 674"/>
                <a:gd name="T78" fmla="*/ 662 w 864"/>
                <a:gd name="T79" fmla="*/ 424 h 674"/>
                <a:gd name="T80" fmla="*/ 676 w 864"/>
                <a:gd name="T81" fmla="*/ 448 h 674"/>
                <a:gd name="T82" fmla="*/ 680 w 864"/>
                <a:gd name="T83" fmla="*/ 470 h 674"/>
                <a:gd name="T84" fmla="*/ 670 w 864"/>
                <a:gd name="T85" fmla="*/ 496 h 674"/>
                <a:gd name="T86" fmla="*/ 658 w 864"/>
                <a:gd name="T87" fmla="*/ 522 h 674"/>
                <a:gd name="T88" fmla="*/ 648 w 864"/>
                <a:gd name="T89" fmla="*/ 540 h 674"/>
                <a:gd name="T90" fmla="*/ 626 w 864"/>
                <a:gd name="T91" fmla="*/ 564 h 674"/>
                <a:gd name="T92" fmla="*/ 588 w 864"/>
                <a:gd name="T93" fmla="*/ 592 h 674"/>
                <a:gd name="T94" fmla="*/ 562 w 864"/>
                <a:gd name="T95" fmla="*/ 592 h 674"/>
                <a:gd name="T96" fmla="*/ 536 w 864"/>
                <a:gd name="T97" fmla="*/ 616 h 674"/>
                <a:gd name="T98" fmla="*/ 514 w 864"/>
                <a:gd name="T99" fmla="*/ 620 h 674"/>
                <a:gd name="T100" fmla="*/ 486 w 864"/>
                <a:gd name="T101" fmla="*/ 616 h 674"/>
                <a:gd name="T102" fmla="*/ 430 w 864"/>
                <a:gd name="T103" fmla="*/ 592 h 674"/>
                <a:gd name="T104" fmla="*/ 402 w 864"/>
                <a:gd name="T105" fmla="*/ 620 h 674"/>
                <a:gd name="T106" fmla="*/ 364 w 864"/>
                <a:gd name="T107" fmla="*/ 586 h 674"/>
                <a:gd name="T108" fmla="*/ 670 w 864"/>
                <a:gd name="T109" fmla="*/ 556 h 674"/>
                <a:gd name="T110" fmla="*/ 670 w 864"/>
                <a:gd name="T111" fmla="*/ 600 h 674"/>
                <a:gd name="T112" fmla="*/ 498 w 864"/>
                <a:gd name="T113" fmla="*/ 662 h 674"/>
                <a:gd name="T114" fmla="*/ 524 w 864"/>
                <a:gd name="T115" fmla="*/ 656 h 674"/>
                <a:gd name="T116" fmla="*/ 684 w 864"/>
                <a:gd name="T117" fmla="*/ 458 h 674"/>
                <a:gd name="T118" fmla="*/ 520 w 864"/>
                <a:gd name="T119" fmla="*/ 622 h 674"/>
                <a:gd name="T120" fmla="*/ 566 w 864"/>
                <a:gd name="T121" fmla="*/ 590 h 674"/>
                <a:gd name="T122" fmla="*/ 628 w 864"/>
                <a:gd name="T123" fmla="*/ 564 h 674"/>
                <a:gd name="T124" fmla="*/ 576 w 864"/>
                <a:gd name="T125" fmla="*/ 604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4" h="674">
                  <a:moveTo>
                    <a:pt x="342" y="574"/>
                  </a:moveTo>
                  <a:lnTo>
                    <a:pt x="342" y="570"/>
                  </a:lnTo>
                  <a:lnTo>
                    <a:pt x="338" y="570"/>
                  </a:lnTo>
                  <a:lnTo>
                    <a:pt x="342" y="570"/>
                  </a:lnTo>
                  <a:lnTo>
                    <a:pt x="342" y="566"/>
                  </a:lnTo>
                  <a:lnTo>
                    <a:pt x="342" y="564"/>
                  </a:lnTo>
                  <a:lnTo>
                    <a:pt x="338" y="564"/>
                  </a:lnTo>
                  <a:lnTo>
                    <a:pt x="338" y="560"/>
                  </a:lnTo>
                  <a:lnTo>
                    <a:pt x="338" y="556"/>
                  </a:lnTo>
                  <a:lnTo>
                    <a:pt x="342" y="556"/>
                  </a:lnTo>
                  <a:lnTo>
                    <a:pt x="342" y="552"/>
                  </a:lnTo>
                  <a:lnTo>
                    <a:pt x="342" y="548"/>
                  </a:lnTo>
                  <a:lnTo>
                    <a:pt x="346" y="548"/>
                  </a:lnTo>
                  <a:lnTo>
                    <a:pt x="346" y="544"/>
                  </a:lnTo>
                  <a:lnTo>
                    <a:pt x="348" y="540"/>
                  </a:lnTo>
                  <a:lnTo>
                    <a:pt x="352" y="540"/>
                  </a:lnTo>
                  <a:lnTo>
                    <a:pt x="352" y="536"/>
                  </a:lnTo>
                  <a:lnTo>
                    <a:pt x="356" y="536"/>
                  </a:lnTo>
                  <a:lnTo>
                    <a:pt x="352" y="536"/>
                  </a:lnTo>
                  <a:lnTo>
                    <a:pt x="352" y="534"/>
                  </a:lnTo>
                  <a:lnTo>
                    <a:pt x="356" y="534"/>
                  </a:lnTo>
                  <a:lnTo>
                    <a:pt x="356" y="530"/>
                  </a:lnTo>
                  <a:lnTo>
                    <a:pt x="356" y="526"/>
                  </a:lnTo>
                  <a:lnTo>
                    <a:pt x="356" y="522"/>
                  </a:lnTo>
                  <a:lnTo>
                    <a:pt x="356" y="518"/>
                  </a:lnTo>
                  <a:lnTo>
                    <a:pt x="356" y="514"/>
                  </a:lnTo>
                  <a:lnTo>
                    <a:pt x="356" y="510"/>
                  </a:lnTo>
                  <a:lnTo>
                    <a:pt x="356" y="508"/>
                  </a:lnTo>
                  <a:lnTo>
                    <a:pt x="352" y="508"/>
                  </a:lnTo>
                  <a:lnTo>
                    <a:pt x="352" y="504"/>
                  </a:lnTo>
                  <a:lnTo>
                    <a:pt x="352" y="508"/>
                  </a:lnTo>
                  <a:lnTo>
                    <a:pt x="348" y="508"/>
                  </a:lnTo>
                  <a:lnTo>
                    <a:pt x="348" y="504"/>
                  </a:lnTo>
                  <a:lnTo>
                    <a:pt x="348" y="500"/>
                  </a:lnTo>
                  <a:lnTo>
                    <a:pt x="346" y="500"/>
                  </a:lnTo>
                  <a:lnTo>
                    <a:pt x="346" y="496"/>
                  </a:lnTo>
                  <a:lnTo>
                    <a:pt x="346" y="492"/>
                  </a:lnTo>
                  <a:lnTo>
                    <a:pt x="342" y="492"/>
                  </a:lnTo>
                  <a:lnTo>
                    <a:pt x="342" y="488"/>
                  </a:lnTo>
                  <a:lnTo>
                    <a:pt x="338" y="488"/>
                  </a:lnTo>
                  <a:lnTo>
                    <a:pt x="338" y="492"/>
                  </a:lnTo>
                  <a:lnTo>
                    <a:pt x="334" y="492"/>
                  </a:lnTo>
                  <a:lnTo>
                    <a:pt x="334" y="496"/>
                  </a:lnTo>
                  <a:lnTo>
                    <a:pt x="334" y="492"/>
                  </a:lnTo>
                  <a:lnTo>
                    <a:pt x="330" y="492"/>
                  </a:lnTo>
                  <a:lnTo>
                    <a:pt x="328" y="492"/>
                  </a:lnTo>
                  <a:lnTo>
                    <a:pt x="328" y="488"/>
                  </a:lnTo>
                  <a:lnTo>
                    <a:pt x="324" y="492"/>
                  </a:lnTo>
                  <a:lnTo>
                    <a:pt x="324" y="488"/>
                  </a:lnTo>
                  <a:lnTo>
                    <a:pt x="328" y="484"/>
                  </a:lnTo>
                  <a:lnTo>
                    <a:pt x="324" y="480"/>
                  </a:lnTo>
                  <a:lnTo>
                    <a:pt x="324" y="478"/>
                  </a:lnTo>
                  <a:lnTo>
                    <a:pt x="324" y="480"/>
                  </a:lnTo>
                  <a:lnTo>
                    <a:pt x="320" y="480"/>
                  </a:lnTo>
                  <a:lnTo>
                    <a:pt x="320" y="478"/>
                  </a:lnTo>
                  <a:lnTo>
                    <a:pt x="324" y="478"/>
                  </a:lnTo>
                  <a:lnTo>
                    <a:pt x="324" y="474"/>
                  </a:lnTo>
                  <a:lnTo>
                    <a:pt x="320" y="478"/>
                  </a:lnTo>
                  <a:lnTo>
                    <a:pt x="320" y="474"/>
                  </a:lnTo>
                  <a:lnTo>
                    <a:pt x="320" y="470"/>
                  </a:lnTo>
                  <a:lnTo>
                    <a:pt x="316" y="474"/>
                  </a:lnTo>
                  <a:lnTo>
                    <a:pt x="312" y="474"/>
                  </a:lnTo>
                  <a:lnTo>
                    <a:pt x="312" y="478"/>
                  </a:lnTo>
                  <a:lnTo>
                    <a:pt x="308" y="478"/>
                  </a:lnTo>
                  <a:lnTo>
                    <a:pt x="308" y="480"/>
                  </a:lnTo>
                  <a:lnTo>
                    <a:pt x="304" y="478"/>
                  </a:lnTo>
                  <a:lnTo>
                    <a:pt x="302" y="478"/>
                  </a:lnTo>
                  <a:lnTo>
                    <a:pt x="302" y="474"/>
                  </a:lnTo>
                  <a:lnTo>
                    <a:pt x="298" y="474"/>
                  </a:lnTo>
                  <a:lnTo>
                    <a:pt x="298" y="478"/>
                  </a:lnTo>
                  <a:lnTo>
                    <a:pt x="294" y="478"/>
                  </a:lnTo>
                  <a:lnTo>
                    <a:pt x="290" y="480"/>
                  </a:lnTo>
                  <a:lnTo>
                    <a:pt x="290" y="484"/>
                  </a:lnTo>
                  <a:lnTo>
                    <a:pt x="286" y="484"/>
                  </a:lnTo>
                  <a:lnTo>
                    <a:pt x="282" y="484"/>
                  </a:lnTo>
                  <a:lnTo>
                    <a:pt x="278" y="488"/>
                  </a:lnTo>
                  <a:lnTo>
                    <a:pt x="278" y="492"/>
                  </a:lnTo>
                  <a:lnTo>
                    <a:pt x="274" y="492"/>
                  </a:lnTo>
                  <a:lnTo>
                    <a:pt x="272" y="496"/>
                  </a:lnTo>
                  <a:lnTo>
                    <a:pt x="272" y="500"/>
                  </a:lnTo>
                  <a:lnTo>
                    <a:pt x="268" y="500"/>
                  </a:lnTo>
                  <a:lnTo>
                    <a:pt x="264" y="504"/>
                  </a:lnTo>
                  <a:lnTo>
                    <a:pt x="264" y="500"/>
                  </a:lnTo>
                  <a:lnTo>
                    <a:pt x="264" y="504"/>
                  </a:lnTo>
                  <a:lnTo>
                    <a:pt x="260" y="504"/>
                  </a:lnTo>
                  <a:lnTo>
                    <a:pt x="256" y="504"/>
                  </a:lnTo>
                  <a:lnTo>
                    <a:pt x="256" y="500"/>
                  </a:lnTo>
                  <a:lnTo>
                    <a:pt x="252" y="500"/>
                  </a:lnTo>
                  <a:lnTo>
                    <a:pt x="252" y="496"/>
                  </a:lnTo>
                  <a:lnTo>
                    <a:pt x="248" y="496"/>
                  </a:lnTo>
                  <a:lnTo>
                    <a:pt x="248" y="500"/>
                  </a:lnTo>
                  <a:lnTo>
                    <a:pt x="246" y="500"/>
                  </a:lnTo>
                  <a:lnTo>
                    <a:pt x="246" y="496"/>
                  </a:lnTo>
                  <a:lnTo>
                    <a:pt x="242" y="496"/>
                  </a:lnTo>
                  <a:lnTo>
                    <a:pt x="238" y="496"/>
                  </a:lnTo>
                  <a:lnTo>
                    <a:pt x="238" y="492"/>
                  </a:lnTo>
                  <a:lnTo>
                    <a:pt x="234" y="492"/>
                  </a:lnTo>
                  <a:lnTo>
                    <a:pt x="230" y="492"/>
                  </a:lnTo>
                  <a:lnTo>
                    <a:pt x="230" y="496"/>
                  </a:lnTo>
                  <a:lnTo>
                    <a:pt x="226" y="496"/>
                  </a:lnTo>
                  <a:lnTo>
                    <a:pt x="222" y="500"/>
                  </a:lnTo>
                  <a:lnTo>
                    <a:pt x="222" y="504"/>
                  </a:lnTo>
                  <a:lnTo>
                    <a:pt x="218" y="504"/>
                  </a:lnTo>
                  <a:lnTo>
                    <a:pt x="218" y="508"/>
                  </a:lnTo>
                  <a:lnTo>
                    <a:pt x="218" y="510"/>
                  </a:lnTo>
                  <a:lnTo>
                    <a:pt x="216" y="510"/>
                  </a:lnTo>
                  <a:lnTo>
                    <a:pt x="216" y="508"/>
                  </a:lnTo>
                  <a:lnTo>
                    <a:pt x="216" y="504"/>
                  </a:lnTo>
                  <a:lnTo>
                    <a:pt x="216" y="500"/>
                  </a:lnTo>
                  <a:lnTo>
                    <a:pt x="216" y="496"/>
                  </a:lnTo>
                  <a:lnTo>
                    <a:pt x="212" y="496"/>
                  </a:lnTo>
                  <a:lnTo>
                    <a:pt x="208" y="500"/>
                  </a:lnTo>
                  <a:lnTo>
                    <a:pt x="204" y="500"/>
                  </a:lnTo>
                  <a:lnTo>
                    <a:pt x="200" y="500"/>
                  </a:lnTo>
                  <a:lnTo>
                    <a:pt x="200" y="504"/>
                  </a:lnTo>
                  <a:lnTo>
                    <a:pt x="200" y="500"/>
                  </a:lnTo>
                  <a:lnTo>
                    <a:pt x="200" y="504"/>
                  </a:lnTo>
                  <a:lnTo>
                    <a:pt x="196" y="504"/>
                  </a:lnTo>
                  <a:lnTo>
                    <a:pt x="196" y="500"/>
                  </a:lnTo>
                  <a:lnTo>
                    <a:pt x="192" y="500"/>
                  </a:lnTo>
                  <a:lnTo>
                    <a:pt x="192" y="504"/>
                  </a:lnTo>
                  <a:lnTo>
                    <a:pt x="192" y="500"/>
                  </a:lnTo>
                  <a:lnTo>
                    <a:pt x="188" y="500"/>
                  </a:lnTo>
                  <a:lnTo>
                    <a:pt x="186" y="496"/>
                  </a:lnTo>
                  <a:lnTo>
                    <a:pt x="182" y="500"/>
                  </a:lnTo>
                  <a:lnTo>
                    <a:pt x="178" y="500"/>
                  </a:lnTo>
                  <a:lnTo>
                    <a:pt x="178" y="496"/>
                  </a:lnTo>
                  <a:lnTo>
                    <a:pt x="178" y="500"/>
                  </a:lnTo>
                  <a:lnTo>
                    <a:pt x="174" y="500"/>
                  </a:lnTo>
                  <a:lnTo>
                    <a:pt x="174" y="496"/>
                  </a:lnTo>
                  <a:lnTo>
                    <a:pt x="170" y="492"/>
                  </a:lnTo>
                  <a:lnTo>
                    <a:pt x="166" y="492"/>
                  </a:lnTo>
                  <a:lnTo>
                    <a:pt x="162" y="492"/>
                  </a:lnTo>
                  <a:lnTo>
                    <a:pt x="162" y="488"/>
                  </a:lnTo>
                  <a:lnTo>
                    <a:pt x="162" y="484"/>
                  </a:lnTo>
                  <a:lnTo>
                    <a:pt x="162" y="488"/>
                  </a:lnTo>
                  <a:lnTo>
                    <a:pt x="160" y="488"/>
                  </a:lnTo>
                  <a:lnTo>
                    <a:pt x="156" y="488"/>
                  </a:lnTo>
                  <a:lnTo>
                    <a:pt x="156" y="484"/>
                  </a:lnTo>
                  <a:lnTo>
                    <a:pt x="152" y="484"/>
                  </a:lnTo>
                  <a:lnTo>
                    <a:pt x="152" y="480"/>
                  </a:lnTo>
                  <a:lnTo>
                    <a:pt x="152" y="478"/>
                  </a:lnTo>
                  <a:lnTo>
                    <a:pt x="148" y="478"/>
                  </a:lnTo>
                  <a:lnTo>
                    <a:pt x="148" y="474"/>
                  </a:lnTo>
                  <a:lnTo>
                    <a:pt x="144" y="474"/>
                  </a:lnTo>
                  <a:lnTo>
                    <a:pt x="144" y="478"/>
                  </a:lnTo>
                  <a:lnTo>
                    <a:pt x="140" y="478"/>
                  </a:lnTo>
                  <a:lnTo>
                    <a:pt x="140" y="474"/>
                  </a:lnTo>
                  <a:lnTo>
                    <a:pt x="136" y="474"/>
                  </a:lnTo>
                  <a:lnTo>
                    <a:pt x="136" y="470"/>
                  </a:lnTo>
                  <a:lnTo>
                    <a:pt x="132" y="470"/>
                  </a:lnTo>
                  <a:lnTo>
                    <a:pt x="132" y="466"/>
                  </a:lnTo>
                  <a:lnTo>
                    <a:pt x="130" y="466"/>
                  </a:lnTo>
                  <a:lnTo>
                    <a:pt x="126" y="462"/>
                  </a:lnTo>
                  <a:lnTo>
                    <a:pt x="122" y="458"/>
                  </a:lnTo>
                  <a:lnTo>
                    <a:pt x="122" y="462"/>
                  </a:lnTo>
                  <a:lnTo>
                    <a:pt x="122" y="458"/>
                  </a:lnTo>
                  <a:lnTo>
                    <a:pt x="122" y="454"/>
                  </a:lnTo>
                  <a:lnTo>
                    <a:pt x="118" y="454"/>
                  </a:lnTo>
                  <a:lnTo>
                    <a:pt x="114" y="454"/>
                  </a:lnTo>
                  <a:lnTo>
                    <a:pt x="110" y="454"/>
                  </a:lnTo>
                  <a:lnTo>
                    <a:pt x="110" y="458"/>
                  </a:lnTo>
                  <a:lnTo>
                    <a:pt x="106" y="462"/>
                  </a:lnTo>
                  <a:lnTo>
                    <a:pt x="106" y="458"/>
                  </a:lnTo>
                  <a:lnTo>
                    <a:pt x="104" y="458"/>
                  </a:lnTo>
                  <a:lnTo>
                    <a:pt x="106" y="458"/>
                  </a:lnTo>
                  <a:lnTo>
                    <a:pt x="104" y="458"/>
                  </a:lnTo>
                  <a:lnTo>
                    <a:pt x="104" y="454"/>
                  </a:lnTo>
                  <a:lnTo>
                    <a:pt x="100" y="454"/>
                  </a:lnTo>
                  <a:lnTo>
                    <a:pt x="96" y="452"/>
                  </a:lnTo>
                  <a:lnTo>
                    <a:pt x="92" y="452"/>
                  </a:lnTo>
                  <a:lnTo>
                    <a:pt x="96" y="448"/>
                  </a:lnTo>
                  <a:lnTo>
                    <a:pt x="92" y="448"/>
                  </a:lnTo>
                  <a:lnTo>
                    <a:pt x="88" y="444"/>
                  </a:lnTo>
                  <a:lnTo>
                    <a:pt x="84" y="444"/>
                  </a:lnTo>
                  <a:lnTo>
                    <a:pt x="80" y="444"/>
                  </a:lnTo>
                  <a:lnTo>
                    <a:pt x="80" y="440"/>
                  </a:lnTo>
                  <a:lnTo>
                    <a:pt x="80" y="436"/>
                  </a:lnTo>
                  <a:lnTo>
                    <a:pt x="76" y="436"/>
                  </a:lnTo>
                  <a:lnTo>
                    <a:pt x="74" y="436"/>
                  </a:lnTo>
                  <a:lnTo>
                    <a:pt x="74" y="440"/>
                  </a:lnTo>
                  <a:lnTo>
                    <a:pt x="74" y="436"/>
                  </a:lnTo>
                  <a:lnTo>
                    <a:pt x="74" y="432"/>
                  </a:lnTo>
                  <a:lnTo>
                    <a:pt x="74" y="428"/>
                  </a:lnTo>
                  <a:lnTo>
                    <a:pt x="74" y="424"/>
                  </a:lnTo>
                  <a:lnTo>
                    <a:pt x="70" y="424"/>
                  </a:lnTo>
                  <a:lnTo>
                    <a:pt x="70" y="422"/>
                  </a:lnTo>
                  <a:lnTo>
                    <a:pt x="70" y="418"/>
                  </a:lnTo>
                  <a:lnTo>
                    <a:pt x="70" y="414"/>
                  </a:lnTo>
                  <a:lnTo>
                    <a:pt x="74" y="414"/>
                  </a:lnTo>
                  <a:lnTo>
                    <a:pt x="74" y="418"/>
                  </a:lnTo>
                  <a:lnTo>
                    <a:pt x="76" y="418"/>
                  </a:lnTo>
                  <a:lnTo>
                    <a:pt x="80" y="414"/>
                  </a:lnTo>
                  <a:lnTo>
                    <a:pt x="80" y="418"/>
                  </a:lnTo>
                  <a:lnTo>
                    <a:pt x="84" y="414"/>
                  </a:lnTo>
                  <a:lnTo>
                    <a:pt x="84" y="410"/>
                  </a:lnTo>
                  <a:lnTo>
                    <a:pt x="80" y="410"/>
                  </a:lnTo>
                  <a:lnTo>
                    <a:pt x="80" y="406"/>
                  </a:lnTo>
                  <a:lnTo>
                    <a:pt x="80" y="402"/>
                  </a:lnTo>
                  <a:lnTo>
                    <a:pt x="76" y="402"/>
                  </a:lnTo>
                  <a:lnTo>
                    <a:pt x="76" y="398"/>
                  </a:lnTo>
                  <a:lnTo>
                    <a:pt x="74" y="398"/>
                  </a:lnTo>
                  <a:lnTo>
                    <a:pt x="74" y="396"/>
                  </a:lnTo>
                  <a:lnTo>
                    <a:pt x="74" y="392"/>
                  </a:lnTo>
                  <a:lnTo>
                    <a:pt x="74" y="388"/>
                  </a:lnTo>
                  <a:lnTo>
                    <a:pt x="74" y="384"/>
                  </a:lnTo>
                  <a:lnTo>
                    <a:pt x="76" y="384"/>
                  </a:lnTo>
                  <a:lnTo>
                    <a:pt x="76" y="380"/>
                  </a:lnTo>
                  <a:lnTo>
                    <a:pt x="74" y="376"/>
                  </a:lnTo>
                  <a:lnTo>
                    <a:pt x="70" y="376"/>
                  </a:lnTo>
                  <a:lnTo>
                    <a:pt x="66" y="376"/>
                  </a:lnTo>
                  <a:lnTo>
                    <a:pt x="66" y="372"/>
                  </a:lnTo>
                  <a:lnTo>
                    <a:pt x="66" y="368"/>
                  </a:lnTo>
                  <a:lnTo>
                    <a:pt x="62" y="366"/>
                  </a:lnTo>
                  <a:lnTo>
                    <a:pt x="58" y="368"/>
                  </a:lnTo>
                  <a:lnTo>
                    <a:pt x="60" y="368"/>
                  </a:lnTo>
                  <a:lnTo>
                    <a:pt x="58" y="368"/>
                  </a:lnTo>
                  <a:lnTo>
                    <a:pt x="56" y="366"/>
                  </a:lnTo>
                  <a:lnTo>
                    <a:pt x="58" y="366"/>
                  </a:lnTo>
                  <a:lnTo>
                    <a:pt x="52" y="364"/>
                  </a:lnTo>
                  <a:lnTo>
                    <a:pt x="52" y="362"/>
                  </a:lnTo>
                  <a:lnTo>
                    <a:pt x="50" y="358"/>
                  </a:lnTo>
                  <a:lnTo>
                    <a:pt x="48" y="358"/>
                  </a:lnTo>
                  <a:lnTo>
                    <a:pt x="44" y="358"/>
                  </a:lnTo>
                  <a:lnTo>
                    <a:pt x="44" y="354"/>
                  </a:lnTo>
                  <a:lnTo>
                    <a:pt x="42" y="354"/>
                  </a:lnTo>
                  <a:lnTo>
                    <a:pt x="40" y="354"/>
                  </a:lnTo>
                  <a:lnTo>
                    <a:pt x="36" y="354"/>
                  </a:lnTo>
                  <a:lnTo>
                    <a:pt x="36" y="350"/>
                  </a:lnTo>
                  <a:lnTo>
                    <a:pt x="32" y="350"/>
                  </a:lnTo>
                  <a:lnTo>
                    <a:pt x="32" y="346"/>
                  </a:lnTo>
                  <a:lnTo>
                    <a:pt x="36" y="346"/>
                  </a:lnTo>
                  <a:lnTo>
                    <a:pt x="32" y="342"/>
                  </a:lnTo>
                  <a:lnTo>
                    <a:pt x="32" y="342"/>
                  </a:lnTo>
                  <a:lnTo>
                    <a:pt x="30" y="340"/>
                  </a:lnTo>
                  <a:lnTo>
                    <a:pt x="26" y="338"/>
                  </a:lnTo>
                  <a:lnTo>
                    <a:pt x="24" y="336"/>
                  </a:lnTo>
                  <a:lnTo>
                    <a:pt x="24" y="336"/>
                  </a:lnTo>
                  <a:lnTo>
                    <a:pt x="20" y="332"/>
                  </a:lnTo>
                  <a:lnTo>
                    <a:pt x="18" y="332"/>
                  </a:lnTo>
                  <a:lnTo>
                    <a:pt x="14" y="332"/>
                  </a:lnTo>
                  <a:lnTo>
                    <a:pt x="10" y="328"/>
                  </a:lnTo>
                  <a:lnTo>
                    <a:pt x="14" y="328"/>
                  </a:lnTo>
                  <a:lnTo>
                    <a:pt x="18" y="324"/>
                  </a:lnTo>
                  <a:lnTo>
                    <a:pt x="18" y="328"/>
                  </a:lnTo>
                  <a:lnTo>
                    <a:pt x="20" y="324"/>
                  </a:lnTo>
                  <a:lnTo>
                    <a:pt x="20" y="320"/>
                  </a:lnTo>
                  <a:lnTo>
                    <a:pt x="18" y="320"/>
                  </a:lnTo>
                  <a:lnTo>
                    <a:pt x="18" y="316"/>
                  </a:lnTo>
                  <a:lnTo>
                    <a:pt x="20" y="316"/>
                  </a:lnTo>
                  <a:lnTo>
                    <a:pt x="18" y="316"/>
                  </a:lnTo>
                  <a:lnTo>
                    <a:pt x="18" y="312"/>
                  </a:lnTo>
                  <a:lnTo>
                    <a:pt x="18" y="310"/>
                  </a:lnTo>
                  <a:lnTo>
                    <a:pt x="18" y="306"/>
                  </a:lnTo>
                  <a:lnTo>
                    <a:pt x="18" y="302"/>
                  </a:lnTo>
                  <a:lnTo>
                    <a:pt x="14" y="302"/>
                  </a:lnTo>
                  <a:lnTo>
                    <a:pt x="10" y="298"/>
                  </a:lnTo>
                  <a:lnTo>
                    <a:pt x="6" y="298"/>
                  </a:lnTo>
                  <a:lnTo>
                    <a:pt x="6" y="302"/>
                  </a:lnTo>
                  <a:lnTo>
                    <a:pt x="4" y="302"/>
                  </a:lnTo>
                  <a:lnTo>
                    <a:pt x="4" y="298"/>
                  </a:lnTo>
                  <a:lnTo>
                    <a:pt x="4" y="294"/>
                  </a:lnTo>
                  <a:lnTo>
                    <a:pt x="4" y="290"/>
                  </a:lnTo>
                  <a:lnTo>
                    <a:pt x="0" y="286"/>
                  </a:lnTo>
                  <a:lnTo>
                    <a:pt x="4" y="286"/>
                  </a:lnTo>
                  <a:lnTo>
                    <a:pt x="4" y="284"/>
                  </a:lnTo>
                  <a:lnTo>
                    <a:pt x="6" y="284"/>
                  </a:lnTo>
                  <a:lnTo>
                    <a:pt x="6" y="280"/>
                  </a:lnTo>
                  <a:lnTo>
                    <a:pt x="4" y="280"/>
                  </a:lnTo>
                  <a:lnTo>
                    <a:pt x="4" y="276"/>
                  </a:lnTo>
                  <a:lnTo>
                    <a:pt x="6" y="272"/>
                  </a:lnTo>
                  <a:lnTo>
                    <a:pt x="10" y="272"/>
                  </a:lnTo>
                  <a:lnTo>
                    <a:pt x="14" y="272"/>
                  </a:lnTo>
                  <a:lnTo>
                    <a:pt x="14" y="268"/>
                  </a:lnTo>
                  <a:lnTo>
                    <a:pt x="18" y="268"/>
                  </a:lnTo>
                  <a:lnTo>
                    <a:pt x="18" y="264"/>
                  </a:lnTo>
                  <a:lnTo>
                    <a:pt x="20" y="264"/>
                  </a:lnTo>
                  <a:lnTo>
                    <a:pt x="24" y="264"/>
                  </a:lnTo>
                  <a:lnTo>
                    <a:pt x="24" y="260"/>
                  </a:lnTo>
                  <a:lnTo>
                    <a:pt x="28" y="260"/>
                  </a:lnTo>
                  <a:lnTo>
                    <a:pt x="28" y="264"/>
                  </a:lnTo>
                  <a:lnTo>
                    <a:pt x="28" y="268"/>
                  </a:lnTo>
                  <a:lnTo>
                    <a:pt x="32" y="268"/>
                  </a:lnTo>
                  <a:lnTo>
                    <a:pt x="36" y="264"/>
                  </a:lnTo>
                  <a:lnTo>
                    <a:pt x="40" y="264"/>
                  </a:lnTo>
                  <a:lnTo>
                    <a:pt x="40" y="268"/>
                  </a:lnTo>
                  <a:lnTo>
                    <a:pt x="40" y="264"/>
                  </a:lnTo>
                  <a:lnTo>
                    <a:pt x="44" y="264"/>
                  </a:lnTo>
                  <a:lnTo>
                    <a:pt x="44" y="260"/>
                  </a:lnTo>
                  <a:lnTo>
                    <a:pt x="44" y="254"/>
                  </a:lnTo>
                  <a:lnTo>
                    <a:pt x="48" y="254"/>
                  </a:lnTo>
                  <a:lnTo>
                    <a:pt x="50" y="254"/>
                  </a:lnTo>
                  <a:lnTo>
                    <a:pt x="54" y="254"/>
                  </a:lnTo>
                  <a:lnTo>
                    <a:pt x="58" y="254"/>
                  </a:lnTo>
                  <a:lnTo>
                    <a:pt x="62" y="254"/>
                  </a:lnTo>
                  <a:lnTo>
                    <a:pt x="66" y="254"/>
                  </a:lnTo>
                  <a:lnTo>
                    <a:pt x="66" y="250"/>
                  </a:lnTo>
                  <a:lnTo>
                    <a:pt x="66" y="246"/>
                  </a:lnTo>
                  <a:lnTo>
                    <a:pt x="70" y="246"/>
                  </a:lnTo>
                  <a:lnTo>
                    <a:pt x="74" y="242"/>
                  </a:lnTo>
                  <a:lnTo>
                    <a:pt x="76" y="242"/>
                  </a:lnTo>
                  <a:lnTo>
                    <a:pt x="76" y="238"/>
                  </a:lnTo>
                  <a:lnTo>
                    <a:pt x="80" y="238"/>
                  </a:lnTo>
                  <a:lnTo>
                    <a:pt x="84" y="238"/>
                  </a:lnTo>
                  <a:lnTo>
                    <a:pt x="88" y="238"/>
                  </a:lnTo>
                  <a:lnTo>
                    <a:pt x="88" y="234"/>
                  </a:lnTo>
                  <a:lnTo>
                    <a:pt x="92" y="234"/>
                  </a:lnTo>
                  <a:lnTo>
                    <a:pt x="96" y="234"/>
                  </a:lnTo>
                  <a:lnTo>
                    <a:pt x="96" y="230"/>
                  </a:lnTo>
                  <a:lnTo>
                    <a:pt x="92" y="230"/>
                  </a:lnTo>
                  <a:lnTo>
                    <a:pt x="96" y="230"/>
                  </a:lnTo>
                  <a:lnTo>
                    <a:pt x="96" y="228"/>
                  </a:lnTo>
                  <a:lnTo>
                    <a:pt x="92" y="228"/>
                  </a:lnTo>
                  <a:lnTo>
                    <a:pt x="92" y="224"/>
                  </a:lnTo>
                  <a:lnTo>
                    <a:pt x="96" y="220"/>
                  </a:lnTo>
                  <a:lnTo>
                    <a:pt x="100" y="216"/>
                  </a:lnTo>
                  <a:lnTo>
                    <a:pt x="96" y="216"/>
                  </a:lnTo>
                  <a:lnTo>
                    <a:pt x="100" y="214"/>
                  </a:lnTo>
                  <a:lnTo>
                    <a:pt x="104" y="214"/>
                  </a:lnTo>
                  <a:lnTo>
                    <a:pt x="104" y="210"/>
                  </a:lnTo>
                  <a:lnTo>
                    <a:pt x="100" y="206"/>
                  </a:lnTo>
                  <a:lnTo>
                    <a:pt x="100" y="202"/>
                  </a:lnTo>
                  <a:lnTo>
                    <a:pt x="100" y="198"/>
                  </a:lnTo>
                  <a:lnTo>
                    <a:pt x="96" y="198"/>
                  </a:lnTo>
                  <a:lnTo>
                    <a:pt x="96" y="194"/>
                  </a:lnTo>
                  <a:lnTo>
                    <a:pt x="96" y="190"/>
                  </a:lnTo>
                  <a:lnTo>
                    <a:pt x="96" y="186"/>
                  </a:lnTo>
                  <a:lnTo>
                    <a:pt x="96" y="184"/>
                  </a:lnTo>
                  <a:lnTo>
                    <a:pt x="100" y="184"/>
                  </a:lnTo>
                  <a:lnTo>
                    <a:pt x="100" y="180"/>
                  </a:lnTo>
                  <a:lnTo>
                    <a:pt x="96" y="180"/>
                  </a:lnTo>
                  <a:lnTo>
                    <a:pt x="92" y="180"/>
                  </a:lnTo>
                  <a:lnTo>
                    <a:pt x="88" y="180"/>
                  </a:lnTo>
                  <a:lnTo>
                    <a:pt x="92" y="176"/>
                  </a:lnTo>
                  <a:lnTo>
                    <a:pt x="96" y="176"/>
                  </a:lnTo>
                  <a:lnTo>
                    <a:pt x="100" y="172"/>
                  </a:lnTo>
                  <a:lnTo>
                    <a:pt x="104" y="172"/>
                  </a:lnTo>
                  <a:lnTo>
                    <a:pt x="106" y="172"/>
                  </a:lnTo>
                  <a:lnTo>
                    <a:pt x="110" y="172"/>
                  </a:lnTo>
                  <a:lnTo>
                    <a:pt x="110" y="168"/>
                  </a:lnTo>
                  <a:lnTo>
                    <a:pt x="114" y="168"/>
                  </a:lnTo>
                  <a:lnTo>
                    <a:pt x="114" y="172"/>
                  </a:lnTo>
                  <a:lnTo>
                    <a:pt x="118" y="172"/>
                  </a:lnTo>
                  <a:lnTo>
                    <a:pt x="122" y="172"/>
                  </a:lnTo>
                  <a:lnTo>
                    <a:pt x="126" y="172"/>
                  </a:lnTo>
                  <a:lnTo>
                    <a:pt x="130" y="172"/>
                  </a:lnTo>
                  <a:lnTo>
                    <a:pt x="130" y="168"/>
                  </a:lnTo>
                  <a:lnTo>
                    <a:pt x="126" y="168"/>
                  </a:lnTo>
                  <a:lnTo>
                    <a:pt x="126" y="164"/>
                  </a:lnTo>
                  <a:lnTo>
                    <a:pt x="122" y="164"/>
                  </a:lnTo>
                  <a:lnTo>
                    <a:pt x="126" y="160"/>
                  </a:lnTo>
                  <a:lnTo>
                    <a:pt x="126" y="158"/>
                  </a:lnTo>
                  <a:lnTo>
                    <a:pt x="126" y="154"/>
                  </a:lnTo>
                  <a:lnTo>
                    <a:pt x="126" y="150"/>
                  </a:lnTo>
                  <a:lnTo>
                    <a:pt x="130" y="150"/>
                  </a:lnTo>
                  <a:lnTo>
                    <a:pt x="130" y="146"/>
                  </a:lnTo>
                  <a:lnTo>
                    <a:pt x="130" y="142"/>
                  </a:lnTo>
                  <a:lnTo>
                    <a:pt x="132" y="138"/>
                  </a:lnTo>
                  <a:lnTo>
                    <a:pt x="132" y="134"/>
                  </a:lnTo>
                  <a:lnTo>
                    <a:pt x="132" y="130"/>
                  </a:lnTo>
                  <a:lnTo>
                    <a:pt x="136" y="130"/>
                  </a:lnTo>
                  <a:lnTo>
                    <a:pt x="140" y="134"/>
                  </a:lnTo>
                  <a:lnTo>
                    <a:pt x="144" y="134"/>
                  </a:lnTo>
                  <a:lnTo>
                    <a:pt x="148" y="134"/>
                  </a:lnTo>
                  <a:lnTo>
                    <a:pt x="152" y="134"/>
                  </a:lnTo>
                  <a:lnTo>
                    <a:pt x="156" y="134"/>
                  </a:lnTo>
                  <a:lnTo>
                    <a:pt x="160" y="138"/>
                  </a:lnTo>
                  <a:lnTo>
                    <a:pt x="162" y="138"/>
                  </a:lnTo>
                  <a:lnTo>
                    <a:pt x="162" y="134"/>
                  </a:lnTo>
                  <a:lnTo>
                    <a:pt x="166" y="134"/>
                  </a:lnTo>
                  <a:lnTo>
                    <a:pt x="170" y="134"/>
                  </a:lnTo>
                  <a:lnTo>
                    <a:pt x="170" y="130"/>
                  </a:lnTo>
                  <a:lnTo>
                    <a:pt x="170" y="128"/>
                  </a:lnTo>
                  <a:lnTo>
                    <a:pt x="170" y="124"/>
                  </a:lnTo>
                  <a:lnTo>
                    <a:pt x="170" y="120"/>
                  </a:lnTo>
                  <a:lnTo>
                    <a:pt x="170" y="116"/>
                  </a:lnTo>
                  <a:lnTo>
                    <a:pt x="170" y="112"/>
                  </a:lnTo>
                  <a:lnTo>
                    <a:pt x="170" y="108"/>
                  </a:lnTo>
                  <a:lnTo>
                    <a:pt x="174" y="108"/>
                  </a:lnTo>
                  <a:lnTo>
                    <a:pt x="174" y="104"/>
                  </a:lnTo>
                  <a:lnTo>
                    <a:pt x="178" y="104"/>
                  </a:lnTo>
                  <a:lnTo>
                    <a:pt x="182" y="104"/>
                  </a:lnTo>
                  <a:lnTo>
                    <a:pt x="186" y="104"/>
                  </a:lnTo>
                  <a:lnTo>
                    <a:pt x="186" y="102"/>
                  </a:lnTo>
                  <a:lnTo>
                    <a:pt x="186" y="98"/>
                  </a:lnTo>
                  <a:lnTo>
                    <a:pt x="186" y="94"/>
                  </a:lnTo>
                  <a:lnTo>
                    <a:pt x="188" y="94"/>
                  </a:lnTo>
                  <a:lnTo>
                    <a:pt x="192" y="94"/>
                  </a:lnTo>
                  <a:lnTo>
                    <a:pt x="196" y="94"/>
                  </a:lnTo>
                  <a:lnTo>
                    <a:pt x="200" y="90"/>
                  </a:lnTo>
                  <a:lnTo>
                    <a:pt x="200" y="94"/>
                  </a:lnTo>
                  <a:lnTo>
                    <a:pt x="204" y="94"/>
                  </a:lnTo>
                  <a:lnTo>
                    <a:pt x="200" y="98"/>
                  </a:lnTo>
                  <a:lnTo>
                    <a:pt x="204" y="102"/>
                  </a:lnTo>
                  <a:lnTo>
                    <a:pt x="204" y="104"/>
                  </a:lnTo>
                  <a:lnTo>
                    <a:pt x="208" y="104"/>
                  </a:lnTo>
                  <a:lnTo>
                    <a:pt x="212" y="108"/>
                  </a:lnTo>
                  <a:lnTo>
                    <a:pt x="212" y="112"/>
                  </a:lnTo>
                  <a:lnTo>
                    <a:pt x="216" y="112"/>
                  </a:lnTo>
                  <a:lnTo>
                    <a:pt x="218" y="112"/>
                  </a:lnTo>
                  <a:lnTo>
                    <a:pt x="218" y="116"/>
                  </a:lnTo>
                  <a:lnTo>
                    <a:pt x="222" y="116"/>
                  </a:lnTo>
                  <a:lnTo>
                    <a:pt x="226" y="116"/>
                  </a:lnTo>
                  <a:lnTo>
                    <a:pt x="230" y="120"/>
                  </a:lnTo>
                  <a:lnTo>
                    <a:pt x="230" y="116"/>
                  </a:lnTo>
                  <a:lnTo>
                    <a:pt x="234" y="116"/>
                  </a:lnTo>
                  <a:lnTo>
                    <a:pt x="234" y="120"/>
                  </a:lnTo>
                  <a:lnTo>
                    <a:pt x="238" y="120"/>
                  </a:lnTo>
                  <a:lnTo>
                    <a:pt x="238" y="124"/>
                  </a:lnTo>
                  <a:lnTo>
                    <a:pt x="238" y="128"/>
                  </a:lnTo>
                  <a:lnTo>
                    <a:pt x="238" y="130"/>
                  </a:lnTo>
                  <a:lnTo>
                    <a:pt x="242" y="130"/>
                  </a:lnTo>
                  <a:lnTo>
                    <a:pt x="242" y="134"/>
                  </a:lnTo>
                  <a:lnTo>
                    <a:pt x="246" y="134"/>
                  </a:lnTo>
                  <a:lnTo>
                    <a:pt x="246" y="138"/>
                  </a:lnTo>
                  <a:lnTo>
                    <a:pt x="246" y="142"/>
                  </a:lnTo>
                  <a:lnTo>
                    <a:pt x="248" y="142"/>
                  </a:lnTo>
                  <a:lnTo>
                    <a:pt x="246" y="142"/>
                  </a:lnTo>
                  <a:lnTo>
                    <a:pt x="248" y="146"/>
                  </a:lnTo>
                  <a:lnTo>
                    <a:pt x="246" y="150"/>
                  </a:lnTo>
                  <a:lnTo>
                    <a:pt x="246" y="154"/>
                  </a:lnTo>
                  <a:lnTo>
                    <a:pt x="246" y="158"/>
                  </a:lnTo>
                  <a:lnTo>
                    <a:pt x="242" y="160"/>
                  </a:lnTo>
                  <a:lnTo>
                    <a:pt x="242" y="164"/>
                  </a:lnTo>
                  <a:lnTo>
                    <a:pt x="242" y="168"/>
                  </a:lnTo>
                  <a:lnTo>
                    <a:pt x="246" y="168"/>
                  </a:lnTo>
                  <a:lnTo>
                    <a:pt x="246" y="172"/>
                  </a:lnTo>
                  <a:lnTo>
                    <a:pt x="248" y="172"/>
                  </a:lnTo>
                  <a:lnTo>
                    <a:pt x="252" y="172"/>
                  </a:lnTo>
                  <a:lnTo>
                    <a:pt x="252" y="176"/>
                  </a:lnTo>
                  <a:lnTo>
                    <a:pt x="260" y="176"/>
                  </a:lnTo>
                  <a:lnTo>
                    <a:pt x="264" y="176"/>
                  </a:lnTo>
                  <a:lnTo>
                    <a:pt x="268" y="176"/>
                  </a:lnTo>
                  <a:lnTo>
                    <a:pt x="272" y="176"/>
                  </a:lnTo>
                  <a:lnTo>
                    <a:pt x="274" y="176"/>
                  </a:lnTo>
                  <a:lnTo>
                    <a:pt x="278" y="176"/>
                  </a:lnTo>
                  <a:lnTo>
                    <a:pt x="282" y="176"/>
                  </a:lnTo>
                  <a:lnTo>
                    <a:pt x="282" y="180"/>
                  </a:lnTo>
                  <a:lnTo>
                    <a:pt x="286" y="180"/>
                  </a:lnTo>
                  <a:lnTo>
                    <a:pt x="290" y="180"/>
                  </a:lnTo>
                  <a:lnTo>
                    <a:pt x="290" y="184"/>
                  </a:lnTo>
                  <a:lnTo>
                    <a:pt x="294" y="184"/>
                  </a:lnTo>
                  <a:lnTo>
                    <a:pt x="294" y="186"/>
                  </a:lnTo>
                  <a:lnTo>
                    <a:pt x="298" y="186"/>
                  </a:lnTo>
                  <a:lnTo>
                    <a:pt x="298" y="190"/>
                  </a:lnTo>
                  <a:lnTo>
                    <a:pt x="304" y="190"/>
                  </a:lnTo>
                  <a:lnTo>
                    <a:pt x="308" y="190"/>
                  </a:lnTo>
                  <a:lnTo>
                    <a:pt x="308" y="194"/>
                  </a:lnTo>
                  <a:lnTo>
                    <a:pt x="312" y="194"/>
                  </a:lnTo>
                  <a:lnTo>
                    <a:pt x="312" y="198"/>
                  </a:lnTo>
                  <a:lnTo>
                    <a:pt x="312" y="202"/>
                  </a:lnTo>
                  <a:lnTo>
                    <a:pt x="312" y="206"/>
                  </a:lnTo>
                  <a:lnTo>
                    <a:pt x="316" y="206"/>
                  </a:lnTo>
                  <a:lnTo>
                    <a:pt x="316" y="210"/>
                  </a:lnTo>
                  <a:lnTo>
                    <a:pt x="316" y="214"/>
                  </a:lnTo>
                  <a:lnTo>
                    <a:pt x="320" y="214"/>
                  </a:lnTo>
                  <a:lnTo>
                    <a:pt x="324" y="216"/>
                  </a:lnTo>
                  <a:lnTo>
                    <a:pt x="324" y="220"/>
                  </a:lnTo>
                  <a:lnTo>
                    <a:pt x="328" y="220"/>
                  </a:lnTo>
                  <a:lnTo>
                    <a:pt x="330" y="220"/>
                  </a:lnTo>
                  <a:lnTo>
                    <a:pt x="334" y="220"/>
                  </a:lnTo>
                  <a:lnTo>
                    <a:pt x="338" y="220"/>
                  </a:lnTo>
                  <a:lnTo>
                    <a:pt x="342" y="220"/>
                  </a:lnTo>
                  <a:lnTo>
                    <a:pt x="346" y="220"/>
                  </a:lnTo>
                  <a:lnTo>
                    <a:pt x="348" y="224"/>
                  </a:lnTo>
                  <a:lnTo>
                    <a:pt x="352" y="224"/>
                  </a:lnTo>
                  <a:lnTo>
                    <a:pt x="356" y="224"/>
                  </a:lnTo>
                  <a:lnTo>
                    <a:pt x="360" y="224"/>
                  </a:lnTo>
                  <a:lnTo>
                    <a:pt x="364" y="224"/>
                  </a:lnTo>
                  <a:lnTo>
                    <a:pt x="368" y="224"/>
                  </a:lnTo>
                  <a:lnTo>
                    <a:pt x="372" y="224"/>
                  </a:lnTo>
                  <a:lnTo>
                    <a:pt x="374" y="224"/>
                  </a:lnTo>
                  <a:lnTo>
                    <a:pt x="378" y="220"/>
                  </a:lnTo>
                  <a:lnTo>
                    <a:pt x="382" y="220"/>
                  </a:lnTo>
                  <a:lnTo>
                    <a:pt x="386" y="220"/>
                  </a:lnTo>
                  <a:lnTo>
                    <a:pt x="386" y="224"/>
                  </a:lnTo>
                  <a:lnTo>
                    <a:pt x="390" y="224"/>
                  </a:lnTo>
                  <a:lnTo>
                    <a:pt x="394" y="224"/>
                  </a:lnTo>
                  <a:lnTo>
                    <a:pt x="398" y="224"/>
                  </a:lnTo>
                  <a:lnTo>
                    <a:pt x="402" y="228"/>
                  </a:lnTo>
                  <a:lnTo>
                    <a:pt x="402" y="230"/>
                  </a:lnTo>
                  <a:lnTo>
                    <a:pt x="408" y="230"/>
                  </a:lnTo>
                  <a:lnTo>
                    <a:pt x="412" y="230"/>
                  </a:lnTo>
                  <a:lnTo>
                    <a:pt x="416" y="234"/>
                  </a:lnTo>
                  <a:lnTo>
                    <a:pt x="420" y="234"/>
                  </a:lnTo>
                  <a:lnTo>
                    <a:pt x="420" y="238"/>
                  </a:lnTo>
                  <a:lnTo>
                    <a:pt x="428" y="238"/>
                  </a:lnTo>
                  <a:lnTo>
                    <a:pt x="430" y="238"/>
                  </a:lnTo>
                  <a:lnTo>
                    <a:pt x="438" y="238"/>
                  </a:lnTo>
                  <a:lnTo>
                    <a:pt x="438" y="242"/>
                  </a:lnTo>
                  <a:lnTo>
                    <a:pt x="442" y="242"/>
                  </a:lnTo>
                  <a:lnTo>
                    <a:pt x="446" y="238"/>
                  </a:lnTo>
                  <a:lnTo>
                    <a:pt x="450" y="238"/>
                  </a:lnTo>
                  <a:lnTo>
                    <a:pt x="454" y="238"/>
                  </a:lnTo>
                  <a:lnTo>
                    <a:pt x="458" y="234"/>
                  </a:lnTo>
                  <a:lnTo>
                    <a:pt x="460" y="234"/>
                  </a:lnTo>
                  <a:lnTo>
                    <a:pt x="464" y="230"/>
                  </a:lnTo>
                  <a:lnTo>
                    <a:pt x="468" y="228"/>
                  </a:lnTo>
                  <a:lnTo>
                    <a:pt x="472" y="228"/>
                  </a:lnTo>
                  <a:lnTo>
                    <a:pt x="476" y="228"/>
                  </a:lnTo>
                  <a:lnTo>
                    <a:pt x="480" y="228"/>
                  </a:lnTo>
                  <a:lnTo>
                    <a:pt x="484" y="228"/>
                  </a:lnTo>
                  <a:lnTo>
                    <a:pt x="490" y="228"/>
                  </a:lnTo>
                  <a:lnTo>
                    <a:pt x="494" y="228"/>
                  </a:lnTo>
                  <a:lnTo>
                    <a:pt x="498" y="228"/>
                  </a:lnTo>
                  <a:lnTo>
                    <a:pt x="502" y="228"/>
                  </a:lnTo>
                  <a:lnTo>
                    <a:pt x="506" y="228"/>
                  </a:lnTo>
                  <a:lnTo>
                    <a:pt x="510" y="228"/>
                  </a:lnTo>
                  <a:lnTo>
                    <a:pt x="510" y="224"/>
                  </a:lnTo>
                  <a:lnTo>
                    <a:pt x="514" y="224"/>
                  </a:lnTo>
                  <a:lnTo>
                    <a:pt x="516" y="224"/>
                  </a:lnTo>
                  <a:lnTo>
                    <a:pt x="516" y="220"/>
                  </a:lnTo>
                  <a:lnTo>
                    <a:pt x="520" y="220"/>
                  </a:lnTo>
                  <a:lnTo>
                    <a:pt x="520" y="216"/>
                  </a:lnTo>
                  <a:lnTo>
                    <a:pt x="524" y="216"/>
                  </a:lnTo>
                  <a:lnTo>
                    <a:pt x="524" y="214"/>
                  </a:lnTo>
                  <a:lnTo>
                    <a:pt x="528" y="214"/>
                  </a:lnTo>
                  <a:lnTo>
                    <a:pt x="528" y="210"/>
                  </a:lnTo>
                  <a:lnTo>
                    <a:pt x="532" y="210"/>
                  </a:lnTo>
                  <a:lnTo>
                    <a:pt x="532" y="206"/>
                  </a:lnTo>
                  <a:lnTo>
                    <a:pt x="536" y="206"/>
                  </a:lnTo>
                  <a:lnTo>
                    <a:pt x="540" y="206"/>
                  </a:lnTo>
                  <a:lnTo>
                    <a:pt x="540" y="202"/>
                  </a:lnTo>
                  <a:lnTo>
                    <a:pt x="542" y="202"/>
                  </a:lnTo>
                  <a:lnTo>
                    <a:pt x="542" y="198"/>
                  </a:lnTo>
                  <a:lnTo>
                    <a:pt x="540" y="194"/>
                  </a:lnTo>
                  <a:lnTo>
                    <a:pt x="536" y="190"/>
                  </a:lnTo>
                  <a:lnTo>
                    <a:pt x="536" y="186"/>
                  </a:lnTo>
                  <a:lnTo>
                    <a:pt x="536" y="184"/>
                  </a:lnTo>
                  <a:lnTo>
                    <a:pt x="540" y="180"/>
                  </a:lnTo>
                  <a:lnTo>
                    <a:pt x="540" y="176"/>
                  </a:lnTo>
                  <a:lnTo>
                    <a:pt x="542" y="176"/>
                  </a:lnTo>
                  <a:lnTo>
                    <a:pt x="546" y="176"/>
                  </a:lnTo>
                  <a:lnTo>
                    <a:pt x="550" y="176"/>
                  </a:lnTo>
                  <a:lnTo>
                    <a:pt x="554" y="180"/>
                  </a:lnTo>
                  <a:lnTo>
                    <a:pt x="558" y="180"/>
                  </a:lnTo>
                  <a:lnTo>
                    <a:pt x="562" y="180"/>
                  </a:lnTo>
                  <a:lnTo>
                    <a:pt x="566" y="180"/>
                  </a:lnTo>
                  <a:lnTo>
                    <a:pt x="570" y="180"/>
                  </a:lnTo>
                  <a:lnTo>
                    <a:pt x="570" y="176"/>
                  </a:lnTo>
                  <a:lnTo>
                    <a:pt x="572" y="176"/>
                  </a:lnTo>
                  <a:lnTo>
                    <a:pt x="576" y="176"/>
                  </a:lnTo>
                  <a:lnTo>
                    <a:pt x="576" y="172"/>
                  </a:lnTo>
                  <a:lnTo>
                    <a:pt x="580" y="168"/>
                  </a:lnTo>
                  <a:lnTo>
                    <a:pt x="584" y="168"/>
                  </a:lnTo>
                  <a:lnTo>
                    <a:pt x="588" y="168"/>
                  </a:lnTo>
                  <a:lnTo>
                    <a:pt x="592" y="168"/>
                  </a:lnTo>
                  <a:lnTo>
                    <a:pt x="596" y="168"/>
                  </a:lnTo>
                  <a:lnTo>
                    <a:pt x="596" y="164"/>
                  </a:lnTo>
                  <a:lnTo>
                    <a:pt x="600" y="164"/>
                  </a:lnTo>
                  <a:lnTo>
                    <a:pt x="600" y="160"/>
                  </a:lnTo>
                  <a:lnTo>
                    <a:pt x="602" y="160"/>
                  </a:lnTo>
                  <a:lnTo>
                    <a:pt x="602" y="158"/>
                  </a:lnTo>
                  <a:lnTo>
                    <a:pt x="606" y="154"/>
                  </a:lnTo>
                  <a:lnTo>
                    <a:pt x="606" y="150"/>
                  </a:lnTo>
                  <a:lnTo>
                    <a:pt x="610" y="150"/>
                  </a:lnTo>
                  <a:lnTo>
                    <a:pt x="614" y="150"/>
                  </a:lnTo>
                  <a:lnTo>
                    <a:pt x="618" y="150"/>
                  </a:lnTo>
                  <a:lnTo>
                    <a:pt x="618" y="146"/>
                  </a:lnTo>
                  <a:lnTo>
                    <a:pt x="622" y="146"/>
                  </a:lnTo>
                  <a:lnTo>
                    <a:pt x="622" y="142"/>
                  </a:lnTo>
                  <a:lnTo>
                    <a:pt x="622" y="146"/>
                  </a:lnTo>
                  <a:lnTo>
                    <a:pt x="626" y="146"/>
                  </a:lnTo>
                  <a:lnTo>
                    <a:pt x="626" y="142"/>
                  </a:lnTo>
                  <a:lnTo>
                    <a:pt x="628" y="142"/>
                  </a:lnTo>
                  <a:lnTo>
                    <a:pt x="632" y="142"/>
                  </a:lnTo>
                  <a:lnTo>
                    <a:pt x="636" y="142"/>
                  </a:lnTo>
                  <a:lnTo>
                    <a:pt x="640" y="142"/>
                  </a:lnTo>
                  <a:lnTo>
                    <a:pt x="640" y="138"/>
                  </a:lnTo>
                  <a:lnTo>
                    <a:pt x="640" y="142"/>
                  </a:lnTo>
                  <a:lnTo>
                    <a:pt x="644" y="142"/>
                  </a:lnTo>
                  <a:lnTo>
                    <a:pt x="648" y="142"/>
                  </a:lnTo>
                  <a:lnTo>
                    <a:pt x="652" y="142"/>
                  </a:lnTo>
                  <a:lnTo>
                    <a:pt x="656" y="142"/>
                  </a:lnTo>
                  <a:lnTo>
                    <a:pt x="656" y="138"/>
                  </a:lnTo>
                  <a:lnTo>
                    <a:pt x="656" y="134"/>
                  </a:lnTo>
                  <a:lnTo>
                    <a:pt x="652" y="130"/>
                  </a:lnTo>
                  <a:lnTo>
                    <a:pt x="648" y="130"/>
                  </a:lnTo>
                  <a:lnTo>
                    <a:pt x="648" y="128"/>
                  </a:lnTo>
                  <a:lnTo>
                    <a:pt x="648" y="124"/>
                  </a:lnTo>
                  <a:lnTo>
                    <a:pt x="644" y="124"/>
                  </a:lnTo>
                  <a:lnTo>
                    <a:pt x="640" y="120"/>
                  </a:lnTo>
                  <a:lnTo>
                    <a:pt x="636" y="116"/>
                  </a:lnTo>
                  <a:lnTo>
                    <a:pt x="632" y="116"/>
                  </a:lnTo>
                  <a:lnTo>
                    <a:pt x="628" y="116"/>
                  </a:lnTo>
                  <a:lnTo>
                    <a:pt x="626" y="116"/>
                  </a:lnTo>
                  <a:lnTo>
                    <a:pt x="622" y="116"/>
                  </a:lnTo>
                  <a:lnTo>
                    <a:pt x="622" y="120"/>
                  </a:lnTo>
                  <a:lnTo>
                    <a:pt x="618" y="124"/>
                  </a:lnTo>
                  <a:lnTo>
                    <a:pt x="614" y="120"/>
                  </a:lnTo>
                  <a:lnTo>
                    <a:pt x="614" y="116"/>
                  </a:lnTo>
                  <a:lnTo>
                    <a:pt x="610" y="116"/>
                  </a:lnTo>
                  <a:lnTo>
                    <a:pt x="606" y="120"/>
                  </a:lnTo>
                  <a:lnTo>
                    <a:pt x="602" y="116"/>
                  </a:lnTo>
                  <a:lnTo>
                    <a:pt x="602" y="120"/>
                  </a:lnTo>
                  <a:lnTo>
                    <a:pt x="600" y="120"/>
                  </a:lnTo>
                  <a:lnTo>
                    <a:pt x="596" y="116"/>
                  </a:lnTo>
                  <a:lnTo>
                    <a:pt x="592" y="112"/>
                  </a:lnTo>
                  <a:lnTo>
                    <a:pt x="596" y="112"/>
                  </a:lnTo>
                  <a:lnTo>
                    <a:pt x="600" y="108"/>
                  </a:lnTo>
                  <a:lnTo>
                    <a:pt x="596" y="104"/>
                  </a:lnTo>
                  <a:lnTo>
                    <a:pt x="600" y="102"/>
                  </a:lnTo>
                  <a:lnTo>
                    <a:pt x="602" y="98"/>
                  </a:lnTo>
                  <a:lnTo>
                    <a:pt x="600" y="98"/>
                  </a:lnTo>
                  <a:lnTo>
                    <a:pt x="602" y="94"/>
                  </a:lnTo>
                  <a:lnTo>
                    <a:pt x="602" y="90"/>
                  </a:lnTo>
                  <a:lnTo>
                    <a:pt x="606" y="90"/>
                  </a:lnTo>
                  <a:lnTo>
                    <a:pt x="606" y="86"/>
                  </a:lnTo>
                  <a:lnTo>
                    <a:pt x="606" y="82"/>
                  </a:lnTo>
                  <a:lnTo>
                    <a:pt x="610" y="78"/>
                  </a:lnTo>
                  <a:lnTo>
                    <a:pt x="614" y="78"/>
                  </a:lnTo>
                  <a:lnTo>
                    <a:pt x="618" y="82"/>
                  </a:lnTo>
                  <a:lnTo>
                    <a:pt x="622" y="82"/>
                  </a:lnTo>
                  <a:lnTo>
                    <a:pt x="626" y="82"/>
                  </a:lnTo>
                  <a:lnTo>
                    <a:pt x="628" y="82"/>
                  </a:lnTo>
                  <a:lnTo>
                    <a:pt x="632" y="78"/>
                  </a:lnTo>
                  <a:lnTo>
                    <a:pt x="636" y="78"/>
                  </a:lnTo>
                  <a:lnTo>
                    <a:pt x="636" y="74"/>
                  </a:lnTo>
                  <a:lnTo>
                    <a:pt x="640" y="74"/>
                  </a:lnTo>
                  <a:lnTo>
                    <a:pt x="644" y="74"/>
                  </a:lnTo>
                  <a:lnTo>
                    <a:pt x="648" y="72"/>
                  </a:lnTo>
                  <a:lnTo>
                    <a:pt x="648" y="68"/>
                  </a:lnTo>
                  <a:lnTo>
                    <a:pt x="644" y="68"/>
                  </a:lnTo>
                  <a:lnTo>
                    <a:pt x="644" y="64"/>
                  </a:lnTo>
                  <a:lnTo>
                    <a:pt x="648" y="64"/>
                  </a:lnTo>
                  <a:lnTo>
                    <a:pt x="648" y="60"/>
                  </a:lnTo>
                  <a:lnTo>
                    <a:pt x="652" y="60"/>
                  </a:lnTo>
                  <a:lnTo>
                    <a:pt x="652" y="56"/>
                  </a:lnTo>
                  <a:lnTo>
                    <a:pt x="652" y="52"/>
                  </a:lnTo>
                  <a:lnTo>
                    <a:pt x="656" y="48"/>
                  </a:lnTo>
                  <a:lnTo>
                    <a:pt x="656" y="46"/>
                  </a:lnTo>
                  <a:lnTo>
                    <a:pt x="656" y="42"/>
                  </a:lnTo>
                  <a:lnTo>
                    <a:pt x="658" y="42"/>
                  </a:lnTo>
                  <a:lnTo>
                    <a:pt x="658" y="38"/>
                  </a:lnTo>
                  <a:lnTo>
                    <a:pt x="662" y="38"/>
                  </a:lnTo>
                  <a:lnTo>
                    <a:pt x="662" y="34"/>
                  </a:lnTo>
                  <a:lnTo>
                    <a:pt x="666" y="34"/>
                  </a:lnTo>
                  <a:lnTo>
                    <a:pt x="666" y="30"/>
                  </a:lnTo>
                  <a:lnTo>
                    <a:pt x="666" y="26"/>
                  </a:lnTo>
                  <a:lnTo>
                    <a:pt x="666" y="22"/>
                  </a:lnTo>
                  <a:lnTo>
                    <a:pt x="666" y="18"/>
                  </a:lnTo>
                  <a:lnTo>
                    <a:pt x="662" y="18"/>
                  </a:lnTo>
                  <a:lnTo>
                    <a:pt x="658" y="18"/>
                  </a:lnTo>
                  <a:lnTo>
                    <a:pt x="656" y="18"/>
                  </a:lnTo>
                  <a:lnTo>
                    <a:pt x="658" y="16"/>
                  </a:lnTo>
                  <a:lnTo>
                    <a:pt x="662" y="12"/>
                  </a:lnTo>
                  <a:lnTo>
                    <a:pt x="666" y="8"/>
                  </a:lnTo>
                  <a:lnTo>
                    <a:pt x="670" y="4"/>
                  </a:lnTo>
                  <a:lnTo>
                    <a:pt x="674" y="4"/>
                  </a:lnTo>
                  <a:lnTo>
                    <a:pt x="676" y="4"/>
                  </a:lnTo>
                  <a:lnTo>
                    <a:pt x="680" y="4"/>
                  </a:lnTo>
                  <a:lnTo>
                    <a:pt x="680" y="0"/>
                  </a:lnTo>
                  <a:lnTo>
                    <a:pt x="684" y="0"/>
                  </a:lnTo>
                  <a:lnTo>
                    <a:pt x="688" y="0"/>
                  </a:lnTo>
                  <a:lnTo>
                    <a:pt x="692" y="0"/>
                  </a:lnTo>
                  <a:lnTo>
                    <a:pt x="696" y="0"/>
                  </a:lnTo>
                  <a:lnTo>
                    <a:pt x="698" y="0"/>
                  </a:lnTo>
                  <a:lnTo>
                    <a:pt x="702" y="0"/>
                  </a:lnTo>
                  <a:lnTo>
                    <a:pt x="706" y="0"/>
                  </a:lnTo>
                  <a:lnTo>
                    <a:pt x="710" y="0"/>
                  </a:lnTo>
                  <a:lnTo>
                    <a:pt x="714" y="0"/>
                  </a:lnTo>
                  <a:lnTo>
                    <a:pt x="714" y="4"/>
                  </a:lnTo>
                  <a:lnTo>
                    <a:pt x="718" y="4"/>
                  </a:lnTo>
                  <a:lnTo>
                    <a:pt x="718" y="8"/>
                  </a:lnTo>
                  <a:lnTo>
                    <a:pt x="722" y="8"/>
                  </a:lnTo>
                  <a:lnTo>
                    <a:pt x="726" y="8"/>
                  </a:lnTo>
                  <a:lnTo>
                    <a:pt x="728" y="8"/>
                  </a:lnTo>
                  <a:lnTo>
                    <a:pt x="732" y="8"/>
                  </a:lnTo>
                  <a:lnTo>
                    <a:pt x="736" y="8"/>
                  </a:lnTo>
                  <a:lnTo>
                    <a:pt x="736" y="12"/>
                  </a:lnTo>
                  <a:lnTo>
                    <a:pt x="740" y="16"/>
                  </a:lnTo>
                  <a:lnTo>
                    <a:pt x="744" y="16"/>
                  </a:lnTo>
                  <a:lnTo>
                    <a:pt x="740" y="16"/>
                  </a:lnTo>
                  <a:lnTo>
                    <a:pt x="740" y="18"/>
                  </a:lnTo>
                  <a:lnTo>
                    <a:pt x="744" y="18"/>
                  </a:lnTo>
                  <a:lnTo>
                    <a:pt x="744" y="22"/>
                  </a:lnTo>
                  <a:lnTo>
                    <a:pt x="744" y="26"/>
                  </a:lnTo>
                  <a:lnTo>
                    <a:pt x="748" y="26"/>
                  </a:lnTo>
                  <a:lnTo>
                    <a:pt x="748" y="30"/>
                  </a:lnTo>
                  <a:lnTo>
                    <a:pt x="748" y="34"/>
                  </a:lnTo>
                  <a:lnTo>
                    <a:pt x="748" y="38"/>
                  </a:lnTo>
                  <a:lnTo>
                    <a:pt x="752" y="38"/>
                  </a:lnTo>
                  <a:lnTo>
                    <a:pt x="752" y="42"/>
                  </a:lnTo>
                  <a:lnTo>
                    <a:pt x="752" y="46"/>
                  </a:lnTo>
                  <a:lnTo>
                    <a:pt x="756" y="46"/>
                  </a:lnTo>
                  <a:lnTo>
                    <a:pt x="752" y="46"/>
                  </a:lnTo>
                  <a:lnTo>
                    <a:pt x="752" y="48"/>
                  </a:lnTo>
                  <a:lnTo>
                    <a:pt x="756" y="48"/>
                  </a:lnTo>
                  <a:lnTo>
                    <a:pt x="756" y="46"/>
                  </a:lnTo>
                  <a:lnTo>
                    <a:pt x="756" y="48"/>
                  </a:lnTo>
                  <a:lnTo>
                    <a:pt x="756" y="52"/>
                  </a:lnTo>
                  <a:lnTo>
                    <a:pt x="756" y="56"/>
                  </a:lnTo>
                  <a:lnTo>
                    <a:pt x="758" y="56"/>
                  </a:lnTo>
                  <a:lnTo>
                    <a:pt x="758" y="60"/>
                  </a:lnTo>
                  <a:lnTo>
                    <a:pt x="758" y="64"/>
                  </a:lnTo>
                  <a:lnTo>
                    <a:pt x="758" y="68"/>
                  </a:lnTo>
                  <a:lnTo>
                    <a:pt x="762" y="68"/>
                  </a:lnTo>
                  <a:lnTo>
                    <a:pt x="762" y="72"/>
                  </a:lnTo>
                  <a:lnTo>
                    <a:pt x="762" y="74"/>
                  </a:lnTo>
                  <a:lnTo>
                    <a:pt x="762" y="78"/>
                  </a:lnTo>
                  <a:lnTo>
                    <a:pt x="766" y="78"/>
                  </a:lnTo>
                  <a:lnTo>
                    <a:pt x="766" y="82"/>
                  </a:lnTo>
                  <a:lnTo>
                    <a:pt x="770" y="82"/>
                  </a:lnTo>
                  <a:lnTo>
                    <a:pt x="774" y="82"/>
                  </a:lnTo>
                  <a:lnTo>
                    <a:pt x="778" y="82"/>
                  </a:lnTo>
                  <a:lnTo>
                    <a:pt x="782" y="82"/>
                  </a:lnTo>
                  <a:lnTo>
                    <a:pt x="782" y="86"/>
                  </a:lnTo>
                  <a:lnTo>
                    <a:pt x="784" y="86"/>
                  </a:lnTo>
                  <a:lnTo>
                    <a:pt x="788" y="86"/>
                  </a:lnTo>
                  <a:lnTo>
                    <a:pt x="792" y="86"/>
                  </a:lnTo>
                  <a:lnTo>
                    <a:pt x="792" y="90"/>
                  </a:lnTo>
                  <a:lnTo>
                    <a:pt x="796" y="94"/>
                  </a:lnTo>
                  <a:lnTo>
                    <a:pt x="800" y="98"/>
                  </a:lnTo>
                  <a:lnTo>
                    <a:pt x="804" y="98"/>
                  </a:lnTo>
                  <a:lnTo>
                    <a:pt x="808" y="98"/>
                  </a:lnTo>
                  <a:lnTo>
                    <a:pt x="808" y="102"/>
                  </a:lnTo>
                  <a:lnTo>
                    <a:pt x="804" y="102"/>
                  </a:lnTo>
                  <a:lnTo>
                    <a:pt x="808" y="104"/>
                  </a:lnTo>
                  <a:lnTo>
                    <a:pt x="808" y="108"/>
                  </a:lnTo>
                  <a:lnTo>
                    <a:pt x="808" y="112"/>
                  </a:lnTo>
                  <a:lnTo>
                    <a:pt x="808" y="116"/>
                  </a:lnTo>
                  <a:lnTo>
                    <a:pt x="812" y="116"/>
                  </a:lnTo>
                  <a:lnTo>
                    <a:pt x="812" y="120"/>
                  </a:lnTo>
                  <a:lnTo>
                    <a:pt x="812" y="124"/>
                  </a:lnTo>
                  <a:lnTo>
                    <a:pt x="814" y="120"/>
                  </a:lnTo>
                  <a:lnTo>
                    <a:pt x="818" y="120"/>
                  </a:lnTo>
                  <a:lnTo>
                    <a:pt x="818" y="124"/>
                  </a:lnTo>
                  <a:lnTo>
                    <a:pt x="822" y="124"/>
                  </a:lnTo>
                  <a:lnTo>
                    <a:pt x="826" y="124"/>
                  </a:lnTo>
                  <a:lnTo>
                    <a:pt x="826" y="120"/>
                  </a:lnTo>
                  <a:lnTo>
                    <a:pt x="830" y="120"/>
                  </a:lnTo>
                  <a:lnTo>
                    <a:pt x="834" y="120"/>
                  </a:lnTo>
                  <a:lnTo>
                    <a:pt x="834" y="116"/>
                  </a:lnTo>
                  <a:lnTo>
                    <a:pt x="838" y="116"/>
                  </a:lnTo>
                  <a:lnTo>
                    <a:pt x="840" y="112"/>
                  </a:lnTo>
                  <a:lnTo>
                    <a:pt x="844" y="112"/>
                  </a:lnTo>
                  <a:lnTo>
                    <a:pt x="848" y="112"/>
                  </a:lnTo>
                  <a:lnTo>
                    <a:pt x="852" y="108"/>
                  </a:lnTo>
                  <a:lnTo>
                    <a:pt x="856" y="108"/>
                  </a:lnTo>
                  <a:lnTo>
                    <a:pt x="860" y="108"/>
                  </a:lnTo>
                  <a:lnTo>
                    <a:pt x="864" y="108"/>
                  </a:lnTo>
                  <a:lnTo>
                    <a:pt x="864" y="112"/>
                  </a:lnTo>
                  <a:lnTo>
                    <a:pt x="864" y="116"/>
                  </a:lnTo>
                  <a:lnTo>
                    <a:pt x="864" y="120"/>
                  </a:lnTo>
                  <a:lnTo>
                    <a:pt x="864" y="128"/>
                  </a:lnTo>
                  <a:lnTo>
                    <a:pt x="860" y="128"/>
                  </a:lnTo>
                  <a:lnTo>
                    <a:pt x="856" y="128"/>
                  </a:lnTo>
                  <a:lnTo>
                    <a:pt x="856" y="130"/>
                  </a:lnTo>
                  <a:lnTo>
                    <a:pt x="856" y="134"/>
                  </a:lnTo>
                  <a:lnTo>
                    <a:pt x="856" y="138"/>
                  </a:lnTo>
                  <a:lnTo>
                    <a:pt x="856" y="142"/>
                  </a:lnTo>
                  <a:lnTo>
                    <a:pt x="852" y="142"/>
                  </a:lnTo>
                  <a:lnTo>
                    <a:pt x="852" y="146"/>
                  </a:lnTo>
                  <a:lnTo>
                    <a:pt x="852" y="150"/>
                  </a:lnTo>
                  <a:lnTo>
                    <a:pt x="852" y="154"/>
                  </a:lnTo>
                  <a:lnTo>
                    <a:pt x="848" y="154"/>
                  </a:lnTo>
                  <a:lnTo>
                    <a:pt x="848" y="158"/>
                  </a:lnTo>
                  <a:lnTo>
                    <a:pt x="848" y="160"/>
                  </a:lnTo>
                  <a:lnTo>
                    <a:pt x="848" y="164"/>
                  </a:lnTo>
                  <a:lnTo>
                    <a:pt x="844" y="164"/>
                  </a:lnTo>
                  <a:lnTo>
                    <a:pt x="840" y="164"/>
                  </a:lnTo>
                  <a:lnTo>
                    <a:pt x="840" y="168"/>
                  </a:lnTo>
                  <a:lnTo>
                    <a:pt x="840" y="172"/>
                  </a:lnTo>
                  <a:lnTo>
                    <a:pt x="840" y="176"/>
                  </a:lnTo>
                  <a:lnTo>
                    <a:pt x="838" y="176"/>
                  </a:lnTo>
                  <a:lnTo>
                    <a:pt x="834" y="172"/>
                  </a:lnTo>
                  <a:lnTo>
                    <a:pt x="830" y="172"/>
                  </a:lnTo>
                  <a:lnTo>
                    <a:pt x="826" y="172"/>
                  </a:lnTo>
                  <a:lnTo>
                    <a:pt x="826" y="168"/>
                  </a:lnTo>
                  <a:lnTo>
                    <a:pt x="822" y="168"/>
                  </a:lnTo>
                  <a:lnTo>
                    <a:pt x="822" y="172"/>
                  </a:lnTo>
                  <a:lnTo>
                    <a:pt x="822" y="176"/>
                  </a:lnTo>
                  <a:lnTo>
                    <a:pt x="818" y="176"/>
                  </a:lnTo>
                  <a:lnTo>
                    <a:pt x="814" y="176"/>
                  </a:lnTo>
                  <a:lnTo>
                    <a:pt x="814" y="180"/>
                  </a:lnTo>
                  <a:lnTo>
                    <a:pt x="814" y="176"/>
                  </a:lnTo>
                  <a:lnTo>
                    <a:pt x="812" y="180"/>
                  </a:lnTo>
                  <a:lnTo>
                    <a:pt x="812" y="184"/>
                  </a:lnTo>
                  <a:lnTo>
                    <a:pt x="814" y="184"/>
                  </a:lnTo>
                  <a:lnTo>
                    <a:pt x="814" y="190"/>
                  </a:lnTo>
                  <a:lnTo>
                    <a:pt x="814" y="194"/>
                  </a:lnTo>
                  <a:lnTo>
                    <a:pt x="814" y="198"/>
                  </a:lnTo>
                  <a:lnTo>
                    <a:pt x="814" y="206"/>
                  </a:lnTo>
                  <a:lnTo>
                    <a:pt x="814" y="210"/>
                  </a:lnTo>
                  <a:lnTo>
                    <a:pt x="814" y="214"/>
                  </a:lnTo>
                  <a:lnTo>
                    <a:pt x="814" y="216"/>
                  </a:lnTo>
                  <a:lnTo>
                    <a:pt x="812" y="216"/>
                  </a:lnTo>
                  <a:lnTo>
                    <a:pt x="812" y="220"/>
                  </a:lnTo>
                  <a:lnTo>
                    <a:pt x="812" y="216"/>
                  </a:lnTo>
                  <a:lnTo>
                    <a:pt x="808" y="216"/>
                  </a:lnTo>
                  <a:lnTo>
                    <a:pt x="808" y="220"/>
                  </a:lnTo>
                  <a:lnTo>
                    <a:pt x="804" y="220"/>
                  </a:lnTo>
                  <a:lnTo>
                    <a:pt x="808" y="224"/>
                  </a:lnTo>
                  <a:lnTo>
                    <a:pt x="808" y="228"/>
                  </a:lnTo>
                  <a:lnTo>
                    <a:pt x="804" y="228"/>
                  </a:lnTo>
                  <a:lnTo>
                    <a:pt x="804" y="224"/>
                  </a:lnTo>
                  <a:lnTo>
                    <a:pt x="800" y="220"/>
                  </a:lnTo>
                  <a:lnTo>
                    <a:pt x="800" y="216"/>
                  </a:lnTo>
                  <a:lnTo>
                    <a:pt x="796" y="216"/>
                  </a:lnTo>
                  <a:lnTo>
                    <a:pt x="796" y="220"/>
                  </a:lnTo>
                  <a:lnTo>
                    <a:pt x="792" y="220"/>
                  </a:lnTo>
                  <a:lnTo>
                    <a:pt x="792" y="224"/>
                  </a:lnTo>
                  <a:lnTo>
                    <a:pt x="792" y="228"/>
                  </a:lnTo>
                  <a:lnTo>
                    <a:pt x="788" y="228"/>
                  </a:lnTo>
                  <a:lnTo>
                    <a:pt x="784" y="228"/>
                  </a:lnTo>
                  <a:lnTo>
                    <a:pt x="784" y="230"/>
                  </a:lnTo>
                  <a:lnTo>
                    <a:pt x="784" y="234"/>
                  </a:lnTo>
                  <a:lnTo>
                    <a:pt x="782" y="234"/>
                  </a:lnTo>
                  <a:lnTo>
                    <a:pt x="778" y="234"/>
                  </a:lnTo>
                  <a:lnTo>
                    <a:pt x="774" y="234"/>
                  </a:lnTo>
                  <a:lnTo>
                    <a:pt x="770" y="234"/>
                  </a:lnTo>
                  <a:lnTo>
                    <a:pt x="770" y="238"/>
                  </a:lnTo>
                  <a:lnTo>
                    <a:pt x="770" y="242"/>
                  </a:lnTo>
                  <a:lnTo>
                    <a:pt x="774" y="242"/>
                  </a:lnTo>
                  <a:lnTo>
                    <a:pt x="774" y="246"/>
                  </a:lnTo>
                  <a:lnTo>
                    <a:pt x="770" y="246"/>
                  </a:lnTo>
                  <a:lnTo>
                    <a:pt x="766" y="246"/>
                  </a:lnTo>
                  <a:lnTo>
                    <a:pt x="762" y="246"/>
                  </a:lnTo>
                  <a:lnTo>
                    <a:pt x="758" y="246"/>
                  </a:lnTo>
                  <a:lnTo>
                    <a:pt x="758" y="242"/>
                  </a:lnTo>
                  <a:lnTo>
                    <a:pt x="756" y="242"/>
                  </a:lnTo>
                  <a:lnTo>
                    <a:pt x="756" y="238"/>
                  </a:lnTo>
                  <a:lnTo>
                    <a:pt x="752" y="238"/>
                  </a:lnTo>
                  <a:lnTo>
                    <a:pt x="752" y="242"/>
                  </a:lnTo>
                  <a:lnTo>
                    <a:pt x="748" y="242"/>
                  </a:lnTo>
                  <a:lnTo>
                    <a:pt x="748" y="246"/>
                  </a:lnTo>
                  <a:lnTo>
                    <a:pt x="748" y="250"/>
                  </a:lnTo>
                  <a:lnTo>
                    <a:pt x="744" y="250"/>
                  </a:lnTo>
                  <a:lnTo>
                    <a:pt x="744" y="254"/>
                  </a:lnTo>
                  <a:lnTo>
                    <a:pt x="740" y="256"/>
                  </a:lnTo>
                  <a:lnTo>
                    <a:pt x="736" y="256"/>
                  </a:lnTo>
                  <a:lnTo>
                    <a:pt x="736" y="260"/>
                  </a:lnTo>
                  <a:lnTo>
                    <a:pt x="732" y="260"/>
                  </a:lnTo>
                  <a:lnTo>
                    <a:pt x="728" y="260"/>
                  </a:lnTo>
                  <a:lnTo>
                    <a:pt x="728" y="264"/>
                  </a:lnTo>
                  <a:lnTo>
                    <a:pt x="726" y="264"/>
                  </a:lnTo>
                  <a:lnTo>
                    <a:pt x="728" y="264"/>
                  </a:lnTo>
                  <a:lnTo>
                    <a:pt x="726" y="264"/>
                  </a:lnTo>
                  <a:lnTo>
                    <a:pt x="722" y="268"/>
                  </a:lnTo>
                  <a:lnTo>
                    <a:pt x="718" y="272"/>
                  </a:lnTo>
                  <a:lnTo>
                    <a:pt x="718" y="276"/>
                  </a:lnTo>
                  <a:lnTo>
                    <a:pt x="714" y="276"/>
                  </a:lnTo>
                  <a:lnTo>
                    <a:pt x="710" y="276"/>
                  </a:lnTo>
                  <a:lnTo>
                    <a:pt x="706" y="276"/>
                  </a:lnTo>
                  <a:lnTo>
                    <a:pt x="706" y="280"/>
                  </a:lnTo>
                  <a:lnTo>
                    <a:pt x="702" y="280"/>
                  </a:lnTo>
                  <a:lnTo>
                    <a:pt x="702" y="276"/>
                  </a:lnTo>
                  <a:lnTo>
                    <a:pt x="702" y="280"/>
                  </a:lnTo>
                  <a:lnTo>
                    <a:pt x="698" y="280"/>
                  </a:lnTo>
                  <a:lnTo>
                    <a:pt x="696" y="284"/>
                  </a:lnTo>
                  <a:lnTo>
                    <a:pt x="692" y="284"/>
                  </a:lnTo>
                  <a:lnTo>
                    <a:pt x="692" y="286"/>
                  </a:lnTo>
                  <a:lnTo>
                    <a:pt x="688" y="284"/>
                  </a:lnTo>
                  <a:lnTo>
                    <a:pt x="688" y="286"/>
                  </a:lnTo>
                  <a:lnTo>
                    <a:pt x="684" y="290"/>
                  </a:lnTo>
                  <a:lnTo>
                    <a:pt x="680" y="290"/>
                  </a:lnTo>
                  <a:lnTo>
                    <a:pt x="680" y="294"/>
                  </a:lnTo>
                  <a:lnTo>
                    <a:pt x="676" y="298"/>
                  </a:lnTo>
                  <a:lnTo>
                    <a:pt x="674" y="298"/>
                  </a:lnTo>
                  <a:lnTo>
                    <a:pt x="674" y="294"/>
                  </a:lnTo>
                  <a:lnTo>
                    <a:pt x="676" y="294"/>
                  </a:lnTo>
                  <a:lnTo>
                    <a:pt x="676" y="290"/>
                  </a:lnTo>
                  <a:lnTo>
                    <a:pt x="680" y="290"/>
                  </a:lnTo>
                  <a:lnTo>
                    <a:pt x="676" y="290"/>
                  </a:lnTo>
                  <a:lnTo>
                    <a:pt x="676" y="286"/>
                  </a:lnTo>
                  <a:lnTo>
                    <a:pt x="680" y="286"/>
                  </a:lnTo>
                  <a:lnTo>
                    <a:pt x="676" y="286"/>
                  </a:lnTo>
                  <a:lnTo>
                    <a:pt x="676" y="284"/>
                  </a:lnTo>
                  <a:lnTo>
                    <a:pt x="674" y="284"/>
                  </a:lnTo>
                  <a:lnTo>
                    <a:pt x="676" y="280"/>
                  </a:lnTo>
                  <a:lnTo>
                    <a:pt x="676" y="276"/>
                  </a:lnTo>
                  <a:lnTo>
                    <a:pt x="680" y="276"/>
                  </a:lnTo>
                  <a:lnTo>
                    <a:pt x="684" y="272"/>
                  </a:lnTo>
                  <a:lnTo>
                    <a:pt x="684" y="268"/>
                  </a:lnTo>
                  <a:lnTo>
                    <a:pt x="688" y="268"/>
                  </a:lnTo>
                  <a:lnTo>
                    <a:pt x="688" y="264"/>
                  </a:lnTo>
                  <a:lnTo>
                    <a:pt x="684" y="260"/>
                  </a:lnTo>
                  <a:lnTo>
                    <a:pt x="684" y="256"/>
                  </a:lnTo>
                  <a:lnTo>
                    <a:pt x="680" y="256"/>
                  </a:lnTo>
                  <a:lnTo>
                    <a:pt x="676" y="256"/>
                  </a:lnTo>
                  <a:lnTo>
                    <a:pt x="674" y="256"/>
                  </a:lnTo>
                  <a:lnTo>
                    <a:pt x="670" y="256"/>
                  </a:lnTo>
                  <a:lnTo>
                    <a:pt x="670" y="260"/>
                  </a:lnTo>
                  <a:lnTo>
                    <a:pt x="666" y="264"/>
                  </a:lnTo>
                  <a:lnTo>
                    <a:pt x="662" y="264"/>
                  </a:lnTo>
                  <a:lnTo>
                    <a:pt x="662" y="268"/>
                  </a:lnTo>
                  <a:lnTo>
                    <a:pt x="658" y="272"/>
                  </a:lnTo>
                  <a:lnTo>
                    <a:pt x="656" y="272"/>
                  </a:lnTo>
                  <a:lnTo>
                    <a:pt x="656" y="276"/>
                  </a:lnTo>
                  <a:lnTo>
                    <a:pt x="652" y="276"/>
                  </a:lnTo>
                  <a:lnTo>
                    <a:pt x="648" y="280"/>
                  </a:lnTo>
                  <a:lnTo>
                    <a:pt x="648" y="284"/>
                  </a:lnTo>
                  <a:lnTo>
                    <a:pt x="648" y="286"/>
                  </a:lnTo>
                  <a:lnTo>
                    <a:pt x="644" y="286"/>
                  </a:lnTo>
                  <a:lnTo>
                    <a:pt x="644" y="290"/>
                  </a:lnTo>
                  <a:lnTo>
                    <a:pt x="640" y="290"/>
                  </a:lnTo>
                  <a:lnTo>
                    <a:pt x="636" y="290"/>
                  </a:lnTo>
                  <a:lnTo>
                    <a:pt x="632" y="290"/>
                  </a:lnTo>
                  <a:lnTo>
                    <a:pt x="628" y="290"/>
                  </a:lnTo>
                  <a:lnTo>
                    <a:pt x="628" y="286"/>
                  </a:lnTo>
                  <a:lnTo>
                    <a:pt x="626" y="290"/>
                  </a:lnTo>
                  <a:lnTo>
                    <a:pt x="622" y="294"/>
                  </a:lnTo>
                  <a:lnTo>
                    <a:pt x="622" y="298"/>
                  </a:lnTo>
                  <a:lnTo>
                    <a:pt x="622" y="302"/>
                  </a:lnTo>
                  <a:lnTo>
                    <a:pt x="622" y="306"/>
                  </a:lnTo>
                  <a:lnTo>
                    <a:pt x="626" y="306"/>
                  </a:lnTo>
                  <a:lnTo>
                    <a:pt x="626" y="310"/>
                  </a:lnTo>
                  <a:lnTo>
                    <a:pt x="628" y="310"/>
                  </a:lnTo>
                  <a:lnTo>
                    <a:pt x="632" y="310"/>
                  </a:lnTo>
                  <a:lnTo>
                    <a:pt x="636" y="310"/>
                  </a:lnTo>
                  <a:lnTo>
                    <a:pt x="640" y="310"/>
                  </a:lnTo>
                  <a:lnTo>
                    <a:pt x="640" y="312"/>
                  </a:lnTo>
                  <a:lnTo>
                    <a:pt x="644" y="312"/>
                  </a:lnTo>
                  <a:lnTo>
                    <a:pt x="644" y="316"/>
                  </a:lnTo>
                  <a:lnTo>
                    <a:pt x="644" y="320"/>
                  </a:lnTo>
                  <a:lnTo>
                    <a:pt x="640" y="320"/>
                  </a:lnTo>
                  <a:lnTo>
                    <a:pt x="640" y="324"/>
                  </a:lnTo>
                  <a:lnTo>
                    <a:pt x="644" y="328"/>
                  </a:lnTo>
                  <a:lnTo>
                    <a:pt x="648" y="328"/>
                  </a:lnTo>
                  <a:lnTo>
                    <a:pt x="652" y="328"/>
                  </a:lnTo>
                  <a:lnTo>
                    <a:pt x="656" y="328"/>
                  </a:lnTo>
                  <a:lnTo>
                    <a:pt x="656" y="324"/>
                  </a:lnTo>
                  <a:lnTo>
                    <a:pt x="658" y="324"/>
                  </a:lnTo>
                  <a:lnTo>
                    <a:pt x="658" y="320"/>
                  </a:lnTo>
                  <a:lnTo>
                    <a:pt x="662" y="320"/>
                  </a:lnTo>
                  <a:lnTo>
                    <a:pt x="662" y="316"/>
                  </a:lnTo>
                  <a:lnTo>
                    <a:pt x="666" y="316"/>
                  </a:lnTo>
                  <a:lnTo>
                    <a:pt x="670" y="316"/>
                  </a:lnTo>
                  <a:lnTo>
                    <a:pt x="674" y="320"/>
                  </a:lnTo>
                  <a:lnTo>
                    <a:pt x="676" y="320"/>
                  </a:lnTo>
                  <a:lnTo>
                    <a:pt x="676" y="324"/>
                  </a:lnTo>
                  <a:lnTo>
                    <a:pt x="680" y="324"/>
                  </a:lnTo>
                  <a:lnTo>
                    <a:pt x="684" y="324"/>
                  </a:lnTo>
                  <a:lnTo>
                    <a:pt x="684" y="320"/>
                  </a:lnTo>
                  <a:lnTo>
                    <a:pt x="688" y="320"/>
                  </a:lnTo>
                  <a:lnTo>
                    <a:pt x="684" y="320"/>
                  </a:lnTo>
                  <a:lnTo>
                    <a:pt x="688" y="324"/>
                  </a:lnTo>
                  <a:lnTo>
                    <a:pt x="692" y="324"/>
                  </a:lnTo>
                  <a:lnTo>
                    <a:pt x="692" y="328"/>
                  </a:lnTo>
                  <a:lnTo>
                    <a:pt x="688" y="332"/>
                  </a:lnTo>
                  <a:lnTo>
                    <a:pt x="692" y="332"/>
                  </a:lnTo>
                  <a:lnTo>
                    <a:pt x="688" y="336"/>
                  </a:lnTo>
                  <a:lnTo>
                    <a:pt x="688" y="332"/>
                  </a:lnTo>
                  <a:lnTo>
                    <a:pt x="684" y="332"/>
                  </a:lnTo>
                  <a:lnTo>
                    <a:pt x="680" y="336"/>
                  </a:lnTo>
                  <a:lnTo>
                    <a:pt x="676" y="336"/>
                  </a:lnTo>
                  <a:lnTo>
                    <a:pt x="674" y="336"/>
                  </a:lnTo>
                  <a:lnTo>
                    <a:pt x="674" y="340"/>
                  </a:lnTo>
                  <a:lnTo>
                    <a:pt x="670" y="340"/>
                  </a:lnTo>
                  <a:lnTo>
                    <a:pt x="666" y="340"/>
                  </a:lnTo>
                  <a:lnTo>
                    <a:pt x="670" y="340"/>
                  </a:lnTo>
                  <a:lnTo>
                    <a:pt x="670" y="342"/>
                  </a:lnTo>
                  <a:lnTo>
                    <a:pt x="666" y="342"/>
                  </a:lnTo>
                  <a:lnTo>
                    <a:pt x="666" y="346"/>
                  </a:lnTo>
                  <a:lnTo>
                    <a:pt x="662" y="350"/>
                  </a:lnTo>
                  <a:lnTo>
                    <a:pt x="658" y="350"/>
                  </a:lnTo>
                  <a:lnTo>
                    <a:pt x="662" y="346"/>
                  </a:lnTo>
                  <a:lnTo>
                    <a:pt x="658" y="346"/>
                  </a:lnTo>
                  <a:lnTo>
                    <a:pt x="658" y="350"/>
                  </a:lnTo>
                  <a:lnTo>
                    <a:pt x="658" y="354"/>
                  </a:lnTo>
                  <a:lnTo>
                    <a:pt x="656" y="354"/>
                  </a:lnTo>
                  <a:lnTo>
                    <a:pt x="656" y="358"/>
                  </a:lnTo>
                  <a:lnTo>
                    <a:pt x="652" y="358"/>
                  </a:lnTo>
                  <a:lnTo>
                    <a:pt x="652" y="362"/>
                  </a:lnTo>
                  <a:lnTo>
                    <a:pt x="648" y="362"/>
                  </a:lnTo>
                  <a:lnTo>
                    <a:pt x="648" y="366"/>
                  </a:lnTo>
                  <a:lnTo>
                    <a:pt x="648" y="368"/>
                  </a:lnTo>
                  <a:lnTo>
                    <a:pt x="644" y="368"/>
                  </a:lnTo>
                  <a:lnTo>
                    <a:pt x="644" y="372"/>
                  </a:lnTo>
                  <a:lnTo>
                    <a:pt x="648" y="372"/>
                  </a:lnTo>
                  <a:lnTo>
                    <a:pt x="648" y="376"/>
                  </a:lnTo>
                  <a:lnTo>
                    <a:pt x="652" y="376"/>
                  </a:lnTo>
                  <a:lnTo>
                    <a:pt x="656" y="380"/>
                  </a:lnTo>
                  <a:lnTo>
                    <a:pt x="658" y="380"/>
                  </a:lnTo>
                  <a:lnTo>
                    <a:pt x="662" y="384"/>
                  </a:lnTo>
                  <a:lnTo>
                    <a:pt x="662" y="388"/>
                  </a:lnTo>
                  <a:lnTo>
                    <a:pt x="662" y="392"/>
                  </a:lnTo>
                  <a:lnTo>
                    <a:pt x="662" y="396"/>
                  </a:lnTo>
                  <a:lnTo>
                    <a:pt x="666" y="398"/>
                  </a:lnTo>
                  <a:lnTo>
                    <a:pt x="666" y="402"/>
                  </a:lnTo>
                  <a:lnTo>
                    <a:pt x="670" y="406"/>
                  </a:lnTo>
                  <a:lnTo>
                    <a:pt x="670" y="410"/>
                  </a:lnTo>
                  <a:lnTo>
                    <a:pt x="670" y="414"/>
                  </a:lnTo>
                  <a:lnTo>
                    <a:pt x="674" y="414"/>
                  </a:lnTo>
                  <a:lnTo>
                    <a:pt x="674" y="418"/>
                  </a:lnTo>
                  <a:lnTo>
                    <a:pt x="676" y="418"/>
                  </a:lnTo>
                  <a:lnTo>
                    <a:pt x="676" y="422"/>
                  </a:lnTo>
                  <a:lnTo>
                    <a:pt x="680" y="424"/>
                  </a:lnTo>
                  <a:lnTo>
                    <a:pt x="680" y="428"/>
                  </a:lnTo>
                  <a:lnTo>
                    <a:pt x="684" y="428"/>
                  </a:lnTo>
                  <a:lnTo>
                    <a:pt x="684" y="432"/>
                  </a:lnTo>
                  <a:lnTo>
                    <a:pt x="680" y="432"/>
                  </a:lnTo>
                  <a:lnTo>
                    <a:pt x="680" y="428"/>
                  </a:lnTo>
                  <a:lnTo>
                    <a:pt x="676" y="428"/>
                  </a:lnTo>
                  <a:lnTo>
                    <a:pt x="674" y="428"/>
                  </a:lnTo>
                  <a:lnTo>
                    <a:pt x="670" y="428"/>
                  </a:lnTo>
                  <a:lnTo>
                    <a:pt x="670" y="424"/>
                  </a:lnTo>
                  <a:lnTo>
                    <a:pt x="666" y="424"/>
                  </a:lnTo>
                  <a:lnTo>
                    <a:pt x="662" y="422"/>
                  </a:lnTo>
                  <a:lnTo>
                    <a:pt x="662" y="424"/>
                  </a:lnTo>
                  <a:lnTo>
                    <a:pt x="658" y="424"/>
                  </a:lnTo>
                  <a:lnTo>
                    <a:pt x="656" y="424"/>
                  </a:lnTo>
                  <a:lnTo>
                    <a:pt x="656" y="422"/>
                  </a:lnTo>
                  <a:lnTo>
                    <a:pt x="656" y="418"/>
                  </a:lnTo>
                  <a:lnTo>
                    <a:pt x="652" y="418"/>
                  </a:lnTo>
                  <a:lnTo>
                    <a:pt x="652" y="422"/>
                  </a:lnTo>
                  <a:lnTo>
                    <a:pt x="656" y="422"/>
                  </a:lnTo>
                  <a:lnTo>
                    <a:pt x="652" y="422"/>
                  </a:lnTo>
                  <a:lnTo>
                    <a:pt x="656" y="422"/>
                  </a:lnTo>
                  <a:lnTo>
                    <a:pt x="656" y="424"/>
                  </a:lnTo>
                  <a:lnTo>
                    <a:pt x="658" y="424"/>
                  </a:lnTo>
                  <a:lnTo>
                    <a:pt x="662" y="424"/>
                  </a:lnTo>
                  <a:lnTo>
                    <a:pt x="666" y="424"/>
                  </a:lnTo>
                  <a:lnTo>
                    <a:pt x="666" y="428"/>
                  </a:lnTo>
                  <a:lnTo>
                    <a:pt x="670" y="428"/>
                  </a:lnTo>
                  <a:lnTo>
                    <a:pt x="674" y="428"/>
                  </a:lnTo>
                  <a:lnTo>
                    <a:pt x="674" y="432"/>
                  </a:lnTo>
                  <a:lnTo>
                    <a:pt x="676" y="436"/>
                  </a:lnTo>
                  <a:lnTo>
                    <a:pt x="680" y="436"/>
                  </a:lnTo>
                  <a:lnTo>
                    <a:pt x="680" y="440"/>
                  </a:lnTo>
                  <a:lnTo>
                    <a:pt x="680" y="444"/>
                  </a:lnTo>
                  <a:lnTo>
                    <a:pt x="684" y="444"/>
                  </a:lnTo>
                  <a:lnTo>
                    <a:pt x="684" y="448"/>
                  </a:lnTo>
                  <a:lnTo>
                    <a:pt x="680" y="448"/>
                  </a:lnTo>
                  <a:lnTo>
                    <a:pt x="676" y="448"/>
                  </a:lnTo>
                  <a:lnTo>
                    <a:pt x="674" y="448"/>
                  </a:lnTo>
                  <a:lnTo>
                    <a:pt x="674" y="452"/>
                  </a:lnTo>
                  <a:lnTo>
                    <a:pt x="670" y="452"/>
                  </a:lnTo>
                  <a:lnTo>
                    <a:pt x="670" y="454"/>
                  </a:lnTo>
                  <a:lnTo>
                    <a:pt x="666" y="454"/>
                  </a:lnTo>
                  <a:lnTo>
                    <a:pt x="662" y="454"/>
                  </a:lnTo>
                  <a:lnTo>
                    <a:pt x="658" y="458"/>
                  </a:lnTo>
                  <a:lnTo>
                    <a:pt x="662" y="458"/>
                  </a:lnTo>
                  <a:lnTo>
                    <a:pt x="662" y="454"/>
                  </a:lnTo>
                  <a:lnTo>
                    <a:pt x="666" y="458"/>
                  </a:lnTo>
                  <a:lnTo>
                    <a:pt x="666" y="462"/>
                  </a:lnTo>
                  <a:lnTo>
                    <a:pt x="666" y="458"/>
                  </a:lnTo>
                  <a:lnTo>
                    <a:pt x="670" y="458"/>
                  </a:lnTo>
                  <a:lnTo>
                    <a:pt x="674" y="454"/>
                  </a:lnTo>
                  <a:lnTo>
                    <a:pt x="676" y="454"/>
                  </a:lnTo>
                  <a:lnTo>
                    <a:pt x="676" y="458"/>
                  </a:lnTo>
                  <a:lnTo>
                    <a:pt x="680" y="462"/>
                  </a:lnTo>
                  <a:lnTo>
                    <a:pt x="684" y="462"/>
                  </a:lnTo>
                  <a:lnTo>
                    <a:pt x="684" y="466"/>
                  </a:lnTo>
                  <a:lnTo>
                    <a:pt x="680" y="466"/>
                  </a:lnTo>
                  <a:lnTo>
                    <a:pt x="680" y="470"/>
                  </a:lnTo>
                  <a:lnTo>
                    <a:pt x="676" y="470"/>
                  </a:lnTo>
                  <a:lnTo>
                    <a:pt x="676" y="474"/>
                  </a:lnTo>
                  <a:lnTo>
                    <a:pt x="676" y="470"/>
                  </a:lnTo>
                  <a:lnTo>
                    <a:pt x="680" y="470"/>
                  </a:lnTo>
                  <a:lnTo>
                    <a:pt x="684" y="470"/>
                  </a:lnTo>
                  <a:lnTo>
                    <a:pt x="684" y="474"/>
                  </a:lnTo>
                  <a:lnTo>
                    <a:pt x="684" y="478"/>
                  </a:lnTo>
                  <a:lnTo>
                    <a:pt x="680" y="478"/>
                  </a:lnTo>
                  <a:lnTo>
                    <a:pt x="680" y="474"/>
                  </a:lnTo>
                  <a:lnTo>
                    <a:pt x="680" y="478"/>
                  </a:lnTo>
                  <a:lnTo>
                    <a:pt x="676" y="478"/>
                  </a:lnTo>
                  <a:lnTo>
                    <a:pt x="676" y="474"/>
                  </a:lnTo>
                  <a:lnTo>
                    <a:pt x="676" y="478"/>
                  </a:lnTo>
                  <a:lnTo>
                    <a:pt x="680" y="478"/>
                  </a:lnTo>
                  <a:lnTo>
                    <a:pt x="680" y="480"/>
                  </a:lnTo>
                  <a:lnTo>
                    <a:pt x="676" y="480"/>
                  </a:lnTo>
                  <a:lnTo>
                    <a:pt x="680" y="484"/>
                  </a:lnTo>
                  <a:lnTo>
                    <a:pt x="676" y="484"/>
                  </a:lnTo>
                  <a:lnTo>
                    <a:pt x="674" y="484"/>
                  </a:lnTo>
                  <a:lnTo>
                    <a:pt x="676" y="484"/>
                  </a:lnTo>
                  <a:lnTo>
                    <a:pt x="676" y="488"/>
                  </a:lnTo>
                  <a:lnTo>
                    <a:pt x="676" y="492"/>
                  </a:lnTo>
                  <a:lnTo>
                    <a:pt x="680" y="492"/>
                  </a:lnTo>
                  <a:lnTo>
                    <a:pt x="676" y="492"/>
                  </a:lnTo>
                  <a:lnTo>
                    <a:pt x="676" y="496"/>
                  </a:lnTo>
                  <a:lnTo>
                    <a:pt x="674" y="496"/>
                  </a:lnTo>
                  <a:lnTo>
                    <a:pt x="674" y="492"/>
                  </a:lnTo>
                  <a:lnTo>
                    <a:pt x="674" y="496"/>
                  </a:lnTo>
                  <a:lnTo>
                    <a:pt x="670" y="496"/>
                  </a:lnTo>
                  <a:lnTo>
                    <a:pt x="670" y="500"/>
                  </a:lnTo>
                  <a:lnTo>
                    <a:pt x="666" y="496"/>
                  </a:lnTo>
                  <a:lnTo>
                    <a:pt x="666" y="500"/>
                  </a:lnTo>
                  <a:lnTo>
                    <a:pt x="670" y="500"/>
                  </a:lnTo>
                  <a:lnTo>
                    <a:pt x="666" y="500"/>
                  </a:lnTo>
                  <a:lnTo>
                    <a:pt x="666" y="504"/>
                  </a:lnTo>
                  <a:lnTo>
                    <a:pt x="666" y="508"/>
                  </a:lnTo>
                  <a:lnTo>
                    <a:pt x="666" y="510"/>
                  </a:lnTo>
                  <a:lnTo>
                    <a:pt x="662" y="510"/>
                  </a:lnTo>
                  <a:lnTo>
                    <a:pt x="662" y="514"/>
                  </a:lnTo>
                  <a:lnTo>
                    <a:pt x="662" y="510"/>
                  </a:lnTo>
                  <a:lnTo>
                    <a:pt x="662" y="514"/>
                  </a:lnTo>
                  <a:lnTo>
                    <a:pt x="662" y="510"/>
                  </a:lnTo>
                  <a:lnTo>
                    <a:pt x="658" y="510"/>
                  </a:lnTo>
                  <a:lnTo>
                    <a:pt x="662" y="510"/>
                  </a:lnTo>
                  <a:lnTo>
                    <a:pt x="662" y="514"/>
                  </a:lnTo>
                  <a:lnTo>
                    <a:pt x="658" y="514"/>
                  </a:lnTo>
                  <a:lnTo>
                    <a:pt x="658" y="518"/>
                  </a:lnTo>
                  <a:lnTo>
                    <a:pt x="656" y="518"/>
                  </a:lnTo>
                  <a:lnTo>
                    <a:pt x="658" y="518"/>
                  </a:lnTo>
                  <a:lnTo>
                    <a:pt x="658" y="522"/>
                  </a:lnTo>
                  <a:lnTo>
                    <a:pt x="656" y="522"/>
                  </a:lnTo>
                  <a:lnTo>
                    <a:pt x="656" y="526"/>
                  </a:lnTo>
                  <a:lnTo>
                    <a:pt x="656" y="522"/>
                  </a:lnTo>
                  <a:lnTo>
                    <a:pt x="658" y="522"/>
                  </a:lnTo>
                  <a:lnTo>
                    <a:pt x="656" y="518"/>
                  </a:lnTo>
                  <a:lnTo>
                    <a:pt x="656" y="522"/>
                  </a:lnTo>
                  <a:lnTo>
                    <a:pt x="656" y="518"/>
                  </a:lnTo>
                  <a:lnTo>
                    <a:pt x="652" y="518"/>
                  </a:lnTo>
                  <a:lnTo>
                    <a:pt x="652" y="522"/>
                  </a:lnTo>
                  <a:lnTo>
                    <a:pt x="652" y="518"/>
                  </a:lnTo>
                  <a:lnTo>
                    <a:pt x="652" y="522"/>
                  </a:lnTo>
                  <a:lnTo>
                    <a:pt x="652" y="526"/>
                  </a:lnTo>
                  <a:lnTo>
                    <a:pt x="652" y="522"/>
                  </a:lnTo>
                  <a:lnTo>
                    <a:pt x="656" y="526"/>
                  </a:lnTo>
                  <a:lnTo>
                    <a:pt x="652" y="526"/>
                  </a:lnTo>
                  <a:lnTo>
                    <a:pt x="652" y="530"/>
                  </a:lnTo>
                  <a:lnTo>
                    <a:pt x="656" y="526"/>
                  </a:lnTo>
                  <a:lnTo>
                    <a:pt x="656" y="530"/>
                  </a:lnTo>
                  <a:lnTo>
                    <a:pt x="652" y="530"/>
                  </a:lnTo>
                  <a:lnTo>
                    <a:pt x="652" y="534"/>
                  </a:lnTo>
                  <a:lnTo>
                    <a:pt x="648" y="534"/>
                  </a:lnTo>
                  <a:lnTo>
                    <a:pt x="644" y="534"/>
                  </a:lnTo>
                  <a:lnTo>
                    <a:pt x="648" y="534"/>
                  </a:lnTo>
                  <a:lnTo>
                    <a:pt x="648" y="536"/>
                  </a:lnTo>
                  <a:lnTo>
                    <a:pt x="648" y="534"/>
                  </a:lnTo>
                  <a:lnTo>
                    <a:pt x="652" y="534"/>
                  </a:lnTo>
                  <a:lnTo>
                    <a:pt x="652" y="536"/>
                  </a:lnTo>
                  <a:lnTo>
                    <a:pt x="652" y="540"/>
                  </a:lnTo>
                  <a:lnTo>
                    <a:pt x="648" y="540"/>
                  </a:lnTo>
                  <a:lnTo>
                    <a:pt x="652" y="540"/>
                  </a:lnTo>
                  <a:lnTo>
                    <a:pt x="652" y="544"/>
                  </a:lnTo>
                  <a:lnTo>
                    <a:pt x="652" y="548"/>
                  </a:lnTo>
                  <a:lnTo>
                    <a:pt x="652" y="544"/>
                  </a:lnTo>
                  <a:lnTo>
                    <a:pt x="648" y="544"/>
                  </a:lnTo>
                  <a:lnTo>
                    <a:pt x="648" y="540"/>
                  </a:lnTo>
                  <a:lnTo>
                    <a:pt x="648" y="544"/>
                  </a:lnTo>
                  <a:lnTo>
                    <a:pt x="644" y="544"/>
                  </a:lnTo>
                  <a:lnTo>
                    <a:pt x="648" y="548"/>
                  </a:lnTo>
                  <a:lnTo>
                    <a:pt x="644" y="552"/>
                  </a:lnTo>
                  <a:lnTo>
                    <a:pt x="644" y="548"/>
                  </a:lnTo>
                  <a:lnTo>
                    <a:pt x="640" y="548"/>
                  </a:lnTo>
                  <a:lnTo>
                    <a:pt x="640" y="552"/>
                  </a:lnTo>
                  <a:lnTo>
                    <a:pt x="644" y="552"/>
                  </a:lnTo>
                  <a:lnTo>
                    <a:pt x="640" y="556"/>
                  </a:lnTo>
                  <a:lnTo>
                    <a:pt x="636" y="556"/>
                  </a:lnTo>
                  <a:lnTo>
                    <a:pt x="640" y="556"/>
                  </a:lnTo>
                  <a:lnTo>
                    <a:pt x="636" y="552"/>
                  </a:lnTo>
                  <a:lnTo>
                    <a:pt x="636" y="556"/>
                  </a:lnTo>
                  <a:lnTo>
                    <a:pt x="640" y="556"/>
                  </a:lnTo>
                  <a:lnTo>
                    <a:pt x="636" y="560"/>
                  </a:lnTo>
                  <a:lnTo>
                    <a:pt x="632" y="560"/>
                  </a:lnTo>
                  <a:lnTo>
                    <a:pt x="628" y="560"/>
                  </a:lnTo>
                  <a:lnTo>
                    <a:pt x="628" y="564"/>
                  </a:lnTo>
                  <a:lnTo>
                    <a:pt x="626" y="564"/>
                  </a:lnTo>
                  <a:lnTo>
                    <a:pt x="628" y="564"/>
                  </a:lnTo>
                  <a:lnTo>
                    <a:pt x="628" y="566"/>
                  </a:lnTo>
                  <a:lnTo>
                    <a:pt x="626" y="570"/>
                  </a:lnTo>
                  <a:lnTo>
                    <a:pt x="622" y="570"/>
                  </a:lnTo>
                  <a:lnTo>
                    <a:pt x="622" y="574"/>
                  </a:lnTo>
                  <a:lnTo>
                    <a:pt x="618" y="574"/>
                  </a:lnTo>
                  <a:lnTo>
                    <a:pt x="618" y="578"/>
                  </a:lnTo>
                  <a:lnTo>
                    <a:pt x="614" y="578"/>
                  </a:lnTo>
                  <a:lnTo>
                    <a:pt x="610" y="578"/>
                  </a:lnTo>
                  <a:lnTo>
                    <a:pt x="610" y="582"/>
                  </a:lnTo>
                  <a:lnTo>
                    <a:pt x="606" y="582"/>
                  </a:lnTo>
                  <a:lnTo>
                    <a:pt x="610" y="582"/>
                  </a:lnTo>
                  <a:lnTo>
                    <a:pt x="610" y="586"/>
                  </a:lnTo>
                  <a:lnTo>
                    <a:pt x="606" y="586"/>
                  </a:lnTo>
                  <a:lnTo>
                    <a:pt x="606" y="590"/>
                  </a:lnTo>
                  <a:lnTo>
                    <a:pt x="602" y="590"/>
                  </a:lnTo>
                  <a:lnTo>
                    <a:pt x="602" y="592"/>
                  </a:lnTo>
                  <a:lnTo>
                    <a:pt x="600" y="590"/>
                  </a:lnTo>
                  <a:lnTo>
                    <a:pt x="600" y="592"/>
                  </a:lnTo>
                  <a:lnTo>
                    <a:pt x="596" y="592"/>
                  </a:lnTo>
                  <a:lnTo>
                    <a:pt x="596" y="590"/>
                  </a:lnTo>
                  <a:lnTo>
                    <a:pt x="592" y="592"/>
                  </a:lnTo>
                  <a:lnTo>
                    <a:pt x="596" y="592"/>
                  </a:lnTo>
                  <a:lnTo>
                    <a:pt x="592" y="592"/>
                  </a:lnTo>
                  <a:lnTo>
                    <a:pt x="588" y="592"/>
                  </a:lnTo>
                  <a:lnTo>
                    <a:pt x="584" y="592"/>
                  </a:lnTo>
                  <a:lnTo>
                    <a:pt x="584" y="596"/>
                  </a:lnTo>
                  <a:lnTo>
                    <a:pt x="580" y="596"/>
                  </a:lnTo>
                  <a:lnTo>
                    <a:pt x="580" y="592"/>
                  </a:lnTo>
                  <a:lnTo>
                    <a:pt x="584" y="592"/>
                  </a:lnTo>
                  <a:lnTo>
                    <a:pt x="580" y="592"/>
                  </a:lnTo>
                  <a:lnTo>
                    <a:pt x="580" y="596"/>
                  </a:lnTo>
                  <a:lnTo>
                    <a:pt x="576" y="596"/>
                  </a:lnTo>
                  <a:lnTo>
                    <a:pt x="572" y="596"/>
                  </a:lnTo>
                  <a:lnTo>
                    <a:pt x="576" y="596"/>
                  </a:lnTo>
                  <a:lnTo>
                    <a:pt x="576" y="600"/>
                  </a:lnTo>
                  <a:lnTo>
                    <a:pt x="572" y="600"/>
                  </a:lnTo>
                  <a:lnTo>
                    <a:pt x="570" y="600"/>
                  </a:lnTo>
                  <a:lnTo>
                    <a:pt x="570" y="596"/>
                  </a:lnTo>
                  <a:lnTo>
                    <a:pt x="572" y="596"/>
                  </a:lnTo>
                  <a:lnTo>
                    <a:pt x="570" y="596"/>
                  </a:lnTo>
                  <a:lnTo>
                    <a:pt x="570" y="592"/>
                  </a:lnTo>
                  <a:lnTo>
                    <a:pt x="566" y="590"/>
                  </a:lnTo>
                  <a:lnTo>
                    <a:pt x="566" y="586"/>
                  </a:lnTo>
                  <a:lnTo>
                    <a:pt x="570" y="586"/>
                  </a:lnTo>
                  <a:lnTo>
                    <a:pt x="566" y="586"/>
                  </a:lnTo>
                  <a:lnTo>
                    <a:pt x="566" y="590"/>
                  </a:lnTo>
                  <a:lnTo>
                    <a:pt x="562" y="590"/>
                  </a:lnTo>
                  <a:lnTo>
                    <a:pt x="566" y="592"/>
                  </a:lnTo>
                  <a:lnTo>
                    <a:pt x="562" y="592"/>
                  </a:lnTo>
                  <a:lnTo>
                    <a:pt x="566" y="592"/>
                  </a:lnTo>
                  <a:lnTo>
                    <a:pt x="566" y="596"/>
                  </a:lnTo>
                  <a:lnTo>
                    <a:pt x="566" y="600"/>
                  </a:lnTo>
                  <a:lnTo>
                    <a:pt x="566" y="604"/>
                  </a:lnTo>
                  <a:lnTo>
                    <a:pt x="562" y="604"/>
                  </a:lnTo>
                  <a:lnTo>
                    <a:pt x="562" y="600"/>
                  </a:lnTo>
                  <a:lnTo>
                    <a:pt x="562" y="596"/>
                  </a:lnTo>
                  <a:lnTo>
                    <a:pt x="558" y="596"/>
                  </a:lnTo>
                  <a:lnTo>
                    <a:pt x="562" y="596"/>
                  </a:lnTo>
                  <a:lnTo>
                    <a:pt x="562" y="600"/>
                  </a:lnTo>
                  <a:lnTo>
                    <a:pt x="562" y="604"/>
                  </a:lnTo>
                  <a:lnTo>
                    <a:pt x="558" y="604"/>
                  </a:lnTo>
                  <a:lnTo>
                    <a:pt x="558" y="600"/>
                  </a:lnTo>
                  <a:lnTo>
                    <a:pt x="558" y="604"/>
                  </a:lnTo>
                  <a:lnTo>
                    <a:pt x="558" y="608"/>
                  </a:lnTo>
                  <a:lnTo>
                    <a:pt x="554" y="608"/>
                  </a:lnTo>
                  <a:lnTo>
                    <a:pt x="550" y="608"/>
                  </a:lnTo>
                  <a:lnTo>
                    <a:pt x="550" y="612"/>
                  </a:lnTo>
                  <a:lnTo>
                    <a:pt x="550" y="608"/>
                  </a:lnTo>
                  <a:lnTo>
                    <a:pt x="546" y="612"/>
                  </a:lnTo>
                  <a:lnTo>
                    <a:pt x="542" y="608"/>
                  </a:lnTo>
                  <a:lnTo>
                    <a:pt x="542" y="612"/>
                  </a:lnTo>
                  <a:lnTo>
                    <a:pt x="540" y="612"/>
                  </a:lnTo>
                  <a:lnTo>
                    <a:pt x="540" y="616"/>
                  </a:lnTo>
                  <a:lnTo>
                    <a:pt x="536" y="616"/>
                  </a:lnTo>
                  <a:lnTo>
                    <a:pt x="532" y="616"/>
                  </a:lnTo>
                  <a:lnTo>
                    <a:pt x="528" y="616"/>
                  </a:lnTo>
                  <a:lnTo>
                    <a:pt x="524" y="616"/>
                  </a:lnTo>
                  <a:lnTo>
                    <a:pt x="524" y="620"/>
                  </a:lnTo>
                  <a:lnTo>
                    <a:pt x="524" y="616"/>
                  </a:lnTo>
                  <a:lnTo>
                    <a:pt x="524" y="620"/>
                  </a:lnTo>
                  <a:lnTo>
                    <a:pt x="520" y="620"/>
                  </a:lnTo>
                  <a:lnTo>
                    <a:pt x="520" y="616"/>
                  </a:lnTo>
                  <a:lnTo>
                    <a:pt x="520" y="620"/>
                  </a:lnTo>
                  <a:lnTo>
                    <a:pt x="520" y="622"/>
                  </a:lnTo>
                  <a:lnTo>
                    <a:pt x="516" y="622"/>
                  </a:lnTo>
                  <a:lnTo>
                    <a:pt x="516" y="626"/>
                  </a:lnTo>
                  <a:lnTo>
                    <a:pt x="520" y="626"/>
                  </a:lnTo>
                  <a:lnTo>
                    <a:pt x="520" y="630"/>
                  </a:lnTo>
                  <a:lnTo>
                    <a:pt x="520" y="626"/>
                  </a:lnTo>
                  <a:lnTo>
                    <a:pt x="520" y="630"/>
                  </a:lnTo>
                  <a:lnTo>
                    <a:pt x="520" y="634"/>
                  </a:lnTo>
                  <a:lnTo>
                    <a:pt x="520" y="636"/>
                  </a:lnTo>
                  <a:lnTo>
                    <a:pt x="516" y="636"/>
                  </a:lnTo>
                  <a:lnTo>
                    <a:pt x="514" y="636"/>
                  </a:lnTo>
                  <a:lnTo>
                    <a:pt x="514" y="634"/>
                  </a:lnTo>
                  <a:lnTo>
                    <a:pt x="510" y="630"/>
                  </a:lnTo>
                  <a:lnTo>
                    <a:pt x="510" y="626"/>
                  </a:lnTo>
                  <a:lnTo>
                    <a:pt x="510" y="622"/>
                  </a:lnTo>
                  <a:lnTo>
                    <a:pt x="514" y="620"/>
                  </a:lnTo>
                  <a:lnTo>
                    <a:pt x="514" y="616"/>
                  </a:lnTo>
                  <a:lnTo>
                    <a:pt x="514" y="612"/>
                  </a:lnTo>
                  <a:lnTo>
                    <a:pt x="510" y="612"/>
                  </a:lnTo>
                  <a:lnTo>
                    <a:pt x="510" y="616"/>
                  </a:lnTo>
                  <a:lnTo>
                    <a:pt x="514" y="616"/>
                  </a:lnTo>
                  <a:lnTo>
                    <a:pt x="510" y="616"/>
                  </a:lnTo>
                  <a:lnTo>
                    <a:pt x="510" y="612"/>
                  </a:lnTo>
                  <a:lnTo>
                    <a:pt x="510" y="616"/>
                  </a:lnTo>
                  <a:lnTo>
                    <a:pt x="506" y="616"/>
                  </a:lnTo>
                  <a:lnTo>
                    <a:pt x="502" y="616"/>
                  </a:lnTo>
                  <a:lnTo>
                    <a:pt x="502" y="612"/>
                  </a:lnTo>
                  <a:lnTo>
                    <a:pt x="498" y="612"/>
                  </a:lnTo>
                  <a:lnTo>
                    <a:pt x="498" y="608"/>
                  </a:lnTo>
                  <a:lnTo>
                    <a:pt x="498" y="612"/>
                  </a:lnTo>
                  <a:lnTo>
                    <a:pt x="494" y="612"/>
                  </a:lnTo>
                  <a:lnTo>
                    <a:pt x="494" y="608"/>
                  </a:lnTo>
                  <a:lnTo>
                    <a:pt x="494" y="612"/>
                  </a:lnTo>
                  <a:lnTo>
                    <a:pt x="494" y="616"/>
                  </a:lnTo>
                  <a:lnTo>
                    <a:pt x="490" y="616"/>
                  </a:lnTo>
                  <a:lnTo>
                    <a:pt x="490" y="612"/>
                  </a:lnTo>
                  <a:lnTo>
                    <a:pt x="494" y="612"/>
                  </a:lnTo>
                  <a:lnTo>
                    <a:pt x="490" y="612"/>
                  </a:lnTo>
                  <a:lnTo>
                    <a:pt x="490" y="616"/>
                  </a:lnTo>
                  <a:lnTo>
                    <a:pt x="490" y="612"/>
                  </a:lnTo>
                  <a:lnTo>
                    <a:pt x="486" y="616"/>
                  </a:lnTo>
                  <a:lnTo>
                    <a:pt x="486" y="612"/>
                  </a:lnTo>
                  <a:lnTo>
                    <a:pt x="484" y="612"/>
                  </a:lnTo>
                  <a:lnTo>
                    <a:pt x="480" y="612"/>
                  </a:lnTo>
                  <a:lnTo>
                    <a:pt x="476" y="612"/>
                  </a:lnTo>
                  <a:lnTo>
                    <a:pt x="472" y="608"/>
                  </a:lnTo>
                  <a:lnTo>
                    <a:pt x="468" y="604"/>
                  </a:lnTo>
                  <a:lnTo>
                    <a:pt x="468" y="600"/>
                  </a:lnTo>
                  <a:lnTo>
                    <a:pt x="464" y="600"/>
                  </a:lnTo>
                  <a:lnTo>
                    <a:pt x="464" y="596"/>
                  </a:lnTo>
                  <a:lnTo>
                    <a:pt x="468" y="596"/>
                  </a:lnTo>
                  <a:lnTo>
                    <a:pt x="468" y="592"/>
                  </a:lnTo>
                  <a:lnTo>
                    <a:pt x="468" y="590"/>
                  </a:lnTo>
                  <a:lnTo>
                    <a:pt x="464" y="590"/>
                  </a:lnTo>
                  <a:lnTo>
                    <a:pt x="460" y="590"/>
                  </a:lnTo>
                  <a:lnTo>
                    <a:pt x="458" y="590"/>
                  </a:lnTo>
                  <a:lnTo>
                    <a:pt x="454" y="590"/>
                  </a:lnTo>
                  <a:lnTo>
                    <a:pt x="454" y="586"/>
                  </a:lnTo>
                  <a:lnTo>
                    <a:pt x="450" y="586"/>
                  </a:lnTo>
                  <a:lnTo>
                    <a:pt x="450" y="582"/>
                  </a:lnTo>
                  <a:lnTo>
                    <a:pt x="446" y="582"/>
                  </a:lnTo>
                  <a:lnTo>
                    <a:pt x="442" y="586"/>
                  </a:lnTo>
                  <a:lnTo>
                    <a:pt x="442" y="590"/>
                  </a:lnTo>
                  <a:lnTo>
                    <a:pt x="438" y="592"/>
                  </a:lnTo>
                  <a:lnTo>
                    <a:pt x="434" y="592"/>
                  </a:lnTo>
                  <a:lnTo>
                    <a:pt x="430" y="592"/>
                  </a:lnTo>
                  <a:lnTo>
                    <a:pt x="430" y="596"/>
                  </a:lnTo>
                  <a:lnTo>
                    <a:pt x="428" y="596"/>
                  </a:lnTo>
                  <a:lnTo>
                    <a:pt x="428" y="592"/>
                  </a:lnTo>
                  <a:lnTo>
                    <a:pt x="424" y="592"/>
                  </a:lnTo>
                  <a:lnTo>
                    <a:pt x="424" y="596"/>
                  </a:lnTo>
                  <a:lnTo>
                    <a:pt x="424" y="592"/>
                  </a:lnTo>
                  <a:lnTo>
                    <a:pt x="420" y="592"/>
                  </a:lnTo>
                  <a:lnTo>
                    <a:pt x="420" y="596"/>
                  </a:lnTo>
                  <a:lnTo>
                    <a:pt x="416" y="596"/>
                  </a:lnTo>
                  <a:lnTo>
                    <a:pt x="412" y="596"/>
                  </a:lnTo>
                  <a:lnTo>
                    <a:pt x="412" y="592"/>
                  </a:lnTo>
                  <a:lnTo>
                    <a:pt x="408" y="592"/>
                  </a:lnTo>
                  <a:lnTo>
                    <a:pt x="408" y="596"/>
                  </a:lnTo>
                  <a:lnTo>
                    <a:pt x="404" y="596"/>
                  </a:lnTo>
                  <a:lnTo>
                    <a:pt x="404" y="600"/>
                  </a:lnTo>
                  <a:lnTo>
                    <a:pt x="404" y="596"/>
                  </a:lnTo>
                  <a:lnTo>
                    <a:pt x="402" y="596"/>
                  </a:lnTo>
                  <a:lnTo>
                    <a:pt x="398" y="596"/>
                  </a:lnTo>
                  <a:lnTo>
                    <a:pt x="398" y="600"/>
                  </a:lnTo>
                  <a:lnTo>
                    <a:pt x="394" y="600"/>
                  </a:lnTo>
                  <a:lnTo>
                    <a:pt x="398" y="608"/>
                  </a:lnTo>
                  <a:lnTo>
                    <a:pt x="398" y="612"/>
                  </a:lnTo>
                  <a:lnTo>
                    <a:pt x="398" y="616"/>
                  </a:lnTo>
                  <a:lnTo>
                    <a:pt x="398" y="620"/>
                  </a:lnTo>
                  <a:lnTo>
                    <a:pt x="402" y="620"/>
                  </a:lnTo>
                  <a:lnTo>
                    <a:pt x="398" y="620"/>
                  </a:lnTo>
                  <a:lnTo>
                    <a:pt x="398" y="622"/>
                  </a:lnTo>
                  <a:lnTo>
                    <a:pt x="398" y="620"/>
                  </a:lnTo>
                  <a:lnTo>
                    <a:pt x="394" y="620"/>
                  </a:lnTo>
                  <a:lnTo>
                    <a:pt x="390" y="620"/>
                  </a:lnTo>
                  <a:lnTo>
                    <a:pt x="390" y="616"/>
                  </a:lnTo>
                  <a:lnTo>
                    <a:pt x="390" y="612"/>
                  </a:lnTo>
                  <a:lnTo>
                    <a:pt x="386" y="612"/>
                  </a:lnTo>
                  <a:lnTo>
                    <a:pt x="382" y="616"/>
                  </a:lnTo>
                  <a:lnTo>
                    <a:pt x="378" y="616"/>
                  </a:lnTo>
                  <a:lnTo>
                    <a:pt x="374" y="616"/>
                  </a:lnTo>
                  <a:lnTo>
                    <a:pt x="374" y="612"/>
                  </a:lnTo>
                  <a:lnTo>
                    <a:pt x="372" y="612"/>
                  </a:lnTo>
                  <a:lnTo>
                    <a:pt x="372" y="608"/>
                  </a:lnTo>
                  <a:lnTo>
                    <a:pt x="372" y="604"/>
                  </a:lnTo>
                  <a:lnTo>
                    <a:pt x="368" y="604"/>
                  </a:lnTo>
                  <a:lnTo>
                    <a:pt x="364" y="604"/>
                  </a:lnTo>
                  <a:lnTo>
                    <a:pt x="360" y="604"/>
                  </a:lnTo>
                  <a:lnTo>
                    <a:pt x="364" y="600"/>
                  </a:lnTo>
                  <a:lnTo>
                    <a:pt x="364" y="596"/>
                  </a:lnTo>
                  <a:lnTo>
                    <a:pt x="364" y="592"/>
                  </a:lnTo>
                  <a:lnTo>
                    <a:pt x="364" y="590"/>
                  </a:lnTo>
                  <a:lnTo>
                    <a:pt x="368" y="590"/>
                  </a:lnTo>
                  <a:lnTo>
                    <a:pt x="368" y="586"/>
                  </a:lnTo>
                  <a:lnTo>
                    <a:pt x="364" y="586"/>
                  </a:lnTo>
                  <a:lnTo>
                    <a:pt x="360" y="586"/>
                  </a:lnTo>
                  <a:lnTo>
                    <a:pt x="356" y="586"/>
                  </a:lnTo>
                  <a:lnTo>
                    <a:pt x="356" y="582"/>
                  </a:lnTo>
                  <a:lnTo>
                    <a:pt x="356" y="578"/>
                  </a:lnTo>
                  <a:lnTo>
                    <a:pt x="356" y="574"/>
                  </a:lnTo>
                  <a:lnTo>
                    <a:pt x="352" y="570"/>
                  </a:lnTo>
                  <a:lnTo>
                    <a:pt x="356" y="570"/>
                  </a:lnTo>
                  <a:lnTo>
                    <a:pt x="356" y="566"/>
                  </a:lnTo>
                  <a:lnTo>
                    <a:pt x="352" y="566"/>
                  </a:lnTo>
                  <a:lnTo>
                    <a:pt x="348" y="566"/>
                  </a:lnTo>
                  <a:lnTo>
                    <a:pt x="346" y="566"/>
                  </a:lnTo>
                  <a:lnTo>
                    <a:pt x="346" y="570"/>
                  </a:lnTo>
                  <a:lnTo>
                    <a:pt x="342" y="570"/>
                  </a:lnTo>
                  <a:lnTo>
                    <a:pt x="342" y="574"/>
                  </a:lnTo>
                  <a:lnTo>
                    <a:pt x="342" y="574"/>
                  </a:lnTo>
                  <a:lnTo>
                    <a:pt x="342" y="574"/>
                  </a:lnTo>
                  <a:close/>
                  <a:moveTo>
                    <a:pt x="658" y="578"/>
                  </a:moveTo>
                  <a:lnTo>
                    <a:pt x="658" y="574"/>
                  </a:lnTo>
                  <a:lnTo>
                    <a:pt x="658" y="570"/>
                  </a:lnTo>
                  <a:lnTo>
                    <a:pt x="662" y="570"/>
                  </a:lnTo>
                  <a:lnTo>
                    <a:pt x="662" y="566"/>
                  </a:lnTo>
                  <a:lnTo>
                    <a:pt x="662" y="564"/>
                  </a:lnTo>
                  <a:lnTo>
                    <a:pt x="666" y="564"/>
                  </a:lnTo>
                  <a:lnTo>
                    <a:pt x="666" y="560"/>
                  </a:lnTo>
                  <a:lnTo>
                    <a:pt x="670" y="556"/>
                  </a:lnTo>
                  <a:lnTo>
                    <a:pt x="670" y="552"/>
                  </a:lnTo>
                  <a:lnTo>
                    <a:pt x="674" y="552"/>
                  </a:lnTo>
                  <a:lnTo>
                    <a:pt x="674" y="548"/>
                  </a:lnTo>
                  <a:lnTo>
                    <a:pt x="676" y="548"/>
                  </a:lnTo>
                  <a:lnTo>
                    <a:pt x="676" y="552"/>
                  </a:lnTo>
                  <a:lnTo>
                    <a:pt x="676" y="548"/>
                  </a:lnTo>
                  <a:lnTo>
                    <a:pt x="680" y="548"/>
                  </a:lnTo>
                  <a:lnTo>
                    <a:pt x="680" y="552"/>
                  </a:lnTo>
                  <a:lnTo>
                    <a:pt x="684" y="552"/>
                  </a:lnTo>
                  <a:lnTo>
                    <a:pt x="680" y="556"/>
                  </a:lnTo>
                  <a:lnTo>
                    <a:pt x="680" y="560"/>
                  </a:lnTo>
                  <a:lnTo>
                    <a:pt x="680" y="564"/>
                  </a:lnTo>
                  <a:lnTo>
                    <a:pt x="680" y="566"/>
                  </a:lnTo>
                  <a:lnTo>
                    <a:pt x="676" y="570"/>
                  </a:lnTo>
                  <a:lnTo>
                    <a:pt x="680" y="570"/>
                  </a:lnTo>
                  <a:lnTo>
                    <a:pt x="676" y="570"/>
                  </a:lnTo>
                  <a:lnTo>
                    <a:pt x="676" y="574"/>
                  </a:lnTo>
                  <a:lnTo>
                    <a:pt x="676" y="578"/>
                  </a:lnTo>
                  <a:lnTo>
                    <a:pt x="676" y="582"/>
                  </a:lnTo>
                  <a:lnTo>
                    <a:pt x="676" y="586"/>
                  </a:lnTo>
                  <a:lnTo>
                    <a:pt x="674" y="590"/>
                  </a:lnTo>
                  <a:lnTo>
                    <a:pt x="674" y="592"/>
                  </a:lnTo>
                  <a:lnTo>
                    <a:pt x="670" y="592"/>
                  </a:lnTo>
                  <a:lnTo>
                    <a:pt x="670" y="596"/>
                  </a:lnTo>
                  <a:lnTo>
                    <a:pt x="670" y="600"/>
                  </a:lnTo>
                  <a:lnTo>
                    <a:pt x="670" y="604"/>
                  </a:lnTo>
                  <a:lnTo>
                    <a:pt x="670" y="608"/>
                  </a:lnTo>
                  <a:lnTo>
                    <a:pt x="666" y="608"/>
                  </a:lnTo>
                  <a:lnTo>
                    <a:pt x="666" y="604"/>
                  </a:lnTo>
                  <a:lnTo>
                    <a:pt x="666" y="600"/>
                  </a:lnTo>
                  <a:lnTo>
                    <a:pt x="662" y="600"/>
                  </a:lnTo>
                  <a:lnTo>
                    <a:pt x="662" y="596"/>
                  </a:lnTo>
                  <a:lnTo>
                    <a:pt x="658" y="596"/>
                  </a:lnTo>
                  <a:lnTo>
                    <a:pt x="658" y="592"/>
                  </a:lnTo>
                  <a:lnTo>
                    <a:pt x="658" y="590"/>
                  </a:lnTo>
                  <a:lnTo>
                    <a:pt x="658" y="586"/>
                  </a:lnTo>
                  <a:lnTo>
                    <a:pt x="658" y="582"/>
                  </a:lnTo>
                  <a:lnTo>
                    <a:pt x="658" y="578"/>
                  </a:lnTo>
                  <a:lnTo>
                    <a:pt x="658" y="578"/>
                  </a:lnTo>
                  <a:lnTo>
                    <a:pt x="658" y="578"/>
                  </a:lnTo>
                  <a:close/>
                  <a:moveTo>
                    <a:pt x="510" y="670"/>
                  </a:moveTo>
                  <a:lnTo>
                    <a:pt x="510" y="674"/>
                  </a:lnTo>
                  <a:lnTo>
                    <a:pt x="510" y="670"/>
                  </a:lnTo>
                  <a:lnTo>
                    <a:pt x="506" y="670"/>
                  </a:lnTo>
                  <a:lnTo>
                    <a:pt x="502" y="670"/>
                  </a:lnTo>
                  <a:lnTo>
                    <a:pt x="498" y="670"/>
                  </a:lnTo>
                  <a:lnTo>
                    <a:pt x="498" y="666"/>
                  </a:lnTo>
                  <a:lnTo>
                    <a:pt x="494" y="666"/>
                  </a:lnTo>
                  <a:lnTo>
                    <a:pt x="494" y="662"/>
                  </a:lnTo>
                  <a:lnTo>
                    <a:pt x="498" y="662"/>
                  </a:lnTo>
                  <a:lnTo>
                    <a:pt x="494" y="662"/>
                  </a:lnTo>
                  <a:lnTo>
                    <a:pt x="494" y="660"/>
                  </a:lnTo>
                  <a:lnTo>
                    <a:pt x="494" y="656"/>
                  </a:lnTo>
                  <a:lnTo>
                    <a:pt x="494" y="652"/>
                  </a:lnTo>
                  <a:lnTo>
                    <a:pt x="498" y="652"/>
                  </a:lnTo>
                  <a:lnTo>
                    <a:pt x="498" y="648"/>
                  </a:lnTo>
                  <a:lnTo>
                    <a:pt x="502" y="648"/>
                  </a:lnTo>
                  <a:lnTo>
                    <a:pt x="506" y="644"/>
                  </a:lnTo>
                  <a:lnTo>
                    <a:pt x="502" y="644"/>
                  </a:lnTo>
                  <a:lnTo>
                    <a:pt x="506" y="640"/>
                  </a:lnTo>
                  <a:lnTo>
                    <a:pt x="506" y="644"/>
                  </a:lnTo>
                  <a:lnTo>
                    <a:pt x="510" y="644"/>
                  </a:lnTo>
                  <a:lnTo>
                    <a:pt x="510" y="640"/>
                  </a:lnTo>
                  <a:lnTo>
                    <a:pt x="514" y="640"/>
                  </a:lnTo>
                  <a:lnTo>
                    <a:pt x="516" y="640"/>
                  </a:lnTo>
                  <a:lnTo>
                    <a:pt x="520" y="640"/>
                  </a:lnTo>
                  <a:lnTo>
                    <a:pt x="524" y="640"/>
                  </a:lnTo>
                  <a:lnTo>
                    <a:pt x="524" y="636"/>
                  </a:lnTo>
                  <a:lnTo>
                    <a:pt x="524" y="640"/>
                  </a:lnTo>
                  <a:lnTo>
                    <a:pt x="528" y="640"/>
                  </a:lnTo>
                  <a:lnTo>
                    <a:pt x="528" y="648"/>
                  </a:lnTo>
                  <a:lnTo>
                    <a:pt x="524" y="652"/>
                  </a:lnTo>
                  <a:lnTo>
                    <a:pt x="524" y="656"/>
                  </a:lnTo>
                  <a:lnTo>
                    <a:pt x="520" y="656"/>
                  </a:lnTo>
                  <a:lnTo>
                    <a:pt x="524" y="656"/>
                  </a:lnTo>
                  <a:lnTo>
                    <a:pt x="520" y="660"/>
                  </a:lnTo>
                  <a:lnTo>
                    <a:pt x="520" y="662"/>
                  </a:lnTo>
                  <a:lnTo>
                    <a:pt x="516" y="662"/>
                  </a:lnTo>
                  <a:lnTo>
                    <a:pt x="516" y="666"/>
                  </a:lnTo>
                  <a:lnTo>
                    <a:pt x="516" y="670"/>
                  </a:lnTo>
                  <a:lnTo>
                    <a:pt x="514" y="670"/>
                  </a:lnTo>
                  <a:lnTo>
                    <a:pt x="514" y="666"/>
                  </a:lnTo>
                  <a:lnTo>
                    <a:pt x="514" y="670"/>
                  </a:lnTo>
                  <a:lnTo>
                    <a:pt x="510" y="670"/>
                  </a:lnTo>
                  <a:lnTo>
                    <a:pt x="510" y="670"/>
                  </a:lnTo>
                  <a:lnTo>
                    <a:pt x="510" y="670"/>
                  </a:lnTo>
                  <a:close/>
                  <a:moveTo>
                    <a:pt x="674" y="428"/>
                  </a:moveTo>
                  <a:lnTo>
                    <a:pt x="676" y="428"/>
                  </a:lnTo>
                  <a:lnTo>
                    <a:pt x="676" y="432"/>
                  </a:lnTo>
                  <a:lnTo>
                    <a:pt x="680" y="432"/>
                  </a:lnTo>
                  <a:lnTo>
                    <a:pt x="684" y="432"/>
                  </a:lnTo>
                  <a:lnTo>
                    <a:pt x="680" y="432"/>
                  </a:lnTo>
                  <a:lnTo>
                    <a:pt x="680" y="436"/>
                  </a:lnTo>
                  <a:lnTo>
                    <a:pt x="676" y="432"/>
                  </a:lnTo>
                  <a:lnTo>
                    <a:pt x="674" y="432"/>
                  </a:lnTo>
                  <a:lnTo>
                    <a:pt x="674" y="428"/>
                  </a:lnTo>
                  <a:lnTo>
                    <a:pt x="674" y="428"/>
                  </a:lnTo>
                  <a:lnTo>
                    <a:pt x="674" y="428"/>
                  </a:lnTo>
                  <a:close/>
                  <a:moveTo>
                    <a:pt x="684" y="462"/>
                  </a:moveTo>
                  <a:lnTo>
                    <a:pt x="684" y="458"/>
                  </a:lnTo>
                  <a:lnTo>
                    <a:pt x="688" y="458"/>
                  </a:lnTo>
                  <a:lnTo>
                    <a:pt x="688" y="462"/>
                  </a:lnTo>
                  <a:lnTo>
                    <a:pt x="684" y="462"/>
                  </a:lnTo>
                  <a:lnTo>
                    <a:pt x="684" y="462"/>
                  </a:lnTo>
                  <a:lnTo>
                    <a:pt x="684" y="462"/>
                  </a:lnTo>
                  <a:close/>
                  <a:moveTo>
                    <a:pt x="652" y="544"/>
                  </a:moveTo>
                  <a:lnTo>
                    <a:pt x="652" y="540"/>
                  </a:lnTo>
                  <a:lnTo>
                    <a:pt x="656" y="540"/>
                  </a:lnTo>
                  <a:lnTo>
                    <a:pt x="656" y="544"/>
                  </a:lnTo>
                  <a:lnTo>
                    <a:pt x="652" y="544"/>
                  </a:lnTo>
                  <a:lnTo>
                    <a:pt x="652" y="544"/>
                  </a:lnTo>
                  <a:lnTo>
                    <a:pt x="652" y="544"/>
                  </a:lnTo>
                  <a:close/>
                  <a:moveTo>
                    <a:pt x="622" y="574"/>
                  </a:moveTo>
                  <a:lnTo>
                    <a:pt x="622" y="578"/>
                  </a:lnTo>
                  <a:lnTo>
                    <a:pt x="618" y="578"/>
                  </a:lnTo>
                  <a:lnTo>
                    <a:pt x="618" y="574"/>
                  </a:lnTo>
                  <a:lnTo>
                    <a:pt x="622" y="574"/>
                  </a:lnTo>
                  <a:lnTo>
                    <a:pt x="622" y="574"/>
                  </a:lnTo>
                  <a:lnTo>
                    <a:pt x="622" y="574"/>
                  </a:lnTo>
                  <a:close/>
                  <a:moveTo>
                    <a:pt x="520" y="622"/>
                  </a:moveTo>
                  <a:lnTo>
                    <a:pt x="524" y="622"/>
                  </a:lnTo>
                  <a:lnTo>
                    <a:pt x="520" y="622"/>
                  </a:lnTo>
                  <a:lnTo>
                    <a:pt x="516" y="622"/>
                  </a:lnTo>
                  <a:lnTo>
                    <a:pt x="520" y="622"/>
                  </a:lnTo>
                  <a:lnTo>
                    <a:pt x="520" y="622"/>
                  </a:lnTo>
                  <a:lnTo>
                    <a:pt x="520" y="622"/>
                  </a:lnTo>
                  <a:close/>
                  <a:moveTo>
                    <a:pt x="676" y="286"/>
                  </a:moveTo>
                  <a:lnTo>
                    <a:pt x="674" y="286"/>
                  </a:lnTo>
                  <a:lnTo>
                    <a:pt x="674" y="284"/>
                  </a:lnTo>
                  <a:lnTo>
                    <a:pt x="676" y="284"/>
                  </a:lnTo>
                  <a:lnTo>
                    <a:pt x="676" y="286"/>
                  </a:lnTo>
                  <a:lnTo>
                    <a:pt x="676" y="286"/>
                  </a:lnTo>
                  <a:lnTo>
                    <a:pt x="676" y="286"/>
                  </a:lnTo>
                  <a:close/>
                  <a:moveTo>
                    <a:pt x="572" y="600"/>
                  </a:moveTo>
                  <a:lnTo>
                    <a:pt x="570" y="600"/>
                  </a:lnTo>
                  <a:lnTo>
                    <a:pt x="570" y="604"/>
                  </a:lnTo>
                  <a:lnTo>
                    <a:pt x="570" y="600"/>
                  </a:lnTo>
                  <a:lnTo>
                    <a:pt x="572" y="600"/>
                  </a:lnTo>
                  <a:lnTo>
                    <a:pt x="572" y="600"/>
                  </a:lnTo>
                  <a:lnTo>
                    <a:pt x="572" y="600"/>
                  </a:lnTo>
                  <a:close/>
                  <a:moveTo>
                    <a:pt x="652" y="422"/>
                  </a:moveTo>
                  <a:lnTo>
                    <a:pt x="656" y="422"/>
                  </a:lnTo>
                  <a:lnTo>
                    <a:pt x="656" y="424"/>
                  </a:lnTo>
                  <a:lnTo>
                    <a:pt x="656" y="422"/>
                  </a:lnTo>
                  <a:lnTo>
                    <a:pt x="652" y="422"/>
                  </a:lnTo>
                  <a:lnTo>
                    <a:pt x="652" y="422"/>
                  </a:lnTo>
                  <a:lnTo>
                    <a:pt x="652" y="422"/>
                  </a:lnTo>
                  <a:close/>
                  <a:moveTo>
                    <a:pt x="566" y="592"/>
                  </a:moveTo>
                  <a:lnTo>
                    <a:pt x="562" y="590"/>
                  </a:lnTo>
                  <a:lnTo>
                    <a:pt x="566" y="590"/>
                  </a:lnTo>
                  <a:lnTo>
                    <a:pt x="566" y="592"/>
                  </a:lnTo>
                  <a:lnTo>
                    <a:pt x="566" y="592"/>
                  </a:lnTo>
                  <a:lnTo>
                    <a:pt x="566" y="592"/>
                  </a:lnTo>
                  <a:close/>
                  <a:moveTo>
                    <a:pt x="632" y="564"/>
                  </a:moveTo>
                  <a:lnTo>
                    <a:pt x="632" y="560"/>
                  </a:lnTo>
                  <a:lnTo>
                    <a:pt x="632" y="564"/>
                  </a:lnTo>
                  <a:lnTo>
                    <a:pt x="636" y="564"/>
                  </a:lnTo>
                  <a:lnTo>
                    <a:pt x="632" y="564"/>
                  </a:lnTo>
                  <a:lnTo>
                    <a:pt x="632" y="564"/>
                  </a:lnTo>
                  <a:lnTo>
                    <a:pt x="632" y="564"/>
                  </a:lnTo>
                  <a:close/>
                  <a:moveTo>
                    <a:pt x="614" y="578"/>
                  </a:moveTo>
                  <a:lnTo>
                    <a:pt x="614" y="582"/>
                  </a:lnTo>
                  <a:lnTo>
                    <a:pt x="614" y="578"/>
                  </a:lnTo>
                  <a:lnTo>
                    <a:pt x="614" y="578"/>
                  </a:lnTo>
                  <a:lnTo>
                    <a:pt x="614" y="578"/>
                  </a:lnTo>
                  <a:close/>
                  <a:moveTo>
                    <a:pt x="540" y="616"/>
                  </a:moveTo>
                  <a:lnTo>
                    <a:pt x="540" y="612"/>
                  </a:lnTo>
                  <a:lnTo>
                    <a:pt x="542" y="612"/>
                  </a:lnTo>
                  <a:lnTo>
                    <a:pt x="540" y="616"/>
                  </a:lnTo>
                  <a:lnTo>
                    <a:pt x="540" y="616"/>
                  </a:lnTo>
                  <a:lnTo>
                    <a:pt x="540" y="616"/>
                  </a:lnTo>
                  <a:close/>
                  <a:moveTo>
                    <a:pt x="628" y="564"/>
                  </a:moveTo>
                  <a:lnTo>
                    <a:pt x="628" y="560"/>
                  </a:lnTo>
                  <a:lnTo>
                    <a:pt x="632" y="564"/>
                  </a:lnTo>
                  <a:lnTo>
                    <a:pt x="628" y="564"/>
                  </a:lnTo>
                  <a:lnTo>
                    <a:pt x="628" y="564"/>
                  </a:lnTo>
                  <a:lnTo>
                    <a:pt x="628" y="564"/>
                  </a:lnTo>
                  <a:close/>
                  <a:moveTo>
                    <a:pt x="520" y="620"/>
                  </a:moveTo>
                  <a:lnTo>
                    <a:pt x="524" y="620"/>
                  </a:lnTo>
                  <a:lnTo>
                    <a:pt x="524" y="622"/>
                  </a:lnTo>
                  <a:lnTo>
                    <a:pt x="520" y="622"/>
                  </a:lnTo>
                  <a:lnTo>
                    <a:pt x="520" y="620"/>
                  </a:lnTo>
                  <a:lnTo>
                    <a:pt x="520" y="620"/>
                  </a:lnTo>
                  <a:lnTo>
                    <a:pt x="520" y="620"/>
                  </a:lnTo>
                  <a:close/>
                  <a:moveTo>
                    <a:pt x="684" y="454"/>
                  </a:moveTo>
                  <a:lnTo>
                    <a:pt x="688" y="454"/>
                  </a:lnTo>
                  <a:lnTo>
                    <a:pt x="688" y="458"/>
                  </a:lnTo>
                  <a:lnTo>
                    <a:pt x="684" y="458"/>
                  </a:lnTo>
                  <a:lnTo>
                    <a:pt x="684" y="454"/>
                  </a:lnTo>
                  <a:lnTo>
                    <a:pt x="684" y="454"/>
                  </a:lnTo>
                  <a:lnTo>
                    <a:pt x="684" y="454"/>
                  </a:lnTo>
                  <a:close/>
                  <a:moveTo>
                    <a:pt x="684" y="466"/>
                  </a:moveTo>
                  <a:lnTo>
                    <a:pt x="688" y="466"/>
                  </a:lnTo>
                  <a:lnTo>
                    <a:pt x="688" y="470"/>
                  </a:lnTo>
                  <a:lnTo>
                    <a:pt x="684" y="466"/>
                  </a:lnTo>
                  <a:lnTo>
                    <a:pt x="684" y="466"/>
                  </a:lnTo>
                  <a:lnTo>
                    <a:pt x="684" y="466"/>
                  </a:lnTo>
                  <a:close/>
                  <a:moveTo>
                    <a:pt x="572" y="600"/>
                  </a:moveTo>
                  <a:lnTo>
                    <a:pt x="576" y="600"/>
                  </a:lnTo>
                  <a:lnTo>
                    <a:pt x="576" y="604"/>
                  </a:lnTo>
                  <a:lnTo>
                    <a:pt x="572" y="600"/>
                  </a:lnTo>
                  <a:lnTo>
                    <a:pt x="572" y="604"/>
                  </a:lnTo>
                  <a:lnTo>
                    <a:pt x="572" y="600"/>
                  </a:lnTo>
                  <a:lnTo>
                    <a:pt x="572" y="600"/>
                  </a:lnTo>
                  <a:lnTo>
                    <a:pt x="572" y="60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32" name="Freeform 25"/>
            <p:cNvSpPr>
              <a:spLocks/>
            </p:cNvSpPr>
            <p:nvPr/>
          </p:nvSpPr>
          <p:spPr bwMode="auto">
            <a:xfrm>
              <a:off x="7325388" y="3749862"/>
              <a:ext cx="21351" cy="11768"/>
            </a:xfrm>
            <a:custGeom>
              <a:avLst/>
              <a:gdLst>
                <a:gd name="T0" fmla="*/ 14 w 34"/>
                <a:gd name="T1" fmla="*/ 14 h 18"/>
                <a:gd name="T2" fmla="*/ 14 w 34"/>
                <a:gd name="T3" fmla="*/ 18 h 18"/>
                <a:gd name="T4" fmla="*/ 10 w 34"/>
                <a:gd name="T5" fmla="*/ 18 h 18"/>
                <a:gd name="T6" fmla="*/ 8 w 34"/>
                <a:gd name="T7" fmla="*/ 18 h 18"/>
                <a:gd name="T8" fmla="*/ 8 w 34"/>
                <a:gd name="T9" fmla="*/ 18 h 18"/>
                <a:gd name="T10" fmla="*/ 4 w 34"/>
                <a:gd name="T11" fmla="*/ 14 h 18"/>
                <a:gd name="T12" fmla="*/ 4 w 34"/>
                <a:gd name="T13" fmla="*/ 14 h 18"/>
                <a:gd name="T14" fmla="*/ 0 w 34"/>
                <a:gd name="T15" fmla="*/ 10 h 18"/>
                <a:gd name="T16" fmla="*/ 4 w 34"/>
                <a:gd name="T17" fmla="*/ 10 h 18"/>
                <a:gd name="T18" fmla="*/ 4 w 34"/>
                <a:gd name="T19" fmla="*/ 10 h 18"/>
                <a:gd name="T20" fmla="*/ 4 w 34"/>
                <a:gd name="T21" fmla="*/ 10 h 18"/>
                <a:gd name="T22" fmla="*/ 4 w 34"/>
                <a:gd name="T23" fmla="*/ 10 h 18"/>
                <a:gd name="T24" fmla="*/ 4 w 34"/>
                <a:gd name="T25" fmla="*/ 8 h 18"/>
                <a:gd name="T26" fmla="*/ 8 w 34"/>
                <a:gd name="T27" fmla="*/ 8 h 18"/>
                <a:gd name="T28" fmla="*/ 8 w 34"/>
                <a:gd name="T29" fmla="*/ 8 h 18"/>
                <a:gd name="T30" fmla="*/ 10 w 34"/>
                <a:gd name="T31" fmla="*/ 8 h 18"/>
                <a:gd name="T32" fmla="*/ 10 w 34"/>
                <a:gd name="T33" fmla="*/ 8 h 18"/>
                <a:gd name="T34" fmla="*/ 10 w 34"/>
                <a:gd name="T35" fmla="*/ 8 h 18"/>
                <a:gd name="T36" fmla="*/ 10 w 34"/>
                <a:gd name="T37" fmla="*/ 8 h 18"/>
                <a:gd name="T38" fmla="*/ 14 w 34"/>
                <a:gd name="T39" fmla="*/ 4 h 18"/>
                <a:gd name="T40" fmla="*/ 18 w 34"/>
                <a:gd name="T41" fmla="*/ 4 h 18"/>
                <a:gd name="T42" fmla="*/ 22 w 34"/>
                <a:gd name="T43" fmla="*/ 4 h 18"/>
                <a:gd name="T44" fmla="*/ 22 w 34"/>
                <a:gd name="T45" fmla="*/ 4 h 18"/>
                <a:gd name="T46" fmla="*/ 22 w 34"/>
                <a:gd name="T47" fmla="*/ 4 h 18"/>
                <a:gd name="T48" fmla="*/ 30 w 34"/>
                <a:gd name="T49" fmla="*/ 0 h 18"/>
                <a:gd name="T50" fmla="*/ 30 w 34"/>
                <a:gd name="T51" fmla="*/ 0 h 18"/>
                <a:gd name="T52" fmla="*/ 34 w 34"/>
                <a:gd name="T53" fmla="*/ 0 h 18"/>
                <a:gd name="T54" fmla="*/ 34 w 34"/>
                <a:gd name="T55" fmla="*/ 0 h 18"/>
                <a:gd name="T56" fmla="*/ 30 w 34"/>
                <a:gd name="T57" fmla="*/ 4 h 18"/>
                <a:gd name="T58" fmla="*/ 26 w 34"/>
                <a:gd name="T59" fmla="*/ 4 h 18"/>
                <a:gd name="T60" fmla="*/ 26 w 34"/>
                <a:gd name="T61" fmla="*/ 8 h 18"/>
                <a:gd name="T62" fmla="*/ 26 w 34"/>
                <a:gd name="T63" fmla="*/ 8 h 18"/>
                <a:gd name="T64" fmla="*/ 26 w 34"/>
                <a:gd name="T65" fmla="*/ 10 h 18"/>
                <a:gd name="T66" fmla="*/ 26 w 34"/>
                <a:gd name="T67" fmla="*/ 10 h 18"/>
                <a:gd name="T68" fmla="*/ 26 w 34"/>
                <a:gd name="T69" fmla="*/ 10 h 18"/>
                <a:gd name="T70" fmla="*/ 26 w 34"/>
                <a:gd name="T71" fmla="*/ 10 h 18"/>
                <a:gd name="T72" fmla="*/ 26 w 34"/>
                <a:gd name="T73" fmla="*/ 10 h 18"/>
                <a:gd name="T74" fmla="*/ 26 w 34"/>
                <a:gd name="T75" fmla="*/ 10 h 18"/>
                <a:gd name="T76" fmla="*/ 22 w 34"/>
                <a:gd name="T77" fmla="*/ 10 h 18"/>
                <a:gd name="T78" fmla="*/ 22 w 34"/>
                <a:gd name="T79" fmla="*/ 10 h 18"/>
                <a:gd name="T80" fmla="*/ 22 w 34"/>
                <a:gd name="T81" fmla="*/ 10 h 18"/>
                <a:gd name="T82" fmla="*/ 22 w 34"/>
                <a:gd name="T83" fmla="*/ 10 h 18"/>
                <a:gd name="T84" fmla="*/ 22 w 34"/>
                <a:gd name="T85" fmla="*/ 14 h 18"/>
                <a:gd name="T86" fmla="*/ 18 w 34"/>
                <a:gd name="T87" fmla="*/ 14 h 18"/>
                <a:gd name="T88" fmla="*/ 14 w 34"/>
                <a:gd name="T8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8">
                  <a:moveTo>
                    <a:pt x="14" y="14"/>
                  </a:moveTo>
                  <a:lnTo>
                    <a:pt x="14" y="18"/>
                  </a:lnTo>
                  <a:lnTo>
                    <a:pt x="14" y="14"/>
                  </a:lnTo>
                  <a:lnTo>
                    <a:pt x="14" y="14"/>
                  </a:lnTo>
                  <a:lnTo>
                    <a:pt x="14" y="18"/>
                  </a:lnTo>
                  <a:lnTo>
                    <a:pt x="14" y="18"/>
                  </a:lnTo>
                  <a:lnTo>
                    <a:pt x="10" y="18"/>
                  </a:lnTo>
                  <a:lnTo>
                    <a:pt x="10" y="18"/>
                  </a:lnTo>
                  <a:lnTo>
                    <a:pt x="10" y="18"/>
                  </a:lnTo>
                  <a:lnTo>
                    <a:pt x="10" y="18"/>
                  </a:lnTo>
                  <a:lnTo>
                    <a:pt x="8" y="18"/>
                  </a:lnTo>
                  <a:lnTo>
                    <a:pt x="8" y="18"/>
                  </a:lnTo>
                  <a:lnTo>
                    <a:pt x="8" y="18"/>
                  </a:lnTo>
                  <a:lnTo>
                    <a:pt x="8" y="18"/>
                  </a:lnTo>
                  <a:lnTo>
                    <a:pt x="8" y="18"/>
                  </a:lnTo>
                  <a:lnTo>
                    <a:pt x="8" y="18"/>
                  </a:lnTo>
                  <a:lnTo>
                    <a:pt x="8" y="18"/>
                  </a:lnTo>
                  <a:lnTo>
                    <a:pt x="4" y="14"/>
                  </a:lnTo>
                  <a:lnTo>
                    <a:pt x="4" y="14"/>
                  </a:lnTo>
                  <a:lnTo>
                    <a:pt x="4" y="14"/>
                  </a:lnTo>
                  <a:lnTo>
                    <a:pt x="4" y="14"/>
                  </a:lnTo>
                  <a:lnTo>
                    <a:pt x="4" y="10"/>
                  </a:lnTo>
                  <a:lnTo>
                    <a:pt x="0" y="10"/>
                  </a:lnTo>
                  <a:lnTo>
                    <a:pt x="0" y="10"/>
                  </a:lnTo>
                  <a:lnTo>
                    <a:pt x="0" y="10"/>
                  </a:lnTo>
                  <a:lnTo>
                    <a:pt x="0"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8"/>
                  </a:lnTo>
                  <a:lnTo>
                    <a:pt x="4" y="8"/>
                  </a:lnTo>
                  <a:lnTo>
                    <a:pt x="4"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0" y="8"/>
                  </a:lnTo>
                  <a:lnTo>
                    <a:pt x="10" y="8"/>
                  </a:lnTo>
                  <a:lnTo>
                    <a:pt x="10" y="8"/>
                  </a:lnTo>
                  <a:lnTo>
                    <a:pt x="10" y="8"/>
                  </a:lnTo>
                  <a:lnTo>
                    <a:pt x="10" y="4"/>
                  </a:lnTo>
                  <a:lnTo>
                    <a:pt x="10" y="4"/>
                  </a:lnTo>
                  <a:lnTo>
                    <a:pt x="14" y="4"/>
                  </a:lnTo>
                  <a:lnTo>
                    <a:pt x="18" y="4"/>
                  </a:lnTo>
                  <a:lnTo>
                    <a:pt x="18" y="4"/>
                  </a:lnTo>
                  <a:lnTo>
                    <a:pt x="18" y="4"/>
                  </a:lnTo>
                  <a:lnTo>
                    <a:pt x="18" y="4"/>
                  </a:lnTo>
                  <a:lnTo>
                    <a:pt x="18" y="4"/>
                  </a:lnTo>
                  <a:lnTo>
                    <a:pt x="22" y="4"/>
                  </a:lnTo>
                  <a:lnTo>
                    <a:pt x="22" y="4"/>
                  </a:lnTo>
                  <a:lnTo>
                    <a:pt x="22" y="4"/>
                  </a:lnTo>
                  <a:lnTo>
                    <a:pt x="22" y="4"/>
                  </a:lnTo>
                  <a:lnTo>
                    <a:pt x="22" y="4"/>
                  </a:lnTo>
                  <a:lnTo>
                    <a:pt x="22" y="4"/>
                  </a:lnTo>
                  <a:lnTo>
                    <a:pt x="22" y="4"/>
                  </a:lnTo>
                  <a:lnTo>
                    <a:pt x="26" y="4"/>
                  </a:lnTo>
                  <a:lnTo>
                    <a:pt x="26" y="4"/>
                  </a:lnTo>
                  <a:lnTo>
                    <a:pt x="30" y="0"/>
                  </a:lnTo>
                  <a:lnTo>
                    <a:pt x="30" y="0"/>
                  </a:lnTo>
                  <a:lnTo>
                    <a:pt x="30" y="0"/>
                  </a:lnTo>
                  <a:lnTo>
                    <a:pt x="30" y="0"/>
                  </a:lnTo>
                  <a:lnTo>
                    <a:pt x="30" y="0"/>
                  </a:lnTo>
                  <a:lnTo>
                    <a:pt x="30" y="0"/>
                  </a:lnTo>
                  <a:lnTo>
                    <a:pt x="34" y="0"/>
                  </a:lnTo>
                  <a:lnTo>
                    <a:pt x="34" y="0"/>
                  </a:lnTo>
                  <a:lnTo>
                    <a:pt x="34" y="0"/>
                  </a:lnTo>
                  <a:lnTo>
                    <a:pt x="34" y="0"/>
                  </a:lnTo>
                  <a:lnTo>
                    <a:pt x="30" y="0"/>
                  </a:lnTo>
                  <a:lnTo>
                    <a:pt x="30" y="4"/>
                  </a:lnTo>
                  <a:lnTo>
                    <a:pt x="30" y="4"/>
                  </a:lnTo>
                  <a:lnTo>
                    <a:pt x="30" y="4"/>
                  </a:lnTo>
                  <a:lnTo>
                    <a:pt x="26" y="4"/>
                  </a:lnTo>
                  <a:lnTo>
                    <a:pt x="26" y="4"/>
                  </a:lnTo>
                  <a:lnTo>
                    <a:pt x="26" y="4"/>
                  </a:lnTo>
                  <a:lnTo>
                    <a:pt x="26" y="4"/>
                  </a:lnTo>
                  <a:lnTo>
                    <a:pt x="26" y="8"/>
                  </a:lnTo>
                  <a:lnTo>
                    <a:pt x="26" y="8"/>
                  </a:lnTo>
                  <a:lnTo>
                    <a:pt x="26" y="8"/>
                  </a:lnTo>
                  <a:lnTo>
                    <a:pt x="26" y="8"/>
                  </a:lnTo>
                  <a:lnTo>
                    <a:pt x="26" y="8"/>
                  </a:lnTo>
                  <a:lnTo>
                    <a:pt x="26" y="8"/>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22" y="14"/>
                  </a:lnTo>
                  <a:lnTo>
                    <a:pt x="22" y="14"/>
                  </a:lnTo>
                  <a:lnTo>
                    <a:pt x="22" y="14"/>
                  </a:lnTo>
                  <a:lnTo>
                    <a:pt x="18" y="14"/>
                  </a:lnTo>
                  <a:lnTo>
                    <a:pt x="18" y="14"/>
                  </a:lnTo>
                  <a:lnTo>
                    <a:pt x="14" y="14"/>
                  </a:lnTo>
                  <a:lnTo>
                    <a:pt x="14" y="14"/>
                  </a:lnTo>
                  <a:lnTo>
                    <a:pt x="14" y="14"/>
                  </a:lnTo>
                  <a:lnTo>
                    <a:pt x="14" y="1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33" name="Freeform 26"/>
            <p:cNvSpPr>
              <a:spLocks/>
            </p:cNvSpPr>
            <p:nvPr/>
          </p:nvSpPr>
          <p:spPr bwMode="auto">
            <a:xfrm>
              <a:off x="7344227" y="3798243"/>
              <a:ext cx="2512" cy="5230"/>
            </a:xfrm>
            <a:custGeom>
              <a:avLst/>
              <a:gdLst>
                <a:gd name="T0" fmla="*/ 4 w 4"/>
                <a:gd name="T1" fmla="*/ 0 h 8"/>
                <a:gd name="T2" fmla="*/ 4 w 4"/>
                <a:gd name="T3" fmla="*/ 0 h 8"/>
                <a:gd name="T4" fmla="*/ 4 w 4"/>
                <a:gd name="T5" fmla="*/ 0 h 8"/>
                <a:gd name="T6" fmla="*/ 4 w 4"/>
                <a:gd name="T7" fmla="*/ 0 h 8"/>
                <a:gd name="T8" fmla="*/ 4 w 4"/>
                <a:gd name="T9" fmla="*/ 4 h 8"/>
                <a:gd name="T10" fmla="*/ 4 w 4"/>
                <a:gd name="T11" fmla="*/ 4 h 8"/>
                <a:gd name="T12" fmla="*/ 0 w 4"/>
                <a:gd name="T13" fmla="*/ 4 h 8"/>
                <a:gd name="T14" fmla="*/ 0 w 4"/>
                <a:gd name="T15" fmla="*/ 4 h 8"/>
                <a:gd name="T16" fmla="*/ 0 w 4"/>
                <a:gd name="T17" fmla="*/ 8 h 8"/>
                <a:gd name="T18" fmla="*/ 0 w 4"/>
                <a:gd name="T19" fmla="*/ 8 h 8"/>
                <a:gd name="T20" fmla="*/ 0 w 4"/>
                <a:gd name="T21" fmla="*/ 4 h 8"/>
                <a:gd name="T22" fmla="*/ 0 w 4"/>
                <a:gd name="T23" fmla="*/ 4 h 8"/>
                <a:gd name="T24" fmla="*/ 0 w 4"/>
                <a:gd name="T25" fmla="*/ 4 h 8"/>
                <a:gd name="T26" fmla="*/ 0 w 4"/>
                <a:gd name="T27" fmla="*/ 4 h 8"/>
                <a:gd name="T28" fmla="*/ 4 w 4"/>
                <a:gd name="T29" fmla="*/ 4 h 8"/>
                <a:gd name="T30" fmla="*/ 4 w 4"/>
                <a:gd name="T31" fmla="*/ 0 h 8"/>
                <a:gd name="T32" fmla="*/ 4 w 4"/>
                <a:gd name="T33" fmla="*/ 0 h 8"/>
                <a:gd name="T34" fmla="*/ 4 w 4"/>
                <a:gd name="T35" fmla="*/ 0 h 8"/>
                <a:gd name="T36" fmla="*/ 4 w 4"/>
                <a:gd name="T37" fmla="*/ 0 h 8"/>
                <a:gd name="T38" fmla="*/ 4 w 4"/>
                <a:gd name="T3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8">
                  <a:moveTo>
                    <a:pt x="4" y="0"/>
                  </a:moveTo>
                  <a:lnTo>
                    <a:pt x="4" y="0"/>
                  </a:lnTo>
                  <a:lnTo>
                    <a:pt x="4" y="0"/>
                  </a:lnTo>
                  <a:lnTo>
                    <a:pt x="4" y="0"/>
                  </a:lnTo>
                  <a:lnTo>
                    <a:pt x="4" y="4"/>
                  </a:lnTo>
                  <a:lnTo>
                    <a:pt x="4" y="4"/>
                  </a:lnTo>
                  <a:lnTo>
                    <a:pt x="0" y="4"/>
                  </a:lnTo>
                  <a:lnTo>
                    <a:pt x="0" y="4"/>
                  </a:lnTo>
                  <a:lnTo>
                    <a:pt x="0" y="8"/>
                  </a:lnTo>
                  <a:lnTo>
                    <a:pt x="0" y="8"/>
                  </a:lnTo>
                  <a:lnTo>
                    <a:pt x="0" y="4"/>
                  </a:lnTo>
                  <a:lnTo>
                    <a:pt x="0" y="4"/>
                  </a:lnTo>
                  <a:lnTo>
                    <a:pt x="0" y="4"/>
                  </a:lnTo>
                  <a:lnTo>
                    <a:pt x="0" y="4"/>
                  </a:lnTo>
                  <a:lnTo>
                    <a:pt x="4" y="4"/>
                  </a:lnTo>
                  <a:lnTo>
                    <a:pt x="4" y="0"/>
                  </a:lnTo>
                  <a:lnTo>
                    <a:pt x="4" y="0"/>
                  </a:lnTo>
                  <a:lnTo>
                    <a:pt x="4" y="0"/>
                  </a:lnTo>
                  <a:lnTo>
                    <a:pt x="4" y="0"/>
                  </a:lnTo>
                  <a:lnTo>
                    <a:pt x="4" y="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34" name="Freeform 27"/>
            <p:cNvSpPr>
              <a:spLocks/>
            </p:cNvSpPr>
            <p:nvPr/>
          </p:nvSpPr>
          <p:spPr bwMode="auto">
            <a:xfrm>
              <a:off x="7395722" y="3650486"/>
              <a:ext cx="59030" cy="30074"/>
            </a:xfrm>
            <a:custGeom>
              <a:avLst/>
              <a:gdLst>
                <a:gd name="T0" fmla="*/ 34 w 94"/>
                <a:gd name="T1" fmla="*/ 40 h 46"/>
                <a:gd name="T2" fmla="*/ 30 w 94"/>
                <a:gd name="T3" fmla="*/ 40 h 46"/>
                <a:gd name="T4" fmla="*/ 26 w 94"/>
                <a:gd name="T5" fmla="*/ 40 h 46"/>
                <a:gd name="T6" fmla="*/ 22 w 94"/>
                <a:gd name="T7" fmla="*/ 36 h 46"/>
                <a:gd name="T8" fmla="*/ 26 w 94"/>
                <a:gd name="T9" fmla="*/ 32 h 46"/>
                <a:gd name="T10" fmla="*/ 22 w 94"/>
                <a:gd name="T11" fmla="*/ 24 h 46"/>
                <a:gd name="T12" fmla="*/ 22 w 94"/>
                <a:gd name="T13" fmla="*/ 20 h 46"/>
                <a:gd name="T14" fmla="*/ 18 w 94"/>
                <a:gd name="T15" fmla="*/ 14 h 46"/>
                <a:gd name="T16" fmla="*/ 18 w 94"/>
                <a:gd name="T17" fmla="*/ 14 h 46"/>
                <a:gd name="T18" fmla="*/ 14 w 94"/>
                <a:gd name="T19" fmla="*/ 10 h 46"/>
                <a:gd name="T20" fmla="*/ 12 w 94"/>
                <a:gd name="T21" fmla="*/ 10 h 46"/>
                <a:gd name="T22" fmla="*/ 12 w 94"/>
                <a:gd name="T23" fmla="*/ 8 h 46"/>
                <a:gd name="T24" fmla="*/ 4 w 94"/>
                <a:gd name="T25" fmla="*/ 4 h 46"/>
                <a:gd name="T26" fmla="*/ 0 w 94"/>
                <a:gd name="T27" fmla="*/ 4 h 46"/>
                <a:gd name="T28" fmla="*/ 0 w 94"/>
                <a:gd name="T29" fmla="*/ 0 h 46"/>
                <a:gd name="T30" fmla="*/ 4 w 94"/>
                <a:gd name="T31" fmla="*/ 0 h 46"/>
                <a:gd name="T32" fmla="*/ 8 w 94"/>
                <a:gd name="T33" fmla="*/ 0 h 46"/>
                <a:gd name="T34" fmla="*/ 12 w 94"/>
                <a:gd name="T35" fmla="*/ 0 h 46"/>
                <a:gd name="T36" fmla="*/ 12 w 94"/>
                <a:gd name="T37" fmla="*/ 0 h 46"/>
                <a:gd name="T38" fmla="*/ 14 w 94"/>
                <a:gd name="T39" fmla="*/ 4 h 46"/>
                <a:gd name="T40" fmla="*/ 22 w 94"/>
                <a:gd name="T41" fmla="*/ 8 h 46"/>
                <a:gd name="T42" fmla="*/ 30 w 94"/>
                <a:gd name="T43" fmla="*/ 4 h 46"/>
                <a:gd name="T44" fmla="*/ 34 w 94"/>
                <a:gd name="T45" fmla="*/ 8 h 46"/>
                <a:gd name="T46" fmla="*/ 38 w 94"/>
                <a:gd name="T47" fmla="*/ 8 h 46"/>
                <a:gd name="T48" fmla="*/ 44 w 94"/>
                <a:gd name="T49" fmla="*/ 10 h 46"/>
                <a:gd name="T50" fmla="*/ 48 w 94"/>
                <a:gd name="T51" fmla="*/ 10 h 46"/>
                <a:gd name="T52" fmla="*/ 52 w 94"/>
                <a:gd name="T53" fmla="*/ 14 h 46"/>
                <a:gd name="T54" fmla="*/ 52 w 94"/>
                <a:gd name="T55" fmla="*/ 14 h 46"/>
                <a:gd name="T56" fmla="*/ 56 w 94"/>
                <a:gd name="T57" fmla="*/ 18 h 46"/>
                <a:gd name="T58" fmla="*/ 64 w 94"/>
                <a:gd name="T59" fmla="*/ 14 h 46"/>
                <a:gd name="T60" fmla="*/ 64 w 94"/>
                <a:gd name="T61" fmla="*/ 14 h 46"/>
                <a:gd name="T62" fmla="*/ 68 w 94"/>
                <a:gd name="T63" fmla="*/ 14 h 46"/>
                <a:gd name="T64" fmla="*/ 70 w 94"/>
                <a:gd name="T65" fmla="*/ 14 h 46"/>
                <a:gd name="T66" fmla="*/ 70 w 94"/>
                <a:gd name="T67" fmla="*/ 14 h 46"/>
                <a:gd name="T68" fmla="*/ 74 w 94"/>
                <a:gd name="T69" fmla="*/ 18 h 46"/>
                <a:gd name="T70" fmla="*/ 74 w 94"/>
                <a:gd name="T71" fmla="*/ 18 h 46"/>
                <a:gd name="T72" fmla="*/ 78 w 94"/>
                <a:gd name="T73" fmla="*/ 18 h 46"/>
                <a:gd name="T74" fmla="*/ 78 w 94"/>
                <a:gd name="T75" fmla="*/ 20 h 46"/>
                <a:gd name="T76" fmla="*/ 86 w 94"/>
                <a:gd name="T77" fmla="*/ 28 h 46"/>
                <a:gd name="T78" fmla="*/ 90 w 94"/>
                <a:gd name="T79" fmla="*/ 32 h 46"/>
                <a:gd name="T80" fmla="*/ 90 w 94"/>
                <a:gd name="T81" fmla="*/ 32 h 46"/>
                <a:gd name="T82" fmla="*/ 86 w 94"/>
                <a:gd name="T83" fmla="*/ 32 h 46"/>
                <a:gd name="T84" fmla="*/ 90 w 94"/>
                <a:gd name="T85" fmla="*/ 40 h 46"/>
                <a:gd name="T86" fmla="*/ 94 w 94"/>
                <a:gd name="T87" fmla="*/ 44 h 46"/>
                <a:gd name="T88" fmla="*/ 94 w 94"/>
                <a:gd name="T89" fmla="*/ 46 h 46"/>
                <a:gd name="T90" fmla="*/ 90 w 94"/>
                <a:gd name="T91" fmla="*/ 44 h 46"/>
                <a:gd name="T92" fmla="*/ 86 w 94"/>
                <a:gd name="T93" fmla="*/ 44 h 46"/>
                <a:gd name="T94" fmla="*/ 82 w 94"/>
                <a:gd name="T95" fmla="*/ 44 h 46"/>
                <a:gd name="T96" fmla="*/ 78 w 94"/>
                <a:gd name="T97" fmla="*/ 44 h 46"/>
                <a:gd name="T98" fmla="*/ 74 w 94"/>
                <a:gd name="T99" fmla="*/ 40 h 46"/>
                <a:gd name="T100" fmla="*/ 70 w 94"/>
                <a:gd name="T101" fmla="*/ 44 h 46"/>
                <a:gd name="T102" fmla="*/ 68 w 94"/>
                <a:gd name="T103" fmla="*/ 44 h 46"/>
                <a:gd name="T104" fmla="*/ 60 w 94"/>
                <a:gd name="T105" fmla="*/ 44 h 46"/>
                <a:gd name="T106" fmla="*/ 56 w 94"/>
                <a:gd name="T107" fmla="*/ 44 h 46"/>
                <a:gd name="T108" fmla="*/ 52 w 94"/>
                <a:gd name="T109" fmla="*/ 46 h 46"/>
                <a:gd name="T110" fmla="*/ 48 w 94"/>
                <a:gd name="T111" fmla="*/ 46 h 46"/>
                <a:gd name="T112" fmla="*/ 48 w 94"/>
                <a:gd name="T113" fmla="*/ 44 h 46"/>
                <a:gd name="T114" fmla="*/ 42 w 94"/>
                <a:gd name="T115" fmla="*/ 40 h 46"/>
                <a:gd name="T116" fmla="*/ 38 w 94"/>
                <a:gd name="T117"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 h="46">
                  <a:moveTo>
                    <a:pt x="38" y="36"/>
                  </a:moveTo>
                  <a:lnTo>
                    <a:pt x="38" y="40"/>
                  </a:lnTo>
                  <a:lnTo>
                    <a:pt x="34" y="40"/>
                  </a:lnTo>
                  <a:lnTo>
                    <a:pt x="34" y="40"/>
                  </a:lnTo>
                  <a:lnTo>
                    <a:pt x="34" y="40"/>
                  </a:lnTo>
                  <a:lnTo>
                    <a:pt x="34" y="40"/>
                  </a:lnTo>
                  <a:lnTo>
                    <a:pt x="34" y="40"/>
                  </a:lnTo>
                  <a:lnTo>
                    <a:pt x="30" y="40"/>
                  </a:lnTo>
                  <a:lnTo>
                    <a:pt x="30" y="40"/>
                  </a:lnTo>
                  <a:lnTo>
                    <a:pt x="30" y="40"/>
                  </a:lnTo>
                  <a:lnTo>
                    <a:pt x="26" y="40"/>
                  </a:lnTo>
                  <a:lnTo>
                    <a:pt x="26" y="40"/>
                  </a:lnTo>
                  <a:lnTo>
                    <a:pt x="26" y="40"/>
                  </a:lnTo>
                  <a:lnTo>
                    <a:pt x="26" y="40"/>
                  </a:lnTo>
                  <a:lnTo>
                    <a:pt x="26" y="40"/>
                  </a:lnTo>
                  <a:lnTo>
                    <a:pt x="22" y="40"/>
                  </a:lnTo>
                  <a:lnTo>
                    <a:pt x="22" y="40"/>
                  </a:lnTo>
                  <a:lnTo>
                    <a:pt x="22" y="40"/>
                  </a:lnTo>
                  <a:lnTo>
                    <a:pt x="22" y="36"/>
                  </a:lnTo>
                  <a:lnTo>
                    <a:pt x="22" y="36"/>
                  </a:lnTo>
                  <a:lnTo>
                    <a:pt x="22" y="36"/>
                  </a:lnTo>
                  <a:lnTo>
                    <a:pt x="22" y="36"/>
                  </a:lnTo>
                  <a:lnTo>
                    <a:pt x="22" y="32"/>
                  </a:lnTo>
                  <a:lnTo>
                    <a:pt x="26" y="32"/>
                  </a:lnTo>
                  <a:lnTo>
                    <a:pt x="26" y="32"/>
                  </a:lnTo>
                  <a:lnTo>
                    <a:pt x="26" y="32"/>
                  </a:lnTo>
                  <a:lnTo>
                    <a:pt x="22" y="28"/>
                  </a:lnTo>
                  <a:lnTo>
                    <a:pt x="22" y="24"/>
                  </a:lnTo>
                  <a:lnTo>
                    <a:pt x="22" y="24"/>
                  </a:lnTo>
                  <a:lnTo>
                    <a:pt x="22" y="24"/>
                  </a:lnTo>
                  <a:lnTo>
                    <a:pt x="22" y="24"/>
                  </a:lnTo>
                  <a:lnTo>
                    <a:pt x="22" y="24"/>
                  </a:lnTo>
                  <a:lnTo>
                    <a:pt x="22" y="20"/>
                  </a:lnTo>
                  <a:lnTo>
                    <a:pt x="22" y="20"/>
                  </a:lnTo>
                  <a:lnTo>
                    <a:pt x="22" y="20"/>
                  </a:lnTo>
                  <a:lnTo>
                    <a:pt x="22" y="18"/>
                  </a:lnTo>
                  <a:lnTo>
                    <a:pt x="22" y="18"/>
                  </a:lnTo>
                  <a:lnTo>
                    <a:pt x="22" y="18"/>
                  </a:lnTo>
                  <a:lnTo>
                    <a:pt x="18" y="18"/>
                  </a:lnTo>
                  <a:lnTo>
                    <a:pt x="18" y="14"/>
                  </a:lnTo>
                  <a:lnTo>
                    <a:pt x="18" y="14"/>
                  </a:lnTo>
                  <a:lnTo>
                    <a:pt x="18" y="14"/>
                  </a:lnTo>
                  <a:lnTo>
                    <a:pt x="18" y="14"/>
                  </a:lnTo>
                  <a:lnTo>
                    <a:pt x="18" y="14"/>
                  </a:lnTo>
                  <a:lnTo>
                    <a:pt x="18" y="14"/>
                  </a:lnTo>
                  <a:lnTo>
                    <a:pt x="14" y="14"/>
                  </a:lnTo>
                  <a:lnTo>
                    <a:pt x="14" y="14"/>
                  </a:lnTo>
                  <a:lnTo>
                    <a:pt x="14" y="14"/>
                  </a:lnTo>
                  <a:lnTo>
                    <a:pt x="14" y="14"/>
                  </a:lnTo>
                  <a:lnTo>
                    <a:pt x="14" y="10"/>
                  </a:lnTo>
                  <a:lnTo>
                    <a:pt x="14" y="10"/>
                  </a:lnTo>
                  <a:lnTo>
                    <a:pt x="14" y="10"/>
                  </a:lnTo>
                  <a:lnTo>
                    <a:pt x="14" y="10"/>
                  </a:lnTo>
                  <a:lnTo>
                    <a:pt x="12" y="10"/>
                  </a:lnTo>
                  <a:lnTo>
                    <a:pt x="12" y="10"/>
                  </a:lnTo>
                  <a:lnTo>
                    <a:pt x="12" y="10"/>
                  </a:lnTo>
                  <a:lnTo>
                    <a:pt x="12" y="8"/>
                  </a:lnTo>
                  <a:lnTo>
                    <a:pt x="12" y="8"/>
                  </a:lnTo>
                  <a:lnTo>
                    <a:pt x="12" y="8"/>
                  </a:lnTo>
                  <a:lnTo>
                    <a:pt x="12" y="8"/>
                  </a:lnTo>
                  <a:lnTo>
                    <a:pt x="12" y="8"/>
                  </a:lnTo>
                  <a:lnTo>
                    <a:pt x="8" y="8"/>
                  </a:lnTo>
                  <a:lnTo>
                    <a:pt x="4" y="8"/>
                  </a:lnTo>
                  <a:lnTo>
                    <a:pt x="4" y="4"/>
                  </a:lnTo>
                  <a:lnTo>
                    <a:pt x="4" y="4"/>
                  </a:lnTo>
                  <a:lnTo>
                    <a:pt x="4" y="4"/>
                  </a:lnTo>
                  <a:lnTo>
                    <a:pt x="0" y="4"/>
                  </a:lnTo>
                  <a:lnTo>
                    <a:pt x="0" y="4"/>
                  </a:lnTo>
                  <a:lnTo>
                    <a:pt x="0" y="4"/>
                  </a:lnTo>
                  <a:lnTo>
                    <a:pt x="0" y="4"/>
                  </a:lnTo>
                  <a:lnTo>
                    <a:pt x="0" y="0"/>
                  </a:lnTo>
                  <a:lnTo>
                    <a:pt x="0" y="0"/>
                  </a:lnTo>
                  <a:lnTo>
                    <a:pt x="0" y="0"/>
                  </a:lnTo>
                  <a:lnTo>
                    <a:pt x="0" y="0"/>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2" y="0"/>
                  </a:lnTo>
                  <a:lnTo>
                    <a:pt x="14" y="4"/>
                  </a:lnTo>
                  <a:lnTo>
                    <a:pt x="14" y="4"/>
                  </a:lnTo>
                  <a:lnTo>
                    <a:pt x="14" y="4"/>
                  </a:lnTo>
                  <a:lnTo>
                    <a:pt x="14" y="4"/>
                  </a:lnTo>
                  <a:lnTo>
                    <a:pt x="14" y="4"/>
                  </a:lnTo>
                  <a:lnTo>
                    <a:pt x="14" y="4"/>
                  </a:lnTo>
                  <a:lnTo>
                    <a:pt x="14" y="4"/>
                  </a:lnTo>
                  <a:lnTo>
                    <a:pt x="18" y="4"/>
                  </a:lnTo>
                  <a:lnTo>
                    <a:pt x="22" y="4"/>
                  </a:lnTo>
                  <a:lnTo>
                    <a:pt x="22" y="8"/>
                  </a:lnTo>
                  <a:lnTo>
                    <a:pt x="30" y="8"/>
                  </a:lnTo>
                  <a:lnTo>
                    <a:pt x="30" y="8"/>
                  </a:lnTo>
                  <a:lnTo>
                    <a:pt x="30" y="8"/>
                  </a:lnTo>
                  <a:lnTo>
                    <a:pt x="30" y="4"/>
                  </a:lnTo>
                  <a:lnTo>
                    <a:pt x="30" y="4"/>
                  </a:lnTo>
                  <a:lnTo>
                    <a:pt x="34" y="4"/>
                  </a:lnTo>
                  <a:lnTo>
                    <a:pt x="34" y="4"/>
                  </a:lnTo>
                  <a:lnTo>
                    <a:pt x="34" y="4"/>
                  </a:lnTo>
                  <a:lnTo>
                    <a:pt x="34" y="8"/>
                  </a:lnTo>
                  <a:lnTo>
                    <a:pt x="34" y="8"/>
                  </a:lnTo>
                  <a:lnTo>
                    <a:pt x="34" y="8"/>
                  </a:lnTo>
                  <a:lnTo>
                    <a:pt x="38" y="8"/>
                  </a:lnTo>
                  <a:lnTo>
                    <a:pt x="38" y="8"/>
                  </a:lnTo>
                  <a:lnTo>
                    <a:pt x="38" y="8"/>
                  </a:lnTo>
                  <a:lnTo>
                    <a:pt x="38" y="8"/>
                  </a:lnTo>
                  <a:lnTo>
                    <a:pt x="38" y="8"/>
                  </a:lnTo>
                  <a:lnTo>
                    <a:pt x="42" y="8"/>
                  </a:lnTo>
                  <a:lnTo>
                    <a:pt x="42" y="8"/>
                  </a:lnTo>
                  <a:lnTo>
                    <a:pt x="42" y="8"/>
                  </a:lnTo>
                  <a:lnTo>
                    <a:pt x="44" y="10"/>
                  </a:lnTo>
                  <a:lnTo>
                    <a:pt x="44" y="10"/>
                  </a:lnTo>
                  <a:lnTo>
                    <a:pt x="44" y="10"/>
                  </a:lnTo>
                  <a:lnTo>
                    <a:pt x="48" y="10"/>
                  </a:lnTo>
                  <a:lnTo>
                    <a:pt x="48" y="10"/>
                  </a:lnTo>
                  <a:lnTo>
                    <a:pt x="48" y="10"/>
                  </a:lnTo>
                  <a:lnTo>
                    <a:pt x="48" y="10"/>
                  </a:lnTo>
                  <a:lnTo>
                    <a:pt x="48" y="10"/>
                  </a:lnTo>
                  <a:lnTo>
                    <a:pt x="48" y="14"/>
                  </a:lnTo>
                  <a:lnTo>
                    <a:pt x="52" y="14"/>
                  </a:lnTo>
                  <a:lnTo>
                    <a:pt x="52" y="14"/>
                  </a:lnTo>
                  <a:lnTo>
                    <a:pt x="52" y="14"/>
                  </a:lnTo>
                  <a:lnTo>
                    <a:pt x="52" y="14"/>
                  </a:lnTo>
                  <a:lnTo>
                    <a:pt x="52" y="14"/>
                  </a:lnTo>
                  <a:lnTo>
                    <a:pt x="52" y="14"/>
                  </a:lnTo>
                  <a:lnTo>
                    <a:pt x="52" y="14"/>
                  </a:lnTo>
                  <a:lnTo>
                    <a:pt x="52" y="14"/>
                  </a:lnTo>
                  <a:lnTo>
                    <a:pt x="52" y="14"/>
                  </a:lnTo>
                  <a:lnTo>
                    <a:pt x="52" y="18"/>
                  </a:lnTo>
                  <a:lnTo>
                    <a:pt x="52" y="18"/>
                  </a:lnTo>
                  <a:lnTo>
                    <a:pt x="56" y="18"/>
                  </a:lnTo>
                  <a:lnTo>
                    <a:pt x="60" y="18"/>
                  </a:lnTo>
                  <a:lnTo>
                    <a:pt x="60" y="18"/>
                  </a:lnTo>
                  <a:lnTo>
                    <a:pt x="60" y="18"/>
                  </a:lnTo>
                  <a:lnTo>
                    <a:pt x="60" y="14"/>
                  </a:lnTo>
                  <a:lnTo>
                    <a:pt x="64" y="14"/>
                  </a:lnTo>
                  <a:lnTo>
                    <a:pt x="64" y="14"/>
                  </a:lnTo>
                  <a:lnTo>
                    <a:pt x="64" y="14"/>
                  </a:lnTo>
                  <a:lnTo>
                    <a:pt x="64" y="14"/>
                  </a:lnTo>
                  <a:lnTo>
                    <a:pt x="64" y="14"/>
                  </a:lnTo>
                  <a:lnTo>
                    <a:pt x="64" y="14"/>
                  </a:lnTo>
                  <a:lnTo>
                    <a:pt x="64" y="14"/>
                  </a:lnTo>
                  <a:lnTo>
                    <a:pt x="68" y="14"/>
                  </a:lnTo>
                  <a:lnTo>
                    <a:pt x="68" y="14"/>
                  </a:lnTo>
                  <a:lnTo>
                    <a:pt x="68" y="14"/>
                  </a:lnTo>
                  <a:lnTo>
                    <a:pt x="68" y="14"/>
                  </a:lnTo>
                  <a:lnTo>
                    <a:pt x="68" y="14"/>
                  </a:lnTo>
                  <a:lnTo>
                    <a:pt x="68" y="14"/>
                  </a:lnTo>
                  <a:lnTo>
                    <a:pt x="68" y="14"/>
                  </a:lnTo>
                  <a:lnTo>
                    <a:pt x="70" y="14"/>
                  </a:lnTo>
                  <a:lnTo>
                    <a:pt x="70" y="14"/>
                  </a:lnTo>
                  <a:lnTo>
                    <a:pt x="70" y="14"/>
                  </a:lnTo>
                  <a:lnTo>
                    <a:pt x="70" y="14"/>
                  </a:lnTo>
                  <a:lnTo>
                    <a:pt x="70" y="14"/>
                  </a:lnTo>
                  <a:lnTo>
                    <a:pt x="70" y="14"/>
                  </a:lnTo>
                  <a:lnTo>
                    <a:pt x="70" y="14"/>
                  </a:lnTo>
                  <a:lnTo>
                    <a:pt x="70" y="14"/>
                  </a:lnTo>
                  <a:lnTo>
                    <a:pt x="70" y="14"/>
                  </a:lnTo>
                  <a:lnTo>
                    <a:pt x="70" y="14"/>
                  </a:lnTo>
                  <a:lnTo>
                    <a:pt x="74" y="14"/>
                  </a:lnTo>
                  <a:lnTo>
                    <a:pt x="74" y="18"/>
                  </a:lnTo>
                  <a:lnTo>
                    <a:pt x="74" y="18"/>
                  </a:lnTo>
                  <a:lnTo>
                    <a:pt x="74" y="18"/>
                  </a:lnTo>
                  <a:lnTo>
                    <a:pt x="74" y="18"/>
                  </a:lnTo>
                  <a:lnTo>
                    <a:pt x="74" y="18"/>
                  </a:lnTo>
                  <a:lnTo>
                    <a:pt x="74" y="18"/>
                  </a:lnTo>
                  <a:lnTo>
                    <a:pt x="78" y="18"/>
                  </a:lnTo>
                  <a:lnTo>
                    <a:pt x="78" y="18"/>
                  </a:lnTo>
                  <a:lnTo>
                    <a:pt x="78" y="18"/>
                  </a:lnTo>
                  <a:lnTo>
                    <a:pt x="78" y="18"/>
                  </a:lnTo>
                  <a:lnTo>
                    <a:pt x="78" y="18"/>
                  </a:lnTo>
                  <a:lnTo>
                    <a:pt x="82" y="18"/>
                  </a:lnTo>
                  <a:lnTo>
                    <a:pt x="82" y="18"/>
                  </a:lnTo>
                  <a:lnTo>
                    <a:pt x="82" y="18"/>
                  </a:lnTo>
                  <a:lnTo>
                    <a:pt x="82" y="20"/>
                  </a:lnTo>
                  <a:lnTo>
                    <a:pt x="78" y="20"/>
                  </a:lnTo>
                  <a:lnTo>
                    <a:pt x="78" y="20"/>
                  </a:lnTo>
                  <a:lnTo>
                    <a:pt x="78" y="24"/>
                  </a:lnTo>
                  <a:lnTo>
                    <a:pt x="78" y="24"/>
                  </a:lnTo>
                  <a:lnTo>
                    <a:pt x="78" y="24"/>
                  </a:lnTo>
                  <a:lnTo>
                    <a:pt x="86" y="28"/>
                  </a:lnTo>
                  <a:lnTo>
                    <a:pt x="86" y="28"/>
                  </a:lnTo>
                  <a:lnTo>
                    <a:pt x="86" y="28"/>
                  </a:lnTo>
                  <a:lnTo>
                    <a:pt x="90" y="28"/>
                  </a:lnTo>
                  <a:lnTo>
                    <a:pt x="90" y="28"/>
                  </a:lnTo>
                  <a:lnTo>
                    <a:pt x="90" y="32"/>
                  </a:lnTo>
                  <a:lnTo>
                    <a:pt x="90" y="32"/>
                  </a:lnTo>
                  <a:lnTo>
                    <a:pt x="90" y="32"/>
                  </a:lnTo>
                  <a:lnTo>
                    <a:pt x="90" y="32"/>
                  </a:lnTo>
                  <a:lnTo>
                    <a:pt x="90" y="32"/>
                  </a:lnTo>
                  <a:lnTo>
                    <a:pt x="90" y="32"/>
                  </a:lnTo>
                  <a:lnTo>
                    <a:pt x="90" y="32"/>
                  </a:lnTo>
                  <a:lnTo>
                    <a:pt x="90" y="32"/>
                  </a:lnTo>
                  <a:lnTo>
                    <a:pt x="86" y="32"/>
                  </a:lnTo>
                  <a:lnTo>
                    <a:pt x="86" y="32"/>
                  </a:lnTo>
                  <a:lnTo>
                    <a:pt x="86" y="32"/>
                  </a:lnTo>
                  <a:lnTo>
                    <a:pt x="86" y="36"/>
                  </a:lnTo>
                  <a:lnTo>
                    <a:pt x="86" y="36"/>
                  </a:lnTo>
                  <a:lnTo>
                    <a:pt x="86" y="36"/>
                  </a:lnTo>
                  <a:lnTo>
                    <a:pt x="86" y="36"/>
                  </a:lnTo>
                  <a:lnTo>
                    <a:pt x="90" y="40"/>
                  </a:lnTo>
                  <a:lnTo>
                    <a:pt x="90" y="40"/>
                  </a:lnTo>
                  <a:lnTo>
                    <a:pt x="94" y="40"/>
                  </a:lnTo>
                  <a:lnTo>
                    <a:pt x="94" y="40"/>
                  </a:lnTo>
                  <a:lnTo>
                    <a:pt x="94" y="40"/>
                  </a:lnTo>
                  <a:lnTo>
                    <a:pt x="94" y="44"/>
                  </a:lnTo>
                  <a:lnTo>
                    <a:pt x="94" y="44"/>
                  </a:lnTo>
                  <a:lnTo>
                    <a:pt x="94" y="44"/>
                  </a:lnTo>
                  <a:lnTo>
                    <a:pt x="94" y="44"/>
                  </a:lnTo>
                  <a:lnTo>
                    <a:pt x="94" y="46"/>
                  </a:lnTo>
                  <a:lnTo>
                    <a:pt x="94" y="46"/>
                  </a:lnTo>
                  <a:lnTo>
                    <a:pt x="90" y="46"/>
                  </a:lnTo>
                  <a:lnTo>
                    <a:pt x="90" y="46"/>
                  </a:lnTo>
                  <a:lnTo>
                    <a:pt x="90" y="46"/>
                  </a:lnTo>
                  <a:lnTo>
                    <a:pt x="90" y="46"/>
                  </a:lnTo>
                  <a:lnTo>
                    <a:pt x="90" y="44"/>
                  </a:lnTo>
                  <a:lnTo>
                    <a:pt x="90" y="44"/>
                  </a:lnTo>
                  <a:lnTo>
                    <a:pt x="86" y="44"/>
                  </a:lnTo>
                  <a:lnTo>
                    <a:pt x="86" y="44"/>
                  </a:lnTo>
                  <a:lnTo>
                    <a:pt x="86" y="44"/>
                  </a:lnTo>
                  <a:lnTo>
                    <a:pt x="86" y="44"/>
                  </a:lnTo>
                  <a:lnTo>
                    <a:pt x="86" y="44"/>
                  </a:lnTo>
                  <a:lnTo>
                    <a:pt x="86" y="44"/>
                  </a:lnTo>
                  <a:lnTo>
                    <a:pt x="82" y="44"/>
                  </a:lnTo>
                  <a:lnTo>
                    <a:pt x="82" y="44"/>
                  </a:lnTo>
                  <a:lnTo>
                    <a:pt x="82" y="44"/>
                  </a:lnTo>
                  <a:lnTo>
                    <a:pt x="82" y="44"/>
                  </a:lnTo>
                  <a:lnTo>
                    <a:pt x="82" y="44"/>
                  </a:lnTo>
                  <a:lnTo>
                    <a:pt x="82" y="44"/>
                  </a:lnTo>
                  <a:lnTo>
                    <a:pt x="82" y="44"/>
                  </a:lnTo>
                  <a:lnTo>
                    <a:pt x="78" y="44"/>
                  </a:lnTo>
                  <a:lnTo>
                    <a:pt x="78" y="44"/>
                  </a:lnTo>
                  <a:lnTo>
                    <a:pt x="78" y="40"/>
                  </a:lnTo>
                  <a:lnTo>
                    <a:pt x="78" y="40"/>
                  </a:lnTo>
                  <a:lnTo>
                    <a:pt x="74" y="40"/>
                  </a:lnTo>
                  <a:lnTo>
                    <a:pt x="74" y="40"/>
                  </a:lnTo>
                  <a:lnTo>
                    <a:pt x="74" y="40"/>
                  </a:lnTo>
                  <a:lnTo>
                    <a:pt x="74" y="40"/>
                  </a:lnTo>
                  <a:lnTo>
                    <a:pt x="70" y="40"/>
                  </a:lnTo>
                  <a:lnTo>
                    <a:pt x="70" y="40"/>
                  </a:lnTo>
                  <a:lnTo>
                    <a:pt x="70" y="44"/>
                  </a:lnTo>
                  <a:lnTo>
                    <a:pt x="70" y="44"/>
                  </a:lnTo>
                  <a:lnTo>
                    <a:pt x="70" y="44"/>
                  </a:lnTo>
                  <a:lnTo>
                    <a:pt x="68" y="44"/>
                  </a:lnTo>
                  <a:lnTo>
                    <a:pt x="68" y="44"/>
                  </a:lnTo>
                  <a:lnTo>
                    <a:pt x="68" y="44"/>
                  </a:lnTo>
                  <a:lnTo>
                    <a:pt x="68" y="44"/>
                  </a:lnTo>
                  <a:lnTo>
                    <a:pt x="64" y="44"/>
                  </a:lnTo>
                  <a:lnTo>
                    <a:pt x="64" y="44"/>
                  </a:lnTo>
                  <a:lnTo>
                    <a:pt x="64" y="44"/>
                  </a:lnTo>
                  <a:lnTo>
                    <a:pt x="60" y="44"/>
                  </a:lnTo>
                  <a:lnTo>
                    <a:pt x="60" y="44"/>
                  </a:lnTo>
                  <a:lnTo>
                    <a:pt x="60" y="44"/>
                  </a:lnTo>
                  <a:lnTo>
                    <a:pt x="60" y="44"/>
                  </a:lnTo>
                  <a:lnTo>
                    <a:pt x="56" y="44"/>
                  </a:lnTo>
                  <a:lnTo>
                    <a:pt x="56" y="44"/>
                  </a:lnTo>
                  <a:lnTo>
                    <a:pt x="56" y="44"/>
                  </a:lnTo>
                  <a:lnTo>
                    <a:pt x="52" y="44"/>
                  </a:lnTo>
                  <a:lnTo>
                    <a:pt x="52" y="44"/>
                  </a:lnTo>
                  <a:lnTo>
                    <a:pt x="52" y="46"/>
                  </a:lnTo>
                  <a:lnTo>
                    <a:pt x="52" y="46"/>
                  </a:lnTo>
                  <a:lnTo>
                    <a:pt x="52" y="46"/>
                  </a:lnTo>
                  <a:lnTo>
                    <a:pt x="52" y="46"/>
                  </a:lnTo>
                  <a:lnTo>
                    <a:pt x="48" y="46"/>
                  </a:lnTo>
                  <a:lnTo>
                    <a:pt x="48" y="46"/>
                  </a:lnTo>
                  <a:lnTo>
                    <a:pt x="48" y="46"/>
                  </a:lnTo>
                  <a:lnTo>
                    <a:pt x="48" y="46"/>
                  </a:lnTo>
                  <a:lnTo>
                    <a:pt x="48" y="46"/>
                  </a:lnTo>
                  <a:lnTo>
                    <a:pt x="48" y="44"/>
                  </a:lnTo>
                  <a:lnTo>
                    <a:pt x="48" y="44"/>
                  </a:lnTo>
                  <a:lnTo>
                    <a:pt x="48" y="44"/>
                  </a:lnTo>
                  <a:lnTo>
                    <a:pt x="48" y="44"/>
                  </a:lnTo>
                  <a:lnTo>
                    <a:pt x="44" y="44"/>
                  </a:lnTo>
                  <a:lnTo>
                    <a:pt x="44" y="44"/>
                  </a:lnTo>
                  <a:lnTo>
                    <a:pt x="42" y="40"/>
                  </a:lnTo>
                  <a:lnTo>
                    <a:pt x="42" y="40"/>
                  </a:lnTo>
                  <a:lnTo>
                    <a:pt x="42" y="40"/>
                  </a:lnTo>
                  <a:lnTo>
                    <a:pt x="42" y="36"/>
                  </a:lnTo>
                  <a:lnTo>
                    <a:pt x="38" y="36"/>
                  </a:lnTo>
                  <a:lnTo>
                    <a:pt x="38" y="36"/>
                  </a:lnTo>
                  <a:lnTo>
                    <a:pt x="38" y="36"/>
                  </a:lnTo>
                  <a:lnTo>
                    <a:pt x="38" y="36"/>
                  </a:lnTo>
                  <a:lnTo>
                    <a:pt x="38" y="36"/>
                  </a:lnTo>
                  <a:lnTo>
                    <a:pt x="38" y="3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35" name="Freeform 28"/>
            <p:cNvSpPr>
              <a:spLocks noEditPoints="1"/>
            </p:cNvSpPr>
            <p:nvPr/>
          </p:nvSpPr>
          <p:spPr bwMode="auto">
            <a:xfrm>
              <a:off x="7885547" y="4093757"/>
              <a:ext cx="406932" cy="189600"/>
            </a:xfrm>
            <a:custGeom>
              <a:avLst/>
              <a:gdLst>
                <a:gd name="T0" fmla="*/ 316 w 648"/>
                <a:gd name="T1" fmla="*/ 34 h 290"/>
                <a:gd name="T2" fmla="*/ 122 w 648"/>
                <a:gd name="T3" fmla="*/ 108 h 290"/>
                <a:gd name="T4" fmla="*/ 434 w 648"/>
                <a:gd name="T5" fmla="*/ 138 h 290"/>
                <a:gd name="T6" fmla="*/ 550 w 648"/>
                <a:gd name="T7" fmla="*/ 204 h 290"/>
                <a:gd name="T8" fmla="*/ 520 w 648"/>
                <a:gd name="T9" fmla="*/ 222 h 290"/>
                <a:gd name="T10" fmla="*/ 398 w 648"/>
                <a:gd name="T11" fmla="*/ 276 h 290"/>
                <a:gd name="T12" fmla="*/ 152 w 648"/>
                <a:gd name="T13" fmla="*/ 156 h 290"/>
                <a:gd name="T14" fmla="*/ 106 w 648"/>
                <a:gd name="T15" fmla="*/ 178 h 290"/>
                <a:gd name="T16" fmla="*/ 50 w 648"/>
                <a:gd name="T17" fmla="*/ 78 h 290"/>
                <a:gd name="T18" fmla="*/ 22 w 648"/>
                <a:gd name="T19" fmla="*/ 10 h 290"/>
                <a:gd name="T20" fmla="*/ 84 w 648"/>
                <a:gd name="T21" fmla="*/ 64 h 290"/>
                <a:gd name="T22" fmla="*/ 118 w 648"/>
                <a:gd name="T23" fmla="*/ 108 h 290"/>
                <a:gd name="T24" fmla="*/ 276 w 648"/>
                <a:gd name="T25" fmla="*/ 70 h 290"/>
                <a:gd name="T26" fmla="*/ 312 w 648"/>
                <a:gd name="T27" fmla="*/ 48 h 290"/>
                <a:gd name="T28" fmla="*/ 316 w 648"/>
                <a:gd name="T29" fmla="*/ 116 h 290"/>
                <a:gd name="T30" fmla="*/ 278 w 648"/>
                <a:gd name="T31" fmla="*/ 170 h 290"/>
                <a:gd name="T32" fmla="*/ 212 w 648"/>
                <a:gd name="T33" fmla="*/ 150 h 290"/>
                <a:gd name="T34" fmla="*/ 200 w 648"/>
                <a:gd name="T35" fmla="*/ 70 h 290"/>
                <a:gd name="T36" fmla="*/ 18 w 648"/>
                <a:gd name="T37" fmla="*/ 64 h 290"/>
                <a:gd name="T38" fmla="*/ 464 w 648"/>
                <a:gd name="T39" fmla="*/ 66 h 290"/>
                <a:gd name="T40" fmla="*/ 468 w 648"/>
                <a:gd name="T41" fmla="*/ 116 h 290"/>
                <a:gd name="T42" fmla="*/ 386 w 648"/>
                <a:gd name="T43" fmla="*/ 156 h 290"/>
                <a:gd name="T44" fmla="*/ 358 w 648"/>
                <a:gd name="T45" fmla="*/ 160 h 290"/>
                <a:gd name="T46" fmla="*/ 334 w 648"/>
                <a:gd name="T47" fmla="*/ 152 h 290"/>
                <a:gd name="T48" fmla="*/ 358 w 648"/>
                <a:gd name="T49" fmla="*/ 90 h 290"/>
                <a:gd name="T50" fmla="*/ 412 w 648"/>
                <a:gd name="T51" fmla="*/ 92 h 290"/>
                <a:gd name="T52" fmla="*/ 368 w 648"/>
                <a:gd name="T53" fmla="*/ 122 h 290"/>
                <a:gd name="T54" fmla="*/ 36 w 648"/>
                <a:gd name="T55" fmla="*/ 82 h 290"/>
                <a:gd name="T56" fmla="*/ 114 w 648"/>
                <a:gd name="T57" fmla="*/ 90 h 290"/>
                <a:gd name="T58" fmla="*/ 134 w 648"/>
                <a:gd name="T59" fmla="*/ 100 h 290"/>
                <a:gd name="T60" fmla="*/ 498 w 648"/>
                <a:gd name="T61" fmla="*/ 104 h 290"/>
                <a:gd name="T62" fmla="*/ 130 w 648"/>
                <a:gd name="T63" fmla="*/ 112 h 290"/>
                <a:gd name="T64" fmla="*/ 576 w 648"/>
                <a:gd name="T65" fmla="*/ 182 h 290"/>
                <a:gd name="T66" fmla="*/ 528 w 648"/>
                <a:gd name="T67" fmla="*/ 156 h 290"/>
                <a:gd name="T68" fmla="*/ 516 w 648"/>
                <a:gd name="T69" fmla="*/ 116 h 290"/>
                <a:gd name="T70" fmla="*/ 572 w 648"/>
                <a:gd name="T71" fmla="*/ 156 h 290"/>
                <a:gd name="T72" fmla="*/ 648 w 648"/>
                <a:gd name="T73" fmla="*/ 212 h 290"/>
                <a:gd name="T74" fmla="*/ 502 w 648"/>
                <a:gd name="T75" fmla="*/ 108 h 290"/>
                <a:gd name="T76" fmla="*/ 58 w 648"/>
                <a:gd name="T77" fmla="*/ 130 h 290"/>
                <a:gd name="T78" fmla="*/ 394 w 648"/>
                <a:gd name="T79" fmla="*/ 122 h 290"/>
                <a:gd name="T80" fmla="*/ 156 w 648"/>
                <a:gd name="T81" fmla="*/ 146 h 290"/>
                <a:gd name="T82" fmla="*/ 420 w 648"/>
                <a:gd name="T83" fmla="*/ 134 h 290"/>
                <a:gd name="T84" fmla="*/ 70 w 648"/>
                <a:gd name="T85" fmla="*/ 150 h 290"/>
                <a:gd name="T86" fmla="*/ 484 w 648"/>
                <a:gd name="T87" fmla="*/ 160 h 290"/>
                <a:gd name="T88" fmla="*/ 164 w 648"/>
                <a:gd name="T89" fmla="*/ 152 h 290"/>
                <a:gd name="T90" fmla="*/ 458 w 648"/>
                <a:gd name="T91" fmla="*/ 156 h 290"/>
                <a:gd name="T92" fmla="*/ 386 w 648"/>
                <a:gd name="T93" fmla="*/ 196 h 290"/>
                <a:gd name="T94" fmla="*/ 104 w 648"/>
                <a:gd name="T95" fmla="*/ 196 h 290"/>
                <a:gd name="T96" fmla="*/ 182 w 648"/>
                <a:gd name="T97" fmla="*/ 234 h 290"/>
                <a:gd name="T98" fmla="*/ 186 w 648"/>
                <a:gd name="T99" fmla="*/ 212 h 290"/>
                <a:gd name="T100" fmla="*/ 268 w 648"/>
                <a:gd name="T101" fmla="*/ 234 h 290"/>
                <a:gd name="T102" fmla="*/ 558 w 648"/>
                <a:gd name="T103" fmla="*/ 212 h 290"/>
                <a:gd name="T104" fmla="*/ 260 w 648"/>
                <a:gd name="T105" fmla="*/ 226 h 290"/>
                <a:gd name="T106" fmla="*/ 602 w 648"/>
                <a:gd name="T107" fmla="*/ 238 h 290"/>
                <a:gd name="T108" fmla="*/ 378 w 648"/>
                <a:gd name="T109" fmla="*/ 252 h 290"/>
                <a:gd name="T110" fmla="*/ 334 w 648"/>
                <a:gd name="T111" fmla="*/ 252 h 290"/>
                <a:gd name="T112" fmla="*/ 334 w 648"/>
                <a:gd name="T113" fmla="*/ 246 h 290"/>
                <a:gd name="T114" fmla="*/ 298 w 648"/>
                <a:gd name="T115" fmla="*/ 250 h 290"/>
                <a:gd name="T116" fmla="*/ 342 w 648"/>
                <a:gd name="T117" fmla="*/ 264 h 290"/>
                <a:gd name="T118" fmla="*/ 398 w 648"/>
                <a:gd name="T119" fmla="*/ 280 h 290"/>
                <a:gd name="T120" fmla="*/ 412 w 648"/>
                <a:gd name="T121" fmla="*/ 242 h 290"/>
                <a:gd name="T122" fmla="*/ 402 w 648"/>
                <a:gd name="T123" fmla="*/ 26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8" h="290">
                  <a:moveTo>
                    <a:pt x="114" y="92"/>
                  </a:moveTo>
                  <a:lnTo>
                    <a:pt x="110" y="92"/>
                  </a:lnTo>
                  <a:lnTo>
                    <a:pt x="110" y="90"/>
                  </a:lnTo>
                  <a:lnTo>
                    <a:pt x="114" y="90"/>
                  </a:lnTo>
                  <a:lnTo>
                    <a:pt x="114" y="92"/>
                  </a:lnTo>
                  <a:lnTo>
                    <a:pt x="114" y="92"/>
                  </a:lnTo>
                  <a:lnTo>
                    <a:pt x="114" y="92"/>
                  </a:lnTo>
                  <a:close/>
                  <a:moveTo>
                    <a:pt x="460" y="156"/>
                  </a:moveTo>
                  <a:lnTo>
                    <a:pt x="458" y="156"/>
                  </a:lnTo>
                  <a:lnTo>
                    <a:pt x="460" y="156"/>
                  </a:lnTo>
                  <a:lnTo>
                    <a:pt x="460" y="156"/>
                  </a:lnTo>
                  <a:lnTo>
                    <a:pt x="460" y="156"/>
                  </a:lnTo>
                  <a:close/>
                  <a:moveTo>
                    <a:pt x="302" y="160"/>
                  </a:moveTo>
                  <a:lnTo>
                    <a:pt x="302" y="164"/>
                  </a:lnTo>
                  <a:lnTo>
                    <a:pt x="298" y="164"/>
                  </a:lnTo>
                  <a:lnTo>
                    <a:pt x="302" y="160"/>
                  </a:lnTo>
                  <a:lnTo>
                    <a:pt x="302" y="160"/>
                  </a:lnTo>
                  <a:lnTo>
                    <a:pt x="302" y="160"/>
                  </a:lnTo>
                  <a:close/>
                  <a:moveTo>
                    <a:pt x="446" y="34"/>
                  </a:moveTo>
                  <a:lnTo>
                    <a:pt x="446" y="30"/>
                  </a:lnTo>
                  <a:lnTo>
                    <a:pt x="446" y="26"/>
                  </a:lnTo>
                  <a:lnTo>
                    <a:pt x="450" y="30"/>
                  </a:lnTo>
                  <a:lnTo>
                    <a:pt x="446" y="30"/>
                  </a:lnTo>
                  <a:lnTo>
                    <a:pt x="446" y="34"/>
                  </a:lnTo>
                  <a:lnTo>
                    <a:pt x="446" y="34"/>
                  </a:lnTo>
                  <a:lnTo>
                    <a:pt x="446" y="34"/>
                  </a:lnTo>
                  <a:close/>
                  <a:moveTo>
                    <a:pt x="320" y="30"/>
                  </a:moveTo>
                  <a:lnTo>
                    <a:pt x="320" y="34"/>
                  </a:lnTo>
                  <a:lnTo>
                    <a:pt x="324" y="34"/>
                  </a:lnTo>
                  <a:lnTo>
                    <a:pt x="320" y="34"/>
                  </a:lnTo>
                  <a:lnTo>
                    <a:pt x="320" y="30"/>
                  </a:lnTo>
                  <a:lnTo>
                    <a:pt x="320" y="30"/>
                  </a:lnTo>
                  <a:lnTo>
                    <a:pt x="320" y="30"/>
                  </a:lnTo>
                  <a:close/>
                  <a:moveTo>
                    <a:pt x="316" y="34"/>
                  </a:moveTo>
                  <a:lnTo>
                    <a:pt x="320" y="34"/>
                  </a:lnTo>
                  <a:lnTo>
                    <a:pt x="316" y="34"/>
                  </a:lnTo>
                  <a:lnTo>
                    <a:pt x="316" y="34"/>
                  </a:lnTo>
                  <a:lnTo>
                    <a:pt x="316" y="34"/>
                  </a:lnTo>
                  <a:close/>
                  <a:moveTo>
                    <a:pt x="446" y="36"/>
                  </a:moveTo>
                  <a:lnTo>
                    <a:pt x="442" y="34"/>
                  </a:lnTo>
                  <a:lnTo>
                    <a:pt x="446" y="34"/>
                  </a:lnTo>
                  <a:lnTo>
                    <a:pt x="446" y="36"/>
                  </a:lnTo>
                  <a:lnTo>
                    <a:pt x="446" y="36"/>
                  </a:lnTo>
                  <a:lnTo>
                    <a:pt x="446" y="36"/>
                  </a:lnTo>
                  <a:close/>
                  <a:moveTo>
                    <a:pt x="434" y="44"/>
                  </a:moveTo>
                  <a:lnTo>
                    <a:pt x="430" y="44"/>
                  </a:lnTo>
                  <a:lnTo>
                    <a:pt x="430" y="40"/>
                  </a:lnTo>
                  <a:lnTo>
                    <a:pt x="430" y="36"/>
                  </a:lnTo>
                  <a:lnTo>
                    <a:pt x="430" y="40"/>
                  </a:lnTo>
                  <a:lnTo>
                    <a:pt x="434" y="44"/>
                  </a:lnTo>
                  <a:lnTo>
                    <a:pt x="434" y="44"/>
                  </a:lnTo>
                  <a:lnTo>
                    <a:pt x="434" y="44"/>
                  </a:lnTo>
                  <a:close/>
                  <a:moveTo>
                    <a:pt x="312" y="40"/>
                  </a:moveTo>
                  <a:lnTo>
                    <a:pt x="316" y="44"/>
                  </a:lnTo>
                  <a:lnTo>
                    <a:pt x="312" y="44"/>
                  </a:lnTo>
                  <a:lnTo>
                    <a:pt x="312" y="40"/>
                  </a:lnTo>
                  <a:lnTo>
                    <a:pt x="312" y="40"/>
                  </a:lnTo>
                  <a:lnTo>
                    <a:pt x="312" y="40"/>
                  </a:lnTo>
                  <a:close/>
                  <a:moveTo>
                    <a:pt x="316" y="44"/>
                  </a:moveTo>
                  <a:lnTo>
                    <a:pt x="320" y="44"/>
                  </a:lnTo>
                  <a:lnTo>
                    <a:pt x="316" y="48"/>
                  </a:lnTo>
                  <a:lnTo>
                    <a:pt x="316" y="44"/>
                  </a:lnTo>
                  <a:lnTo>
                    <a:pt x="316" y="44"/>
                  </a:lnTo>
                  <a:lnTo>
                    <a:pt x="316" y="44"/>
                  </a:lnTo>
                  <a:close/>
                  <a:moveTo>
                    <a:pt x="488" y="108"/>
                  </a:moveTo>
                  <a:lnTo>
                    <a:pt x="484" y="104"/>
                  </a:lnTo>
                  <a:lnTo>
                    <a:pt x="484" y="100"/>
                  </a:lnTo>
                  <a:lnTo>
                    <a:pt x="488" y="104"/>
                  </a:lnTo>
                  <a:lnTo>
                    <a:pt x="488" y="108"/>
                  </a:lnTo>
                  <a:lnTo>
                    <a:pt x="488" y="108"/>
                  </a:lnTo>
                  <a:lnTo>
                    <a:pt x="488" y="108"/>
                  </a:lnTo>
                  <a:close/>
                  <a:moveTo>
                    <a:pt x="122" y="108"/>
                  </a:moveTo>
                  <a:lnTo>
                    <a:pt x="118" y="108"/>
                  </a:lnTo>
                  <a:lnTo>
                    <a:pt x="122" y="108"/>
                  </a:lnTo>
                  <a:lnTo>
                    <a:pt x="122" y="108"/>
                  </a:lnTo>
                  <a:lnTo>
                    <a:pt x="122" y="108"/>
                  </a:lnTo>
                  <a:close/>
                  <a:moveTo>
                    <a:pt x="454" y="108"/>
                  </a:moveTo>
                  <a:lnTo>
                    <a:pt x="454" y="112"/>
                  </a:lnTo>
                  <a:lnTo>
                    <a:pt x="450" y="112"/>
                  </a:lnTo>
                  <a:lnTo>
                    <a:pt x="450" y="108"/>
                  </a:lnTo>
                  <a:lnTo>
                    <a:pt x="454" y="108"/>
                  </a:lnTo>
                  <a:lnTo>
                    <a:pt x="454" y="108"/>
                  </a:lnTo>
                  <a:lnTo>
                    <a:pt x="454" y="108"/>
                  </a:lnTo>
                  <a:close/>
                  <a:moveTo>
                    <a:pt x="378" y="108"/>
                  </a:moveTo>
                  <a:lnTo>
                    <a:pt x="374" y="108"/>
                  </a:lnTo>
                  <a:lnTo>
                    <a:pt x="378" y="108"/>
                  </a:lnTo>
                  <a:lnTo>
                    <a:pt x="378" y="108"/>
                  </a:lnTo>
                  <a:lnTo>
                    <a:pt x="378" y="108"/>
                  </a:lnTo>
                  <a:close/>
                  <a:moveTo>
                    <a:pt x="378" y="112"/>
                  </a:moveTo>
                  <a:lnTo>
                    <a:pt x="374" y="112"/>
                  </a:lnTo>
                  <a:lnTo>
                    <a:pt x="374" y="108"/>
                  </a:lnTo>
                  <a:lnTo>
                    <a:pt x="378" y="108"/>
                  </a:lnTo>
                  <a:lnTo>
                    <a:pt x="378" y="112"/>
                  </a:lnTo>
                  <a:lnTo>
                    <a:pt x="378" y="112"/>
                  </a:lnTo>
                  <a:lnTo>
                    <a:pt x="378" y="112"/>
                  </a:lnTo>
                  <a:close/>
                  <a:moveTo>
                    <a:pt x="454" y="112"/>
                  </a:moveTo>
                  <a:lnTo>
                    <a:pt x="454" y="116"/>
                  </a:lnTo>
                  <a:lnTo>
                    <a:pt x="454" y="112"/>
                  </a:lnTo>
                  <a:lnTo>
                    <a:pt x="454" y="112"/>
                  </a:lnTo>
                  <a:lnTo>
                    <a:pt x="454" y="112"/>
                  </a:lnTo>
                  <a:close/>
                  <a:moveTo>
                    <a:pt x="562" y="120"/>
                  </a:moveTo>
                  <a:lnTo>
                    <a:pt x="562" y="122"/>
                  </a:lnTo>
                  <a:lnTo>
                    <a:pt x="562" y="120"/>
                  </a:lnTo>
                  <a:lnTo>
                    <a:pt x="562" y="120"/>
                  </a:lnTo>
                  <a:lnTo>
                    <a:pt x="562" y="120"/>
                  </a:lnTo>
                  <a:close/>
                  <a:moveTo>
                    <a:pt x="434" y="138"/>
                  </a:moveTo>
                  <a:lnTo>
                    <a:pt x="434" y="142"/>
                  </a:lnTo>
                  <a:lnTo>
                    <a:pt x="434" y="146"/>
                  </a:lnTo>
                  <a:lnTo>
                    <a:pt x="434" y="142"/>
                  </a:lnTo>
                  <a:lnTo>
                    <a:pt x="434" y="138"/>
                  </a:lnTo>
                  <a:lnTo>
                    <a:pt x="434" y="138"/>
                  </a:lnTo>
                  <a:lnTo>
                    <a:pt x="434" y="138"/>
                  </a:lnTo>
                  <a:close/>
                  <a:moveTo>
                    <a:pt x="472" y="164"/>
                  </a:moveTo>
                  <a:lnTo>
                    <a:pt x="476" y="164"/>
                  </a:lnTo>
                  <a:lnTo>
                    <a:pt x="472" y="164"/>
                  </a:lnTo>
                  <a:lnTo>
                    <a:pt x="472" y="164"/>
                  </a:lnTo>
                  <a:lnTo>
                    <a:pt x="472" y="164"/>
                  </a:lnTo>
                  <a:close/>
                  <a:moveTo>
                    <a:pt x="540" y="170"/>
                  </a:moveTo>
                  <a:lnTo>
                    <a:pt x="540" y="174"/>
                  </a:lnTo>
                  <a:lnTo>
                    <a:pt x="544" y="174"/>
                  </a:lnTo>
                  <a:lnTo>
                    <a:pt x="540" y="174"/>
                  </a:lnTo>
                  <a:lnTo>
                    <a:pt x="540" y="170"/>
                  </a:lnTo>
                  <a:lnTo>
                    <a:pt x="540" y="170"/>
                  </a:lnTo>
                  <a:lnTo>
                    <a:pt x="540" y="170"/>
                  </a:lnTo>
                  <a:close/>
                  <a:moveTo>
                    <a:pt x="536" y="194"/>
                  </a:moveTo>
                  <a:lnTo>
                    <a:pt x="536" y="196"/>
                  </a:lnTo>
                  <a:lnTo>
                    <a:pt x="536" y="200"/>
                  </a:lnTo>
                  <a:lnTo>
                    <a:pt x="532" y="204"/>
                  </a:lnTo>
                  <a:lnTo>
                    <a:pt x="532" y="200"/>
                  </a:lnTo>
                  <a:lnTo>
                    <a:pt x="536" y="196"/>
                  </a:lnTo>
                  <a:lnTo>
                    <a:pt x="536" y="194"/>
                  </a:lnTo>
                  <a:lnTo>
                    <a:pt x="536" y="194"/>
                  </a:lnTo>
                  <a:lnTo>
                    <a:pt x="536" y="194"/>
                  </a:lnTo>
                  <a:close/>
                  <a:moveTo>
                    <a:pt x="532" y="200"/>
                  </a:moveTo>
                  <a:lnTo>
                    <a:pt x="532" y="204"/>
                  </a:lnTo>
                  <a:lnTo>
                    <a:pt x="528" y="204"/>
                  </a:lnTo>
                  <a:lnTo>
                    <a:pt x="528" y="200"/>
                  </a:lnTo>
                  <a:lnTo>
                    <a:pt x="528" y="196"/>
                  </a:lnTo>
                  <a:lnTo>
                    <a:pt x="532" y="196"/>
                  </a:lnTo>
                  <a:lnTo>
                    <a:pt x="532" y="200"/>
                  </a:lnTo>
                  <a:lnTo>
                    <a:pt x="532" y="200"/>
                  </a:lnTo>
                  <a:lnTo>
                    <a:pt x="532" y="200"/>
                  </a:lnTo>
                  <a:close/>
                  <a:moveTo>
                    <a:pt x="550" y="204"/>
                  </a:moveTo>
                  <a:lnTo>
                    <a:pt x="550" y="208"/>
                  </a:lnTo>
                  <a:lnTo>
                    <a:pt x="554" y="208"/>
                  </a:lnTo>
                  <a:lnTo>
                    <a:pt x="554" y="212"/>
                  </a:lnTo>
                  <a:lnTo>
                    <a:pt x="550" y="208"/>
                  </a:lnTo>
                  <a:lnTo>
                    <a:pt x="550" y="204"/>
                  </a:lnTo>
                  <a:lnTo>
                    <a:pt x="550" y="204"/>
                  </a:lnTo>
                  <a:lnTo>
                    <a:pt x="550" y="204"/>
                  </a:lnTo>
                  <a:close/>
                  <a:moveTo>
                    <a:pt x="554" y="208"/>
                  </a:moveTo>
                  <a:lnTo>
                    <a:pt x="558" y="212"/>
                  </a:lnTo>
                  <a:lnTo>
                    <a:pt x="554" y="212"/>
                  </a:lnTo>
                  <a:lnTo>
                    <a:pt x="554" y="208"/>
                  </a:lnTo>
                  <a:lnTo>
                    <a:pt x="554" y="208"/>
                  </a:lnTo>
                  <a:lnTo>
                    <a:pt x="554" y="208"/>
                  </a:lnTo>
                  <a:close/>
                  <a:moveTo>
                    <a:pt x="562" y="208"/>
                  </a:moveTo>
                  <a:lnTo>
                    <a:pt x="562" y="212"/>
                  </a:lnTo>
                  <a:lnTo>
                    <a:pt x="562" y="208"/>
                  </a:lnTo>
                  <a:lnTo>
                    <a:pt x="562" y="208"/>
                  </a:lnTo>
                  <a:lnTo>
                    <a:pt x="562" y="208"/>
                  </a:lnTo>
                  <a:close/>
                  <a:moveTo>
                    <a:pt x="558" y="216"/>
                  </a:moveTo>
                  <a:lnTo>
                    <a:pt x="558" y="220"/>
                  </a:lnTo>
                  <a:lnTo>
                    <a:pt x="558" y="216"/>
                  </a:lnTo>
                  <a:lnTo>
                    <a:pt x="558" y="216"/>
                  </a:lnTo>
                  <a:lnTo>
                    <a:pt x="558" y="216"/>
                  </a:lnTo>
                  <a:close/>
                  <a:moveTo>
                    <a:pt x="614" y="216"/>
                  </a:moveTo>
                  <a:lnTo>
                    <a:pt x="614" y="220"/>
                  </a:lnTo>
                  <a:lnTo>
                    <a:pt x="618" y="220"/>
                  </a:lnTo>
                  <a:lnTo>
                    <a:pt x="614" y="220"/>
                  </a:lnTo>
                  <a:lnTo>
                    <a:pt x="614" y="216"/>
                  </a:lnTo>
                  <a:lnTo>
                    <a:pt x="614" y="216"/>
                  </a:lnTo>
                  <a:lnTo>
                    <a:pt x="614" y="216"/>
                  </a:lnTo>
                  <a:close/>
                  <a:moveTo>
                    <a:pt x="472" y="222"/>
                  </a:moveTo>
                  <a:lnTo>
                    <a:pt x="472" y="226"/>
                  </a:lnTo>
                  <a:lnTo>
                    <a:pt x="472" y="222"/>
                  </a:lnTo>
                  <a:lnTo>
                    <a:pt x="472" y="222"/>
                  </a:lnTo>
                  <a:lnTo>
                    <a:pt x="472" y="222"/>
                  </a:lnTo>
                  <a:close/>
                  <a:moveTo>
                    <a:pt x="520" y="222"/>
                  </a:moveTo>
                  <a:lnTo>
                    <a:pt x="520" y="226"/>
                  </a:lnTo>
                  <a:lnTo>
                    <a:pt x="520" y="222"/>
                  </a:lnTo>
                  <a:lnTo>
                    <a:pt x="516" y="222"/>
                  </a:lnTo>
                  <a:lnTo>
                    <a:pt x="520" y="222"/>
                  </a:lnTo>
                  <a:lnTo>
                    <a:pt x="520" y="222"/>
                  </a:lnTo>
                  <a:lnTo>
                    <a:pt x="520" y="222"/>
                  </a:lnTo>
                  <a:close/>
                  <a:moveTo>
                    <a:pt x="364" y="226"/>
                  </a:moveTo>
                  <a:lnTo>
                    <a:pt x="360" y="226"/>
                  </a:lnTo>
                  <a:lnTo>
                    <a:pt x="364" y="226"/>
                  </a:lnTo>
                  <a:lnTo>
                    <a:pt x="364" y="226"/>
                  </a:lnTo>
                  <a:lnTo>
                    <a:pt x="364" y="226"/>
                  </a:lnTo>
                  <a:close/>
                  <a:moveTo>
                    <a:pt x="506" y="230"/>
                  </a:moveTo>
                  <a:lnTo>
                    <a:pt x="510" y="226"/>
                  </a:lnTo>
                  <a:lnTo>
                    <a:pt x="510" y="230"/>
                  </a:lnTo>
                  <a:lnTo>
                    <a:pt x="506" y="230"/>
                  </a:lnTo>
                  <a:lnTo>
                    <a:pt x="506" y="230"/>
                  </a:lnTo>
                  <a:lnTo>
                    <a:pt x="506" y="230"/>
                  </a:lnTo>
                  <a:close/>
                  <a:moveTo>
                    <a:pt x="458" y="230"/>
                  </a:moveTo>
                  <a:lnTo>
                    <a:pt x="454" y="234"/>
                  </a:lnTo>
                  <a:lnTo>
                    <a:pt x="454" y="230"/>
                  </a:lnTo>
                  <a:lnTo>
                    <a:pt x="458" y="230"/>
                  </a:lnTo>
                  <a:lnTo>
                    <a:pt x="458" y="230"/>
                  </a:lnTo>
                  <a:lnTo>
                    <a:pt x="458" y="230"/>
                  </a:lnTo>
                  <a:close/>
                  <a:moveTo>
                    <a:pt x="502" y="246"/>
                  </a:moveTo>
                  <a:lnTo>
                    <a:pt x="506" y="242"/>
                  </a:lnTo>
                  <a:lnTo>
                    <a:pt x="510" y="242"/>
                  </a:lnTo>
                  <a:lnTo>
                    <a:pt x="506" y="242"/>
                  </a:lnTo>
                  <a:lnTo>
                    <a:pt x="506" y="246"/>
                  </a:lnTo>
                  <a:lnTo>
                    <a:pt x="502" y="246"/>
                  </a:lnTo>
                  <a:lnTo>
                    <a:pt x="502" y="246"/>
                  </a:lnTo>
                  <a:lnTo>
                    <a:pt x="502" y="246"/>
                  </a:lnTo>
                  <a:close/>
                  <a:moveTo>
                    <a:pt x="290" y="252"/>
                  </a:moveTo>
                  <a:lnTo>
                    <a:pt x="286" y="252"/>
                  </a:lnTo>
                  <a:lnTo>
                    <a:pt x="286" y="250"/>
                  </a:lnTo>
                  <a:lnTo>
                    <a:pt x="290" y="250"/>
                  </a:lnTo>
                  <a:lnTo>
                    <a:pt x="290" y="252"/>
                  </a:lnTo>
                  <a:lnTo>
                    <a:pt x="290" y="252"/>
                  </a:lnTo>
                  <a:lnTo>
                    <a:pt x="290" y="252"/>
                  </a:lnTo>
                  <a:close/>
                  <a:moveTo>
                    <a:pt x="398" y="276"/>
                  </a:moveTo>
                  <a:lnTo>
                    <a:pt x="402" y="276"/>
                  </a:lnTo>
                  <a:lnTo>
                    <a:pt x="398" y="280"/>
                  </a:lnTo>
                  <a:lnTo>
                    <a:pt x="398" y="276"/>
                  </a:lnTo>
                  <a:lnTo>
                    <a:pt x="398" y="276"/>
                  </a:lnTo>
                  <a:lnTo>
                    <a:pt x="398" y="276"/>
                  </a:lnTo>
                  <a:close/>
                  <a:moveTo>
                    <a:pt x="4" y="4"/>
                  </a:moveTo>
                  <a:lnTo>
                    <a:pt x="0" y="4"/>
                  </a:lnTo>
                  <a:lnTo>
                    <a:pt x="0" y="0"/>
                  </a:lnTo>
                  <a:lnTo>
                    <a:pt x="4" y="0"/>
                  </a:lnTo>
                  <a:lnTo>
                    <a:pt x="4" y="4"/>
                  </a:lnTo>
                  <a:lnTo>
                    <a:pt x="4" y="4"/>
                  </a:lnTo>
                  <a:lnTo>
                    <a:pt x="4" y="4"/>
                  </a:lnTo>
                  <a:close/>
                  <a:moveTo>
                    <a:pt x="118" y="116"/>
                  </a:moveTo>
                  <a:lnTo>
                    <a:pt x="118" y="120"/>
                  </a:lnTo>
                  <a:lnTo>
                    <a:pt x="122" y="120"/>
                  </a:lnTo>
                  <a:lnTo>
                    <a:pt x="126" y="120"/>
                  </a:lnTo>
                  <a:lnTo>
                    <a:pt x="130" y="120"/>
                  </a:lnTo>
                  <a:lnTo>
                    <a:pt x="130" y="122"/>
                  </a:lnTo>
                  <a:lnTo>
                    <a:pt x="130" y="126"/>
                  </a:lnTo>
                  <a:lnTo>
                    <a:pt x="130" y="130"/>
                  </a:lnTo>
                  <a:lnTo>
                    <a:pt x="134" y="130"/>
                  </a:lnTo>
                  <a:lnTo>
                    <a:pt x="134" y="134"/>
                  </a:lnTo>
                  <a:lnTo>
                    <a:pt x="130" y="134"/>
                  </a:lnTo>
                  <a:lnTo>
                    <a:pt x="134" y="134"/>
                  </a:lnTo>
                  <a:lnTo>
                    <a:pt x="136" y="138"/>
                  </a:lnTo>
                  <a:lnTo>
                    <a:pt x="136" y="142"/>
                  </a:lnTo>
                  <a:lnTo>
                    <a:pt x="134" y="142"/>
                  </a:lnTo>
                  <a:lnTo>
                    <a:pt x="134" y="146"/>
                  </a:lnTo>
                  <a:lnTo>
                    <a:pt x="134" y="150"/>
                  </a:lnTo>
                  <a:lnTo>
                    <a:pt x="134" y="146"/>
                  </a:lnTo>
                  <a:lnTo>
                    <a:pt x="136" y="146"/>
                  </a:lnTo>
                  <a:lnTo>
                    <a:pt x="136" y="142"/>
                  </a:lnTo>
                  <a:lnTo>
                    <a:pt x="140" y="142"/>
                  </a:lnTo>
                  <a:lnTo>
                    <a:pt x="144" y="142"/>
                  </a:lnTo>
                  <a:lnTo>
                    <a:pt x="148" y="142"/>
                  </a:lnTo>
                  <a:lnTo>
                    <a:pt x="148" y="146"/>
                  </a:lnTo>
                  <a:lnTo>
                    <a:pt x="148" y="150"/>
                  </a:lnTo>
                  <a:lnTo>
                    <a:pt x="148" y="152"/>
                  </a:lnTo>
                  <a:lnTo>
                    <a:pt x="152" y="152"/>
                  </a:lnTo>
                  <a:lnTo>
                    <a:pt x="156" y="156"/>
                  </a:lnTo>
                  <a:lnTo>
                    <a:pt x="152" y="156"/>
                  </a:lnTo>
                  <a:lnTo>
                    <a:pt x="152" y="160"/>
                  </a:lnTo>
                  <a:lnTo>
                    <a:pt x="152" y="164"/>
                  </a:lnTo>
                  <a:lnTo>
                    <a:pt x="152" y="166"/>
                  </a:lnTo>
                  <a:lnTo>
                    <a:pt x="152" y="170"/>
                  </a:lnTo>
                  <a:lnTo>
                    <a:pt x="152" y="174"/>
                  </a:lnTo>
                  <a:lnTo>
                    <a:pt x="152" y="178"/>
                  </a:lnTo>
                  <a:lnTo>
                    <a:pt x="152" y="182"/>
                  </a:lnTo>
                  <a:lnTo>
                    <a:pt x="152" y="186"/>
                  </a:lnTo>
                  <a:lnTo>
                    <a:pt x="152" y="190"/>
                  </a:lnTo>
                  <a:lnTo>
                    <a:pt x="152" y="196"/>
                  </a:lnTo>
                  <a:lnTo>
                    <a:pt x="152" y="200"/>
                  </a:lnTo>
                  <a:lnTo>
                    <a:pt x="148" y="200"/>
                  </a:lnTo>
                  <a:lnTo>
                    <a:pt x="148" y="204"/>
                  </a:lnTo>
                  <a:lnTo>
                    <a:pt x="148" y="200"/>
                  </a:lnTo>
                  <a:lnTo>
                    <a:pt x="144" y="196"/>
                  </a:lnTo>
                  <a:lnTo>
                    <a:pt x="144" y="194"/>
                  </a:lnTo>
                  <a:lnTo>
                    <a:pt x="140" y="194"/>
                  </a:lnTo>
                  <a:lnTo>
                    <a:pt x="140" y="196"/>
                  </a:lnTo>
                  <a:lnTo>
                    <a:pt x="140" y="200"/>
                  </a:lnTo>
                  <a:lnTo>
                    <a:pt x="136" y="200"/>
                  </a:lnTo>
                  <a:lnTo>
                    <a:pt x="136" y="196"/>
                  </a:lnTo>
                  <a:lnTo>
                    <a:pt x="134" y="196"/>
                  </a:lnTo>
                  <a:lnTo>
                    <a:pt x="134" y="200"/>
                  </a:lnTo>
                  <a:lnTo>
                    <a:pt x="134" y="204"/>
                  </a:lnTo>
                  <a:lnTo>
                    <a:pt x="134" y="200"/>
                  </a:lnTo>
                  <a:lnTo>
                    <a:pt x="130" y="200"/>
                  </a:lnTo>
                  <a:lnTo>
                    <a:pt x="130" y="196"/>
                  </a:lnTo>
                  <a:lnTo>
                    <a:pt x="126" y="196"/>
                  </a:lnTo>
                  <a:lnTo>
                    <a:pt x="126" y="194"/>
                  </a:lnTo>
                  <a:lnTo>
                    <a:pt x="122" y="190"/>
                  </a:lnTo>
                  <a:lnTo>
                    <a:pt x="122" y="186"/>
                  </a:lnTo>
                  <a:lnTo>
                    <a:pt x="118" y="186"/>
                  </a:lnTo>
                  <a:lnTo>
                    <a:pt x="114" y="186"/>
                  </a:lnTo>
                  <a:lnTo>
                    <a:pt x="114" y="182"/>
                  </a:lnTo>
                  <a:lnTo>
                    <a:pt x="110" y="182"/>
                  </a:lnTo>
                  <a:lnTo>
                    <a:pt x="110" y="178"/>
                  </a:lnTo>
                  <a:lnTo>
                    <a:pt x="106" y="178"/>
                  </a:lnTo>
                  <a:lnTo>
                    <a:pt x="106" y="174"/>
                  </a:lnTo>
                  <a:lnTo>
                    <a:pt x="104" y="174"/>
                  </a:lnTo>
                  <a:lnTo>
                    <a:pt x="104" y="170"/>
                  </a:lnTo>
                  <a:lnTo>
                    <a:pt x="100" y="170"/>
                  </a:lnTo>
                  <a:lnTo>
                    <a:pt x="100" y="166"/>
                  </a:lnTo>
                  <a:lnTo>
                    <a:pt x="100" y="164"/>
                  </a:lnTo>
                  <a:lnTo>
                    <a:pt x="96" y="164"/>
                  </a:lnTo>
                  <a:lnTo>
                    <a:pt x="96" y="160"/>
                  </a:lnTo>
                  <a:lnTo>
                    <a:pt x="92" y="156"/>
                  </a:lnTo>
                  <a:lnTo>
                    <a:pt x="88" y="156"/>
                  </a:lnTo>
                  <a:lnTo>
                    <a:pt x="88" y="152"/>
                  </a:lnTo>
                  <a:lnTo>
                    <a:pt x="88" y="150"/>
                  </a:lnTo>
                  <a:lnTo>
                    <a:pt x="84" y="150"/>
                  </a:lnTo>
                  <a:lnTo>
                    <a:pt x="84" y="146"/>
                  </a:lnTo>
                  <a:lnTo>
                    <a:pt x="80" y="146"/>
                  </a:lnTo>
                  <a:lnTo>
                    <a:pt x="80" y="142"/>
                  </a:lnTo>
                  <a:lnTo>
                    <a:pt x="80" y="138"/>
                  </a:lnTo>
                  <a:lnTo>
                    <a:pt x="80" y="134"/>
                  </a:lnTo>
                  <a:lnTo>
                    <a:pt x="78" y="130"/>
                  </a:lnTo>
                  <a:lnTo>
                    <a:pt x="78" y="126"/>
                  </a:lnTo>
                  <a:lnTo>
                    <a:pt x="74" y="122"/>
                  </a:lnTo>
                  <a:lnTo>
                    <a:pt x="74" y="120"/>
                  </a:lnTo>
                  <a:lnTo>
                    <a:pt x="74" y="116"/>
                  </a:lnTo>
                  <a:lnTo>
                    <a:pt x="70" y="116"/>
                  </a:lnTo>
                  <a:lnTo>
                    <a:pt x="70" y="112"/>
                  </a:lnTo>
                  <a:lnTo>
                    <a:pt x="66" y="112"/>
                  </a:lnTo>
                  <a:lnTo>
                    <a:pt x="66" y="108"/>
                  </a:lnTo>
                  <a:lnTo>
                    <a:pt x="66" y="104"/>
                  </a:lnTo>
                  <a:lnTo>
                    <a:pt x="62" y="100"/>
                  </a:lnTo>
                  <a:lnTo>
                    <a:pt x="58" y="96"/>
                  </a:lnTo>
                  <a:lnTo>
                    <a:pt x="58" y="100"/>
                  </a:lnTo>
                  <a:lnTo>
                    <a:pt x="54" y="96"/>
                  </a:lnTo>
                  <a:lnTo>
                    <a:pt x="54" y="92"/>
                  </a:lnTo>
                  <a:lnTo>
                    <a:pt x="54" y="90"/>
                  </a:lnTo>
                  <a:lnTo>
                    <a:pt x="54" y="86"/>
                  </a:lnTo>
                  <a:lnTo>
                    <a:pt x="50" y="82"/>
                  </a:lnTo>
                  <a:lnTo>
                    <a:pt x="50" y="78"/>
                  </a:lnTo>
                  <a:lnTo>
                    <a:pt x="50" y="74"/>
                  </a:lnTo>
                  <a:lnTo>
                    <a:pt x="50" y="70"/>
                  </a:lnTo>
                  <a:lnTo>
                    <a:pt x="48" y="70"/>
                  </a:lnTo>
                  <a:lnTo>
                    <a:pt x="48" y="66"/>
                  </a:lnTo>
                  <a:lnTo>
                    <a:pt x="44" y="66"/>
                  </a:lnTo>
                  <a:lnTo>
                    <a:pt x="40" y="66"/>
                  </a:lnTo>
                  <a:lnTo>
                    <a:pt x="40" y="64"/>
                  </a:lnTo>
                  <a:lnTo>
                    <a:pt x="36" y="64"/>
                  </a:lnTo>
                  <a:lnTo>
                    <a:pt x="36" y="60"/>
                  </a:lnTo>
                  <a:lnTo>
                    <a:pt x="36" y="56"/>
                  </a:lnTo>
                  <a:lnTo>
                    <a:pt x="34" y="56"/>
                  </a:lnTo>
                  <a:lnTo>
                    <a:pt x="34" y="52"/>
                  </a:lnTo>
                  <a:lnTo>
                    <a:pt x="30" y="52"/>
                  </a:lnTo>
                  <a:lnTo>
                    <a:pt x="30" y="48"/>
                  </a:lnTo>
                  <a:lnTo>
                    <a:pt x="26" y="44"/>
                  </a:lnTo>
                  <a:lnTo>
                    <a:pt x="26" y="40"/>
                  </a:lnTo>
                  <a:lnTo>
                    <a:pt x="22" y="36"/>
                  </a:lnTo>
                  <a:lnTo>
                    <a:pt x="18" y="36"/>
                  </a:lnTo>
                  <a:lnTo>
                    <a:pt x="18" y="34"/>
                  </a:lnTo>
                  <a:lnTo>
                    <a:pt x="14" y="34"/>
                  </a:lnTo>
                  <a:lnTo>
                    <a:pt x="14" y="30"/>
                  </a:lnTo>
                  <a:lnTo>
                    <a:pt x="10" y="30"/>
                  </a:lnTo>
                  <a:lnTo>
                    <a:pt x="10" y="26"/>
                  </a:lnTo>
                  <a:lnTo>
                    <a:pt x="8" y="26"/>
                  </a:lnTo>
                  <a:lnTo>
                    <a:pt x="8" y="22"/>
                  </a:lnTo>
                  <a:lnTo>
                    <a:pt x="4" y="18"/>
                  </a:lnTo>
                  <a:lnTo>
                    <a:pt x="4" y="14"/>
                  </a:lnTo>
                  <a:lnTo>
                    <a:pt x="0" y="10"/>
                  </a:lnTo>
                  <a:lnTo>
                    <a:pt x="0" y="6"/>
                  </a:lnTo>
                  <a:lnTo>
                    <a:pt x="4" y="6"/>
                  </a:lnTo>
                  <a:lnTo>
                    <a:pt x="8" y="6"/>
                  </a:lnTo>
                  <a:lnTo>
                    <a:pt x="10" y="6"/>
                  </a:lnTo>
                  <a:lnTo>
                    <a:pt x="10" y="10"/>
                  </a:lnTo>
                  <a:lnTo>
                    <a:pt x="14" y="10"/>
                  </a:lnTo>
                  <a:lnTo>
                    <a:pt x="18" y="14"/>
                  </a:lnTo>
                  <a:lnTo>
                    <a:pt x="22" y="14"/>
                  </a:lnTo>
                  <a:lnTo>
                    <a:pt x="22" y="10"/>
                  </a:lnTo>
                  <a:lnTo>
                    <a:pt x="26" y="10"/>
                  </a:lnTo>
                  <a:lnTo>
                    <a:pt x="30" y="14"/>
                  </a:lnTo>
                  <a:lnTo>
                    <a:pt x="34" y="14"/>
                  </a:lnTo>
                  <a:lnTo>
                    <a:pt x="34" y="10"/>
                  </a:lnTo>
                  <a:lnTo>
                    <a:pt x="34" y="14"/>
                  </a:lnTo>
                  <a:lnTo>
                    <a:pt x="36" y="14"/>
                  </a:lnTo>
                  <a:lnTo>
                    <a:pt x="36" y="18"/>
                  </a:lnTo>
                  <a:lnTo>
                    <a:pt x="40" y="18"/>
                  </a:lnTo>
                  <a:lnTo>
                    <a:pt x="40" y="22"/>
                  </a:lnTo>
                  <a:lnTo>
                    <a:pt x="40" y="26"/>
                  </a:lnTo>
                  <a:lnTo>
                    <a:pt x="44" y="26"/>
                  </a:lnTo>
                  <a:lnTo>
                    <a:pt x="44" y="30"/>
                  </a:lnTo>
                  <a:lnTo>
                    <a:pt x="44" y="34"/>
                  </a:lnTo>
                  <a:lnTo>
                    <a:pt x="48" y="34"/>
                  </a:lnTo>
                  <a:lnTo>
                    <a:pt x="48" y="36"/>
                  </a:lnTo>
                  <a:lnTo>
                    <a:pt x="50" y="36"/>
                  </a:lnTo>
                  <a:lnTo>
                    <a:pt x="50" y="40"/>
                  </a:lnTo>
                  <a:lnTo>
                    <a:pt x="54" y="40"/>
                  </a:lnTo>
                  <a:lnTo>
                    <a:pt x="58" y="40"/>
                  </a:lnTo>
                  <a:lnTo>
                    <a:pt x="62" y="48"/>
                  </a:lnTo>
                  <a:lnTo>
                    <a:pt x="66" y="48"/>
                  </a:lnTo>
                  <a:lnTo>
                    <a:pt x="66" y="52"/>
                  </a:lnTo>
                  <a:lnTo>
                    <a:pt x="66" y="56"/>
                  </a:lnTo>
                  <a:lnTo>
                    <a:pt x="70" y="60"/>
                  </a:lnTo>
                  <a:lnTo>
                    <a:pt x="70" y="56"/>
                  </a:lnTo>
                  <a:lnTo>
                    <a:pt x="66" y="56"/>
                  </a:lnTo>
                  <a:lnTo>
                    <a:pt x="70" y="56"/>
                  </a:lnTo>
                  <a:lnTo>
                    <a:pt x="70" y="60"/>
                  </a:lnTo>
                  <a:lnTo>
                    <a:pt x="70" y="56"/>
                  </a:lnTo>
                  <a:lnTo>
                    <a:pt x="74" y="60"/>
                  </a:lnTo>
                  <a:lnTo>
                    <a:pt x="74" y="64"/>
                  </a:lnTo>
                  <a:lnTo>
                    <a:pt x="78" y="66"/>
                  </a:lnTo>
                  <a:lnTo>
                    <a:pt x="80" y="66"/>
                  </a:lnTo>
                  <a:lnTo>
                    <a:pt x="80" y="70"/>
                  </a:lnTo>
                  <a:lnTo>
                    <a:pt x="80" y="66"/>
                  </a:lnTo>
                  <a:lnTo>
                    <a:pt x="80" y="64"/>
                  </a:lnTo>
                  <a:lnTo>
                    <a:pt x="84" y="64"/>
                  </a:lnTo>
                  <a:lnTo>
                    <a:pt x="80" y="64"/>
                  </a:lnTo>
                  <a:lnTo>
                    <a:pt x="84" y="64"/>
                  </a:lnTo>
                  <a:lnTo>
                    <a:pt x="84" y="66"/>
                  </a:lnTo>
                  <a:lnTo>
                    <a:pt x="88" y="66"/>
                  </a:lnTo>
                  <a:lnTo>
                    <a:pt x="88" y="70"/>
                  </a:lnTo>
                  <a:lnTo>
                    <a:pt x="88" y="74"/>
                  </a:lnTo>
                  <a:lnTo>
                    <a:pt x="92" y="74"/>
                  </a:lnTo>
                  <a:lnTo>
                    <a:pt x="96" y="74"/>
                  </a:lnTo>
                  <a:lnTo>
                    <a:pt x="96" y="78"/>
                  </a:lnTo>
                  <a:lnTo>
                    <a:pt x="100" y="78"/>
                  </a:lnTo>
                  <a:lnTo>
                    <a:pt x="100" y="82"/>
                  </a:lnTo>
                  <a:lnTo>
                    <a:pt x="100" y="86"/>
                  </a:lnTo>
                  <a:lnTo>
                    <a:pt x="104" y="90"/>
                  </a:lnTo>
                  <a:lnTo>
                    <a:pt x="106" y="90"/>
                  </a:lnTo>
                  <a:lnTo>
                    <a:pt x="110" y="90"/>
                  </a:lnTo>
                  <a:lnTo>
                    <a:pt x="110" y="92"/>
                  </a:lnTo>
                  <a:lnTo>
                    <a:pt x="110" y="96"/>
                  </a:lnTo>
                  <a:lnTo>
                    <a:pt x="106" y="96"/>
                  </a:lnTo>
                  <a:lnTo>
                    <a:pt x="104" y="100"/>
                  </a:lnTo>
                  <a:lnTo>
                    <a:pt x="104" y="96"/>
                  </a:lnTo>
                  <a:lnTo>
                    <a:pt x="104" y="100"/>
                  </a:lnTo>
                  <a:lnTo>
                    <a:pt x="106" y="100"/>
                  </a:lnTo>
                  <a:lnTo>
                    <a:pt x="106" y="96"/>
                  </a:lnTo>
                  <a:lnTo>
                    <a:pt x="110" y="96"/>
                  </a:lnTo>
                  <a:lnTo>
                    <a:pt x="114" y="96"/>
                  </a:lnTo>
                  <a:lnTo>
                    <a:pt x="114" y="92"/>
                  </a:lnTo>
                  <a:lnTo>
                    <a:pt x="118" y="92"/>
                  </a:lnTo>
                  <a:lnTo>
                    <a:pt x="122" y="96"/>
                  </a:lnTo>
                  <a:lnTo>
                    <a:pt x="122" y="100"/>
                  </a:lnTo>
                  <a:lnTo>
                    <a:pt x="122" y="104"/>
                  </a:lnTo>
                  <a:lnTo>
                    <a:pt x="118" y="104"/>
                  </a:lnTo>
                  <a:lnTo>
                    <a:pt x="114" y="104"/>
                  </a:lnTo>
                  <a:lnTo>
                    <a:pt x="114" y="108"/>
                  </a:lnTo>
                  <a:lnTo>
                    <a:pt x="118" y="104"/>
                  </a:lnTo>
                  <a:lnTo>
                    <a:pt x="118" y="108"/>
                  </a:lnTo>
                  <a:lnTo>
                    <a:pt x="114" y="108"/>
                  </a:lnTo>
                  <a:lnTo>
                    <a:pt x="118" y="108"/>
                  </a:lnTo>
                  <a:lnTo>
                    <a:pt x="118" y="112"/>
                  </a:lnTo>
                  <a:lnTo>
                    <a:pt x="114" y="112"/>
                  </a:lnTo>
                  <a:lnTo>
                    <a:pt x="114" y="116"/>
                  </a:lnTo>
                  <a:lnTo>
                    <a:pt x="118" y="116"/>
                  </a:lnTo>
                  <a:lnTo>
                    <a:pt x="118" y="116"/>
                  </a:lnTo>
                  <a:lnTo>
                    <a:pt x="118" y="116"/>
                  </a:lnTo>
                  <a:close/>
                  <a:moveTo>
                    <a:pt x="204" y="66"/>
                  </a:moveTo>
                  <a:lnTo>
                    <a:pt x="204" y="70"/>
                  </a:lnTo>
                  <a:lnTo>
                    <a:pt x="204" y="74"/>
                  </a:lnTo>
                  <a:lnTo>
                    <a:pt x="208" y="78"/>
                  </a:lnTo>
                  <a:lnTo>
                    <a:pt x="208" y="82"/>
                  </a:lnTo>
                  <a:lnTo>
                    <a:pt x="212" y="82"/>
                  </a:lnTo>
                  <a:lnTo>
                    <a:pt x="216" y="86"/>
                  </a:lnTo>
                  <a:lnTo>
                    <a:pt x="216" y="90"/>
                  </a:lnTo>
                  <a:lnTo>
                    <a:pt x="220" y="90"/>
                  </a:lnTo>
                  <a:lnTo>
                    <a:pt x="220" y="86"/>
                  </a:lnTo>
                  <a:lnTo>
                    <a:pt x="222" y="86"/>
                  </a:lnTo>
                  <a:lnTo>
                    <a:pt x="226" y="86"/>
                  </a:lnTo>
                  <a:lnTo>
                    <a:pt x="230" y="86"/>
                  </a:lnTo>
                  <a:lnTo>
                    <a:pt x="234" y="86"/>
                  </a:lnTo>
                  <a:lnTo>
                    <a:pt x="238" y="86"/>
                  </a:lnTo>
                  <a:lnTo>
                    <a:pt x="238" y="82"/>
                  </a:lnTo>
                  <a:lnTo>
                    <a:pt x="242" y="82"/>
                  </a:lnTo>
                  <a:lnTo>
                    <a:pt x="242" y="78"/>
                  </a:lnTo>
                  <a:lnTo>
                    <a:pt x="246" y="74"/>
                  </a:lnTo>
                  <a:lnTo>
                    <a:pt x="248" y="74"/>
                  </a:lnTo>
                  <a:lnTo>
                    <a:pt x="252" y="74"/>
                  </a:lnTo>
                  <a:lnTo>
                    <a:pt x="252" y="78"/>
                  </a:lnTo>
                  <a:lnTo>
                    <a:pt x="256" y="78"/>
                  </a:lnTo>
                  <a:lnTo>
                    <a:pt x="260" y="82"/>
                  </a:lnTo>
                  <a:lnTo>
                    <a:pt x="264" y="82"/>
                  </a:lnTo>
                  <a:lnTo>
                    <a:pt x="264" y="78"/>
                  </a:lnTo>
                  <a:lnTo>
                    <a:pt x="268" y="78"/>
                  </a:lnTo>
                  <a:lnTo>
                    <a:pt x="272" y="78"/>
                  </a:lnTo>
                  <a:lnTo>
                    <a:pt x="276" y="78"/>
                  </a:lnTo>
                  <a:lnTo>
                    <a:pt x="276" y="74"/>
                  </a:lnTo>
                  <a:lnTo>
                    <a:pt x="276" y="70"/>
                  </a:lnTo>
                  <a:lnTo>
                    <a:pt x="278" y="70"/>
                  </a:lnTo>
                  <a:lnTo>
                    <a:pt x="278" y="66"/>
                  </a:lnTo>
                  <a:lnTo>
                    <a:pt x="278" y="64"/>
                  </a:lnTo>
                  <a:lnTo>
                    <a:pt x="282" y="60"/>
                  </a:lnTo>
                  <a:lnTo>
                    <a:pt x="282" y="52"/>
                  </a:lnTo>
                  <a:lnTo>
                    <a:pt x="286" y="52"/>
                  </a:lnTo>
                  <a:lnTo>
                    <a:pt x="286" y="48"/>
                  </a:lnTo>
                  <a:lnTo>
                    <a:pt x="286" y="44"/>
                  </a:lnTo>
                  <a:lnTo>
                    <a:pt x="290" y="44"/>
                  </a:lnTo>
                  <a:lnTo>
                    <a:pt x="290" y="40"/>
                  </a:lnTo>
                  <a:lnTo>
                    <a:pt x="290" y="36"/>
                  </a:lnTo>
                  <a:lnTo>
                    <a:pt x="290" y="34"/>
                  </a:lnTo>
                  <a:lnTo>
                    <a:pt x="290" y="30"/>
                  </a:lnTo>
                  <a:lnTo>
                    <a:pt x="294" y="30"/>
                  </a:lnTo>
                  <a:lnTo>
                    <a:pt x="294" y="26"/>
                  </a:lnTo>
                  <a:lnTo>
                    <a:pt x="294" y="30"/>
                  </a:lnTo>
                  <a:lnTo>
                    <a:pt x="298" y="30"/>
                  </a:lnTo>
                  <a:lnTo>
                    <a:pt x="302" y="30"/>
                  </a:lnTo>
                  <a:lnTo>
                    <a:pt x="304" y="30"/>
                  </a:lnTo>
                  <a:lnTo>
                    <a:pt x="308" y="30"/>
                  </a:lnTo>
                  <a:lnTo>
                    <a:pt x="312" y="30"/>
                  </a:lnTo>
                  <a:lnTo>
                    <a:pt x="316" y="30"/>
                  </a:lnTo>
                  <a:lnTo>
                    <a:pt x="316" y="34"/>
                  </a:lnTo>
                  <a:lnTo>
                    <a:pt x="316" y="30"/>
                  </a:lnTo>
                  <a:lnTo>
                    <a:pt x="312" y="34"/>
                  </a:lnTo>
                  <a:lnTo>
                    <a:pt x="316" y="34"/>
                  </a:lnTo>
                  <a:lnTo>
                    <a:pt x="316" y="36"/>
                  </a:lnTo>
                  <a:lnTo>
                    <a:pt x="320" y="36"/>
                  </a:lnTo>
                  <a:lnTo>
                    <a:pt x="320" y="40"/>
                  </a:lnTo>
                  <a:lnTo>
                    <a:pt x="316" y="40"/>
                  </a:lnTo>
                  <a:lnTo>
                    <a:pt x="312" y="40"/>
                  </a:lnTo>
                  <a:lnTo>
                    <a:pt x="308" y="40"/>
                  </a:lnTo>
                  <a:lnTo>
                    <a:pt x="312" y="40"/>
                  </a:lnTo>
                  <a:lnTo>
                    <a:pt x="312" y="44"/>
                  </a:lnTo>
                  <a:lnTo>
                    <a:pt x="316" y="44"/>
                  </a:lnTo>
                  <a:lnTo>
                    <a:pt x="312" y="44"/>
                  </a:lnTo>
                  <a:lnTo>
                    <a:pt x="312" y="48"/>
                  </a:lnTo>
                  <a:lnTo>
                    <a:pt x="316" y="48"/>
                  </a:lnTo>
                  <a:lnTo>
                    <a:pt x="320" y="52"/>
                  </a:lnTo>
                  <a:lnTo>
                    <a:pt x="320" y="56"/>
                  </a:lnTo>
                  <a:lnTo>
                    <a:pt x="320" y="60"/>
                  </a:lnTo>
                  <a:lnTo>
                    <a:pt x="324" y="60"/>
                  </a:lnTo>
                  <a:lnTo>
                    <a:pt x="324" y="64"/>
                  </a:lnTo>
                  <a:lnTo>
                    <a:pt x="324" y="66"/>
                  </a:lnTo>
                  <a:lnTo>
                    <a:pt x="320" y="66"/>
                  </a:lnTo>
                  <a:lnTo>
                    <a:pt x="320" y="70"/>
                  </a:lnTo>
                  <a:lnTo>
                    <a:pt x="324" y="74"/>
                  </a:lnTo>
                  <a:lnTo>
                    <a:pt x="328" y="74"/>
                  </a:lnTo>
                  <a:lnTo>
                    <a:pt x="328" y="78"/>
                  </a:lnTo>
                  <a:lnTo>
                    <a:pt x="332" y="78"/>
                  </a:lnTo>
                  <a:lnTo>
                    <a:pt x="334" y="82"/>
                  </a:lnTo>
                  <a:lnTo>
                    <a:pt x="334" y="86"/>
                  </a:lnTo>
                  <a:lnTo>
                    <a:pt x="338" y="86"/>
                  </a:lnTo>
                  <a:lnTo>
                    <a:pt x="334" y="86"/>
                  </a:lnTo>
                  <a:lnTo>
                    <a:pt x="334" y="90"/>
                  </a:lnTo>
                  <a:lnTo>
                    <a:pt x="332" y="90"/>
                  </a:lnTo>
                  <a:lnTo>
                    <a:pt x="328" y="90"/>
                  </a:lnTo>
                  <a:lnTo>
                    <a:pt x="324" y="86"/>
                  </a:lnTo>
                  <a:lnTo>
                    <a:pt x="324" y="82"/>
                  </a:lnTo>
                  <a:lnTo>
                    <a:pt x="320" y="82"/>
                  </a:lnTo>
                  <a:lnTo>
                    <a:pt x="320" y="86"/>
                  </a:lnTo>
                  <a:lnTo>
                    <a:pt x="324" y="86"/>
                  </a:lnTo>
                  <a:lnTo>
                    <a:pt x="324" y="90"/>
                  </a:lnTo>
                  <a:lnTo>
                    <a:pt x="320" y="90"/>
                  </a:lnTo>
                  <a:lnTo>
                    <a:pt x="320" y="92"/>
                  </a:lnTo>
                  <a:lnTo>
                    <a:pt x="316" y="92"/>
                  </a:lnTo>
                  <a:lnTo>
                    <a:pt x="316" y="96"/>
                  </a:lnTo>
                  <a:lnTo>
                    <a:pt x="316" y="100"/>
                  </a:lnTo>
                  <a:lnTo>
                    <a:pt x="316" y="104"/>
                  </a:lnTo>
                  <a:lnTo>
                    <a:pt x="316" y="108"/>
                  </a:lnTo>
                  <a:lnTo>
                    <a:pt x="316" y="112"/>
                  </a:lnTo>
                  <a:lnTo>
                    <a:pt x="316" y="108"/>
                  </a:lnTo>
                  <a:lnTo>
                    <a:pt x="316" y="112"/>
                  </a:lnTo>
                  <a:lnTo>
                    <a:pt x="316" y="116"/>
                  </a:lnTo>
                  <a:lnTo>
                    <a:pt x="312" y="116"/>
                  </a:lnTo>
                  <a:lnTo>
                    <a:pt x="312" y="120"/>
                  </a:lnTo>
                  <a:lnTo>
                    <a:pt x="308" y="120"/>
                  </a:lnTo>
                  <a:lnTo>
                    <a:pt x="308" y="122"/>
                  </a:lnTo>
                  <a:lnTo>
                    <a:pt x="304" y="122"/>
                  </a:lnTo>
                  <a:lnTo>
                    <a:pt x="304" y="120"/>
                  </a:lnTo>
                  <a:lnTo>
                    <a:pt x="304" y="122"/>
                  </a:lnTo>
                  <a:lnTo>
                    <a:pt x="304" y="126"/>
                  </a:lnTo>
                  <a:lnTo>
                    <a:pt x="302" y="126"/>
                  </a:lnTo>
                  <a:lnTo>
                    <a:pt x="302" y="130"/>
                  </a:lnTo>
                  <a:lnTo>
                    <a:pt x="298" y="130"/>
                  </a:lnTo>
                  <a:lnTo>
                    <a:pt x="298" y="134"/>
                  </a:lnTo>
                  <a:lnTo>
                    <a:pt x="302" y="134"/>
                  </a:lnTo>
                  <a:lnTo>
                    <a:pt x="302" y="138"/>
                  </a:lnTo>
                  <a:lnTo>
                    <a:pt x="298" y="138"/>
                  </a:lnTo>
                  <a:lnTo>
                    <a:pt x="302" y="142"/>
                  </a:lnTo>
                  <a:lnTo>
                    <a:pt x="302" y="138"/>
                  </a:lnTo>
                  <a:lnTo>
                    <a:pt x="302" y="142"/>
                  </a:lnTo>
                  <a:lnTo>
                    <a:pt x="304" y="142"/>
                  </a:lnTo>
                  <a:lnTo>
                    <a:pt x="302" y="142"/>
                  </a:lnTo>
                  <a:lnTo>
                    <a:pt x="302" y="146"/>
                  </a:lnTo>
                  <a:lnTo>
                    <a:pt x="298" y="146"/>
                  </a:lnTo>
                  <a:lnTo>
                    <a:pt x="302" y="150"/>
                  </a:lnTo>
                  <a:lnTo>
                    <a:pt x="302" y="152"/>
                  </a:lnTo>
                  <a:lnTo>
                    <a:pt x="298" y="152"/>
                  </a:lnTo>
                  <a:lnTo>
                    <a:pt x="298" y="150"/>
                  </a:lnTo>
                  <a:lnTo>
                    <a:pt x="298" y="152"/>
                  </a:lnTo>
                  <a:lnTo>
                    <a:pt x="298" y="156"/>
                  </a:lnTo>
                  <a:lnTo>
                    <a:pt x="298" y="160"/>
                  </a:lnTo>
                  <a:lnTo>
                    <a:pt x="294" y="160"/>
                  </a:lnTo>
                  <a:lnTo>
                    <a:pt x="294" y="164"/>
                  </a:lnTo>
                  <a:lnTo>
                    <a:pt x="290" y="164"/>
                  </a:lnTo>
                  <a:lnTo>
                    <a:pt x="290" y="166"/>
                  </a:lnTo>
                  <a:lnTo>
                    <a:pt x="286" y="166"/>
                  </a:lnTo>
                  <a:lnTo>
                    <a:pt x="282" y="166"/>
                  </a:lnTo>
                  <a:lnTo>
                    <a:pt x="282" y="170"/>
                  </a:lnTo>
                  <a:lnTo>
                    <a:pt x="278" y="170"/>
                  </a:lnTo>
                  <a:lnTo>
                    <a:pt x="276" y="174"/>
                  </a:lnTo>
                  <a:lnTo>
                    <a:pt x="276" y="170"/>
                  </a:lnTo>
                  <a:lnTo>
                    <a:pt x="276" y="166"/>
                  </a:lnTo>
                  <a:lnTo>
                    <a:pt x="276" y="164"/>
                  </a:lnTo>
                  <a:lnTo>
                    <a:pt x="272" y="164"/>
                  </a:lnTo>
                  <a:lnTo>
                    <a:pt x="272" y="160"/>
                  </a:lnTo>
                  <a:lnTo>
                    <a:pt x="268" y="160"/>
                  </a:lnTo>
                  <a:lnTo>
                    <a:pt x="264" y="160"/>
                  </a:lnTo>
                  <a:lnTo>
                    <a:pt x="260" y="160"/>
                  </a:lnTo>
                  <a:lnTo>
                    <a:pt x="260" y="156"/>
                  </a:lnTo>
                  <a:lnTo>
                    <a:pt x="256" y="156"/>
                  </a:lnTo>
                  <a:lnTo>
                    <a:pt x="252" y="156"/>
                  </a:lnTo>
                  <a:lnTo>
                    <a:pt x="252" y="152"/>
                  </a:lnTo>
                  <a:lnTo>
                    <a:pt x="252" y="156"/>
                  </a:lnTo>
                  <a:lnTo>
                    <a:pt x="248" y="160"/>
                  </a:lnTo>
                  <a:lnTo>
                    <a:pt x="246" y="160"/>
                  </a:lnTo>
                  <a:lnTo>
                    <a:pt x="242" y="160"/>
                  </a:lnTo>
                  <a:lnTo>
                    <a:pt x="238" y="160"/>
                  </a:lnTo>
                  <a:lnTo>
                    <a:pt x="238" y="164"/>
                  </a:lnTo>
                  <a:lnTo>
                    <a:pt x="234" y="164"/>
                  </a:lnTo>
                  <a:lnTo>
                    <a:pt x="234" y="160"/>
                  </a:lnTo>
                  <a:lnTo>
                    <a:pt x="234" y="156"/>
                  </a:lnTo>
                  <a:lnTo>
                    <a:pt x="234" y="152"/>
                  </a:lnTo>
                  <a:lnTo>
                    <a:pt x="234" y="150"/>
                  </a:lnTo>
                  <a:lnTo>
                    <a:pt x="234" y="152"/>
                  </a:lnTo>
                  <a:lnTo>
                    <a:pt x="230" y="152"/>
                  </a:lnTo>
                  <a:lnTo>
                    <a:pt x="226" y="152"/>
                  </a:lnTo>
                  <a:lnTo>
                    <a:pt x="226" y="156"/>
                  </a:lnTo>
                  <a:lnTo>
                    <a:pt x="222" y="156"/>
                  </a:lnTo>
                  <a:lnTo>
                    <a:pt x="220" y="152"/>
                  </a:lnTo>
                  <a:lnTo>
                    <a:pt x="222" y="152"/>
                  </a:lnTo>
                  <a:lnTo>
                    <a:pt x="220" y="152"/>
                  </a:lnTo>
                  <a:lnTo>
                    <a:pt x="220" y="156"/>
                  </a:lnTo>
                  <a:lnTo>
                    <a:pt x="220" y="152"/>
                  </a:lnTo>
                  <a:lnTo>
                    <a:pt x="216" y="152"/>
                  </a:lnTo>
                  <a:lnTo>
                    <a:pt x="212" y="152"/>
                  </a:lnTo>
                  <a:lnTo>
                    <a:pt x="212" y="150"/>
                  </a:lnTo>
                  <a:lnTo>
                    <a:pt x="212" y="146"/>
                  </a:lnTo>
                  <a:lnTo>
                    <a:pt x="212" y="142"/>
                  </a:lnTo>
                  <a:lnTo>
                    <a:pt x="212" y="138"/>
                  </a:lnTo>
                  <a:lnTo>
                    <a:pt x="212" y="134"/>
                  </a:lnTo>
                  <a:lnTo>
                    <a:pt x="208" y="134"/>
                  </a:lnTo>
                  <a:lnTo>
                    <a:pt x="208" y="130"/>
                  </a:lnTo>
                  <a:lnTo>
                    <a:pt x="212" y="130"/>
                  </a:lnTo>
                  <a:lnTo>
                    <a:pt x="212" y="126"/>
                  </a:lnTo>
                  <a:lnTo>
                    <a:pt x="212" y="122"/>
                  </a:lnTo>
                  <a:lnTo>
                    <a:pt x="208" y="122"/>
                  </a:lnTo>
                  <a:lnTo>
                    <a:pt x="208" y="120"/>
                  </a:lnTo>
                  <a:lnTo>
                    <a:pt x="204" y="120"/>
                  </a:lnTo>
                  <a:lnTo>
                    <a:pt x="200" y="116"/>
                  </a:lnTo>
                  <a:lnTo>
                    <a:pt x="200" y="120"/>
                  </a:lnTo>
                  <a:lnTo>
                    <a:pt x="200" y="116"/>
                  </a:lnTo>
                  <a:lnTo>
                    <a:pt x="204" y="116"/>
                  </a:lnTo>
                  <a:lnTo>
                    <a:pt x="200" y="112"/>
                  </a:lnTo>
                  <a:lnTo>
                    <a:pt x="196" y="112"/>
                  </a:lnTo>
                  <a:lnTo>
                    <a:pt x="196" y="108"/>
                  </a:lnTo>
                  <a:lnTo>
                    <a:pt x="196" y="104"/>
                  </a:lnTo>
                  <a:lnTo>
                    <a:pt x="196" y="100"/>
                  </a:lnTo>
                  <a:lnTo>
                    <a:pt x="196" y="96"/>
                  </a:lnTo>
                  <a:lnTo>
                    <a:pt x="192" y="96"/>
                  </a:lnTo>
                  <a:lnTo>
                    <a:pt x="192" y="92"/>
                  </a:lnTo>
                  <a:lnTo>
                    <a:pt x="192" y="90"/>
                  </a:lnTo>
                  <a:lnTo>
                    <a:pt x="192" y="86"/>
                  </a:lnTo>
                  <a:lnTo>
                    <a:pt x="196" y="86"/>
                  </a:lnTo>
                  <a:lnTo>
                    <a:pt x="192" y="86"/>
                  </a:lnTo>
                  <a:lnTo>
                    <a:pt x="192" y="82"/>
                  </a:lnTo>
                  <a:lnTo>
                    <a:pt x="196" y="82"/>
                  </a:lnTo>
                  <a:lnTo>
                    <a:pt x="200" y="78"/>
                  </a:lnTo>
                  <a:lnTo>
                    <a:pt x="196" y="78"/>
                  </a:lnTo>
                  <a:lnTo>
                    <a:pt x="196" y="82"/>
                  </a:lnTo>
                  <a:lnTo>
                    <a:pt x="196" y="78"/>
                  </a:lnTo>
                  <a:lnTo>
                    <a:pt x="196" y="74"/>
                  </a:lnTo>
                  <a:lnTo>
                    <a:pt x="200" y="74"/>
                  </a:lnTo>
                  <a:lnTo>
                    <a:pt x="200" y="70"/>
                  </a:lnTo>
                  <a:lnTo>
                    <a:pt x="204" y="66"/>
                  </a:lnTo>
                  <a:lnTo>
                    <a:pt x="204" y="66"/>
                  </a:lnTo>
                  <a:lnTo>
                    <a:pt x="204" y="66"/>
                  </a:lnTo>
                  <a:close/>
                  <a:moveTo>
                    <a:pt x="182" y="36"/>
                  </a:moveTo>
                  <a:lnTo>
                    <a:pt x="182" y="34"/>
                  </a:lnTo>
                  <a:lnTo>
                    <a:pt x="182" y="30"/>
                  </a:lnTo>
                  <a:lnTo>
                    <a:pt x="186" y="30"/>
                  </a:lnTo>
                  <a:lnTo>
                    <a:pt x="186" y="34"/>
                  </a:lnTo>
                  <a:lnTo>
                    <a:pt x="186" y="36"/>
                  </a:lnTo>
                  <a:lnTo>
                    <a:pt x="186" y="40"/>
                  </a:lnTo>
                  <a:lnTo>
                    <a:pt x="182" y="40"/>
                  </a:lnTo>
                  <a:lnTo>
                    <a:pt x="182" y="36"/>
                  </a:lnTo>
                  <a:lnTo>
                    <a:pt x="186" y="36"/>
                  </a:lnTo>
                  <a:lnTo>
                    <a:pt x="182" y="36"/>
                  </a:lnTo>
                  <a:lnTo>
                    <a:pt x="182" y="36"/>
                  </a:lnTo>
                  <a:lnTo>
                    <a:pt x="182" y="36"/>
                  </a:lnTo>
                  <a:close/>
                  <a:moveTo>
                    <a:pt x="148" y="52"/>
                  </a:moveTo>
                  <a:lnTo>
                    <a:pt x="148" y="48"/>
                  </a:lnTo>
                  <a:lnTo>
                    <a:pt x="152" y="52"/>
                  </a:lnTo>
                  <a:lnTo>
                    <a:pt x="148" y="52"/>
                  </a:lnTo>
                  <a:lnTo>
                    <a:pt x="148" y="56"/>
                  </a:lnTo>
                  <a:lnTo>
                    <a:pt x="148" y="52"/>
                  </a:lnTo>
                  <a:lnTo>
                    <a:pt x="148" y="52"/>
                  </a:lnTo>
                  <a:lnTo>
                    <a:pt x="148" y="52"/>
                  </a:lnTo>
                  <a:close/>
                  <a:moveTo>
                    <a:pt x="18" y="64"/>
                  </a:moveTo>
                  <a:lnTo>
                    <a:pt x="14" y="64"/>
                  </a:lnTo>
                  <a:lnTo>
                    <a:pt x="14" y="60"/>
                  </a:lnTo>
                  <a:lnTo>
                    <a:pt x="10" y="60"/>
                  </a:lnTo>
                  <a:lnTo>
                    <a:pt x="10" y="56"/>
                  </a:lnTo>
                  <a:lnTo>
                    <a:pt x="8" y="56"/>
                  </a:lnTo>
                  <a:lnTo>
                    <a:pt x="10" y="52"/>
                  </a:lnTo>
                  <a:lnTo>
                    <a:pt x="10" y="56"/>
                  </a:lnTo>
                  <a:lnTo>
                    <a:pt x="14" y="56"/>
                  </a:lnTo>
                  <a:lnTo>
                    <a:pt x="14" y="60"/>
                  </a:lnTo>
                  <a:lnTo>
                    <a:pt x="18" y="60"/>
                  </a:lnTo>
                  <a:lnTo>
                    <a:pt x="18" y="64"/>
                  </a:lnTo>
                  <a:lnTo>
                    <a:pt x="18" y="64"/>
                  </a:lnTo>
                  <a:lnTo>
                    <a:pt x="18" y="64"/>
                  </a:lnTo>
                  <a:close/>
                  <a:moveTo>
                    <a:pt x="468" y="66"/>
                  </a:moveTo>
                  <a:lnTo>
                    <a:pt x="468" y="64"/>
                  </a:lnTo>
                  <a:lnTo>
                    <a:pt x="468" y="60"/>
                  </a:lnTo>
                  <a:lnTo>
                    <a:pt x="472" y="56"/>
                  </a:lnTo>
                  <a:lnTo>
                    <a:pt x="472" y="60"/>
                  </a:lnTo>
                  <a:lnTo>
                    <a:pt x="472" y="64"/>
                  </a:lnTo>
                  <a:lnTo>
                    <a:pt x="472" y="66"/>
                  </a:lnTo>
                  <a:lnTo>
                    <a:pt x="468" y="66"/>
                  </a:lnTo>
                  <a:lnTo>
                    <a:pt x="468" y="66"/>
                  </a:lnTo>
                  <a:lnTo>
                    <a:pt x="468" y="66"/>
                  </a:lnTo>
                  <a:close/>
                  <a:moveTo>
                    <a:pt x="30" y="66"/>
                  </a:moveTo>
                  <a:lnTo>
                    <a:pt x="30" y="64"/>
                  </a:lnTo>
                  <a:lnTo>
                    <a:pt x="26" y="64"/>
                  </a:lnTo>
                  <a:lnTo>
                    <a:pt x="30" y="64"/>
                  </a:lnTo>
                  <a:lnTo>
                    <a:pt x="30" y="66"/>
                  </a:lnTo>
                  <a:lnTo>
                    <a:pt x="30" y="66"/>
                  </a:lnTo>
                  <a:lnTo>
                    <a:pt x="30" y="66"/>
                  </a:lnTo>
                  <a:close/>
                  <a:moveTo>
                    <a:pt x="460" y="112"/>
                  </a:moveTo>
                  <a:lnTo>
                    <a:pt x="460" y="108"/>
                  </a:lnTo>
                  <a:lnTo>
                    <a:pt x="458" y="104"/>
                  </a:lnTo>
                  <a:lnTo>
                    <a:pt x="460" y="104"/>
                  </a:lnTo>
                  <a:lnTo>
                    <a:pt x="460" y="100"/>
                  </a:lnTo>
                  <a:lnTo>
                    <a:pt x="458" y="96"/>
                  </a:lnTo>
                  <a:lnTo>
                    <a:pt x="458" y="92"/>
                  </a:lnTo>
                  <a:lnTo>
                    <a:pt x="458" y="90"/>
                  </a:lnTo>
                  <a:lnTo>
                    <a:pt x="458" y="86"/>
                  </a:lnTo>
                  <a:lnTo>
                    <a:pt x="454" y="86"/>
                  </a:lnTo>
                  <a:lnTo>
                    <a:pt x="454" y="82"/>
                  </a:lnTo>
                  <a:lnTo>
                    <a:pt x="458" y="82"/>
                  </a:lnTo>
                  <a:lnTo>
                    <a:pt x="458" y="78"/>
                  </a:lnTo>
                  <a:lnTo>
                    <a:pt x="458" y="74"/>
                  </a:lnTo>
                  <a:lnTo>
                    <a:pt x="458" y="70"/>
                  </a:lnTo>
                  <a:lnTo>
                    <a:pt x="460" y="70"/>
                  </a:lnTo>
                  <a:lnTo>
                    <a:pt x="460" y="66"/>
                  </a:lnTo>
                  <a:lnTo>
                    <a:pt x="464" y="64"/>
                  </a:lnTo>
                  <a:lnTo>
                    <a:pt x="464" y="66"/>
                  </a:lnTo>
                  <a:lnTo>
                    <a:pt x="460" y="70"/>
                  </a:lnTo>
                  <a:lnTo>
                    <a:pt x="464" y="70"/>
                  </a:lnTo>
                  <a:lnTo>
                    <a:pt x="464" y="74"/>
                  </a:lnTo>
                  <a:lnTo>
                    <a:pt x="464" y="78"/>
                  </a:lnTo>
                  <a:lnTo>
                    <a:pt x="460" y="82"/>
                  </a:lnTo>
                  <a:lnTo>
                    <a:pt x="458" y="86"/>
                  </a:lnTo>
                  <a:lnTo>
                    <a:pt x="460" y="90"/>
                  </a:lnTo>
                  <a:lnTo>
                    <a:pt x="460" y="86"/>
                  </a:lnTo>
                  <a:lnTo>
                    <a:pt x="464" y="86"/>
                  </a:lnTo>
                  <a:lnTo>
                    <a:pt x="464" y="82"/>
                  </a:lnTo>
                  <a:lnTo>
                    <a:pt x="464" y="78"/>
                  </a:lnTo>
                  <a:lnTo>
                    <a:pt x="468" y="78"/>
                  </a:lnTo>
                  <a:lnTo>
                    <a:pt x="468" y="74"/>
                  </a:lnTo>
                  <a:lnTo>
                    <a:pt x="472" y="74"/>
                  </a:lnTo>
                  <a:lnTo>
                    <a:pt x="472" y="82"/>
                  </a:lnTo>
                  <a:lnTo>
                    <a:pt x="472" y="86"/>
                  </a:lnTo>
                  <a:lnTo>
                    <a:pt x="468" y="86"/>
                  </a:lnTo>
                  <a:lnTo>
                    <a:pt x="468" y="90"/>
                  </a:lnTo>
                  <a:lnTo>
                    <a:pt x="468" y="92"/>
                  </a:lnTo>
                  <a:lnTo>
                    <a:pt x="472" y="92"/>
                  </a:lnTo>
                  <a:lnTo>
                    <a:pt x="472" y="96"/>
                  </a:lnTo>
                  <a:lnTo>
                    <a:pt x="476" y="96"/>
                  </a:lnTo>
                  <a:lnTo>
                    <a:pt x="476" y="100"/>
                  </a:lnTo>
                  <a:lnTo>
                    <a:pt x="476" y="96"/>
                  </a:lnTo>
                  <a:lnTo>
                    <a:pt x="472" y="96"/>
                  </a:lnTo>
                  <a:lnTo>
                    <a:pt x="468" y="96"/>
                  </a:lnTo>
                  <a:lnTo>
                    <a:pt x="464" y="96"/>
                  </a:lnTo>
                  <a:lnTo>
                    <a:pt x="464" y="92"/>
                  </a:lnTo>
                  <a:lnTo>
                    <a:pt x="460" y="92"/>
                  </a:lnTo>
                  <a:lnTo>
                    <a:pt x="460" y="96"/>
                  </a:lnTo>
                  <a:lnTo>
                    <a:pt x="460" y="100"/>
                  </a:lnTo>
                  <a:lnTo>
                    <a:pt x="460" y="104"/>
                  </a:lnTo>
                  <a:lnTo>
                    <a:pt x="464" y="108"/>
                  </a:lnTo>
                  <a:lnTo>
                    <a:pt x="464" y="112"/>
                  </a:lnTo>
                  <a:lnTo>
                    <a:pt x="468" y="116"/>
                  </a:lnTo>
                  <a:lnTo>
                    <a:pt x="468" y="120"/>
                  </a:lnTo>
                  <a:lnTo>
                    <a:pt x="468" y="116"/>
                  </a:lnTo>
                  <a:lnTo>
                    <a:pt x="464" y="116"/>
                  </a:lnTo>
                  <a:lnTo>
                    <a:pt x="464" y="112"/>
                  </a:lnTo>
                  <a:lnTo>
                    <a:pt x="460" y="112"/>
                  </a:lnTo>
                  <a:lnTo>
                    <a:pt x="460" y="112"/>
                  </a:lnTo>
                  <a:lnTo>
                    <a:pt x="460" y="112"/>
                  </a:lnTo>
                  <a:close/>
                  <a:moveTo>
                    <a:pt x="92" y="70"/>
                  </a:moveTo>
                  <a:lnTo>
                    <a:pt x="92" y="74"/>
                  </a:lnTo>
                  <a:lnTo>
                    <a:pt x="88" y="74"/>
                  </a:lnTo>
                  <a:lnTo>
                    <a:pt x="88" y="70"/>
                  </a:lnTo>
                  <a:lnTo>
                    <a:pt x="88" y="66"/>
                  </a:lnTo>
                  <a:lnTo>
                    <a:pt x="92" y="66"/>
                  </a:lnTo>
                  <a:lnTo>
                    <a:pt x="92" y="70"/>
                  </a:lnTo>
                  <a:lnTo>
                    <a:pt x="92" y="70"/>
                  </a:lnTo>
                  <a:lnTo>
                    <a:pt x="92" y="70"/>
                  </a:lnTo>
                  <a:close/>
                  <a:moveTo>
                    <a:pt x="398" y="120"/>
                  </a:moveTo>
                  <a:lnTo>
                    <a:pt x="394" y="120"/>
                  </a:lnTo>
                  <a:lnTo>
                    <a:pt x="390" y="120"/>
                  </a:lnTo>
                  <a:lnTo>
                    <a:pt x="390" y="122"/>
                  </a:lnTo>
                  <a:lnTo>
                    <a:pt x="386" y="122"/>
                  </a:lnTo>
                  <a:lnTo>
                    <a:pt x="386" y="126"/>
                  </a:lnTo>
                  <a:lnTo>
                    <a:pt x="382" y="126"/>
                  </a:lnTo>
                  <a:lnTo>
                    <a:pt x="382" y="130"/>
                  </a:lnTo>
                  <a:lnTo>
                    <a:pt x="378" y="130"/>
                  </a:lnTo>
                  <a:lnTo>
                    <a:pt x="374" y="130"/>
                  </a:lnTo>
                  <a:lnTo>
                    <a:pt x="374" y="134"/>
                  </a:lnTo>
                  <a:lnTo>
                    <a:pt x="372" y="134"/>
                  </a:lnTo>
                  <a:lnTo>
                    <a:pt x="368" y="134"/>
                  </a:lnTo>
                  <a:lnTo>
                    <a:pt x="368" y="138"/>
                  </a:lnTo>
                  <a:lnTo>
                    <a:pt x="372" y="138"/>
                  </a:lnTo>
                  <a:lnTo>
                    <a:pt x="374" y="138"/>
                  </a:lnTo>
                  <a:lnTo>
                    <a:pt x="374" y="142"/>
                  </a:lnTo>
                  <a:lnTo>
                    <a:pt x="378" y="146"/>
                  </a:lnTo>
                  <a:lnTo>
                    <a:pt x="378" y="150"/>
                  </a:lnTo>
                  <a:lnTo>
                    <a:pt x="382" y="150"/>
                  </a:lnTo>
                  <a:lnTo>
                    <a:pt x="382" y="152"/>
                  </a:lnTo>
                  <a:lnTo>
                    <a:pt x="382" y="156"/>
                  </a:lnTo>
                  <a:lnTo>
                    <a:pt x="386" y="156"/>
                  </a:lnTo>
                  <a:lnTo>
                    <a:pt x="382" y="156"/>
                  </a:lnTo>
                  <a:lnTo>
                    <a:pt x="382" y="160"/>
                  </a:lnTo>
                  <a:lnTo>
                    <a:pt x="382" y="164"/>
                  </a:lnTo>
                  <a:lnTo>
                    <a:pt x="382" y="166"/>
                  </a:lnTo>
                  <a:lnTo>
                    <a:pt x="386" y="166"/>
                  </a:lnTo>
                  <a:lnTo>
                    <a:pt x="386" y="170"/>
                  </a:lnTo>
                  <a:lnTo>
                    <a:pt x="390" y="170"/>
                  </a:lnTo>
                  <a:lnTo>
                    <a:pt x="390" y="174"/>
                  </a:lnTo>
                  <a:lnTo>
                    <a:pt x="390" y="170"/>
                  </a:lnTo>
                  <a:lnTo>
                    <a:pt x="390" y="174"/>
                  </a:lnTo>
                  <a:lnTo>
                    <a:pt x="390" y="178"/>
                  </a:lnTo>
                  <a:lnTo>
                    <a:pt x="386" y="178"/>
                  </a:lnTo>
                  <a:lnTo>
                    <a:pt x="382" y="178"/>
                  </a:lnTo>
                  <a:lnTo>
                    <a:pt x="378" y="178"/>
                  </a:lnTo>
                  <a:lnTo>
                    <a:pt x="378" y="182"/>
                  </a:lnTo>
                  <a:lnTo>
                    <a:pt x="378" y="186"/>
                  </a:lnTo>
                  <a:lnTo>
                    <a:pt x="374" y="186"/>
                  </a:lnTo>
                  <a:lnTo>
                    <a:pt x="372" y="182"/>
                  </a:lnTo>
                  <a:lnTo>
                    <a:pt x="372" y="178"/>
                  </a:lnTo>
                  <a:lnTo>
                    <a:pt x="372" y="174"/>
                  </a:lnTo>
                  <a:lnTo>
                    <a:pt x="374" y="174"/>
                  </a:lnTo>
                  <a:lnTo>
                    <a:pt x="374" y="170"/>
                  </a:lnTo>
                  <a:lnTo>
                    <a:pt x="372" y="170"/>
                  </a:lnTo>
                  <a:lnTo>
                    <a:pt x="368" y="170"/>
                  </a:lnTo>
                  <a:lnTo>
                    <a:pt x="368" y="166"/>
                  </a:lnTo>
                  <a:lnTo>
                    <a:pt x="364" y="164"/>
                  </a:lnTo>
                  <a:lnTo>
                    <a:pt x="364" y="160"/>
                  </a:lnTo>
                  <a:lnTo>
                    <a:pt x="364" y="156"/>
                  </a:lnTo>
                  <a:lnTo>
                    <a:pt x="364" y="152"/>
                  </a:lnTo>
                  <a:lnTo>
                    <a:pt x="364" y="150"/>
                  </a:lnTo>
                  <a:lnTo>
                    <a:pt x="360" y="146"/>
                  </a:lnTo>
                  <a:lnTo>
                    <a:pt x="360" y="150"/>
                  </a:lnTo>
                  <a:lnTo>
                    <a:pt x="358" y="152"/>
                  </a:lnTo>
                  <a:lnTo>
                    <a:pt x="354" y="152"/>
                  </a:lnTo>
                  <a:lnTo>
                    <a:pt x="354" y="156"/>
                  </a:lnTo>
                  <a:lnTo>
                    <a:pt x="358" y="156"/>
                  </a:lnTo>
                  <a:lnTo>
                    <a:pt x="358" y="160"/>
                  </a:lnTo>
                  <a:lnTo>
                    <a:pt x="358" y="164"/>
                  </a:lnTo>
                  <a:lnTo>
                    <a:pt x="358" y="166"/>
                  </a:lnTo>
                  <a:lnTo>
                    <a:pt x="358" y="170"/>
                  </a:lnTo>
                  <a:lnTo>
                    <a:pt x="358" y="174"/>
                  </a:lnTo>
                  <a:lnTo>
                    <a:pt x="358" y="178"/>
                  </a:lnTo>
                  <a:lnTo>
                    <a:pt x="358" y="182"/>
                  </a:lnTo>
                  <a:lnTo>
                    <a:pt x="358" y="186"/>
                  </a:lnTo>
                  <a:lnTo>
                    <a:pt x="354" y="190"/>
                  </a:lnTo>
                  <a:lnTo>
                    <a:pt x="358" y="194"/>
                  </a:lnTo>
                  <a:lnTo>
                    <a:pt x="358" y="196"/>
                  </a:lnTo>
                  <a:lnTo>
                    <a:pt x="354" y="196"/>
                  </a:lnTo>
                  <a:lnTo>
                    <a:pt x="350" y="196"/>
                  </a:lnTo>
                  <a:lnTo>
                    <a:pt x="350" y="200"/>
                  </a:lnTo>
                  <a:lnTo>
                    <a:pt x="346" y="200"/>
                  </a:lnTo>
                  <a:lnTo>
                    <a:pt x="346" y="196"/>
                  </a:lnTo>
                  <a:lnTo>
                    <a:pt x="342" y="196"/>
                  </a:lnTo>
                  <a:lnTo>
                    <a:pt x="342" y="194"/>
                  </a:lnTo>
                  <a:lnTo>
                    <a:pt x="342" y="190"/>
                  </a:lnTo>
                  <a:lnTo>
                    <a:pt x="346" y="186"/>
                  </a:lnTo>
                  <a:lnTo>
                    <a:pt x="342" y="186"/>
                  </a:lnTo>
                  <a:lnTo>
                    <a:pt x="342" y="182"/>
                  </a:lnTo>
                  <a:lnTo>
                    <a:pt x="346" y="182"/>
                  </a:lnTo>
                  <a:lnTo>
                    <a:pt x="346" y="178"/>
                  </a:lnTo>
                  <a:lnTo>
                    <a:pt x="346" y="174"/>
                  </a:lnTo>
                  <a:lnTo>
                    <a:pt x="346" y="170"/>
                  </a:lnTo>
                  <a:lnTo>
                    <a:pt x="346" y="166"/>
                  </a:lnTo>
                  <a:lnTo>
                    <a:pt x="342" y="164"/>
                  </a:lnTo>
                  <a:lnTo>
                    <a:pt x="346" y="164"/>
                  </a:lnTo>
                  <a:lnTo>
                    <a:pt x="342" y="160"/>
                  </a:lnTo>
                  <a:lnTo>
                    <a:pt x="338" y="160"/>
                  </a:lnTo>
                  <a:lnTo>
                    <a:pt x="338" y="164"/>
                  </a:lnTo>
                  <a:lnTo>
                    <a:pt x="338" y="160"/>
                  </a:lnTo>
                  <a:lnTo>
                    <a:pt x="338" y="164"/>
                  </a:lnTo>
                  <a:lnTo>
                    <a:pt x="334" y="164"/>
                  </a:lnTo>
                  <a:lnTo>
                    <a:pt x="334" y="160"/>
                  </a:lnTo>
                  <a:lnTo>
                    <a:pt x="334" y="156"/>
                  </a:lnTo>
                  <a:lnTo>
                    <a:pt x="334" y="152"/>
                  </a:lnTo>
                  <a:lnTo>
                    <a:pt x="334" y="150"/>
                  </a:lnTo>
                  <a:lnTo>
                    <a:pt x="338" y="146"/>
                  </a:lnTo>
                  <a:lnTo>
                    <a:pt x="338" y="142"/>
                  </a:lnTo>
                  <a:lnTo>
                    <a:pt x="338" y="138"/>
                  </a:lnTo>
                  <a:lnTo>
                    <a:pt x="342" y="138"/>
                  </a:lnTo>
                  <a:lnTo>
                    <a:pt x="342" y="134"/>
                  </a:lnTo>
                  <a:lnTo>
                    <a:pt x="342" y="138"/>
                  </a:lnTo>
                  <a:lnTo>
                    <a:pt x="342" y="134"/>
                  </a:lnTo>
                  <a:lnTo>
                    <a:pt x="342" y="130"/>
                  </a:lnTo>
                  <a:lnTo>
                    <a:pt x="342" y="126"/>
                  </a:lnTo>
                  <a:lnTo>
                    <a:pt x="342" y="122"/>
                  </a:lnTo>
                  <a:lnTo>
                    <a:pt x="342" y="120"/>
                  </a:lnTo>
                  <a:lnTo>
                    <a:pt x="346" y="120"/>
                  </a:lnTo>
                  <a:lnTo>
                    <a:pt x="346" y="116"/>
                  </a:lnTo>
                  <a:lnTo>
                    <a:pt x="346" y="112"/>
                  </a:lnTo>
                  <a:lnTo>
                    <a:pt x="350" y="116"/>
                  </a:lnTo>
                  <a:lnTo>
                    <a:pt x="350" y="120"/>
                  </a:lnTo>
                  <a:lnTo>
                    <a:pt x="350" y="116"/>
                  </a:lnTo>
                  <a:lnTo>
                    <a:pt x="350" y="112"/>
                  </a:lnTo>
                  <a:lnTo>
                    <a:pt x="346" y="112"/>
                  </a:lnTo>
                  <a:lnTo>
                    <a:pt x="346" y="108"/>
                  </a:lnTo>
                  <a:lnTo>
                    <a:pt x="350" y="108"/>
                  </a:lnTo>
                  <a:lnTo>
                    <a:pt x="350" y="104"/>
                  </a:lnTo>
                  <a:lnTo>
                    <a:pt x="346" y="104"/>
                  </a:lnTo>
                  <a:lnTo>
                    <a:pt x="346" y="100"/>
                  </a:lnTo>
                  <a:lnTo>
                    <a:pt x="346" y="104"/>
                  </a:lnTo>
                  <a:lnTo>
                    <a:pt x="350" y="104"/>
                  </a:lnTo>
                  <a:lnTo>
                    <a:pt x="350" y="100"/>
                  </a:lnTo>
                  <a:lnTo>
                    <a:pt x="350" y="96"/>
                  </a:lnTo>
                  <a:lnTo>
                    <a:pt x="350" y="92"/>
                  </a:lnTo>
                  <a:lnTo>
                    <a:pt x="354" y="92"/>
                  </a:lnTo>
                  <a:lnTo>
                    <a:pt x="350" y="92"/>
                  </a:lnTo>
                  <a:lnTo>
                    <a:pt x="350" y="90"/>
                  </a:lnTo>
                  <a:lnTo>
                    <a:pt x="354" y="90"/>
                  </a:lnTo>
                  <a:lnTo>
                    <a:pt x="354" y="86"/>
                  </a:lnTo>
                  <a:lnTo>
                    <a:pt x="358" y="86"/>
                  </a:lnTo>
                  <a:lnTo>
                    <a:pt x="358" y="90"/>
                  </a:lnTo>
                  <a:lnTo>
                    <a:pt x="360" y="90"/>
                  </a:lnTo>
                  <a:lnTo>
                    <a:pt x="360" y="86"/>
                  </a:lnTo>
                  <a:lnTo>
                    <a:pt x="364" y="82"/>
                  </a:lnTo>
                  <a:lnTo>
                    <a:pt x="360" y="82"/>
                  </a:lnTo>
                  <a:lnTo>
                    <a:pt x="364" y="78"/>
                  </a:lnTo>
                  <a:lnTo>
                    <a:pt x="368" y="78"/>
                  </a:lnTo>
                  <a:lnTo>
                    <a:pt x="368" y="82"/>
                  </a:lnTo>
                  <a:lnTo>
                    <a:pt x="372" y="82"/>
                  </a:lnTo>
                  <a:lnTo>
                    <a:pt x="372" y="86"/>
                  </a:lnTo>
                  <a:lnTo>
                    <a:pt x="374" y="86"/>
                  </a:lnTo>
                  <a:lnTo>
                    <a:pt x="378" y="82"/>
                  </a:lnTo>
                  <a:lnTo>
                    <a:pt x="378" y="86"/>
                  </a:lnTo>
                  <a:lnTo>
                    <a:pt x="382" y="86"/>
                  </a:lnTo>
                  <a:lnTo>
                    <a:pt x="386" y="86"/>
                  </a:lnTo>
                  <a:lnTo>
                    <a:pt x="390" y="86"/>
                  </a:lnTo>
                  <a:lnTo>
                    <a:pt x="390" y="90"/>
                  </a:lnTo>
                  <a:lnTo>
                    <a:pt x="394" y="86"/>
                  </a:lnTo>
                  <a:lnTo>
                    <a:pt x="398" y="86"/>
                  </a:lnTo>
                  <a:lnTo>
                    <a:pt x="402" y="86"/>
                  </a:lnTo>
                  <a:lnTo>
                    <a:pt x="402" y="90"/>
                  </a:lnTo>
                  <a:lnTo>
                    <a:pt x="402" y="86"/>
                  </a:lnTo>
                  <a:lnTo>
                    <a:pt x="404" y="90"/>
                  </a:lnTo>
                  <a:lnTo>
                    <a:pt x="408" y="86"/>
                  </a:lnTo>
                  <a:lnTo>
                    <a:pt x="412" y="86"/>
                  </a:lnTo>
                  <a:lnTo>
                    <a:pt x="412" y="82"/>
                  </a:lnTo>
                  <a:lnTo>
                    <a:pt x="416" y="82"/>
                  </a:lnTo>
                  <a:lnTo>
                    <a:pt x="416" y="78"/>
                  </a:lnTo>
                  <a:lnTo>
                    <a:pt x="420" y="78"/>
                  </a:lnTo>
                  <a:lnTo>
                    <a:pt x="420" y="74"/>
                  </a:lnTo>
                  <a:lnTo>
                    <a:pt x="424" y="74"/>
                  </a:lnTo>
                  <a:lnTo>
                    <a:pt x="424" y="78"/>
                  </a:lnTo>
                  <a:lnTo>
                    <a:pt x="424" y="82"/>
                  </a:lnTo>
                  <a:lnTo>
                    <a:pt x="420" y="82"/>
                  </a:lnTo>
                  <a:lnTo>
                    <a:pt x="420" y="86"/>
                  </a:lnTo>
                  <a:lnTo>
                    <a:pt x="416" y="90"/>
                  </a:lnTo>
                  <a:lnTo>
                    <a:pt x="416" y="92"/>
                  </a:lnTo>
                  <a:lnTo>
                    <a:pt x="412" y="92"/>
                  </a:lnTo>
                  <a:lnTo>
                    <a:pt x="412" y="96"/>
                  </a:lnTo>
                  <a:lnTo>
                    <a:pt x="408" y="96"/>
                  </a:lnTo>
                  <a:lnTo>
                    <a:pt x="404" y="96"/>
                  </a:lnTo>
                  <a:lnTo>
                    <a:pt x="402" y="96"/>
                  </a:lnTo>
                  <a:lnTo>
                    <a:pt x="398" y="96"/>
                  </a:lnTo>
                  <a:lnTo>
                    <a:pt x="394" y="96"/>
                  </a:lnTo>
                  <a:lnTo>
                    <a:pt x="394" y="92"/>
                  </a:lnTo>
                  <a:lnTo>
                    <a:pt x="390" y="92"/>
                  </a:lnTo>
                  <a:lnTo>
                    <a:pt x="386" y="92"/>
                  </a:lnTo>
                  <a:lnTo>
                    <a:pt x="382" y="92"/>
                  </a:lnTo>
                  <a:lnTo>
                    <a:pt x="378" y="92"/>
                  </a:lnTo>
                  <a:lnTo>
                    <a:pt x="378" y="96"/>
                  </a:lnTo>
                  <a:lnTo>
                    <a:pt x="374" y="96"/>
                  </a:lnTo>
                  <a:lnTo>
                    <a:pt x="374" y="92"/>
                  </a:lnTo>
                  <a:lnTo>
                    <a:pt x="372" y="92"/>
                  </a:lnTo>
                  <a:lnTo>
                    <a:pt x="368" y="92"/>
                  </a:lnTo>
                  <a:lnTo>
                    <a:pt x="368" y="96"/>
                  </a:lnTo>
                  <a:lnTo>
                    <a:pt x="364" y="96"/>
                  </a:lnTo>
                  <a:lnTo>
                    <a:pt x="364" y="92"/>
                  </a:lnTo>
                  <a:lnTo>
                    <a:pt x="360" y="92"/>
                  </a:lnTo>
                  <a:lnTo>
                    <a:pt x="358" y="92"/>
                  </a:lnTo>
                  <a:lnTo>
                    <a:pt x="358" y="96"/>
                  </a:lnTo>
                  <a:lnTo>
                    <a:pt x="354" y="96"/>
                  </a:lnTo>
                  <a:lnTo>
                    <a:pt x="354" y="100"/>
                  </a:lnTo>
                  <a:lnTo>
                    <a:pt x="354" y="104"/>
                  </a:lnTo>
                  <a:lnTo>
                    <a:pt x="350" y="104"/>
                  </a:lnTo>
                  <a:lnTo>
                    <a:pt x="350" y="108"/>
                  </a:lnTo>
                  <a:lnTo>
                    <a:pt x="354" y="112"/>
                  </a:lnTo>
                  <a:lnTo>
                    <a:pt x="354" y="116"/>
                  </a:lnTo>
                  <a:lnTo>
                    <a:pt x="354" y="120"/>
                  </a:lnTo>
                  <a:lnTo>
                    <a:pt x="358" y="120"/>
                  </a:lnTo>
                  <a:lnTo>
                    <a:pt x="360" y="120"/>
                  </a:lnTo>
                  <a:lnTo>
                    <a:pt x="360" y="122"/>
                  </a:lnTo>
                  <a:lnTo>
                    <a:pt x="360" y="126"/>
                  </a:lnTo>
                  <a:lnTo>
                    <a:pt x="364" y="126"/>
                  </a:lnTo>
                  <a:lnTo>
                    <a:pt x="368" y="126"/>
                  </a:lnTo>
                  <a:lnTo>
                    <a:pt x="368" y="122"/>
                  </a:lnTo>
                  <a:lnTo>
                    <a:pt x="372" y="120"/>
                  </a:lnTo>
                  <a:lnTo>
                    <a:pt x="372" y="116"/>
                  </a:lnTo>
                  <a:lnTo>
                    <a:pt x="374" y="116"/>
                  </a:lnTo>
                  <a:lnTo>
                    <a:pt x="374" y="120"/>
                  </a:lnTo>
                  <a:lnTo>
                    <a:pt x="378" y="120"/>
                  </a:lnTo>
                  <a:lnTo>
                    <a:pt x="382" y="120"/>
                  </a:lnTo>
                  <a:lnTo>
                    <a:pt x="382" y="116"/>
                  </a:lnTo>
                  <a:lnTo>
                    <a:pt x="386" y="116"/>
                  </a:lnTo>
                  <a:lnTo>
                    <a:pt x="390" y="116"/>
                  </a:lnTo>
                  <a:lnTo>
                    <a:pt x="394" y="116"/>
                  </a:lnTo>
                  <a:lnTo>
                    <a:pt x="390" y="116"/>
                  </a:lnTo>
                  <a:lnTo>
                    <a:pt x="390" y="112"/>
                  </a:lnTo>
                  <a:lnTo>
                    <a:pt x="394" y="112"/>
                  </a:lnTo>
                  <a:lnTo>
                    <a:pt x="398" y="112"/>
                  </a:lnTo>
                  <a:lnTo>
                    <a:pt x="398" y="116"/>
                  </a:lnTo>
                  <a:lnTo>
                    <a:pt x="398" y="120"/>
                  </a:lnTo>
                  <a:lnTo>
                    <a:pt x="398" y="120"/>
                  </a:lnTo>
                  <a:lnTo>
                    <a:pt x="398" y="120"/>
                  </a:lnTo>
                  <a:close/>
                  <a:moveTo>
                    <a:pt x="104" y="78"/>
                  </a:moveTo>
                  <a:lnTo>
                    <a:pt x="104" y="82"/>
                  </a:lnTo>
                  <a:lnTo>
                    <a:pt x="104" y="78"/>
                  </a:lnTo>
                  <a:lnTo>
                    <a:pt x="100" y="78"/>
                  </a:lnTo>
                  <a:lnTo>
                    <a:pt x="96" y="78"/>
                  </a:lnTo>
                  <a:lnTo>
                    <a:pt x="96" y="74"/>
                  </a:lnTo>
                  <a:lnTo>
                    <a:pt x="100" y="74"/>
                  </a:lnTo>
                  <a:lnTo>
                    <a:pt x="104" y="78"/>
                  </a:lnTo>
                  <a:lnTo>
                    <a:pt x="104" y="78"/>
                  </a:lnTo>
                  <a:lnTo>
                    <a:pt x="104" y="78"/>
                  </a:lnTo>
                  <a:close/>
                  <a:moveTo>
                    <a:pt x="36" y="92"/>
                  </a:moveTo>
                  <a:lnTo>
                    <a:pt x="36" y="90"/>
                  </a:lnTo>
                  <a:lnTo>
                    <a:pt x="34" y="90"/>
                  </a:lnTo>
                  <a:lnTo>
                    <a:pt x="34" y="86"/>
                  </a:lnTo>
                  <a:lnTo>
                    <a:pt x="30" y="86"/>
                  </a:lnTo>
                  <a:lnTo>
                    <a:pt x="30" y="82"/>
                  </a:lnTo>
                  <a:lnTo>
                    <a:pt x="30" y="78"/>
                  </a:lnTo>
                  <a:lnTo>
                    <a:pt x="34" y="78"/>
                  </a:lnTo>
                  <a:lnTo>
                    <a:pt x="36" y="82"/>
                  </a:lnTo>
                  <a:lnTo>
                    <a:pt x="40" y="86"/>
                  </a:lnTo>
                  <a:lnTo>
                    <a:pt x="36" y="90"/>
                  </a:lnTo>
                  <a:lnTo>
                    <a:pt x="36" y="92"/>
                  </a:lnTo>
                  <a:lnTo>
                    <a:pt x="36" y="92"/>
                  </a:lnTo>
                  <a:lnTo>
                    <a:pt x="36" y="92"/>
                  </a:lnTo>
                  <a:close/>
                  <a:moveTo>
                    <a:pt x="104" y="82"/>
                  </a:moveTo>
                  <a:lnTo>
                    <a:pt x="104" y="86"/>
                  </a:lnTo>
                  <a:lnTo>
                    <a:pt x="100" y="86"/>
                  </a:lnTo>
                  <a:lnTo>
                    <a:pt x="100" y="82"/>
                  </a:lnTo>
                  <a:lnTo>
                    <a:pt x="100" y="78"/>
                  </a:lnTo>
                  <a:lnTo>
                    <a:pt x="104" y="82"/>
                  </a:lnTo>
                  <a:lnTo>
                    <a:pt x="104" y="82"/>
                  </a:lnTo>
                  <a:lnTo>
                    <a:pt x="104" y="82"/>
                  </a:lnTo>
                  <a:close/>
                  <a:moveTo>
                    <a:pt x="134" y="86"/>
                  </a:moveTo>
                  <a:lnTo>
                    <a:pt x="134" y="90"/>
                  </a:lnTo>
                  <a:lnTo>
                    <a:pt x="134" y="86"/>
                  </a:lnTo>
                  <a:lnTo>
                    <a:pt x="130" y="86"/>
                  </a:lnTo>
                  <a:lnTo>
                    <a:pt x="130" y="82"/>
                  </a:lnTo>
                  <a:lnTo>
                    <a:pt x="134" y="82"/>
                  </a:lnTo>
                  <a:lnTo>
                    <a:pt x="134" y="86"/>
                  </a:lnTo>
                  <a:lnTo>
                    <a:pt x="134" y="86"/>
                  </a:lnTo>
                  <a:lnTo>
                    <a:pt x="134" y="86"/>
                  </a:lnTo>
                  <a:close/>
                  <a:moveTo>
                    <a:pt x="126" y="82"/>
                  </a:moveTo>
                  <a:lnTo>
                    <a:pt x="126" y="86"/>
                  </a:lnTo>
                  <a:lnTo>
                    <a:pt x="122" y="86"/>
                  </a:lnTo>
                  <a:lnTo>
                    <a:pt x="122" y="82"/>
                  </a:lnTo>
                  <a:lnTo>
                    <a:pt x="126" y="82"/>
                  </a:lnTo>
                  <a:lnTo>
                    <a:pt x="126" y="82"/>
                  </a:lnTo>
                  <a:lnTo>
                    <a:pt x="126" y="82"/>
                  </a:lnTo>
                  <a:close/>
                  <a:moveTo>
                    <a:pt x="110" y="90"/>
                  </a:moveTo>
                  <a:lnTo>
                    <a:pt x="110" y="86"/>
                  </a:lnTo>
                  <a:lnTo>
                    <a:pt x="106" y="86"/>
                  </a:lnTo>
                  <a:lnTo>
                    <a:pt x="106" y="82"/>
                  </a:lnTo>
                  <a:lnTo>
                    <a:pt x="110" y="82"/>
                  </a:lnTo>
                  <a:lnTo>
                    <a:pt x="110" y="86"/>
                  </a:lnTo>
                  <a:lnTo>
                    <a:pt x="114" y="86"/>
                  </a:lnTo>
                  <a:lnTo>
                    <a:pt x="114" y="90"/>
                  </a:lnTo>
                  <a:lnTo>
                    <a:pt x="110" y="90"/>
                  </a:lnTo>
                  <a:lnTo>
                    <a:pt x="110" y="90"/>
                  </a:lnTo>
                  <a:lnTo>
                    <a:pt x="110" y="90"/>
                  </a:lnTo>
                  <a:close/>
                  <a:moveTo>
                    <a:pt x="110" y="90"/>
                  </a:moveTo>
                  <a:lnTo>
                    <a:pt x="106" y="90"/>
                  </a:lnTo>
                  <a:lnTo>
                    <a:pt x="104" y="90"/>
                  </a:lnTo>
                  <a:lnTo>
                    <a:pt x="104" y="86"/>
                  </a:lnTo>
                  <a:lnTo>
                    <a:pt x="104" y="82"/>
                  </a:lnTo>
                  <a:lnTo>
                    <a:pt x="104" y="86"/>
                  </a:lnTo>
                  <a:lnTo>
                    <a:pt x="106" y="86"/>
                  </a:lnTo>
                  <a:lnTo>
                    <a:pt x="110" y="86"/>
                  </a:lnTo>
                  <a:lnTo>
                    <a:pt x="110" y="90"/>
                  </a:lnTo>
                  <a:lnTo>
                    <a:pt x="110" y="90"/>
                  </a:lnTo>
                  <a:lnTo>
                    <a:pt x="110" y="90"/>
                  </a:lnTo>
                  <a:close/>
                  <a:moveTo>
                    <a:pt x="118" y="86"/>
                  </a:moveTo>
                  <a:lnTo>
                    <a:pt x="114" y="86"/>
                  </a:lnTo>
                  <a:lnTo>
                    <a:pt x="114" y="82"/>
                  </a:lnTo>
                  <a:lnTo>
                    <a:pt x="114" y="86"/>
                  </a:lnTo>
                  <a:lnTo>
                    <a:pt x="118" y="86"/>
                  </a:lnTo>
                  <a:lnTo>
                    <a:pt x="118" y="86"/>
                  </a:lnTo>
                  <a:lnTo>
                    <a:pt x="118" y="86"/>
                  </a:lnTo>
                  <a:close/>
                  <a:moveTo>
                    <a:pt x="126" y="90"/>
                  </a:moveTo>
                  <a:lnTo>
                    <a:pt x="126" y="86"/>
                  </a:lnTo>
                  <a:lnTo>
                    <a:pt x="130" y="90"/>
                  </a:lnTo>
                  <a:lnTo>
                    <a:pt x="126" y="90"/>
                  </a:lnTo>
                  <a:lnTo>
                    <a:pt x="126" y="90"/>
                  </a:lnTo>
                  <a:lnTo>
                    <a:pt x="126" y="90"/>
                  </a:lnTo>
                  <a:close/>
                  <a:moveTo>
                    <a:pt x="118" y="90"/>
                  </a:moveTo>
                  <a:lnTo>
                    <a:pt x="118" y="92"/>
                  </a:lnTo>
                  <a:lnTo>
                    <a:pt x="114" y="92"/>
                  </a:lnTo>
                  <a:lnTo>
                    <a:pt x="114" y="90"/>
                  </a:lnTo>
                  <a:lnTo>
                    <a:pt x="114" y="86"/>
                  </a:lnTo>
                  <a:lnTo>
                    <a:pt x="114" y="90"/>
                  </a:lnTo>
                  <a:lnTo>
                    <a:pt x="118" y="90"/>
                  </a:lnTo>
                  <a:lnTo>
                    <a:pt x="118" y="90"/>
                  </a:lnTo>
                  <a:lnTo>
                    <a:pt x="118" y="90"/>
                  </a:lnTo>
                  <a:close/>
                  <a:moveTo>
                    <a:pt x="134" y="100"/>
                  </a:moveTo>
                  <a:lnTo>
                    <a:pt x="134" y="96"/>
                  </a:lnTo>
                  <a:lnTo>
                    <a:pt x="134" y="100"/>
                  </a:lnTo>
                  <a:lnTo>
                    <a:pt x="134" y="100"/>
                  </a:lnTo>
                  <a:lnTo>
                    <a:pt x="134" y="100"/>
                  </a:lnTo>
                  <a:close/>
                  <a:moveTo>
                    <a:pt x="50" y="100"/>
                  </a:moveTo>
                  <a:lnTo>
                    <a:pt x="48" y="100"/>
                  </a:lnTo>
                  <a:lnTo>
                    <a:pt x="50" y="100"/>
                  </a:lnTo>
                  <a:lnTo>
                    <a:pt x="50" y="100"/>
                  </a:lnTo>
                  <a:lnTo>
                    <a:pt x="50" y="100"/>
                  </a:lnTo>
                  <a:close/>
                  <a:moveTo>
                    <a:pt x="136" y="108"/>
                  </a:moveTo>
                  <a:lnTo>
                    <a:pt x="134" y="108"/>
                  </a:lnTo>
                  <a:lnTo>
                    <a:pt x="134" y="104"/>
                  </a:lnTo>
                  <a:lnTo>
                    <a:pt x="134" y="108"/>
                  </a:lnTo>
                  <a:lnTo>
                    <a:pt x="130" y="108"/>
                  </a:lnTo>
                  <a:lnTo>
                    <a:pt x="130" y="104"/>
                  </a:lnTo>
                  <a:lnTo>
                    <a:pt x="134" y="104"/>
                  </a:lnTo>
                  <a:lnTo>
                    <a:pt x="134" y="100"/>
                  </a:lnTo>
                  <a:lnTo>
                    <a:pt x="134" y="104"/>
                  </a:lnTo>
                  <a:lnTo>
                    <a:pt x="136" y="104"/>
                  </a:lnTo>
                  <a:lnTo>
                    <a:pt x="136" y="108"/>
                  </a:lnTo>
                  <a:lnTo>
                    <a:pt x="136" y="108"/>
                  </a:lnTo>
                  <a:lnTo>
                    <a:pt x="136" y="108"/>
                  </a:lnTo>
                  <a:close/>
                  <a:moveTo>
                    <a:pt x="48" y="108"/>
                  </a:moveTo>
                  <a:lnTo>
                    <a:pt x="44" y="104"/>
                  </a:lnTo>
                  <a:lnTo>
                    <a:pt x="44" y="100"/>
                  </a:lnTo>
                  <a:lnTo>
                    <a:pt x="44" y="104"/>
                  </a:lnTo>
                  <a:lnTo>
                    <a:pt x="48" y="104"/>
                  </a:lnTo>
                  <a:lnTo>
                    <a:pt x="48" y="108"/>
                  </a:lnTo>
                  <a:lnTo>
                    <a:pt x="48" y="108"/>
                  </a:lnTo>
                  <a:lnTo>
                    <a:pt x="48" y="108"/>
                  </a:lnTo>
                  <a:close/>
                  <a:moveTo>
                    <a:pt x="502" y="112"/>
                  </a:moveTo>
                  <a:lnTo>
                    <a:pt x="502" y="108"/>
                  </a:lnTo>
                  <a:lnTo>
                    <a:pt x="498" y="108"/>
                  </a:lnTo>
                  <a:lnTo>
                    <a:pt x="494" y="108"/>
                  </a:lnTo>
                  <a:lnTo>
                    <a:pt x="494" y="104"/>
                  </a:lnTo>
                  <a:lnTo>
                    <a:pt x="498" y="108"/>
                  </a:lnTo>
                  <a:lnTo>
                    <a:pt x="498" y="104"/>
                  </a:lnTo>
                  <a:lnTo>
                    <a:pt x="494" y="104"/>
                  </a:lnTo>
                  <a:lnTo>
                    <a:pt x="498" y="104"/>
                  </a:lnTo>
                  <a:lnTo>
                    <a:pt x="502" y="104"/>
                  </a:lnTo>
                  <a:lnTo>
                    <a:pt x="506" y="104"/>
                  </a:lnTo>
                  <a:lnTo>
                    <a:pt x="510" y="104"/>
                  </a:lnTo>
                  <a:lnTo>
                    <a:pt x="510" y="108"/>
                  </a:lnTo>
                  <a:lnTo>
                    <a:pt x="506" y="108"/>
                  </a:lnTo>
                  <a:lnTo>
                    <a:pt x="502" y="104"/>
                  </a:lnTo>
                  <a:lnTo>
                    <a:pt x="502" y="108"/>
                  </a:lnTo>
                  <a:lnTo>
                    <a:pt x="506" y="108"/>
                  </a:lnTo>
                  <a:lnTo>
                    <a:pt x="506" y="112"/>
                  </a:lnTo>
                  <a:lnTo>
                    <a:pt x="502" y="112"/>
                  </a:lnTo>
                  <a:lnTo>
                    <a:pt x="502" y="112"/>
                  </a:lnTo>
                  <a:lnTo>
                    <a:pt x="502" y="112"/>
                  </a:lnTo>
                  <a:close/>
                  <a:moveTo>
                    <a:pt x="48" y="112"/>
                  </a:moveTo>
                  <a:lnTo>
                    <a:pt x="44" y="112"/>
                  </a:lnTo>
                  <a:lnTo>
                    <a:pt x="44" y="108"/>
                  </a:lnTo>
                  <a:lnTo>
                    <a:pt x="48" y="108"/>
                  </a:lnTo>
                  <a:lnTo>
                    <a:pt x="48" y="112"/>
                  </a:lnTo>
                  <a:lnTo>
                    <a:pt x="48" y="112"/>
                  </a:lnTo>
                  <a:lnTo>
                    <a:pt x="48" y="112"/>
                  </a:lnTo>
                  <a:close/>
                  <a:moveTo>
                    <a:pt x="458" y="108"/>
                  </a:moveTo>
                  <a:lnTo>
                    <a:pt x="460" y="112"/>
                  </a:lnTo>
                  <a:lnTo>
                    <a:pt x="458" y="112"/>
                  </a:lnTo>
                  <a:lnTo>
                    <a:pt x="458" y="116"/>
                  </a:lnTo>
                  <a:lnTo>
                    <a:pt x="460" y="116"/>
                  </a:lnTo>
                  <a:lnTo>
                    <a:pt x="460" y="120"/>
                  </a:lnTo>
                  <a:lnTo>
                    <a:pt x="460" y="116"/>
                  </a:lnTo>
                  <a:lnTo>
                    <a:pt x="458" y="116"/>
                  </a:lnTo>
                  <a:lnTo>
                    <a:pt x="454" y="112"/>
                  </a:lnTo>
                  <a:lnTo>
                    <a:pt x="454" y="108"/>
                  </a:lnTo>
                  <a:lnTo>
                    <a:pt x="458" y="108"/>
                  </a:lnTo>
                  <a:lnTo>
                    <a:pt x="458" y="108"/>
                  </a:lnTo>
                  <a:lnTo>
                    <a:pt x="458" y="108"/>
                  </a:lnTo>
                  <a:close/>
                  <a:moveTo>
                    <a:pt x="134" y="108"/>
                  </a:moveTo>
                  <a:lnTo>
                    <a:pt x="134" y="112"/>
                  </a:lnTo>
                  <a:lnTo>
                    <a:pt x="130" y="112"/>
                  </a:lnTo>
                  <a:lnTo>
                    <a:pt x="130" y="108"/>
                  </a:lnTo>
                  <a:lnTo>
                    <a:pt x="134" y="108"/>
                  </a:lnTo>
                  <a:lnTo>
                    <a:pt x="134" y="108"/>
                  </a:lnTo>
                  <a:lnTo>
                    <a:pt x="134" y="108"/>
                  </a:lnTo>
                  <a:close/>
                  <a:moveTo>
                    <a:pt x="622" y="226"/>
                  </a:moveTo>
                  <a:lnTo>
                    <a:pt x="622" y="222"/>
                  </a:lnTo>
                  <a:lnTo>
                    <a:pt x="622" y="226"/>
                  </a:lnTo>
                  <a:lnTo>
                    <a:pt x="618" y="222"/>
                  </a:lnTo>
                  <a:lnTo>
                    <a:pt x="614" y="220"/>
                  </a:lnTo>
                  <a:lnTo>
                    <a:pt x="618" y="220"/>
                  </a:lnTo>
                  <a:lnTo>
                    <a:pt x="622" y="220"/>
                  </a:lnTo>
                  <a:lnTo>
                    <a:pt x="622" y="222"/>
                  </a:lnTo>
                  <a:lnTo>
                    <a:pt x="622" y="220"/>
                  </a:lnTo>
                  <a:lnTo>
                    <a:pt x="618" y="220"/>
                  </a:lnTo>
                  <a:lnTo>
                    <a:pt x="614" y="216"/>
                  </a:lnTo>
                  <a:lnTo>
                    <a:pt x="614" y="212"/>
                  </a:lnTo>
                  <a:lnTo>
                    <a:pt x="610" y="212"/>
                  </a:lnTo>
                  <a:lnTo>
                    <a:pt x="610" y="208"/>
                  </a:lnTo>
                  <a:lnTo>
                    <a:pt x="610" y="204"/>
                  </a:lnTo>
                  <a:lnTo>
                    <a:pt x="610" y="200"/>
                  </a:lnTo>
                  <a:lnTo>
                    <a:pt x="606" y="200"/>
                  </a:lnTo>
                  <a:lnTo>
                    <a:pt x="610" y="200"/>
                  </a:lnTo>
                  <a:lnTo>
                    <a:pt x="610" y="196"/>
                  </a:lnTo>
                  <a:lnTo>
                    <a:pt x="610" y="200"/>
                  </a:lnTo>
                  <a:lnTo>
                    <a:pt x="606" y="200"/>
                  </a:lnTo>
                  <a:lnTo>
                    <a:pt x="606" y="196"/>
                  </a:lnTo>
                  <a:lnTo>
                    <a:pt x="606" y="194"/>
                  </a:lnTo>
                  <a:lnTo>
                    <a:pt x="606" y="196"/>
                  </a:lnTo>
                  <a:lnTo>
                    <a:pt x="602" y="194"/>
                  </a:lnTo>
                  <a:lnTo>
                    <a:pt x="600" y="190"/>
                  </a:lnTo>
                  <a:lnTo>
                    <a:pt x="596" y="190"/>
                  </a:lnTo>
                  <a:lnTo>
                    <a:pt x="596" y="186"/>
                  </a:lnTo>
                  <a:lnTo>
                    <a:pt x="592" y="186"/>
                  </a:lnTo>
                  <a:lnTo>
                    <a:pt x="588" y="186"/>
                  </a:lnTo>
                  <a:lnTo>
                    <a:pt x="584" y="182"/>
                  </a:lnTo>
                  <a:lnTo>
                    <a:pt x="580" y="182"/>
                  </a:lnTo>
                  <a:lnTo>
                    <a:pt x="576" y="182"/>
                  </a:lnTo>
                  <a:lnTo>
                    <a:pt x="576" y="178"/>
                  </a:lnTo>
                  <a:lnTo>
                    <a:pt x="572" y="178"/>
                  </a:lnTo>
                  <a:lnTo>
                    <a:pt x="570" y="178"/>
                  </a:lnTo>
                  <a:lnTo>
                    <a:pt x="566" y="178"/>
                  </a:lnTo>
                  <a:lnTo>
                    <a:pt x="562" y="174"/>
                  </a:lnTo>
                  <a:lnTo>
                    <a:pt x="558" y="174"/>
                  </a:lnTo>
                  <a:lnTo>
                    <a:pt x="558" y="170"/>
                  </a:lnTo>
                  <a:lnTo>
                    <a:pt x="562" y="170"/>
                  </a:lnTo>
                  <a:lnTo>
                    <a:pt x="558" y="166"/>
                  </a:lnTo>
                  <a:lnTo>
                    <a:pt x="558" y="170"/>
                  </a:lnTo>
                  <a:lnTo>
                    <a:pt x="554" y="170"/>
                  </a:lnTo>
                  <a:lnTo>
                    <a:pt x="554" y="166"/>
                  </a:lnTo>
                  <a:lnTo>
                    <a:pt x="554" y="170"/>
                  </a:lnTo>
                  <a:lnTo>
                    <a:pt x="550" y="170"/>
                  </a:lnTo>
                  <a:lnTo>
                    <a:pt x="550" y="166"/>
                  </a:lnTo>
                  <a:lnTo>
                    <a:pt x="546" y="166"/>
                  </a:lnTo>
                  <a:lnTo>
                    <a:pt x="546" y="164"/>
                  </a:lnTo>
                  <a:lnTo>
                    <a:pt x="544" y="164"/>
                  </a:lnTo>
                  <a:lnTo>
                    <a:pt x="544" y="160"/>
                  </a:lnTo>
                  <a:lnTo>
                    <a:pt x="544" y="156"/>
                  </a:lnTo>
                  <a:lnTo>
                    <a:pt x="546" y="156"/>
                  </a:lnTo>
                  <a:lnTo>
                    <a:pt x="546" y="152"/>
                  </a:lnTo>
                  <a:lnTo>
                    <a:pt x="544" y="152"/>
                  </a:lnTo>
                  <a:lnTo>
                    <a:pt x="544" y="156"/>
                  </a:lnTo>
                  <a:lnTo>
                    <a:pt x="544" y="160"/>
                  </a:lnTo>
                  <a:lnTo>
                    <a:pt x="544" y="164"/>
                  </a:lnTo>
                  <a:lnTo>
                    <a:pt x="540" y="166"/>
                  </a:lnTo>
                  <a:lnTo>
                    <a:pt x="540" y="170"/>
                  </a:lnTo>
                  <a:lnTo>
                    <a:pt x="536" y="170"/>
                  </a:lnTo>
                  <a:lnTo>
                    <a:pt x="532" y="170"/>
                  </a:lnTo>
                  <a:lnTo>
                    <a:pt x="532" y="166"/>
                  </a:lnTo>
                  <a:lnTo>
                    <a:pt x="532" y="164"/>
                  </a:lnTo>
                  <a:lnTo>
                    <a:pt x="532" y="160"/>
                  </a:lnTo>
                  <a:lnTo>
                    <a:pt x="532" y="156"/>
                  </a:lnTo>
                  <a:lnTo>
                    <a:pt x="532" y="160"/>
                  </a:lnTo>
                  <a:lnTo>
                    <a:pt x="528" y="160"/>
                  </a:lnTo>
                  <a:lnTo>
                    <a:pt x="528" y="156"/>
                  </a:lnTo>
                  <a:lnTo>
                    <a:pt x="528" y="152"/>
                  </a:lnTo>
                  <a:lnTo>
                    <a:pt x="524" y="152"/>
                  </a:lnTo>
                  <a:lnTo>
                    <a:pt x="520" y="152"/>
                  </a:lnTo>
                  <a:lnTo>
                    <a:pt x="520" y="150"/>
                  </a:lnTo>
                  <a:lnTo>
                    <a:pt x="524" y="150"/>
                  </a:lnTo>
                  <a:lnTo>
                    <a:pt x="528" y="150"/>
                  </a:lnTo>
                  <a:lnTo>
                    <a:pt x="532" y="150"/>
                  </a:lnTo>
                  <a:lnTo>
                    <a:pt x="536" y="146"/>
                  </a:lnTo>
                  <a:lnTo>
                    <a:pt x="540" y="146"/>
                  </a:lnTo>
                  <a:lnTo>
                    <a:pt x="544" y="146"/>
                  </a:lnTo>
                  <a:lnTo>
                    <a:pt x="544" y="150"/>
                  </a:lnTo>
                  <a:lnTo>
                    <a:pt x="544" y="146"/>
                  </a:lnTo>
                  <a:lnTo>
                    <a:pt x="546" y="146"/>
                  </a:lnTo>
                  <a:lnTo>
                    <a:pt x="546" y="150"/>
                  </a:lnTo>
                  <a:lnTo>
                    <a:pt x="546" y="146"/>
                  </a:lnTo>
                  <a:lnTo>
                    <a:pt x="546" y="142"/>
                  </a:lnTo>
                  <a:lnTo>
                    <a:pt x="546" y="138"/>
                  </a:lnTo>
                  <a:lnTo>
                    <a:pt x="544" y="142"/>
                  </a:lnTo>
                  <a:lnTo>
                    <a:pt x="540" y="142"/>
                  </a:lnTo>
                  <a:lnTo>
                    <a:pt x="536" y="142"/>
                  </a:lnTo>
                  <a:lnTo>
                    <a:pt x="532" y="142"/>
                  </a:lnTo>
                  <a:lnTo>
                    <a:pt x="528" y="142"/>
                  </a:lnTo>
                  <a:lnTo>
                    <a:pt x="524" y="142"/>
                  </a:lnTo>
                  <a:lnTo>
                    <a:pt x="524" y="138"/>
                  </a:lnTo>
                  <a:lnTo>
                    <a:pt x="520" y="138"/>
                  </a:lnTo>
                  <a:lnTo>
                    <a:pt x="520" y="134"/>
                  </a:lnTo>
                  <a:lnTo>
                    <a:pt x="520" y="130"/>
                  </a:lnTo>
                  <a:lnTo>
                    <a:pt x="516" y="130"/>
                  </a:lnTo>
                  <a:lnTo>
                    <a:pt x="514" y="126"/>
                  </a:lnTo>
                  <a:lnTo>
                    <a:pt x="510" y="126"/>
                  </a:lnTo>
                  <a:lnTo>
                    <a:pt x="506" y="126"/>
                  </a:lnTo>
                  <a:lnTo>
                    <a:pt x="506" y="122"/>
                  </a:lnTo>
                  <a:lnTo>
                    <a:pt x="510" y="122"/>
                  </a:lnTo>
                  <a:lnTo>
                    <a:pt x="510" y="120"/>
                  </a:lnTo>
                  <a:lnTo>
                    <a:pt x="510" y="116"/>
                  </a:lnTo>
                  <a:lnTo>
                    <a:pt x="514" y="116"/>
                  </a:lnTo>
                  <a:lnTo>
                    <a:pt x="516" y="116"/>
                  </a:lnTo>
                  <a:lnTo>
                    <a:pt x="520" y="116"/>
                  </a:lnTo>
                  <a:lnTo>
                    <a:pt x="520" y="112"/>
                  </a:lnTo>
                  <a:lnTo>
                    <a:pt x="524" y="108"/>
                  </a:lnTo>
                  <a:lnTo>
                    <a:pt x="528" y="108"/>
                  </a:lnTo>
                  <a:lnTo>
                    <a:pt x="532" y="108"/>
                  </a:lnTo>
                  <a:lnTo>
                    <a:pt x="532" y="112"/>
                  </a:lnTo>
                  <a:lnTo>
                    <a:pt x="536" y="112"/>
                  </a:lnTo>
                  <a:lnTo>
                    <a:pt x="540" y="112"/>
                  </a:lnTo>
                  <a:lnTo>
                    <a:pt x="540" y="116"/>
                  </a:lnTo>
                  <a:lnTo>
                    <a:pt x="544" y="116"/>
                  </a:lnTo>
                  <a:lnTo>
                    <a:pt x="546" y="116"/>
                  </a:lnTo>
                  <a:lnTo>
                    <a:pt x="550" y="116"/>
                  </a:lnTo>
                  <a:lnTo>
                    <a:pt x="550" y="120"/>
                  </a:lnTo>
                  <a:lnTo>
                    <a:pt x="550" y="122"/>
                  </a:lnTo>
                  <a:lnTo>
                    <a:pt x="554" y="126"/>
                  </a:lnTo>
                  <a:lnTo>
                    <a:pt x="550" y="126"/>
                  </a:lnTo>
                  <a:lnTo>
                    <a:pt x="550" y="130"/>
                  </a:lnTo>
                  <a:lnTo>
                    <a:pt x="550" y="134"/>
                  </a:lnTo>
                  <a:lnTo>
                    <a:pt x="550" y="138"/>
                  </a:lnTo>
                  <a:lnTo>
                    <a:pt x="550" y="142"/>
                  </a:lnTo>
                  <a:lnTo>
                    <a:pt x="550" y="146"/>
                  </a:lnTo>
                  <a:lnTo>
                    <a:pt x="554" y="146"/>
                  </a:lnTo>
                  <a:lnTo>
                    <a:pt x="554" y="150"/>
                  </a:lnTo>
                  <a:lnTo>
                    <a:pt x="554" y="152"/>
                  </a:lnTo>
                  <a:lnTo>
                    <a:pt x="558" y="150"/>
                  </a:lnTo>
                  <a:lnTo>
                    <a:pt x="554" y="150"/>
                  </a:lnTo>
                  <a:lnTo>
                    <a:pt x="554" y="146"/>
                  </a:lnTo>
                  <a:lnTo>
                    <a:pt x="558" y="146"/>
                  </a:lnTo>
                  <a:lnTo>
                    <a:pt x="558" y="150"/>
                  </a:lnTo>
                  <a:lnTo>
                    <a:pt x="558" y="152"/>
                  </a:lnTo>
                  <a:lnTo>
                    <a:pt x="562" y="152"/>
                  </a:lnTo>
                  <a:lnTo>
                    <a:pt x="562" y="156"/>
                  </a:lnTo>
                  <a:lnTo>
                    <a:pt x="562" y="160"/>
                  </a:lnTo>
                  <a:lnTo>
                    <a:pt x="566" y="160"/>
                  </a:lnTo>
                  <a:lnTo>
                    <a:pt x="570" y="160"/>
                  </a:lnTo>
                  <a:lnTo>
                    <a:pt x="570" y="156"/>
                  </a:lnTo>
                  <a:lnTo>
                    <a:pt x="572" y="156"/>
                  </a:lnTo>
                  <a:lnTo>
                    <a:pt x="572" y="152"/>
                  </a:lnTo>
                  <a:lnTo>
                    <a:pt x="576" y="152"/>
                  </a:lnTo>
                  <a:lnTo>
                    <a:pt x="576" y="150"/>
                  </a:lnTo>
                  <a:lnTo>
                    <a:pt x="580" y="150"/>
                  </a:lnTo>
                  <a:lnTo>
                    <a:pt x="580" y="146"/>
                  </a:lnTo>
                  <a:lnTo>
                    <a:pt x="580" y="142"/>
                  </a:lnTo>
                  <a:lnTo>
                    <a:pt x="584" y="142"/>
                  </a:lnTo>
                  <a:lnTo>
                    <a:pt x="588" y="142"/>
                  </a:lnTo>
                  <a:lnTo>
                    <a:pt x="592" y="138"/>
                  </a:lnTo>
                  <a:lnTo>
                    <a:pt x="596" y="138"/>
                  </a:lnTo>
                  <a:lnTo>
                    <a:pt x="596" y="134"/>
                  </a:lnTo>
                  <a:lnTo>
                    <a:pt x="592" y="134"/>
                  </a:lnTo>
                  <a:lnTo>
                    <a:pt x="596" y="134"/>
                  </a:lnTo>
                  <a:lnTo>
                    <a:pt x="596" y="130"/>
                  </a:lnTo>
                  <a:lnTo>
                    <a:pt x="600" y="130"/>
                  </a:lnTo>
                  <a:lnTo>
                    <a:pt x="602" y="126"/>
                  </a:lnTo>
                  <a:lnTo>
                    <a:pt x="606" y="126"/>
                  </a:lnTo>
                  <a:lnTo>
                    <a:pt x="606" y="130"/>
                  </a:lnTo>
                  <a:lnTo>
                    <a:pt x="610" y="130"/>
                  </a:lnTo>
                  <a:lnTo>
                    <a:pt x="614" y="134"/>
                  </a:lnTo>
                  <a:lnTo>
                    <a:pt x="618" y="134"/>
                  </a:lnTo>
                  <a:lnTo>
                    <a:pt x="618" y="138"/>
                  </a:lnTo>
                  <a:lnTo>
                    <a:pt x="622" y="138"/>
                  </a:lnTo>
                  <a:lnTo>
                    <a:pt x="626" y="138"/>
                  </a:lnTo>
                  <a:lnTo>
                    <a:pt x="626" y="142"/>
                  </a:lnTo>
                  <a:lnTo>
                    <a:pt x="628" y="142"/>
                  </a:lnTo>
                  <a:lnTo>
                    <a:pt x="632" y="142"/>
                  </a:lnTo>
                  <a:lnTo>
                    <a:pt x="636" y="142"/>
                  </a:lnTo>
                  <a:lnTo>
                    <a:pt x="636" y="146"/>
                  </a:lnTo>
                  <a:lnTo>
                    <a:pt x="640" y="146"/>
                  </a:lnTo>
                  <a:lnTo>
                    <a:pt x="644" y="146"/>
                  </a:lnTo>
                  <a:lnTo>
                    <a:pt x="644" y="150"/>
                  </a:lnTo>
                  <a:lnTo>
                    <a:pt x="644" y="146"/>
                  </a:lnTo>
                  <a:lnTo>
                    <a:pt x="648" y="146"/>
                  </a:lnTo>
                  <a:lnTo>
                    <a:pt x="648" y="186"/>
                  </a:lnTo>
                  <a:lnTo>
                    <a:pt x="648" y="204"/>
                  </a:lnTo>
                  <a:lnTo>
                    <a:pt x="648" y="212"/>
                  </a:lnTo>
                  <a:lnTo>
                    <a:pt x="648" y="216"/>
                  </a:lnTo>
                  <a:lnTo>
                    <a:pt x="648" y="220"/>
                  </a:lnTo>
                  <a:lnTo>
                    <a:pt x="648" y="256"/>
                  </a:lnTo>
                  <a:lnTo>
                    <a:pt x="644" y="256"/>
                  </a:lnTo>
                  <a:lnTo>
                    <a:pt x="644" y="252"/>
                  </a:lnTo>
                  <a:lnTo>
                    <a:pt x="640" y="250"/>
                  </a:lnTo>
                  <a:lnTo>
                    <a:pt x="640" y="246"/>
                  </a:lnTo>
                  <a:lnTo>
                    <a:pt x="636" y="246"/>
                  </a:lnTo>
                  <a:lnTo>
                    <a:pt x="632" y="242"/>
                  </a:lnTo>
                  <a:lnTo>
                    <a:pt x="636" y="242"/>
                  </a:lnTo>
                  <a:lnTo>
                    <a:pt x="636" y="238"/>
                  </a:lnTo>
                  <a:lnTo>
                    <a:pt x="632" y="238"/>
                  </a:lnTo>
                  <a:lnTo>
                    <a:pt x="632" y="242"/>
                  </a:lnTo>
                  <a:lnTo>
                    <a:pt x="628" y="242"/>
                  </a:lnTo>
                  <a:lnTo>
                    <a:pt x="626" y="242"/>
                  </a:lnTo>
                  <a:lnTo>
                    <a:pt x="622" y="242"/>
                  </a:lnTo>
                  <a:lnTo>
                    <a:pt x="618" y="242"/>
                  </a:lnTo>
                  <a:lnTo>
                    <a:pt x="618" y="246"/>
                  </a:lnTo>
                  <a:lnTo>
                    <a:pt x="618" y="242"/>
                  </a:lnTo>
                  <a:lnTo>
                    <a:pt x="618" y="238"/>
                  </a:lnTo>
                  <a:lnTo>
                    <a:pt x="622" y="234"/>
                  </a:lnTo>
                  <a:lnTo>
                    <a:pt x="618" y="234"/>
                  </a:lnTo>
                  <a:lnTo>
                    <a:pt x="622" y="234"/>
                  </a:lnTo>
                  <a:lnTo>
                    <a:pt x="622" y="230"/>
                  </a:lnTo>
                  <a:lnTo>
                    <a:pt x="618" y="230"/>
                  </a:lnTo>
                  <a:lnTo>
                    <a:pt x="618" y="226"/>
                  </a:lnTo>
                  <a:lnTo>
                    <a:pt x="614" y="226"/>
                  </a:lnTo>
                  <a:lnTo>
                    <a:pt x="614" y="222"/>
                  </a:lnTo>
                  <a:lnTo>
                    <a:pt x="618" y="226"/>
                  </a:lnTo>
                  <a:lnTo>
                    <a:pt x="622" y="226"/>
                  </a:lnTo>
                  <a:lnTo>
                    <a:pt x="622" y="226"/>
                  </a:lnTo>
                  <a:lnTo>
                    <a:pt x="622" y="226"/>
                  </a:lnTo>
                  <a:close/>
                  <a:moveTo>
                    <a:pt x="502" y="108"/>
                  </a:moveTo>
                  <a:lnTo>
                    <a:pt x="502" y="112"/>
                  </a:lnTo>
                  <a:lnTo>
                    <a:pt x="498" y="112"/>
                  </a:lnTo>
                  <a:lnTo>
                    <a:pt x="502" y="108"/>
                  </a:lnTo>
                  <a:lnTo>
                    <a:pt x="502" y="108"/>
                  </a:lnTo>
                  <a:lnTo>
                    <a:pt x="502" y="108"/>
                  </a:lnTo>
                  <a:close/>
                  <a:moveTo>
                    <a:pt x="570" y="116"/>
                  </a:moveTo>
                  <a:lnTo>
                    <a:pt x="572" y="116"/>
                  </a:lnTo>
                  <a:lnTo>
                    <a:pt x="576" y="116"/>
                  </a:lnTo>
                  <a:lnTo>
                    <a:pt x="576" y="120"/>
                  </a:lnTo>
                  <a:lnTo>
                    <a:pt x="580" y="120"/>
                  </a:lnTo>
                  <a:lnTo>
                    <a:pt x="580" y="122"/>
                  </a:lnTo>
                  <a:lnTo>
                    <a:pt x="584" y="122"/>
                  </a:lnTo>
                  <a:lnTo>
                    <a:pt x="580" y="122"/>
                  </a:lnTo>
                  <a:lnTo>
                    <a:pt x="576" y="122"/>
                  </a:lnTo>
                  <a:lnTo>
                    <a:pt x="572" y="122"/>
                  </a:lnTo>
                  <a:lnTo>
                    <a:pt x="572" y="120"/>
                  </a:lnTo>
                  <a:lnTo>
                    <a:pt x="572" y="116"/>
                  </a:lnTo>
                  <a:lnTo>
                    <a:pt x="570" y="116"/>
                  </a:lnTo>
                  <a:lnTo>
                    <a:pt x="570" y="112"/>
                  </a:lnTo>
                  <a:lnTo>
                    <a:pt x="570" y="116"/>
                  </a:lnTo>
                  <a:lnTo>
                    <a:pt x="570" y="116"/>
                  </a:lnTo>
                  <a:lnTo>
                    <a:pt x="570" y="116"/>
                  </a:lnTo>
                  <a:close/>
                  <a:moveTo>
                    <a:pt x="506" y="116"/>
                  </a:moveTo>
                  <a:lnTo>
                    <a:pt x="502" y="120"/>
                  </a:lnTo>
                  <a:lnTo>
                    <a:pt x="498" y="120"/>
                  </a:lnTo>
                  <a:lnTo>
                    <a:pt x="498" y="116"/>
                  </a:lnTo>
                  <a:lnTo>
                    <a:pt x="502" y="116"/>
                  </a:lnTo>
                  <a:lnTo>
                    <a:pt x="506" y="116"/>
                  </a:lnTo>
                  <a:lnTo>
                    <a:pt x="506" y="116"/>
                  </a:lnTo>
                  <a:lnTo>
                    <a:pt x="506" y="116"/>
                  </a:lnTo>
                  <a:close/>
                  <a:moveTo>
                    <a:pt x="506" y="120"/>
                  </a:moveTo>
                  <a:lnTo>
                    <a:pt x="506" y="122"/>
                  </a:lnTo>
                  <a:lnTo>
                    <a:pt x="506" y="126"/>
                  </a:lnTo>
                  <a:lnTo>
                    <a:pt x="502" y="122"/>
                  </a:lnTo>
                  <a:lnTo>
                    <a:pt x="502" y="120"/>
                  </a:lnTo>
                  <a:lnTo>
                    <a:pt x="506" y="120"/>
                  </a:lnTo>
                  <a:lnTo>
                    <a:pt x="506" y="120"/>
                  </a:lnTo>
                  <a:lnTo>
                    <a:pt x="506" y="120"/>
                  </a:lnTo>
                  <a:close/>
                  <a:moveTo>
                    <a:pt x="58" y="130"/>
                  </a:moveTo>
                  <a:lnTo>
                    <a:pt x="54" y="130"/>
                  </a:lnTo>
                  <a:lnTo>
                    <a:pt x="58" y="130"/>
                  </a:lnTo>
                  <a:lnTo>
                    <a:pt x="58" y="134"/>
                  </a:lnTo>
                  <a:lnTo>
                    <a:pt x="54" y="134"/>
                  </a:lnTo>
                  <a:lnTo>
                    <a:pt x="50" y="130"/>
                  </a:lnTo>
                  <a:lnTo>
                    <a:pt x="50" y="126"/>
                  </a:lnTo>
                  <a:lnTo>
                    <a:pt x="48" y="122"/>
                  </a:lnTo>
                  <a:lnTo>
                    <a:pt x="48" y="120"/>
                  </a:lnTo>
                  <a:lnTo>
                    <a:pt x="50" y="120"/>
                  </a:lnTo>
                  <a:lnTo>
                    <a:pt x="54" y="122"/>
                  </a:lnTo>
                  <a:lnTo>
                    <a:pt x="54" y="126"/>
                  </a:lnTo>
                  <a:lnTo>
                    <a:pt x="58" y="130"/>
                  </a:lnTo>
                  <a:lnTo>
                    <a:pt x="58" y="130"/>
                  </a:lnTo>
                  <a:lnTo>
                    <a:pt x="58" y="130"/>
                  </a:lnTo>
                  <a:close/>
                  <a:moveTo>
                    <a:pt x="208" y="120"/>
                  </a:moveTo>
                  <a:lnTo>
                    <a:pt x="208" y="122"/>
                  </a:lnTo>
                  <a:lnTo>
                    <a:pt x="204" y="122"/>
                  </a:lnTo>
                  <a:lnTo>
                    <a:pt x="200" y="122"/>
                  </a:lnTo>
                  <a:lnTo>
                    <a:pt x="200" y="120"/>
                  </a:lnTo>
                  <a:lnTo>
                    <a:pt x="204" y="120"/>
                  </a:lnTo>
                  <a:lnTo>
                    <a:pt x="208" y="120"/>
                  </a:lnTo>
                  <a:lnTo>
                    <a:pt x="208" y="120"/>
                  </a:lnTo>
                  <a:lnTo>
                    <a:pt x="208" y="120"/>
                  </a:lnTo>
                  <a:close/>
                  <a:moveTo>
                    <a:pt x="490" y="122"/>
                  </a:moveTo>
                  <a:lnTo>
                    <a:pt x="488" y="122"/>
                  </a:lnTo>
                  <a:lnTo>
                    <a:pt x="490" y="122"/>
                  </a:lnTo>
                  <a:lnTo>
                    <a:pt x="490" y="122"/>
                  </a:lnTo>
                  <a:lnTo>
                    <a:pt x="490" y="122"/>
                  </a:lnTo>
                  <a:close/>
                  <a:moveTo>
                    <a:pt x="402" y="122"/>
                  </a:moveTo>
                  <a:lnTo>
                    <a:pt x="402" y="126"/>
                  </a:lnTo>
                  <a:lnTo>
                    <a:pt x="398" y="126"/>
                  </a:lnTo>
                  <a:lnTo>
                    <a:pt x="398" y="130"/>
                  </a:lnTo>
                  <a:lnTo>
                    <a:pt x="394" y="130"/>
                  </a:lnTo>
                  <a:lnTo>
                    <a:pt x="394" y="126"/>
                  </a:lnTo>
                  <a:lnTo>
                    <a:pt x="394" y="130"/>
                  </a:lnTo>
                  <a:lnTo>
                    <a:pt x="390" y="130"/>
                  </a:lnTo>
                  <a:lnTo>
                    <a:pt x="390" y="126"/>
                  </a:lnTo>
                  <a:lnTo>
                    <a:pt x="390" y="122"/>
                  </a:lnTo>
                  <a:lnTo>
                    <a:pt x="394" y="122"/>
                  </a:lnTo>
                  <a:lnTo>
                    <a:pt x="398" y="122"/>
                  </a:lnTo>
                  <a:lnTo>
                    <a:pt x="398" y="126"/>
                  </a:lnTo>
                  <a:lnTo>
                    <a:pt x="398" y="122"/>
                  </a:lnTo>
                  <a:lnTo>
                    <a:pt x="402" y="122"/>
                  </a:lnTo>
                  <a:lnTo>
                    <a:pt x="402" y="122"/>
                  </a:lnTo>
                  <a:lnTo>
                    <a:pt x="402" y="122"/>
                  </a:lnTo>
                  <a:close/>
                  <a:moveTo>
                    <a:pt x="464" y="130"/>
                  </a:moveTo>
                  <a:lnTo>
                    <a:pt x="460" y="130"/>
                  </a:lnTo>
                  <a:lnTo>
                    <a:pt x="458" y="130"/>
                  </a:lnTo>
                  <a:lnTo>
                    <a:pt x="454" y="130"/>
                  </a:lnTo>
                  <a:lnTo>
                    <a:pt x="454" y="126"/>
                  </a:lnTo>
                  <a:lnTo>
                    <a:pt x="458" y="126"/>
                  </a:lnTo>
                  <a:lnTo>
                    <a:pt x="460" y="126"/>
                  </a:lnTo>
                  <a:lnTo>
                    <a:pt x="464" y="130"/>
                  </a:lnTo>
                  <a:lnTo>
                    <a:pt x="464" y="130"/>
                  </a:lnTo>
                  <a:lnTo>
                    <a:pt x="464" y="130"/>
                  </a:lnTo>
                  <a:close/>
                  <a:moveTo>
                    <a:pt x="160" y="152"/>
                  </a:moveTo>
                  <a:lnTo>
                    <a:pt x="156" y="152"/>
                  </a:lnTo>
                  <a:lnTo>
                    <a:pt x="152" y="150"/>
                  </a:lnTo>
                  <a:lnTo>
                    <a:pt x="152" y="146"/>
                  </a:lnTo>
                  <a:lnTo>
                    <a:pt x="152" y="142"/>
                  </a:lnTo>
                  <a:lnTo>
                    <a:pt x="148" y="138"/>
                  </a:lnTo>
                  <a:lnTo>
                    <a:pt x="144" y="138"/>
                  </a:lnTo>
                  <a:lnTo>
                    <a:pt x="140" y="138"/>
                  </a:lnTo>
                  <a:lnTo>
                    <a:pt x="140" y="134"/>
                  </a:lnTo>
                  <a:lnTo>
                    <a:pt x="144" y="134"/>
                  </a:lnTo>
                  <a:lnTo>
                    <a:pt x="144" y="130"/>
                  </a:lnTo>
                  <a:lnTo>
                    <a:pt x="148" y="130"/>
                  </a:lnTo>
                  <a:lnTo>
                    <a:pt x="148" y="134"/>
                  </a:lnTo>
                  <a:lnTo>
                    <a:pt x="152" y="134"/>
                  </a:lnTo>
                  <a:lnTo>
                    <a:pt x="148" y="130"/>
                  </a:lnTo>
                  <a:lnTo>
                    <a:pt x="152" y="126"/>
                  </a:lnTo>
                  <a:lnTo>
                    <a:pt x="152" y="130"/>
                  </a:lnTo>
                  <a:lnTo>
                    <a:pt x="156" y="134"/>
                  </a:lnTo>
                  <a:lnTo>
                    <a:pt x="156" y="138"/>
                  </a:lnTo>
                  <a:lnTo>
                    <a:pt x="156" y="142"/>
                  </a:lnTo>
                  <a:lnTo>
                    <a:pt x="156" y="146"/>
                  </a:lnTo>
                  <a:lnTo>
                    <a:pt x="160" y="146"/>
                  </a:lnTo>
                  <a:lnTo>
                    <a:pt x="164" y="146"/>
                  </a:lnTo>
                  <a:lnTo>
                    <a:pt x="164" y="150"/>
                  </a:lnTo>
                  <a:lnTo>
                    <a:pt x="164" y="152"/>
                  </a:lnTo>
                  <a:lnTo>
                    <a:pt x="164" y="156"/>
                  </a:lnTo>
                  <a:lnTo>
                    <a:pt x="160" y="156"/>
                  </a:lnTo>
                  <a:lnTo>
                    <a:pt x="160" y="152"/>
                  </a:lnTo>
                  <a:lnTo>
                    <a:pt x="160" y="152"/>
                  </a:lnTo>
                  <a:lnTo>
                    <a:pt x="160" y="152"/>
                  </a:lnTo>
                  <a:close/>
                  <a:moveTo>
                    <a:pt x="192" y="130"/>
                  </a:moveTo>
                  <a:lnTo>
                    <a:pt x="196" y="130"/>
                  </a:lnTo>
                  <a:lnTo>
                    <a:pt x="192" y="130"/>
                  </a:lnTo>
                  <a:lnTo>
                    <a:pt x="192" y="130"/>
                  </a:lnTo>
                  <a:lnTo>
                    <a:pt x="192" y="130"/>
                  </a:lnTo>
                  <a:close/>
                  <a:moveTo>
                    <a:pt x="570" y="130"/>
                  </a:moveTo>
                  <a:lnTo>
                    <a:pt x="572" y="130"/>
                  </a:lnTo>
                  <a:lnTo>
                    <a:pt x="576" y="130"/>
                  </a:lnTo>
                  <a:lnTo>
                    <a:pt x="580" y="130"/>
                  </a:lnTo>
                  <a:lnTo>
                    <a:pt x="584" y="130"/>
                  </a:lnTo>
                  <a:lnTo>
                    <a:pt x="588" y="130"/>
                  </a:lnTo>
                  <a:lnTo>
                    <a:pt x="588" y="134"/>
                  </a:lnTo>
                  <a:lnTo>
                    <a:pt x="592" y="134"/>
                  </a:lnTo>
                  <a:lnTo>
                    <a:pt x="588" y="134"/>
                  </a:lnTo>
                  <a:lnTo>
                    <a:pt x="584" y="134"/>
                  </a:lnTo>
                  <a:lnTo>
                    <a:pt x="580" y="134"/>
                  </a:lnTo>
                  <a:lnTo>
                    <a:pt x="576" y="134"/>
                  </a:lnTo>
                  <a:lnTo>
                    <a:pt x="572" y="130"/>
                  </a:lnTo>
                  <a:lnTo>
                    <a:pt x="570" y="130"/>
                  </a:lnTo>
                  <a:lnTo>
                    <a:pt x="570" y="130"/>
                  </a:lnTo>
                  <a:lnTo>
                    <a:pt x="570" y="130"/>
                  </a:lnTo>
                  <a:close/>
                  <a:moveTo>
                    <a:pt x="412" y="130"/>
                  </a:moveTo>
                  <a:lnTo>
                    <a:pt x="416" y="130"/>
                  </a:lnTo>
                  <a:lnTo>
                    <a:pt x="420" y="130"/>
                  </a:lnTo>
                  <a:lnTo>
                    <a:pt x="424" y="130"/>
                  </a:lnTo>
                  <a:lnTo>
                    <a:pt x="428" y="134"/>
                  </a:lnTo>
                  <a:lnTo>
                    <a:pt x="424" y="134"/>
                  </a:lnTo>
                  <a:lnTo>
                    <a:pt x="420" y="134"/>
                  </a:lnTo>
                  <a:lnTo>
                    <a:pt x="416" y="134"/>
                  </a:lnTo>
                  <a:lnTo>
                    <a:pt x="416" y="138"/>
                  </a:lnTo>
                  <a:lnTo>
                    <a:pt x="412" y="138"/>
                  </a:lnTo>
                  <a:lnTo>
                    <a:pt x="412" y="134"/>
                  </a:lnTo>
                  <a:lnTo>
                    <a:pt x="412" y="130"/>
                  </a:lnTo>
                  <a:lnTo>
                    <a:pt x="412" y="130"/>
                  </a:lnTo>
                  <a:lnTo>
                    <a:pt x="412" y="130"/>
                  </a:lnTo>
                  <a:close/>
                  <a:moveTo>
                    <a:pt x="498" y="130"/>
                  </a:moveTo>
                  <a:lnTo>
                    <a:pt x="498" y="134"/>
                  </a:lnTo>
                  <a:lnTo>
                    <a:pt x="498" y="138"/>
                  </a:lnTo>
                  <a:lnTo>
                    <a:pt x="494" y="138"/>
                  </a:lnTo>
                  <a:lnTo>
                    <a:pt x="490" y="138"/>
                  </a:lnTo>
                  <a:lnTo>
                    <a:pt x="488" y="134"/>
                  </a:lnTo>
                  <a:lnTo>
                    <a:pt x="490" y="134"/>
                  </a:lnTo>
                  <a:lnTo>
                    <a:pt x="490" y="130"/>
                  </a:lnTo>
                  <a:lnTo>
                    <a:pt x="494" y="130"/>
                  </a:lnTo>
                  <a:lnTo>
                    <a:pt x="498" y="130"/>
                  </a:lnTo>
                  <a:lnTo>
                    <a:pt x="498" y="130"/>
                  </a:lnTo>
                  <a:lnTo>
                    <a:pt x="498" y="130"/>
                  </a:lnTo>
                  <a:close/>
                  <a:moveTo>
                    <a:pt x="428" y="134"/>
                  </a:moveTo>
                  <a:lnTo>
                    <a:pt x="430" y="134"/>
                  </a:lnTo>
                  <a:lnTo>
                    <a:pt x="434" y="134"/>
                  </a:lnTo>
                  <a:lnTo>
                    <a:pt x="438" y="134"/>
                  </a:lnTo>
                  <a:lnTo>
                    <a:pt x="434" y="134"/>
                  </a:lnTo>
                  <a:lnTo>
                    <a:pt x="430" y="134"/>
                  </a:lnTo>
                  <a:lnTo>
                    <a:pt x="428" y="134"/>
                  </a:lnTo>
                  <a:lnTo>
                    <a:pt x="428" y="134"/>
                  </a:lnTo>
                  <a:lnTo>
                    <a:pt x="428" y="134"/>
                  </a:lnTo>
                  <a:close/>
                  <a:moveTo>
                    <a:pt x="66" y="142"/>
                  </a:moveTo>
                  <a:lnTo>
                    <a:pt x="62" y="142"/>
                  </a:lnTo>
                  <a:lnTo>
                    <a:pt x="62" y="138"/>
                  </a:lnTo>
                  <a:lnTo>
                    <a:pt x="66" y="142"/>
                  </a:lnTo>
                  <a:lnTo>
                    <a:pt x="66" y="142"/>
                  </a:lnTo>
                  <a:lnTo>
                    <a:pt x="66" y="142"/>
                  </a:lnTo>
                  <a:close/>
                  <a:moveTo>
                    <a:pt x="70" y="150"/>
                  </a:moveTo>
                  <a:lnTo>
                    <a:pt x="70" y="152"/>
                  </a:lnTo>
                  <a:lnTo>
                    <a:pt x="70" y="150"/>
                  </a:lnTo>
                  <a:lnTo>
                    <a:pt x="66" y="150"/>
                  </a:lnTo>
                  <a:lnTo>
                    <a:pt x="66" y="146"/>
                  </a:lnTo>
                  <a:lnTo>
                    <a:pt x="70" y="146"/>
                  </a:lnTo>
                  <a:lnTo>
                    <a:pt x="70" y="150"/>
                  </a:lnTo>
                  <a:lnTo>
                    <a:pt x="70" y="150"/>
                  </a:lnTo>
                  <a:lnTo>
                    <a:pt x="70" y="150"/>
                  </a:lnTo>
                  <a:close/>
                  <a:moveTo>
                    <a:pt x="186" y="152"/>
                  </a:moveTo>
                  <a:lnTo>
                    <a:pt x="186" y="156"/>
                  </a:lnTo>
                  <a:lnTo>
                    <a:pt x="182" y="156"/>
                  </a:lnTo>
                  <a:lnTo>
                    <a:pt x="178" y="156"/>
                  </a:lnTo>
                  <a:lnTo>
                    <a:pt x="178" y="152"/>
                  </a:lnTo>
                  <a:lnTo>
                    <a:pt x="178" y="156"/>
                  </a:lnTo>
                  <a:lnTo>
                    <a:pt x="174" y="156"/>
                  </a:lnTo>
                  <a:lnTo>
                    <a:pt x="174" y="152"/>
                  </a:lnTo>
                  <a:lnTo>
                    <a:pt x="174" y="150"/>
                  </a:lnTo>
                  <a:lnTo>
                    <a:pt x="178" y="146"/>
                  </a:lnTo>
                  <a:lnTo>
                    <a:pt x="182" y="146"/>
                  </a:lnTo>
                  <a:lnTo>
                    <a:pt x="186" y="150"/>
                  </a:lnTo>
                  <a:lnTo>
                    <a:pt x="186" y="152"/>
                  </a:lnTo>
                  <a:lnTo>
                    <a:pt x="186" y="152"/>
                  </a:lnTo>
                  <a:lnTo>
                    <a:pt x="186" y="152"/>
                  </a:lnTo>
                  <a:close/>
                  <a:moveTo>
                    <a:pt x="74" y="160"/>
                  </a:moveTo>
                  <a:lnTo>
                    <a:pt x="74" y="156"/>
                  </a:lnTo>
                  <a:lnTo>
                    <a:pt x="70" y="152"/>
                  </a:lnTo>
                  <a:lnTo>
                    <a:pt x="70" y="150"/>
                  </a:lnTo>
                  <a:lnTo>
                    <a:pt x="74" y="152"/>
                  </a:lnTo>
                  <a:lnTo>
                    <a:pt x="74" y="156"/>
                  </a:lnTo>
                  <a:lnTo>
                    <a:pt x="74" y="160"/>
                  </a:lnTo>
                  <a:lnTo>
                    <a:pt x="74" y="160"/>
                  </a:lnTo>
                  <a:lnTo>
                    <a:pt x="74" y="160"/>
                  </a:lnTo>
                  <a:close/>
                  <a:moveTo>
                    <a:pt x="502" y="166"/>
                  </a:moveTo>
                  <a:lnTo>
                    <a:pt x="498" y="166"/>
                  </a:lnTo>
                  <a:lnTo>
                    <a:pt x="498" y="164"/>
                  </a:lnTo>
                  <a:lnTo>
                    <a:pt x="494" y="164"/>
                  </a:lnTo>
                  <a:lnTo>
                    <a:pt x="490" y="160"/>
                  </a:lnTo>
                  <a:lnTo>
                    <a:pt x="488" y="160"/>
                  </a:lnTo>
                  <a:lnTo>
                    <a:pt x="484" y="160"/>
                  </a:lnTo>
                  <a:lnTo>
                    <a:pt x="488" y="160"/>
                  </a:lnTo>
                  <a:lnTo>
                    <a:pt x="484" y="160"/>
                  </a:lnTo>
                  <a:lnTo>
                    <a:pt x="480" y="160"/>
                  </a:lnTo>
                  <a:lnTo>
                    <a:pt x="476" y="160"/>
                  </a:lnTo>
                  <a:lnTo>
                    <a:pt x="476" y="156"/>
                  </a:lnTo>
                  <a:lnTo>
                    <a:pt x="476" y="160"/>
                  </a:lnTo>
                  <a:lnTo>
                    <a:pt x="472" y="160"/>
                  </a:lnTo>
                  <a:lnTo>
                    <a:pt x="468" y="160"/>
                  </a:lnTo>
                  <a:lnTo>
                    <a:pt x="468" y="156"/>
                  </a:lnTo>
                  <a:lnTo>
                    <a:pt x="464" y="156"/>
                  </a:lnTo>
                  <a:lnTo>
                    <a:pt x="464" y="160"/>
                  </a:lnTo>
                  <a:lnTo>
                    <a:pt x="460" y="164"/>
                  </a:lnTo>
                  <a:lnTo>
                    <a:pt x="460" y="160"/>
                  </a:lnTo>
                  <a:lnTo>
                    <a:pt x="460" y="156"/>
                  </a:lnTo>
                  <a:lnTo>
                    <a:pt x="464" y="156"/>
                  </a:lnTo>
                  <a:lnTo>
                    <a:pt x="464" y="152"/>
                  </a:lnTo>
                  <a:lnTo>
                    <a:pt x="468" y="152"/>
                  </a:lnTo>
                  <a:lnTo>
                    <a:pt x="472" y="152"/>
                  </a:lnTo>
                  <a:lnTo>
                    <a:pt x="476" y="152"/>
                  </a:lnTo>
                  <a:lnTo>
                    <a:pt x="480" y="152"/>
                  </a:lnTo>
                  <a:lnTo>
                    <a:pt x="484" y="152"/>
                  </a:lnTo>
                  <a:lnTo>
                    <a:pt x="484" y="150"/>
                  </a:lnTo>
                  <a:lnTo>
                    <a:pt x="488" y="150"/>
                  </a:lnTo>
                  <a:lnTo>
                    <a:pt x="488" y="152"/>
                  </a:lnTo>
                  <a:lnTo>
                    <a:pt x="490" y="152"/>
                  </a:lnTo>
                  <a:lnTo>
                    <a:pt x="494" y="152"/>
                  </a:lnTo>
                  <a:lnTo>
                    <a:pt x="498" y="152"/>
                  </a:lnTo>
                  <a:lnTo>
                    <a:pt x="502" y="156"/>
                  </a:lnTo>
                  <a:lnTo>
                    <a:pt x="502" y="160"/>
                  </a:lnTo>
                  <a:lnTo>
                    <a:pt x="506" y="164"/>
                  </a:lnTo>
                  <a:lnTo>
                    <a:pt x="502" y="166"/>
                  </a:lnTo>
                  <a:lnTo>
                    <a:pt x="502" y="166"/>
                  </a:lnTo>
                  <a:lnTo>
                    <a:pt x="502" y="166"/>
                  </a:lnTo>
                  <a:close/>
                  <a:moveTo>
                    <a:pt x="164" y="152"/>
                  </a:moveTo>
                  <a:lnTo>
                    <a:pt x="166" y="152"/>
                  </a:lnTo>
                  <a:lnTo>
                    <a:pt x="164" y="152"/>
                  </a:lnTo>
                  <a:lnTo>
                    <a:pt x="164" y="152"/>
                  </a:lnTo>
                  <a:lnTo>
                    <a:pt x="164" y="152"/>
                  </a:lnTo>
                  <a:close/>
                  <a:moveTo>
                    <a:pt x="438" y="156"/>
                  </a:moveTo>
                  <a:lnTo>
                    <a:pt x="442" y="156"/>
                  </a:lnTo>
                  <a:lnTo>
                    <a:pt x="446" y="156"/>
                  </a:lnTo>
                  <a:lnTo>
                    <a:pt x="450" y="156"/>
                  </a:lnTo>
                  <a:lnTo>
                    <a:pt x="450" y="160"/>
                  </a:lnTo>
                  <a:lnTo>
                    <a:pt x="454" y="160"/>
                  </a:lnTo>
                  <a:lnTo>
                    <a:pt x="454" y="164"/>
                  </a:lnTo>
                  <a:lnTo>
                    <a:pt x="450" y="164"/>
                  </a:lnTo>
                  <a:lnTo>
                    <a:pt x="450" y="166"/>
                  </a:lnTo>
                  <a:lnTo>
                    <a:pt x="446" y="166"/>
                  </a:lnTo>
                  <a:lnTo>
                    <a:pt x="442" y="166"/>
                  </a:lnTo>
                  <a:lnTo>
                    <a:pt x="438" y="164"/>
                  </a:lnTo>
                  <a:lnTo>
                    <a:pt x="434" y="160"/>
                  </a:lnTo>
                  <a:lnTo>
                    <a:pt x="434" y="156"/>
                  </a:lnTo>
                  <a:lnTo>
                    <a:pt x="438" y="156"/>
                  </a:lnTo>
                  <a:lnTo>
                    <a:pt x="438" y="156"/>
                  </a:lnTo>
                  <a:lnTo>
                    <a:pt x="438" y="156"/>
                  </a:lnTo>
                  <a:close/>
                  <a:moveTo>
                    <a:pt x="298" y="160"/>
                  </a:moveTo>
                  <a:lnTo>
                    <a:pt x="298" y="164"/>
                  </a:lnTo>
                  <a:lnTo>
                    <a:pt x="298" y="166"/>
                  </a:lnTo>
                  <a:lnTo>
                    <a:pt x="298" y="170"/>
                  </a:lnTo>
                  <a:lnTo>
                    <a:pt x="294" y="170"/>
                  </a:lnTo>
                  <a:lnTo>
                    <a:pt x="298" y="166"/>
                  </a:lnTo>
                  <a:lnTo>
                    <a:pt x="294" y="166"/>
                  </a:lnTo>
                  <a:lnTo>
                    <a:pt x="294" y="164"/>
                  </a:lnTo>
                  <a:lnTo>
                    <a:pt x="294" y="160"/>
                  </a:lnTo>
                  <a:lnTo>
                    <a:pt x="298" y="160"/>
                  </a:lnTo>
                  <a:lnTo>
                    <a:pt x="298" y="156"/>
                  </a:lnTo>
                  <a:lnTo>
                    <a:pt x="298" y="160"/>
                  </a:lnTo>
                  <a:lnTo>
                    <a:pt x="298" y="160"/>
                  </a:lnTo>
                  <a:lnTo>
                    <a:pt x="298" y="160"/>
                  </a:lnTo>
                  <a:close/>
                  <a:moveTo>
                    <a:pt x="458" y="156"/>
                  </a:moveTo>
                  <a:lnTo>
                    <a:pt x="458" y="160"/>
                  </a:lnTo>
                  <a:lnTo>
                    <a:pt x="458" y="156"/>
                  </a:lnTo>
                  <a:lnTo>
                    <a:pt x="458" y="156"/>
                  </a:lnTo>
                  <a:lnTo>
                    <a:pt x="458" y="156"/>
                  </a:lnTo>
                  <a:close/>
                  <a:moveTo>
                    <a:pt x="464" y="164"/>
                  </a:moveTo>
                  <a:lnTo>
                    <a:pt x="468" y="164"/>
                  </a:lnTo>
                  <a:lnTo>
                    <a:pt x="468" y="166"/>
                  </a:lnTo>
                  <a:lnTo>
                    <a:pt x="464" y="166"/>
                  </a:lnTo>
                  <a:lnTo>
                    <a:pt x="468" y="164"/>
                  </a:lnTo>
                  <a:lnTo>
                    <a:pt x="464" y="164"/>
                  </a:lnTo>
                  <a:lnTo>
                    <a:pt x="464" y="166"/>
                  </a:lnTo>
                  <a:lnTo>
                    <a:pt x="460" y="166"/>
                  </a:lnTo>
                  <a:lnTo>
                    <a:pt x="460" y="164"/>
                  </a:lnTo>
                  <a:lnTo>
                    <a:pt x="464" y="164"/>
                  </a:lnTo>
                  <a:lnTo>
                    <a:pt x="464" y="164"/>
                  </a:lnTo>
                  <a:lnTo>
                    <a:pt x="464" y="164"/>
                  </a:lnTo>
                  <a:close/>
                  <a:moveTo>
                    <a:pt x="468" y="164"/>
                  </a:moveTo>
                  <a:lnTo>
                    <a:pt x="472" y="164"/>
                  </a:lnTo>
                  <a:lnTo>
                    <a:pt x="468" y="164"/>
                  </a:lnTo>
                  <a:lnTo>
                    <a:pt x="468" y="164"/>
                  </a:lnTo>
                  <a:lnTo>
                    <a:pt x="468" y="164"/>
                  </a:lnTo>
                  <a:close/>
                  <a:moveTo>
                    <a:pt x="394" y="170"/>
                  </a:moveTo>
                  <a:lnTo>
                    <a:pt x="398" y="170"/>
                  </a:lnTo>
                  <a:lnTo>
                    <a:pt x="394" y="174"/>
                  </a:lnTo>
                  <a:lnTo>
                    <a:pt x="394" y="170"/>
                  </a:lnTo>
                  <a:lnTo>
                    <a:pt x="394" y="170"/>
                  </a:lnTo>
                  <a:lnTo>
                    <a:pt x="394" y="170"/>
                  </a:lnTo>
                  <a:close/>
                  <a:moveTo>
                    <a:pt x="394" y="178"/>
                  </a:moveTo>
                  <a:lnTo>
                    <a:pt x="398" y="178"/>
                  </a:lnTo>
                  <a:lnTo>
                    <a:pt x="398" y="182"/>
                  </a:lnTo>
                  <a:lnTo>
                    <a:pt x="398" y="186"/>
                  </a:lnTo>
                  <a:lnTo>
                    <a:pt x="394" y="182"/>
                  </a:lnTo>
                  <a:lnTo>
                    <a:pt x="394" y="186"/>
                  </a:lnTo>
                  <a:lnTo>
                    <a:pt x="394" y="190"/>
                  </a:lnTo>
                  <a:lnTo>
                    <a:pt x="398" y="194"/>
                  </a:lnTo>
                  <a:lnTo>
                    <a:pt x="394" y="194"/>
                  </a:lnTo>
                  <a:lnTo>
                    <a:pt x="390" y="194"/>
                  </a:lnTo>
                  <a:lnTo>
                    <a:pt x="390" y="196"/>
                  </a:lnTo>
                  <a:lnTo>
                    <a:pt x="390" y="200"/>
                  </a:lnTo>
                  <a:lnTo>
                    <a:pt x="386" y="200"/>
                  </a:lnTo>
                  <a:lnTo>
                    <a:pt x="386" y="196"/>
                  </a:lnTo>
                  <a:lnTo>
                    <a:pt x="386" y="194"/>
                  </a:lnTo>
                  <a:lnTo>
                    <a:pt x="390" y="194"/>
                  </a:lnTo>
                  <a:lnTo>
                    <a:pt x="390" y="190"/>
                  </a:lnTo>
                  <a:lnTo>
                    <a:pt x="390" y="186"/>
                  </a:lnTo>
                  <a:lnTo>
                    <a:pt x="390" y="182"/>
                  </a:lnTo>
                  <a:lnTo>
                    <a:pt x="390" y="178"/>
                  </a:lnTo>
                  <a:lnTo>
                    <a:pt x="394" y="178"/>
                  </a:lnTo>
                  <a:lnTo>
                    <a:pt x="394" y="178"/>
                  </a:lnTo>
                  <a:lnTo>
                    <a:pt x="394" y="178"/>
                  </a:lnTo>
                  <a:close/>
                  <a:moveTo>
                    <a:pt x="390" y="182"/>
                  </a:moveTo>
                  <a:lnTo>
                    <a:pt x="390" y="186"/>
                  </a:lnTo>
                  <a:lnTo>
                    <a:pt x="386" y="190"/>
                  </a:lnTo>
                  <a:lnTo>
                    <a:pt x="386" y="194"/>
                  </a:lnTo>
                  <a:lnTo>
                    <a:pt x="382" y="194"/>
                  </a:lnTo>
                  <a:lnTo>
                    <a:pt x="382" y="190"/>
                  </a:lnTo>
                  <a:lnTo>
                    <a:pt x="382" y="186"/>
                  </a:lnTo>
                  <a:lnTo>
                    <a:pt x="382" y="182"/>
                  </a:lnTo>
                  <a:lnTo>
                    <a:pt x="386" y="182"/>
                  </a:lnTo>
                  <a:lnTo>
                    <a:pt x="390" y="182"/>
                  </a:lnTo>
                  <a:lnTo>
                    <a:pt x="390" y="182"/>
                  </a:lnTo>
                  <a:lnTo>
                    <a:pt x="390" y="182"/>
                  </a:lnTo>
                  <a:close/>
                  <a:moveTo>
                    <a:pt x="378" y="190"/>
                  </a:moveTo>
                  <a:lnTo>
                    <a:pt x="378" y="194"/>
                  </a:lnTo>
                  <a:lnTo>
                    <a:pt x="378" y="196"/>
                  </a:lnTo>
                  <a:lnTo>
                    <a:pt x="374" y="194"/>
                  </a:lnTo>
                  <a:lnTo>
                    <a:pt x="374" y="190"/>
                  </a:lnTo>
                  <a:lnTo>
                    <a:pt x="378" y="190"/>
                  </a:lnTo>
                  <a:lnTo>
                    <a:pt x="378" y="190"/>
                  </a:lnTo>
                  <a:lnTo>
                    <a:pt x="378" y="190"/>
                  </a:lnTo>
                  <a:close/>
                  <a:moveTo>
                    <a:pt x="104" y="196"/>
                  </a:moveTo>
                  <a:lnTo>
                    <a:pt x="100" y="196"/>
                  </a:lnTo>
                  <a:lnTo>
                    <a:pt x="96" y="194"/>
                  </a:lnTo>
                  <a:lnTo>
                    <a:pt x="100" y="194"/>
                  </a:lnTo>
                  <a:lnTo>
                    <a:pt x="104" y="194"/>
                  </a:lnTo>
                  <a:lnTo>
                    <a:pt x="104" y="196"/>
                  </a:lnTo>
                  <a:lnTo>
                    <a:pt x="104" y="196"/>
                  </a:lnTo>
                  <a:lnTo>
                    <a:pt x="104" y="196"/>
                  </a:lnTo>
                  <a:close/>
                  <a:moveTo>
                    <a:pt x="554" y="194"/>
                  </a:moveTo>
                  <a:lnTo>
                    <a:pt x="558" y="194"/>
                  </a:lnTo>
                  <a:lnTo>
                    <a:pt x="558" y="196"/>
                  </a:lnTo>
                  <a:lnTo>
                    <a:pt x="558" y="200"/>
                  </a:lnTo>
                  <a:lnTo>
                    <a:pt x="558" y="204"/>
                  </a:lnTo>
                  <a:lnTo>
                    <a:pt x="554" y="204"/>
                  </a:lnTo>
                  <a:lnTo>
                    <a:pt x="554" y="200"/>
                  </a:lnTo>
                  <a:lnTo>
                    <a:pt x="550" y="200"/>
                  </a:lnTo>
                  <a:lnTo>
                    <a:pt x="554" y="200"/>
                  </a:lnTo>
                  <a:lnTo>
                    <a:pt x="554" y="196"/>
                  </a:lnTo>
                  <a:lnTo>
                    <a:pt x="554" y="194"/>
                  </a:lnTo>
                  <a:lnTo>
                    <a:pt x="554" y="194"/>
                  </a:lnTo>
                  <a:lnTo>
                    <a:pt x="554" y="194"/>
                  </a:lnTo>
                  <a:close/>
                  <a:moveTo>
                    <a:pt x="248" y="200"/>
                  </a:moveTo>
                  <a:lnTo>
                    <a:pt x="246" y="200"/>
                  </a:lnTo>
                  <a:lnTo>
                    <a:pt x="248" y="200"/>
                  </a:lnTo>
                  <a:lnTo>
                    <a:pt x="248" y="200"/>
                  </a:lnTo>
                  <a:lnTo>
                    <a:pt x="248" y="200"/>
                  </a:lnTo>
                  <a:close/>
                  <a:moveTo>
                    <a:pt x="358" y="200"/>
                  </a:moveTo>
                  <a:lnTo>
                    <a:pt x="358" y="204"/>
                  </a:lnTo>
                  <a:lnTo>
                    <a:pt x="360" y="204"/>
                  </a:lnTo>
                  <a:lnTo>
                    <a:pt x="358" y="208"/>
                  </a:lnTo>
                  <a:lnTo>
                    <a:pt x="358" y="212"/>
                  </a:lnTo>
                  <a:lnTo>
                    <a:pt x="358" y="208"/>
                  </a:lnTo>
                  <a:lnTo>
                    <a:pt x="358" y="204"/>
                  </a:lnTo>
                  <a:lnTo>
                    <a:pt x="358" y="200"/>
                  </a:lnTo>
                  <a:lnTo>
                    <a:pt x="358" y="200"/>
                  </a:lnTo>
                  <a:lnTo>
                    <a:pt x="358" y="200"/>
                  </a:lnTo>
                  <a:close/>
                  <a:moveTo>
                    <a:pt x="212" y="238"/>
                  </a:moveTo>
                  <a:lnTo>
                    <a:pt x="208" y="238"/>
                  </a:lnTo>
                  <a:lnTo>
                    <a:pt x="204" y="234"/>
                  </a:lnTo>
                  <a:lnTo>
                    <a:pt x="200" y="234"/>
                  </a:lnTo>
                  <a:lnTo>
                    <a:pt x="196" y="234"/>
                  </a:lnTo>
                  <a:lnTo>
                    <a:pt x="192" y="234"/>
                  </a:lnTo>
                  <a:lnTo>
                    <a:pt x="190" y="234"/>
                  </a:lnTo>
                  <a:lnTo>
                    <a:pt x="186" y="234"/>
                  </a:lnTo>
                  <a:lnTo>
                    <a:pt x="182" y="234"/>
                  </a:lnTo>
                  <a:lnTo>
                    <a:pt x="178" y="234"/>
                  </a:lnTo>
                  <a:lnTo>
                    <a:pt x="178" y="230"/>
                  </a:lnTo>
                  <a:lnTo>
                    <a:pt x="174" y="230"/>
                  </a:lnTo>
                  <a:lnTo>
                    <a:pt x="170" y="230"/>
                  </a:lnTo>
                  <a:lnTo>
                    <a:pt x="166" y="230"/>
                  </a:lnTo>
                  <a:lnTo>
                    <a:pt x="164" y="230"/>
                  </a:lnTo>
                  <a:lnTo>
                    <a:pt x="160" y="230"/>
                  </a:lnTo>
                  <a:lnTo>
                    <a:pt x="160" y="226"/>
                  </a:lnTo>
                  <a:lnTo>
                    <a:pt x="160" y="222"/>
                  </a:lnTo>
                  <a:lnTo>
                    <a:pt x="160" y="220"/>
                  </a:lnTo>
                  <a:lnTo>
                    <a:pt x="160" y="222"/>
                  </a:lnTo>
                  <a:lnTo>
                    <a:pt x="156" y="222"/>
                  </a:lnTo>
                  <a:lnTo>
                    <a:pt x="156" y="220"/>
                  </a:lnTo>
                  <a:lnTo>
                    <a:pt x="152" y="220"/>
                  </a:lnTo>
                  <a:lnTo>
                    <a:pt x="148" y="220"/>
                  </a:lnTo>
                  <a:lnTo>
                    <a:pt x="144" y="220"/>
                  </a:lnTo>
                  <a:lnTo>
                    <a:pt x="140" y="220"/>
                  </a:lnTo>
                  <a:lnTo>
                    <a:pt x="144" y="220"/>
                  </a:lnTo>
                  <a:lnTo>
                    <a:pt x="144" y="216"/>
                  </a:lnTo>
                  <a:lnTo>
                    <a:pt x="144" y="220"/>
                  </a:lnTo>
                  <a:lnTo>
                    <a:pt x="148" y="216"/>
                  </a:lnTo>
                  <a:lnTo>
                    <a:pt x="148" y="212"/>
                  </a:lnTo>
                  <a:lnTo>
                    <a:pt x="152" y="212"/>
                  </a:lnTo>
                  <a:lnTo>
                    <a:pt x="152" y="208"/>
                  </a:lnTo>
                  <a:lnTo>
                    <a:pt x="152" y="204"/>
                  </a:lnTo>
                  <a:lnTo>
                    <a:pt x="152" y="200"/>
                  </a:lnTo>
                  <a:lnTo>
                    <a:pt x="156" y="200"/>
                  </a:lnTo>
                  <a:lnTo>
                    <a:pt x="156" y="204"/>
                  </a:lnTo>
                  <a:lnTo>
                    <a:pt x="160" y="204"/>
                  </a:lnTo>
                  <a:lnTo>
                    <a:pt x="164" y="204"/>
                  </a:lnTo>
                  <a:lnTo>
                    <a:pt x="166" y="204"/>
                  </a:lnTo>
                  <a:lnTo>
                    <a:pt x="170" y="204"/>
                  </a:lnTo>
                  <a:lnTo>
                    <a:pt x="174" y="204"/>
                  </a:lnTo>
                  <a:lnTo>
                    <a:pt x="174" y="208"/>
                  </a:lnTo>
                  <a:lnTo>
                    <a:pt x="178" y="208"/>
                  </a:lnTo>
                  <a:lnTo>
                    <a:pt x="182" y="212"/>
                  </a:lnTo>
                  <a:lnTo>
                    <a:pt x="186" y="212"/>
                  </a:lnTo>
                  <a:lnTo>
                    <a:pt x="186" y="208"/>
                  </a:lnTo>
                  <a:lnTo>
                    <a:pt x="186" y="212"/>
                  </a:lnTo>
                  <a:lnTo>
                    <a:pt x="190" y="212"/>
                  </a:lnTo>
                  <a:lnTo>
                    <a:pt x="190" y="216"/>
                  </a:lnTo>
                  <a:lnTo>
                    <a:pt x="190" y="220"/>
                  </a:lnTo>
                  <a:lnTo>
                    <a:pt x="192" y="220"/>
                  </a:lnTo>
                  <a:lnTo>
                    <a:pt x="196" y="220"/>
                  </a:lnTo>
                  <a:lnTo>
                    <a:pt x="200" y="220"/>
                  </a:lnTo>
                  <a:lnTo>
                    <a:pt x="204" y="220"/>
                  </a:lnTo>
                  <a:lnTo>
                    <a:pt x="208" y="220"/>
                  </a:lnTo>
                  <a:lnTo>
                    <a:pt x="212" y="220"/>
                  </a:lnTo>
                  <a:lnTo>
                    <a:pt x="216" y="220"/>
                  </a:lnTo>
                  <a:lnTo>
                    <a:pt x="216" y="222"/>
                  </a:lnTo>
                  <a:lnTo>
                    <a:pt x="216" y="220"/>
                  </a:lnTo>
                  <a:lnTo>
                    <a:pt x="220" y="220"/>
                  </a:lnTo>
                  <a:lnTo>
                    <a:pt x="220" y="216"/>
                  </a:lnTo>
                  <a:lnTo>
                    <a:pt x="220" y="212"/>
                  </a:lnTo>
                  <a:lnTo>
                    <a:pt x="222" y="212"/>
                  </a:lnTo>
                  <a:lnTo>
                    <a:pt x="226" y="216"/>
                  </a:lnTo>
                  <a:lnTo>
                    <a:pt x="230" y="216"/>
                  </a:lnTo>
                  <a:lnTo>
                    <a:pt x="234" y="216"/>
                  </a:lnTo>
                  <a:lnTo>
                    <a:pt x="234" y="220"/>
                  </a:lnTo>
                  <a:lnTo>
                    <a:pt x="238" y="220"/>
                  </a:lnTo>
                  <a:lnTo>
                    <a:pt x="242" y="220"/>
                  </a:lnTo>
                  <a:lnTo>
                    <a:pt x="246" y="220"/>
                  </a:lnTo>
                  <a:lnTo>
                    <a:pt x="246" y="222"/>
                  </a:lnTo>
                  <a:lnTo>
                    <a:pt x="248" y="222"/>
                  </a:lnTo>
                  <a:lnTo>
                    <a:pt x="248" y="226"/>
                  </a:lnTo>
                  <a:lnTo>
                    <a:pt x="246" y="222"/>
                  </a:lnTo>
                  <a:lnTo>
                    <a:pt x="246" y="226"/>
                  </a:lnTo>
                  <a:lnTo>
                    <a:pt x="248" y="226"/>
                  </a:lnTo>
                  <a:lnTo>
                    <a:pt x="248" y="230"/>
                  </a:lnTo>
                  <a:lnTo>
                    <a:pt x="252" y="234"/>
                  </a:lnTo>
                  <a:lnTo>
                    <a:pt x="256" y="234"/>
                  </a:lnTo>
                  <a:lnTo>
                    <a:pt x="260" y="234"/>
                  </a:lnTo>
                  <a:lnTo>
                    <a:pt x="264" y="234"/>
                  </a:lnTo>
                  <a:lnTo>
                    <a:pt x="268" y="234"/>
                  </a:lnTo>
                  <a:lnTo>
                    <a:pt x="268" y="230"/>
                  </a:lnTo>
                  <a:lnTo>
                    <a:pt x="268" y="234"/>
                  </a:lnTo>
                  <a:lnTo>
                    <a:pt x="272" y="234"/>
                  </a:lnTo>
                  <a:lnTo>
                    <a:pt x="272" y="238"/>
                  </a:lnTo>
                  <a:lnTo>
                    <a:pt x="272" y="242"/>
                  </a:lnTo>
                  <a:lnTo>
                    <a:pt x="272" y="246"/>
                  </a:lnTo>
                  <a:lnTo>
                    <a:pt x="272" y="250"/>
                  </a:lnTo>
                  <a:lnTo>
                    <a:pt x="276" y="250"/>
                  </a:lnTo>
                  <a:lnTo>
                    <a:pt x="276" y="252"/>
                  </a:lnTo>
                  <a:lnTo>
                    <a:pt x="272" y="252"/>
                  </a:lnTo>
                  <a:lnTo>
                    <a:pt x="272" y="250"/>
                  </a:lnTo>
                  <a:lnTo>
                    <a:pt x="268" y="250"/>
                  </a:lnTo>
                  <a:lnTo>
                    <a:pt x="264" y="250"/>
                  </a:lnTo>
                  <a:lnTo>
                    <a:pt x="260" y="246"/>
                  </a:lnTo>
                  <a:lnTo>
                    <a:pt x="256" y="246"/>
                  </a:lnTo>
                  <a:lnTo>
                    <a:pt x="256" y="242"/>
                  </a:lnTo>
                  <a:lnTo>
                    <a:pt x="252" y="242"/>
                  </a:lnTo>
                  <a:lnTo>
                    <a:pt x="252" y="246"/>
                  </a:lnTo>
                  <a:lnTo>
                    <a:pt x="248" y="246"/>
                  </a:lnTo>
                  <a:lnTo>
                    <a:pt x="246" y="246"/>
                  </a:lnTo>
                  <a:lnTo>
                    <a:pt x="242" y="246"/>
                  </a:lnTo>
                  <a:lnTo>
                    <a:pt x="238" y="246"/>
                  </a:lnTo>
                  <a:lnTo>
                    <a:pt x="234" y="242"/>
                  </a:lnTo>
                  <a:lnTo>
                    <a:pt x="234" y="246"/>
                  </a:lnTo>
                  <a:lnTo>
                    <a:pt x="230" y="246"/>
                  </a:lnTo>
                  <a:lnTo>
                    <a:pt x="230" y="242"/>
                  </a:lnTo>
                  <a:lnTo>
                    <a:pt x="226" y="242"/>
                  </a:lnTo>
                  <a:lnTo>
                    <a:pt x="222" y="242"/>
                  </a:lnTo>
                  <a:lnTo>
                    <a:pt x="220" y="242"/>
                  </a:lnTo>
                  <a:lnTo>
                    <a:pt x="216" y="242"/>
                  </a:lnTo>
                  <a:lnTo>
                    <a:pt x="212" y="238"/>
                  </a:lnTo>
                  <a:lnTo>
                    <a:pt x="212" y="238"/>
                  </a:lnTo>
                  <a:lnTo>
                    <a:pt x="212" y="238"/>
                  </a:lnTo>
                  <a:close/>
                  <a:moveTo>
                    <a:pt x="554" y="204"/>
                  </a:moveTo>
                  <a:lnTo>
                    <a:pt x="558" y="204"/>
                  </a:lnTo>
                  <a:lnTo>
                    <a:pt x="558" y="208"/>
                  </a:lnTo>
                  <a:lnTo>
                    <a:pt x="558" y="212"/>
                  </a:lnTo>
                  <a:lnTo>
                    <a:pt x="554" y="208"/>
                  </a:lnTo>
                  <a:lnTo>
                    <a:pt x="554" y="204"/>
                  </a:lnTo>
                  <a:lnTo>
                    <a:pt x="554" y="204"/>
                  </a:lnTo>
                  <a:lnTo>
                    <a:pt x="554" y="204"/>
                  </a:lnTo>
                  <a:close/>
                  <a:moveTo>
                    <a:pt x="550" y="208"/>
                  </a:moveTo>
                  <a:lnTo>
                    <a:pt x="554" y="208"/>
                  </a:lnTo>
                  <a:lnTo>
                    <a:pt x="554" y="212"/>
                  </a:lnTo>
                  <a:lnTo>
                    <a:pt x="554" y="216"/>
                  </a:lnTo>
                  <a:lnTo>
                    <a:pt x="554" y="220"/>
                  </a:lnTo>
                  <a:lnTo>
                    <a:pt x="550" y="220"/>
                  </a:lnTo>
                  <a:lnTo>
                    <a:pt x="550" y="212"/>
                  </a:lnTo>
                  <a:lnTo>
                    <a:pt x="550" y="208"/>
                  </a:lnTo>
                  <a:lnTo>
                    <a:pt x="550" y="208"/>
                  </a:lnTo>
                  <a:lnTo>
                    <a:pt x="550" y="208"/>
                  </a:lnTo>
                  <a:close/>
                  <a:moveTo>
                    <a:pt x="140" y="212"/>
                  </a:moveTo>
                  <a:lnTo>
                    <a:pt x="140" y="216"/>
                  </a:lnTo>
                  <a:lnTo>
                    <a:pt x="140" y="212"/>
                  </a:lnTo>
                  <a:lnTo>
                    <a:pt x="140" y="212"/>
                  </a:lnTo>
                  <a:lnTo>
                    <a:pt x="140" y="212"/>
                  </a:lnTo>
                  <a:close/>
                  <a:moveTo>
                    <a:pt x="286" y="220"/>
                  </a:moveTo>
                  <a:lnTo>
                    <a:pt x="290" y="220"/>
                  </a:lnTo>
                  <a:lnTo>
                    <a:pt x="286" y="220"/>
                  </a:lnTo>
                  <a:lnTo>
                    <a:pt x="286" y="222"/>
                  </a:lnTo>
                  <a:lnTo>
                    <a:pt x="282" y="222"/>
                  </a:lnTo>
                  <a:lnTo>
                    <a:pt x="282" y="220"/>
                  </a:lnTo>
                  <a:lnTo>
                    <a:pt x="286" y="220"/>
                  </a:lnTo>
                  <a:lnTo>
                    <a:pt x="286" y="220"/>
                  </a:lnTo>
                  <a:lnTo>
                    <a:pt x="286" y="220"/>
                  </a:lnTo>
                  <a:close/>
                  <a:moveTo>
                    <a:pt x="252" y="220"/>
                  </a:moveTo>
                  <a:lnTo>
                    <a:pt x="256" y="220"/>
                  </a:lnTo>
                  <a:lnTo>
                    <a:pt x="260" y="220"/>
                  </a:lnTo>
                  <a:lnTo>
                    <a:pt x="264" y="220"/>
                  </a:lnTo>
                  <a:lnTo>
                    <a:pt x="268" y="220"/>
                  </a:lnTo>
                  <a:lnTo>
                    <a:pt x="268" y="222"/>
                  </a:lnTo>
                  <a:lnTo>
                    <a:pt x="264" y="222"/>
                  </a:lnTo>
                  <a:lnTo>
                    <a:pt x="260" y="222"/>
                  </a:lnTo>
                  <a:lnTo>
                    <a:pt x="260" y="226"/>
                  </a:lnTo>
                  <a:lnTo>
                    <a:pt x="256" y="226"/>
                  </a:lnTo>
                  <a:lnTo>
                    <a:pt x="252" y="226"/>
                  </a:lnTo>
                  <a:lnTo>
                    <a:pt x="252" y="222"/>
                  </a:lnTo>
                  <a:lnTo>
                    <a:pt x="252" y="226"/>
                  </a:lnTo>
                  <a:lnTo>
                    <a:pt x="248" y="222"/>
                  </a:lnTo>
                  <a:lnTo>
                    <a:pt x="248" y="220"/>
                  </a:lnTo>
                  <a:lnTo>
                    <a:pt x="252" y="220"/>
                  </a:lnTo>
                  <a:lnTo>
                    <a:pt x="252" y="220"/>
                  </a:lnTo>
                  <a:lnTo>
                    <a:pt x="252" y="220"/>
                  </a:lnTo>
                  <a:close/>
                  <a:moveTo>
                    <a:pt x="516" y="222"/>
                  </a:moveTo>
                  <a:lnTo>
                    <a:pt x="516" y="226"/>
                  </a:lnTo>
                  <a:lnTo>
                    <a:pt x="516" y="230"/>
                  </a:lnTo>
                  <a:lnTo>
                    <a:pt x="514" y="234"/>
                  </a:lnTo>
                  <a:lnTo>
                    <a:pt x="514" y="238"/>
                  </a:lnTo>
                  <a:lnTo>
                    <a:pt x="510" y="238"/>
                  </a:lnTo>
                  <a:lnTo>
                    <a:pt x="506" y="238"/>
                  </a:lnTo>
                  <a:lnTo>
                    <a:pt x="510" y="234"/>
                  </a:lnTo>
                  <a:lnTo>
                    <a:pt x="510" y="230"/>
                  </a:lnTo>
                  <a:lnTo>
                    <a:pt x="514" y="226"/>
                  </a:lnTo>
                  <a:lnTo>
                    <a:pt x="514" y="222"/>
                  </a:lnTo>
                  <a:lnTo>
                    <a:pt x="516" y="222"/>
                  </a:lnTo>
                  <a:lnTo>
                    <a:pt x="516" y="222"/>
                  </a:lnTo>
                  <a:lnTo>
                    <a:pt x="516" y="222"/>
                  </a:lnTo>
                  <a:close/>
                  <a:moveTo>
                    <a:pt x="614" y="226"/>
                  </a:moveTo>
                  <a:lnTo>
                    <a:pt x="618" y="226"/>
                  </a:lnTo>
                  <a:lnTo>
                    <a:pt x="618" y="230"/>
                  </a:lnTo>
                  <a:lnTo>
                    <a:pt x="622" y="230"/>
                  </a:lnTo>
                  <a:lnTo>
                    <a:pt x="618" y="234"/>
                  </a:lnTo>
                  <a:lnTo>
                    <a:pt x="618" y="238"/>
                  </a:lnTo>
                  <a:lnTo>
                    <a:pt x="618" y="242"/>
                  </a:lnTo>
                  <a:lnTo>
                    <a:pt x="614" y="242"/>
                  </a:lnTo>
                  <a:lnTo>
                    <a:pt x="610" y="246"/>
                  </a:lnTo>
                  <a:lnTo>
                    <a:pt x="606" y="246"/>
                  </a:lnTo>
                  <a:lnTo>
                    <a:pt x="602" y="246"/>
                  </a:lnTo>
                  <a:lnTo>
                    <a:pt x="600" y="246"/>
                  </a:lnTo>
                  <a:lnTo>
                    <a:pt x="602" y="242"/>
                  </a:lnTo>
                  <a:lnTo>
                    <a:pt x="602" y="238"/>
                  </a:lnTo>
                  <a:lnTo>
                    <a:pt x="602" y="234"/>
                  </a:lnTo>
                  <a:lnTo>
                    <a:pt x="606" y="230"/>
                  </a:lnTo>
                  <a:lnTo>
                    <a:pt x="610" y="230"/>
                  </a:lnTo>
                  <a:lnTo>
                    <a:pt x="610" y="226"/>
                  </a:lnTo>
                  <a:lnTo>
                    <a:pt x="614" y="226"/>
                  </a:lnTo>
                  <a:lnTo>
                    <a:pt x="614" y="226"/>
                  </a:lnTo>
                  <a:lnTo>
                    <a:pt x="614" y="226"/>
                  </a:lnTo>
                  <a:close/>
                  <a:moveTo>
                    <a:pt x="488" y="234"/>
                  </a:moveTo>
                  <a:lnTo>
                    <a:pt x="490" y="234"/>
                  </a:lnTo>
                  <a:lnTo>
                    <a:pt x="490" y="238"/>
                  </a:lnTo>
                  <a:lnTo>
                    <a:pt x="488" y="238"/>
                  </a:lnTo>
                  <a:lnTo>
                    <a:pt x="488" y="234"/>
                  </a:lnTo>
                  <a:lnTo>
                    <a:pt x="488" y="234"/>
                  </a:lnTo>
                  <a:lnTo>
                    <a:pt x="488" y="234"/>
                  </a:lnTo>
                  <a:close/>
                  <a:moveTo>
                    <a:pt x="272" y="242"/>
                  </a:moveTo>
                  <a:lnTo>
                    <a:pt x="276" y="242"/>
                  </a:lnTo>
                  <a:lnTo>
                    <a:pt x="278" y="242"/>
                  </a:lnTo>
                  <a:lnTo>
                    <a:pt x="282" y="242"/>
                  </a:lnTo>
                  <a:lnTo>
                    <a:pt x="282" y="238"/>
                  </a:lnTo>
                  <a:lnTo>
                    <a:pt x="286" y="242"/>
                  </a:lnTo>
                  <a:lnTo>
                    <a:pt x="290" y="242"/>
                  </a:lnTo>
                  <a:lnTo>
                    <a:pt x="290" y="246"/>
                  </a:lnTo>
                  <a:lnTo>
                    <a:pt x="286" y="250"/>
                  </a:lnTo>
                  <a:lnTo>
                    <a:pt x="282" y="250"/>
                  </a:lnTo>
                  <a:lnTo>
                    <a:pt x="282" y="252"/>
                  </a:lnTo>
                  <a:lnTo>
                    <a:pt x="282" y="250"/>
                  </a:lnTo>
                  <a:lnTo>
                    <a:pt x="278" y="246"/>
                  </a:lnTo>
                  <a:lnTo>
                    <a:pt x="276" y="246"/>
                  </a:lnTo>
                  <a:lnTo>
                    <a:pt x="276" y="242"/>
                  </a:lnTo>
                  <a:lnTo>
                    <a:pt x="272" y="242"/>
                  </a:lnTo>
                  <a:lnTo>
                    <a:pt x="272" y="242"/>
                  </a:lnTo>
                  <a:lnTo>
                    <a:pt x="272" y="242"/>
                  </a:lnTo>
                  <a:close/>
                  <a:moveTo>
                    <a:pt x="390" y="250"/>
                  </a:moveTo>
                  <a:lnTo>
                    <a:pt x="386" y="250"/>
                  </a:lnTo>
                  <a:lnTo>
                    <a:pt x="386" y="252"/>
                  </a:lnTo>
                  <a:lnTo>
                    <a:pt x="382" y="252"/>
                  </a:lnTo>
                  <a:lnTo>
                    <a:pt x="378" y="252"/>
                  </a:lnTo>
                  <a:lnTo>
                    <a:pt x="374" y="252"/>
                  </a:lnTo>
                  <a:lnTo>
                    <a:pt x="372" y="252"/>
                  </a:lnTo>
                  <a:lnTo>
                    <a:pt x="368" y="252"/>
                  </a:lnTo>
                  <a:lnTo>
                    <a:pt x="364" y="256"/>
                  </a:lnTo>
                  <a:lnTo>
                    <a:pt x="364" y="252"/>
                  </a:lnTo>
                  <a:lnTo>
                    <a:pt x="360" y="252"/>
                  </a:lnTo>
                  <a:lnTo>
                    <a:pt x="358" y="252"/>
                  </a:lnTo>
                  <a:lnTo>
                    <a:pt x="354" y="252"/>
                  </a:lnTo>
                  <a:lnTo>
                    <a:pt x="350" y="252"/>
                  </a:lnTo>
                  <a:lnTo>
                    <a:pt x="350" y="250"/>
                  </a:lnTo>
                  <a:lnTo>
                    <a:pt x="350" y="246"/>
                  </a:lnTo>
                  <a:lnTo>
                    <a:pt x="354" y="246"/>
                  </a:lnTo>
                  <a:lnTo>
                    <a:pt x="354" y="242"/>
                  </a:lnTo>
                  <a:lnTo>
                    <a:pt x="358" y="242"/>
                  </a:lnTo>
                  <a:lnTo>
                    <a:pt x="360" y="246"/>
                  </a:lnTo>
                  <a:lnTo>
                    <a:pt x="364" y="246"/>
                  </a:lnTo>
                  <a:lnTo>
                    <a:pt x="368" y="246"/>
                  </a:lnTo>
                  <a:lnTo>
                    <a:pt x="368" y="250"/>
                  </a:lnTo>
                  <a:lnTo>
                    <a:pt x="372" y="250"/>
                  </a:lnTo>
                  <a:lnTo>
                    <a:pt x="374" y="246"/>
                  </a:lnTo>
                  <a:lnTo>
                    <a:pt x="378" y="246"/>
                  </a:lnTo>
                  <a:lnTo>
                    <a:pt x="378" y="250"/>
                  </a:lnTo>
                  <a:lnTo>
                    <a:pt x="382" y="250"/>
                  </a:lnTo>
                  <a:lnTo>
                    <a:pt x="386" y="250"/>
                  </a:lnTo>
                  <a:lnTo>
                    <a:pt x="386" y="246"/>
                  </a:lnTo>
                  <a:lnTo>
                    <a:pt x="390" y="246"/>
                  </a:lnTo>
                  <a:lnTo>
                    <a:pt x="394" y="242"/>
                  </a:lnTo>
                  <a:lnTo>
                    <a:pt x="390" y="242"/>
                  </a:lnTo>
                  <a:lnTo>
                    <a:pt x="394" y="242"/>
                  </a:lnTo>
                  <a:lnTo>
                    <a:pt x="394" y="246"/>
                  </a:lnTo>
                  <a:lnTo>
                    <a:pt x="390" y="246"/>
                  </a:lnTo>
                  <a:lnTo>
                    <a:pt x="390" y="250"/>
                  </a:lnTo>
                  <a:lnTo>
                    <a:pt x="390" y="250"/>
                  </a:lnTo>
                  <a:lnTo>
                    <a:pt x="390" y="250"/>
                  </a:lnTo>
                  <a:close/>
                  <a:moveTo>
                    <a:pt x="338" y="250"/>
                  </a:moveTo>
                  <a:lnTo>
                    <a:pt x="338" y="252"/>
                  </a:lnTo>
                  <a:lnTo>
                    <a:pt x="334" y="252"/>
                  </a:lnTo>
                  <a:lnTo>
                    <a:pt x="334" y="250"/>
                  </a:lnTo>
                  <a:lnTo>
                    <a:pt x="332" y="252"/>
                  </a:lnTo>
                  <a:lnTo>
                    <a:pt x="334" y="252"/>
                  </a:lnTo>
                  <a:lnTo>
                    <a:pt x="332" y="252"/>
                  </a:lnTo>
                  <a:lnTo>
                    <a:pt x="328" y="252"/>
                  </a:lnTo>
                  <a:lnTo>
                    <a:pt x="328" y="250"/>
                  </a:lnTo>
                  <a:lnTo>
                    <a:pt x="328" y="252"/>
                  </a:lnTo>
                  <a:lnTo>
                    <a:pt x="324" y="252"/>
                  </a:lnTo>
                  <a:lnTo>
                    <a:pt x="320" y="256"/>
                  </a:lnTo>
                  <a:lnTo>
                    <a:pt x="320" y="252"/>
                  </a:lnTo>
                  <a:lnTo>
                    <a:pt x="316" y="256"/>
                  </a:lnTo>
                  <a:lnTo>
                    <a:pt x="312" y="256"/>
                  </a:lnTo>
                  <a:lnTo>
                    <a:pt x="308" y="256"/>
                  </a:lnTo>
                  <a:lnTo>
                    <a:pt x="304" y="256"/>
                  </a:lnTo>
                  <a:lnTo>
                    <a:pt x="304" y="252"/>
                  </a:lnTo>
                  <a:lnTo>
                    <a:pt x="304" y="250"/>
                  </a:lnTo>
                  <a:lnTo>
                    <a:pt x="308" y="250"/>
                  </a:lnTo>
                  <a:lnTo>
                    <a:pt x="308" y="246"/>
                  </a:lnTo>
                  <a:lnTo>
                    <a:pt x="312" y="246"/>
                  </a:lnTo>
                  <a:lnTo>
                    <a:pt x="316" y="246"/>
                  </a:lnTo>
                  <a:lnTo>
                    <a:pt x="316" y="250"/>
                  </a:lnTo>
                  <a:lnTo>
                    <a:pt x="320" y="250"/>
                  </a:lnTo>
                  <a:lnTo>
                    <a:pt x="324" y="252"/>
                  </a:lnTo>
                  <a:lnTo>
                    <a:pt x="324" y="250"/>
                  </a:lnTo>
                  <a:lnTo>
                    <a:pt x="328" y="250"/>
                  </a:lnTo>
                  <a:lnTo>
                    <a:pt x="324" y="246"/>
                  </a:lnTo>
                  <a:lnTo>
                    <a:pt x="320" y="246"/>
                  </a:lnTo>
                  <a:lnTo>
                    <a:pt x="320" y="242"/>
                  </a:lnTo>
                  <a:lnTo>
                    <a:pt x="324" y="242"/>
                  </a:lnTo>
                  <a:lnTo>
                    <a:pt x="328" y="242"/>
                  </a:lnTo>
                  <a:lnTo>
                    <a:pt x="328" y="246"/>
                  </a:lnTo>
                  <a:lnTo>
                    <a:pt x="328" y="242"/>
                  </a:lnTo>
                  <a:lnTo>
                    <a:pt x="332" y="242"/>
                  </a:lnTo>
                  <a:lnTo>
                    <a:pt x="332" y="246"/>
                  </a:lnTo>
                  <a:lnTo>
                    <a:pt x="332" y="250"/>
                  </a:lnTo>
                  <a:lnTo>
                    <a:pt x="332" y="246"/>
                  </a:lnTo>
                  <a:lnTo>
                    <a:pt x="334" y="246"/>
                  </a:lnTo>
                  <a:lnTo>
                    <a:pt x="338" y="246"/>
                  </a:lnTo>
                  <a:lnTo>
                    <a:pt x="338" y="250"/>
                  </a:lnTo>
                  <a:lnTo>
                    <a:pt x="338" y="250"/>
                  </a:lnTo>
                  <a:lnTo>
                    <a:pt x="338" y="250"/>
                  </a:lnTo>
                  <a:close/>
                  <a:moveTo>
                    <a:pt x="460" y="242"/>
                  </a:moveTo>
                  <a:lnTo>
                    <a:pt x="464" y="242"/>
                  </a:lnTo>
                  <a:lnTo>
                    <a:pt x="460" y="242"/>
                  </a:lnTo>
                  <a:lnTo>
                    <a:pt x="460" y="242"/>
                  </a:lnTo>
                  <a:lnTo>
                    <a:pt x="460" y="242"/>
                  </a:lnTo>
                  <a:close/>
                  <a:moveTo>
                    <a:pt x="316" y="246"/>
                  </a:moveTo>
                  <a:lnTo>
                    <a:pt x="316" y="242"/>
                  </a:lnTo>
                  <a:lnTo>
                    <a:pt x="320" y="242"/>
                  </a:lnTo>
                  <a:lnTo>
                    <a:pt x="316" y="242"/>
                  </a:lnTo>
                  <a:lnTo>
                    <a:pt x="316" y="246"/>
                  </a:lnTo>
                  <a:lnTo>
                    <a:pt x="316" y="246"/>
                  </a:lnTo>
                  <a:lnTo>
                    <a:pt x="316" y="246"/>
                  </a:lnTo>
                  <a:close/>
                  <a:moveTo>
                    <a:pt x="618" y="242"/>
                  </a:moveTo>
                  <a:lnTo>
                    <a:pt x="618" y="246"/>
                  </a:lnTo>
                  <a:lnTo>
                    <a:pt x="614" y="246"/>
                  </a:lnTo>
                  <a:lnTo>
                    <a:pt x="614" y="242"/>
                  </a:lnTo>
                  <a:lnTo>
                    <a:pt x="618" y="242"/>
                  </a:lnTo>
                  <a:lnTo>
                    <a:pt x="618" y="242"/>
                  </a:lnTo>
                  <a:lnTo>
                    <a:pt x="618" y="242"/>
                  </a:lnTo>
                  <a:close/>
                  <a:moveTo>
                    <a:pt x="476" y="242"/>
                  </a:moveTo>
                  <a:lnTo>
                    <a:pt x="480" y="242"/>
                  </a:lnTo>
                  <a:lnTo>
                    <a:pt x="476" y="242"/>
                  </a:lnTo>
                  <a:lnTo>
                    <a:pt x="476" y="242"/>
                  </a:lnTo>
                  <a:lnTo>
                    <a:pt x="476" y="242"/>
                  </a:lnTo>
                  <a:close/>
                  <a:moveTo>
                    <a:pt x="298" y="242"/>
                  </a:moveTo>
                  <a:lnTo>
                    <a:pt x="302" y="242"/>
                  </a:lnTo>
                  <a:lnTo>
                    <a:pt x="304" y="246"/>
                  </a:lnTo>
                  <a:lnTo>
                    <a:pt x="304" y="250"/>
                  </a:lnTo>
                  <a:lnTo>
                    <a:pt x="302" y="250"/>
                  </a:lnTo>
                  <a:lnTo>
                    <a:pt x="302" y="252"/>
                  </a:lnTo>
                  <a:lnTo>
                    <a:pt x="298" y="252"/>
                  </a:lnTo>
                  <a:lnTo>
                    <a:pt x="294" y="252"/>
                  </a:lnTo>
                  <a:lnTo>
                    <a:pt x="298" y="250"/>
                  </a:lnTo>
                  <a:lnTo>
                    <a:pt x="294" y="250"/>
                  </a:lnTo>
                  <a:lnTo>
                    <a:pt x="298" y="246"/>
                  </a:lnTo>
                  <a:lnTo>
                    <a:pt x="298" y="242"/>
                  </a:lnTo>
                  <a:lnTo>
                    <a:pt x="298" y="242"/>
                  </a:lnTo>
                  <a:lnTo>
                    <a:pt x="298" y="242"/>
                  </a:lnTo>
                  <a:close/>
                  <a:moveTo>
                    <a:pt x="394" y="246"/>
                  </a:moveTo>
                  <a:lnTo>
                    <a:pt x="394" y="242"/>
                  </a:lnTo>
                  <a:lnTo>
                    <a:pt x="398" y="242"/>
                  </a:lnTo>
                  <a:lnTo>
                    <a:pt x="398" y="246"/>
                  </a:lnTo>
                  <a:lnTo>
                    <a:pt x="394" y="246"/>
                  </a:lnTo>
                  <a:lnTo>
                    <a:pt x="394" y="246"/>
                  </a:lnTo>
                  <a:lnTo>
                    <a:pt x="394" y="246"/>
                  </a:lnTo>
                  <a:close/>
                  <a:moveTo>
                    <a:pt x="342" y="246"/>
                  </a:moveTo>
                  <a:lnTo>
                    <a:pt x="346" y="246"/>
                  </a:lnTo>
                  <a:lnTo>
                    <a:pt x="346" y="250"/>
                  </a:lnTo>
                  <a:lnTo>
                    <a:pt x="342" y="250"/>
                  </a:lnTo>
                  <a:lnTo>
                    <a:pt x="342" y="252"/>
                  </a:lnTo>
                  <a:lnTo>
                    <a:pt x="342" y="250"/>
                  </a:lnTo>
                  <a:lnTo>
                    <a:pt x="342" y="246"/>
                  </a:lnTo>
                  <a:lnTo>
                    <a:pt x="342" y="246"/>
                  </a:lnTo>
                  <a:lnTo>
                    <a:pt x="342" y="246"/>
                  </a:lnTo>
                  <a:close/>
                  <a:moveTo>
                    <a:pt x="390" y="250"/>
                  </a:moveTo>
                  <a:lnTo>
                    <a:pt x="394" y="246"/>
                  </a:lnTo>
                  <a:lnTo>
                    <a:pt x="394" y="250"/>
                  </a:lnTo>
                  <a:lnTo>
                    <a:pt x="390" y="250"/>
                  </a:lnTo>
                  <a:lnTo>
                    <a:pt x="390" y="250"/>
                  </a:lnTo>
                  <a:lnTo>
                    <a:pt x="390" y="250"/>
                  </a:lnTo>
                  <a:close/>
                  <a:moveTo>
                    <a:pt x="346" y="252"/>
                  </a:moveTo>
                  <a:lnTo>
                    <a:pt x="346" y="250"/>
                  </a:lnTo>
                  <a:lnTo>
                    <a:pt x="346" y="252"/>
                  </a:lnTo>
                  <a:lnTo>
                    <a:pt x="346" y="252"/>
                  </a:lnTo>
                  <a:lnTo>
                    <a:pt x="346" y="252"/>
                  </a:lnTo>
                  <a:close/>
                  <a:moveTo>
                    <a:pt x="338" y="268"/>
                  </a:moveTo>
                  <a:lnTo>
                    <a:pt x="334" y="264"/>
                  </a:lnTo>
                  <a:lnTo>
                    <a:pt x="338" y="264"/>
                  </a:lnTo>
                  <a:lnTo>
                    <a:pt x="342" y="260"/>
                  </a:lnTo>
                  <a:lnTo>
                    <a:pt x="342" y="264"/>
                  </a:lnTo>
                  <a:lnTo>
                    <a:pt x="346" y="260"/>
                  </a:lnTo>
                  <a:lnTo>
                    <a:pt x="346" y="264"/>
                  </a:lnTo>
                  <a:lnTo>
                    <a:pt x="350" y="264"/>
                  </a:lnTo>
                  <a:lnTo>
                    <a:pt x="350" y="260"/>
                  </a:lnTo>
                  <a:lnTo>
                    <a:pt x="350" y="264"/>
                  </a:lnTo>
                  <a:lnTo>
                    <a:pt x="354" y="264"/>
                  </a:lnTo>
                  <a:lnTo>
                    <a:pt x="354" y="268"/>
                  </a:lnTo>
                  <a:lnTo>
                    <a:pt x="358" y="268"/>
                  </a:lnTo>
                  <a:lnTo>
                    <a:pt x="360" y="268"/>
                  </a:lnTo>
                  <a:lnTo>
                    <a:pt x="360" y="272"/>
                  </a:lnTo>
                  <a:lnTo>
                    <a:pt x="364" y="272"/>
                  </a:lnTo>
                  <a:lnTo>
                    <a:pt x="364" y="276"/>
                  </a:lnTo>
                  <a:lnTo>
                    <a:pt x="360" y="276"/>
                  </a:lnTo>
                  <a:lnTo>
                    <a:pt x="360" y="280"/>
                  </a:lnTo>
                  <a:lnTo>
                    <a:pt x="358" y="280"/>
                  </a:lnTo>
                  <a:lnTo>
                    <a:pt x="354" y="280"/>
                  </a:lnTo>
                  <a:lnTo>
                    <a:pt x="354" y="276"/>
                  </a:lnTo>
                  <a:lnTo>
                    <a:pt x="350" y="276"/>
                  </a:lnTo>
                  <a:lnTo>
                    <a:pt x="350" y="272"/>
                  </a:lnTo>
                  <a:lnTo>
                    <a:pt x="346" y="272"/>
                  </a:lnTo>
                  <a:lnTo>
                    <a:pt x="346" y="268"/>
                  </a:lnTo>
                  <a:lnTo>
                    <a:pt x="342" y="268"/>
                  </a:lnTo>
                  <a:lnTo>
                    <a:pt x="338" y="268"/>
                  </a:lnTo>
                  <a:lnTo>
                    <a:pt x="338" y="268"/>
                  </a:lnTo>
                  <a:lnTo>
                    <a:pt x="338" y="268"/>
                  </a:lnTo>
                  <a:close/>
                  <a:moveTo>
                    <a:pt x="374" y="282"/>
                  </a:moveTo>
                  <a:lnTo>
                    <a:pt x="374" y="280"/>
                  </a:lnTo>
                  <a:lnTo>
                    <a:pt x="378" y="280"/>
                  </a:lnTo>
                  <a:lnTo>
                    <a:pt x="378" y="282"/>
                  </a:lnTo>
                  <a:lnTo>
                    <a:pt x="374" y="282"/>
                  </a:lnTo>
                  <a:lnTo>
                    <a:pt x="374" y="282"/>
                  </a:lnTo>
                  <a:lnTo>
                    <a:pt x="374" y="282"/>
                  </a:lnTo>
                  <a:close/>
                  <a:moveTo>
                    <a:pt x="390" y="286"/>
                  </a:moveTo>
                  <a:lnTo>
                    <a:pt x="394" y="286"/>
                  </a:lnTo>
                  <a:lnTo>
                    <a:pt x="394" y="282"/>
                  </a:lnTo>
                  <a:lnTo>
                    <a:pt x="398" y="282"/>
                  </a:lnTo>
                  <a:lnTo>
                    <a:pt x="398" y="280"/>
                  </a:lnTo>
                  <a:lnTo>
                    <a:pt x="398" y="282"/>
                  </a:lnTo>
                  <a:lnTo>
                    <a:pt x="398" y="286"/>
                  </a:lnTo>
                  <a:lnTo>
                    <a:pt x="394" y="286"/>
                  </a:lnTo>
                  <a:lnTo>
                    <a:pt x="394" y="290"/>
                  </a:lnTo>
                  <a:lnTo>
                    <a:pt x="390" y="290"/>
                  </a:lnTo>
                  <a:lnTo>
                    <a:pt x="390" y="286"/>
                  </a:lnTo>
                  <a:lnTo>
                    <a:pt x="390" y="286"/>
                  </a:lnTo>
                  <a:lnTo>
                    <a:pt x="390" y="286"/>
                  </a:lnTo>
                  <a:close/>
                  <a:moveTo>
                    <a:pt x="434" y="234"/>
                  </a:moveTo>
                  <a:lnTo>
                    <a:pt x="438" y="234"/>
                  </a:lnTo>
                  <a:lnTo>
                    <a:pt x="442" y="234"/>
                  </a:lnTo>
                  <a:lnTo>
                    <a:pt x="442" y="230"/>
                  </a:lnTo>
                  <a:lnTo>
                    <a:pt x="446" y="230"/>
                  </a:lnTo>
                  <a:lnTo>
                    <a:pt x="446" y="234"/>
                  </a:lnTo>
                  <a:lnTo>
                    <a:pt x="442" y="234"/>
                  </a:lnTo>
                  <a:lnTo>
                    <a:pt x="442" y="238"/>
                  </a:lnTo>
                  <a:lnTo>
                    <a:pt x="438" y="238"/>
                  </a:lnTo>
                  <a:lnTo>
                    <a:pt x="434" y="238"/>
                  </a:lnTo>
                  <a:lnTo>
                    <a:pt x="430" y="238"/>
                  </a:lnTo>
                  <a:lnTo>
                    <a:pt x="434" y="234"/>
                  </a:lnTo>
                  <a:lnTo>
                    <a:pt x="434" y="234"/>
                  </a:lnTo>
                  <a:lnTo>
                    <a:pt x="434" y="234"/>
                  </a:lnTo>
                  <a:close/>
                  <a:moveTo>
                    <a:pt x="412" y="242"/>
                  </a:moveTo>
                  <a:lnTo>
                    <a:pt x="416" y="242"/>
                  </a:lnTo>
                  <a:lnTo>
                    <a:pt x="420" y="242"/>
                  </a:lnTo>
                  <a:lnTo>
                    <a:pt x="424" y="242"/>
                  </a:lnTo>
                  <a:lnTo>
                    <a:pt x="424" y="246"/>
                  </a:lnTo>
                  <a:lnTo>
                    <a:pt x="420" y="246"/>
                  </a:lnTo>
                  <a:lnTo>
                    <a:pt x="416" y="246"/>
                  </a:lnTo>
                  <a:lnTo>
                    <a:pt x="412" y="246"/>
                  </a:lnTo>
                  <a:lnTo>
                    <a:pt x="412" y="242"/>
                  </a:lnTo>
                  <a:lnTo>
                    <a:pt x="412" y="242"/>
                  </a:lnTo>
                  <a:lnTo>
                    <a:pt x="412" y="242"/>
                  </a:lnTo>
                  <a:close/>
                  <a:moveTo>
                    <a:pt x="404" y="246"/>
                  </a:moveTo>
                  <a:lnTo>
                    <a:pt x="408" y="246"/>
                  </a:lnTo>
                  <a:lnTo>
                    <a:pt x="408" y="242"/>
                  </a:lnTo>
                  <a:lnTo>
                    <a:pt x="412" y="242"/>
                  </a:lnTo>
                  <a:lnTo>
                    <a:pt x="412" y="246"/>
                  </a:lnTo>
                  <a:lnTo>
                    <a:pt x="408" y="246"/>
                  </a:lnTo>
                  <a:lnTo>
                    <a:pt x="408" y="250"/>
                  </a:lnTo>
                  <a:lnTo>
                    <a:pt x="408" y="246"/>
                  </a:lnTo>
                  <a:lnTo>
                    <a:pt x="404" y="246"/>
                  </a:lnTo>
                  <a:lnTo>
                    <a:pt x="404" y="246"/>
                  </a:lnTo>
                  <a:lnTo>
                    <a:pt x="404" y="246"/>
                  </a:lnTo>
                  <a:close/>
                  <a:moveTo>
                    <a:pt x="398" y="250"/>
                  </a:moveTo>
                  <a:lnTo>
                    <a:pt x="398" y="246"/>
                  </a:lnTo>
                  <a:lnTo>
                    <a:pt x="402" y="246"/>
                  </a:lnTo>
                  <a:lnTo>
                    <a:pt x="398" y="246"/>
                  </a:lnTo>
                  <a:lnTo>
                    <a:pt x="398" y="242"/>
                  </a:lnTo>
                  <a:lnTo>
                    <a:pt x="402" y="242"/>
                  </a:lnTo>
                  <a:lnTo>
                    <a:pt x="402" y="246"/>
                  </a:lnTo>
                  <a:lnTo>
                    <a:pt x="404" y="242"/>
                  </a:lnTo>
                  <a:lnTo>
                    <a:pt x="404" y="246"/>
                  </a:lnTo>
                  <a:lnTo>
                    <a:pt x="402" y="246"/>
                  </a:lnTo>
                  <a:lnTo>
                    <a:pt x="402" y="250"/>
                  </a:lnTo>
                  <a:lnTo>
                    <a:pt x="398" y="250"/>
                  </a:lnTo>
                  <a:lnTo>
                    <a:pt x="398" y="250"/>
                  </a:lnTo>
                  <a:lnTo>
                    <a:pt x="398" y="250"/>
                  </a:lnTo>
                  <a:close/>
                  <a:moveTo>
                    <a:pt x="424" y="264"/>
                  </a:moveTo>
                  <a:lnTo>
                    <a:pt x="420" y="264"/>
                  </a:lnTo>
                  <a:lnTo>
                    <a:pt x="420" y="268"/>
                  </a:lnTo>
                  <a:lnTo>
                    <a:pt x="420" y="272"/>
                  </a:lnTo>
                  <a:lnTo>
                    <a:pt x="416" y="272"/>
                  </a:lnTo>
                  <a:lnTo>
                    <a:pt x="416" y="276"/>
                  </a:lnTo>
                  <a:lnTo>
                    <a:pt x="412" y="276"/>
                  </a:lnTo>
                  <a:lnTo>
                    <a:pt x="408" y="276"/>
                  </a:lnTo>
                  <a:lnTo>
                    <a:pt x="408" y="280"/>
                  </a:lnTo>
                  <a:lnTo>
                    <a:pt x="404" y="280"/>
                  </a:lnTo>
                  <a:lnTo>
                    <a:pt x="402" y="280"/>
                  </a:lnTo>
                  <a:lnTo>
                    <a:pt x="402" y="276"/>
                  </a:lnTo>
                  <a:lnTo>
                    <a:pt x="404" y="276"/>
                  </a:lnTo>
                  <a:lnTo>
                    <a:pt x="402" y="276"/>
                  </a:lnTo>
                  <a:lnTo>
                    <a:pt x="402" y="272"/>
                  </a:lnTo>
                  <a:lnTo>
                    <a:pt x="402" y="268"/>
                  </a:lnTo>
                  <a:lnTo>
                    <a:pt x="404" y="264"/>
                  </a:lnTo>
                  <a:lnTo>
                    <a:pt x="404" y="260"/>
                  </a:lnTo>
                  <a:lnTo>
                    <a:pt x="408" y="260"/>
                  </a:lnTo>
                  <a:lnTo>
                    <a:pt x="408" y="264"/>
                  </a:lnTo>
                  <a:lnTo>
                    <a:pt x="412" y="264"/>
                  </a:lnTo>
                  <a:lnTo>
                    <a:pt x="412" y="260"/>
                  </a:lnTo>
                  <a:lnTo>
                    <a:pt x="416" y="260"/>
                  </a:lnTo>
                  <a:lnTo>
                    <a:pt x="416" y="256"/>
                  </a:lnTo>
                  <a:lnTo>
                    <a:pt x="420" y="256"/>
                  </a:lnTo>
                  <a:lnTo>
                    <a:pt x="424" y="256"/>
                  </a:lnTo>
                  <a:lnTo>
                    <a:pt x="424" y="260"/>
                  </a:lnTo>
                  <a:lnTo>
                    <a:pt x="420" y="260"/>
                  </a:lnTo>
                  <a:lnTo>
                    <a:pt x="424" y="264"/>
                  </a:lnTo>
                  <a:lnTo>
                    <a:pt x="424" y="264"/>
                  </a:lnTo>
                  <a:lnTo>
                    <a:pt x="424" y="26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36" name="Freeform 29"/>
            <p:cNvSpPr>
              <a:spLocks noEditPoints="1"/>
            </p:cNvSpPr>
            <p:nvPr/>
          </p:nvSpPr>
          <p:spPr bwMode="auto">
            <a:xfrm>
              <a:off x="7430889" y="3698866"/>
              <a:ext cx="170811" cy="177831"/>
            </a:xfrm>
            <a:custGeom>
              <a:avLst/>
              <a:gdLst>
                <a:gd name="T0" fmla="*/ 250 w 272"/>
                <a:gd name="T1" fmla="*/ 156 h 272"/>
                <a:gd name="T2" fmla="*/ 242 w 272"/>
                <a:gd name="T3" fmla="*/ 178 h 272"/>
                <a:gd name="T4" fmla="*/ 246 w 272"/>
                <a:gd name="T5" fmla="*/ 198 h 272"/>
                <a:gd name="T6" fmla="*/ 264 w 272"/>
                <a:gd name="T7" fmla="*/ 212 h 272"/>
                <a:gd name="T8" fmla="*/ 268 w 272"/>
                <a:gd name="T9" fmla="*/ 232 h 272"/>
                <a:gd name="T10" fmla="*/ 264 w 272"/>
                <a:gd name="T11" fmla="*/ 242 h 272"/>
                <a:gd name="T12" fmla="*/ 258 w 272"/>
                <a:gd name="T13" fmla="*/ 250 h 272"/>
                <a:gd name="T14" fmla="*/ 250 w 272"/>
                <a:gd name="T15" fmla="*/ 264 h 272"/>
                <a:gd name="T16" fmla="*/ 238 w 272"/>
                <a:gd name="T17" fmla="*/ 268 h 272"/>
                <a:gd name="T18" fmla="*/ 228 w 272"/>
                <a:gd name="T19" fmla="*/ 264 h 272"/>
                <a:gd name="T20" fmla="*/ 204 w 272"/>
                <a:gd name="T21" fmla="*/ 262 h 272"/>
                <a:gd name="T22" fmla="*/ 190 w 272"/>
                <a:gd name="T23" fmla="*/ 258 h 272"/>
                <a:gd name="T24" fmla="*/ 182 w 272"/>
                <a:gd name="T25" fmla="*/ 234 h 272"/>
                <a:gd name="T26" fmla="*/ 164 w 272"/>
                <a:gd name="T27" fmla="*/ 238 h 272"/>
                <a:gd name="T28" fmla="*/ 144 w 272"/>
                <a:gd name="T29" fmla="*/ 242 h 272"/>
                <a:gd name="T30" fmla="*/ 126 w 272"/>
                <a:gd name="T31" fmla="*/ 234 h 272"/>
                <a:gd name="T32" fmla="*/ 116 w 272"/>
                <a:gd name="T33" fmla="*/ 224 h 272"/>
                <a:gd name="T34" fmla="*/ 100 w 272"/>
                <a:gd name="T35" fmla="*/ 208 h 272"/>
                <a:gd name="T36" fmla="*/ 94 w 272"/>
                <a:gd name="T37" fmla="*/ 194 h 272"/>
                <a:gd name="T38" fmla="*/ 86 w 272"/>
                <a:gd name="T39" fmla="*/ 178 h 272"/>
                <a:gd name="T40" fmla="*/ 74 w 272"/>
                <a:gd name="T41" fmla="*/ 176 h 272"/>
                <a:gd name="T42" fmla="*/ 68 w 272"/>
                <a:gd name="T43" fmla="*/ 182 h 272"/>
                <a:gd name="T44" fmla="*/ 56 w 272"/>
                <a:gd name="T45" fmla="*/ 164 h 272"/>
                <a:gd name="T46" fmla="*/ 52 w 272"/>
                <a:gd name="T47" fmla="*/ 148 h 272"/>
                <a:gd name="T48" fmla="*/ 44 w 272"/>
                <a:gd name="T49" fmla="*/ 134 h 272"/>
                <a:gd name="T50" fmla="*/ 30 w 272"/>
                <a:gd name="T51" fmla="*/ 120 h 272"/>
                <a:gd name="T52" fmla="*/ 18 w 272"/>
                <a:gd name="T53" fmla="*/ 108 h 272"/>
                <a:gd name="T54" fmla="*/ 26 w 272"/>
                <a:gd name="T55" fmla="*/ 96 h 272"/>
                <a:gd name="T56" fmla="*/ 26 w 272"/>
                <a:gd name="T57" fmla="*/ 90 h 272"/>
                <a:gd name="T58" fmla="*/ 30 w 272"/>
                <a:gd name="T59" fmla="*/ 74 h 272"/>
                <a:gd name="T60" fmla="*/ 18 w 272"/>
                <a:gd name="T61" fmla="*/ 66 h 272"/>
                <a:gd name="T62" fmla="*/ 12 w 272"/>
                <a:gd name="T63" fmla="*/ 52 h 272"/>
                <a:gd name="T64" fmla="*/ 4 w 272"/>
                <a:gd name="T65" fmla="*/ 34 h 272"/>
                <a:gd name="T66" fmla="*/ 4 w 272"/>
                <a:gd name="T67" fmla="*/ 14 h 272"/>
                <a:gd name="T68" fmla="*/ 4 w 272"/>
                <a:gd name="T69" fmla="*/ 4 h 272"/>
                <a:gd name="T70" fmla="*/ 14 w 272"/>
                <a:gd name="T71" fmla="*/ 8 h 272"/>
                <a:gd name="T72" fmla="*/ 34 w 272"/>
                <a:gd name="T73" fmla="*/ 14 h 272"/>
                <a:gd name="T74" fmla="*/ 48 w 272"/>
                <a:gd name="T75" fmla="*/ 4 h 272"/>
                <a:gd name="T76" fmla="*/ 60 w 272"/>
                <a:gd name="T77" fmla="*/ 10 h 272"/>
                <a:gd name="T78" fmla="*/ 64 w 272"/>
                <a:gd name="T79" fmla="*/ 26 h 272"/>
                <a:gd name="T80" fmla="*/ 90 w 272"/>
                <a:gd name="T81" fmla="*/ 26 h 272"/>
                <a:gd name="T82" fmla="*/ 108 w 272"/>
                <a:gd name="T83" fmla="*/ 26 h 272"/>
                <a:gd name="T84" fmla="*/ 122 w 272"/>
                <a:gd name="T85" fmla="*/ 36 h 272"/>
                <a:gd name="T86" fmla="*/ 142 w 272"/>
                <a:gd name="T87" fmla="*/ 44 h 272"/>
                <a:gd name="T88" fmla="*/ 156 w 272"/>
                <a:gd name="T89" fmla="*/ 34 h 272"/>
                <a:gd name="T90" fmla="*/ 174 w 272"/>
                <a:gd name="T91" fmla="*/ 30 h 272"/>
                <a:gd name="T92" fmla="*/ 186 w 272"/>
                <a:gd name="T93" fmla="*/ 26 h 272"/>
                <a:gd name="T94" fmla="*/ 208 w 272"/>
                <a:gd name="T95" fmla="*/ 36 h 272"/>
                <a:gd name="T96" fmla="*/ 216 w 272"/>
                <a:gd name="T97" fmla="*/ 44 h 272"/>
                <a:gd name="T98" fmla="*/ 234 w 272"/>
                <a:gd name="T99" fmla="*/ 60 h 272"/>
                <a:gd name="T100" fmla="*/ 242 w 272"/>
                <a:gd name="T101" fmla="*/ 74 h 272"/>
                <a:gd name="T102" fmla="*/ 242 w 272"/>
                <a:gd name="T103" fmla="*/ 92 h 272"/>
                <a:gd name="T104" fmla="*/ 234 w 272"/>
                <a:gd name="T105" fmla="*/ 108 h 272"/>
                <a:gd name="T106" fmla="*/ 234 w 272"/>
                <a:gd name="T107" fmla="*/ 122 h 272"/>
                <a:gd name="T108" fmla="*/ 238 w 272"/>
                <a:gd name="T109" fmla="*/ 146 h 272"/>
                <a:gd name="T110" fmla="*/ 168 w 272"/>
                <a:gd name="T111" fmla="*/ 238 h 272"/>
                <a:gd name="T112" fmla="*/ 172 w 272"/>
                <a:gd name="T113" fmla="*/ 242 h 272"/>
                <a:gd name="T114" fmla="*/ 168 w 272"/>
                <a:gd name="T115" fmla="*/ 242 h 272"/>
                <a:gd name="T116" fmla="*/ 174 w 272"/>
                <a:gd name="T117" fmla="*/ 23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2" h="272">
                  <a:moveTo>
                    <a:pt x="238" y="146"/>
                  </a:moveTo>
                  <a:lnTo>
                    <a:pt x="238" y="148"/>
                  </a:lnTo>
                  <a:lnTo>
                    <a:pt x="238" y="152"/>
                  </a:lnTo>
                  <a:lnTo>
                    <a:pt x="242" y="156"/>
                  </a:lnTo>
                  <a:lnTo>
                    <a:pt x="246" y="156"/>
                  </a:lnTo>
                  <a:lnTo>
                    <a:pt x="250" y="156"/>
                  </a:lnTo>
                  <a:lnTo>
                    <a:pt x="250" y="160"/>
                  </a:lnTo>
                  <a:lnTo>
                    <a:pt x="254" y="160"/>
                  </a:lnTo>
                  <a:lnTo>
                    <a:pt x="254" y="164"/>
                  </a:lnTo>
                  <a:lnTo>
                    <a:pt x="250" y="168"/>
                  </a:lnTo>
                  <a:lnTo>
                    <a:pt x="246" y="176"/>
                  </a:lnTo>
                  <a:lnTo>
                    <a:pt x="242" y="178"/>
                  </a:lnTo>
                  <a:lnTo>
                    <a:pt x="242" y="182"/>
                  </a:lnTo>
                  <a:lnTo>
                    <a:pt x="238" y="182"/>
                  </a:lnTo>
                  <a:lnTo>
                    <a:pt x="238" y="186"/>
                  </a:lnTo>
                  <a:lnTo>
                    <a:pt x="242" y="186"/>
                  </a:lnTo>
                  <a:lnTo>
                    <a:pt x="246" y="194"/>
                  </a:lnTo>
                  <a:lnTo>
                    <a:pt x="246" y="198"/>
                  </a:lnTo>
                  <a:lnTo>
                    <a:pt x="250" y="202"/>
                  </a:lnTo>
                  <a:lnTo>
                    <a:pt x="250" y="206"/>
                  </a:lnTo>
                  <a:lnTo>
                    <a:pt x="254" y="208"/>
                  </a:lnTo>
                  <a:lnTo>
                    <a:pt x="258" y="208"/>
                  </a:lnTo>
                  <a:lnTo>
                    <a:pt x="262" y="212"/>
                  </a:lnTo>
                  <a:lnTo>
                    <a:pt x="264" y="212"/>
                  </a:lnTo>
                  <a:lnTo>
                    <a:pt x="264" y="216"/>
                  </a:lnTo>
                  <a:lnTo>
                    <a:pt x="264" y="220"/>
                  </a:lnTo>
                  <a:lnTo>
                    <a:pt x="264" y="224"/>
                  </a:lnTo>
                  <a:lnTo>
                    <a:pt x="264" y="228"/>
                  </a:lnTo>
                  <a:lnTo>
                    <a:pt x="264" y="232"/>
                  </a:lnTo>
                  <a:lnTo>
                    <a:pt x="268" y="232"/>
                  </a:lnTo>
                  <a:lnTo>
                    <a:pt x="272" y="232"/>
                  </a:lnTo>
                  <a:lnTo>
                    <a:pt x="272" y="234"/>
                  </a:lnTo>
                  <a:lnTo>
                    <a:pt x="272" y="238"/>
                  </a:lnTo>
                  <a:lnTo>
                    <a:pt x="272" y="242"/>
                  </a:lnTo>
                  <a:lnTo>
                    <a:pt x="268" y="242"/>
                  </a:lnTo>
                  <a:lnTo>
                    <a:pt x="264" y="242"/>
                  </a:lnTo>
                  <a:lnTo>
                    <a:pt x="264" y="246"/>
                  </a:lnTo>
                  <a:lnTo>
                    <a:pt x="262" y="246"/>
                  </a:lnTo>
                  <a:lnTo>
                    <a:pt x="258" y="246"/>
                  </a:lnTo>
                  <a:lnTo>
                    <a:pt x="258" y="250"/>
                  </a:lnTo>
                  <a:lnTo>
                    <a:pt x="258" y="246"/>
                  </a:lnTo>
                  <a:lnTo>
                    <a:pt x="258" y="250"/>
                  </a:lnTo>
                  <a:lnTo>
                    <a:pt x="254" y="250"/>
                  </a:lnTo>
                  <a:lnTo>
                    <a:pt x="254" y="254"/>
                  </a:lnTo>
                  <a:lnTo>
                    <a:pt x="254" y="258"/>
                  </a:lnTo>
                  <a:lnTo>
                    <a:pt x="250" y="258"/>
                  </a:lnTo>
                  <a:lnTo>
                    <a:pt x="250" y="262"/>
                  </a:lnTo>
                  <a:lnTo>
                    <a:pt x="250" y="264"/>
                  </a:lnTo>
                  <a:lnTo>
                    <a:pt x="250" y="268"/>
                  </a:lnTo>
                  <a:lnTo>
                    <a:pt x="246" y="268"/>
                  </a:lnTo>
                  <a:lnTo>
                    <a:pt x="246" y="272"/>
                  </a:lnTo>
                  <a:lnTo>
                    <a:pt x="242" y="272"/>
                  </a:lnTo>
                  <a:lnTo>
                    <a:pt x="242" y="268"/>
                  </a:lnTo>
                  <a:lnTo>
                    <a:pt x="238" y="268"/>
                  </a:lnTo>
                  <a:lnTo>
                    <a:pt x="234" y="268"/>
                  </a:lnTo>
                  <a:lnTo>
                    <a:pt x="234" y="264"/>
                  </a:lnTo>
                  <a:lnTo>
                    <a:pt x="232" y="264"/>
                  </a:lnTo>
                  <a:lnTo>
                    <a:pt x="232" y="268"/>
                  </a:lnTo>
                  <a:lnTo>
                    <a:pt x="232" y="264"/>
                  </a:lnTo>
                  <a:lnTo>
                    <a:pt x="228" y="264"/>
                  </a:lnTo>
                  <a:lnTo>
                    <a:pt x="224" y="264"/>
                  </a:lnTo>
                  <a:lnTo>
                    <a:pt x="220" y="264"/>
                  </a:lnTo>
                  <a:lnTo>
                    <a:pt x="216" y="264"/>
                  </a:lnTo>
                  <a:lnTo>
                    <a:pt x="212" y="264"/>
                  </a:lnTo>
                  <a:lnTo>
                    <a:pt x="208" y="262"/>
                  </a:lnTo>
                  <a:lnTo>
                    <a:pt x="204" y="262"/>
                  </a:lnTo>
                  <a:lnTo>
                    <a:pt x="202" y="262"/>
                  </a:lnTo>
                  <a:lnTo>
                    <a:pt x="202" y="264"/>
                  </a:lnTo>
                  <a:lnTo>
                    <a:pt x="198" y="262"/>
                  </a:lnTo>
                  <a:lnTo>
                    <a:pt x="194" y="262"/>
                  </a:lnTo>
                  <a:lnTo>
                    <a:pt x="190" y="262"/>
                  </a:lnTo>
                  <a:lnTo>
                    <a:pt x="190" y="258"/>
                  </a:lnTo>
                  <a:lnTo>
                    <a:pt x="186" y="258"/>
                  </a:lnTo>
                  <a:lnTo>
                    <a:pt x="186" y="254"/>
                  </a:lnTo>
                  <a:lnTo>
                    <a:pt x="186" y="246"/>
                  </a:lnTo>
                  <a:lnTo>
                    <a:pt x="186" y="242"/>
                  </a:lnTo>
                  <a:lnTo>
                    <a:pt x="182" y="238"/>
                  </a:lnTo>
                  <a:lnTo>
                    <a:pt x="182" y="234"/>
                  </a:lnTo>
                  <a:lnTo>
                    <a:pt x="178" y="234"/>
                  </a:lnTo>
                  <a:lnTo>
                    <a:pt x="174" y="234"/>
                  </a:lnTo>
                  <a:lnTo>
                    <a:pt x="172" y="234"/>
                  </a:lnTo>
                  <a:lnTo>
                    <a:pt x="168" y="234"/>
                  </a:lnTo>
                  <a:lnTo>
                    <a:pt x="164" y="234"/>
                  </a:lnTo>
                  <a:lnTo>
                    <a:pt x="164" y="238"/>
                  </a:lnTo>
                  <a:lnTo>
                    <a:pt x="164" y="242"/>
                  </a:lnTo>
                  <a:lnTo>
                    <a:pt x="160" y="242"/>
                  </a:lnTo>
                  <a:lnTo>
                    <a:pt x="156" y="242"/>
                  </a:lnTo>
                  <a:lnTo>
                    <a:pt x="152" y="246"/>
                  </a:lnTo>
                  <a:lnTo>
                    <a:pt x="148" y="242"/>
                  </a:lnTo>
                  <a:lnTo>
                    <a:pt x="144" y="242"/>
                  </a:lnTo>
                  <a:lnTo>
                    <a:pt x="142" y="242"/>
                  </a:lnTo>
                  <a:lnTo>
                    <a:pt x="138" y="242"/>
                  </a:lnTo>
                  <a:lnTo>
                    <a:pt x="134" y="238"/>
                  </a:lnTo>
                  <a:lnTo>
                    <a:pt x="134" y="234"/>
                  </a:lnTo>
                  <a:lnTo>
                    <a:pt x="130" y="234"/>
                  </a:lnTo>
                  <a:lnTo>
                    <a:pt x="126" y="234"/>
                  </a:lnTo>
                  <a:lnTo>
                    <a:pt x="126" y="232"/>
                  </a:lnTo>
                  <a:lnTo>
                    <a:pt x="122" y="232"/>
                  </a:lnTo>
                  <a:lnTo>
                    <a:pt x="122" y="228"/>
                  </a:lnTo>
                  <a:lnTo>
                    <a:pt x="118" y="228"/>
                  </a:lnTo>
                  <a:lnTo>
                    <a:pt x="118" y="224"/>
                  </a:lnTo>
                  <a:lnTo>
                    <a:pt x="116" y="224"/>
                  </a:lnTo>
                  <a:lnTo>
                    <a:pt x="112" y="220"/>
                  </a:lnTo>
                  <a:lnTo>
                    <a:pt x="108" y="220"/>
                  </a:lnTo>
                  <a:lnTo>
                    <a:pt x="104" y="220"/>
                  </a:lnTo>
                  <a:lnTo>
                    <a:pt x="104" y="216"/>
                  </a:lnTo>
                  <a:lnTo>
                    <a:pt x="100" y="212"/>
                  </a:lnTo>
                  <a:lnTo>
                    <a:pt x="100" y="208"/>
                  </a:lnTo>
                  <a:lnTo>
                    <a:pt x="100" y="206"/>
                  </a:lnTo>
                  <a:lnTo>
                    <a:pt x="98" y="206"/>
                  </a:lnTo>
                  <a:lnTo>
                    <a:pt x="98" y="202"/>
                  </a:lnTo>
                  <a:lnTo>
                    <a:pt x="98" y="198"/>
                  </a:lnTo>
                  <a:lnTo>
                    <a:pt x="94" y="198"/>
                  </a:lnTo>
                  <a:lnTo>
                    <a:pt x="94" y="194"/>
                  </a:lnTo>
                  <a:lnTo>
                    <a:pt x="94" y="190"/>
                  </a:lnTo>
                  <a:lnTo>
                    <a:pt x="90" y="190"/>
                  </a:lnTo>
                  <a:lnTo>
                    <a:pt x="90" y="186"/>
                  </a:lnTo>
                  <a:lnTo>
                    <a:pt x="90" y="182"/>
                  </a:lnTo>
                  <a:lnTo>
                    <a:pt x="86" y="182"/>
                  </a:lnTo>
                  <a:lnTo>
                    <a:pt x="86" y="178"/>
                  </a:lnTo>
                  <a:lnTo>
                    <a:pt x="82" y="178"/>
                  </a:lnTo>
                  <a:lnTo>
                    <a:pt x="78" y="182"/>
                  </a:lnTo>
                  <a:lnTo>
                    <a:pt x="78" y="178"/>
                  </a:lnTo>
                  <a:lnTo>
                    <a:pt x="74" y="178"/>
                  </a:lnTo>
                  <a:lnTo>
                    <a:pt x="70" y="176"/>
                  </a:lnTo>
                  <a:lnTo>
                    <a:pt x="74" y="176"/>
                  </a:lnTo>
                  <a:lnTo>
                    <a:pt x="74" y="172"/>
                  </a:lnTo>
                  <a:lnTo>
                    <a:pt x="70" y="172"/>
                  </a:lnTo>
                  <a:lnTo>
                    <a:pt x="68" y="176"/>
                  </a:lnTo>
                  <a:lnTo>
                    <a:pt x="70" y="178"/>
                  </a:lnTo>
                  <a:lnTo>
                    <a:pt x="70" y="182"/>
                  </a:lnTo>
                  <a:lnTo>
                    <a:pt x="68" y="182"/>
                  </a:lnTo>
                  <a:lnTo>
                    <a:pt x="64" y="182"/>
                  </a:lnTo>
                  <a:lnTo>
                    <a:pt x="64" y="178"/>
                  </a:lnTo>
                  <a:lnTo>
                    <a:pt x="60" y="176"/>
                  </a:lnTo>
                  <a:lnTo>
                    <a:pt x="56" y="176"/>
                  </a:lnTo>
                  <a:lnTo>
                    <a:pt x="56" y="172"/>
                  </a:lnTo>
                  <a:lnTo>
                    <a:pt x="56" y="164"/>
                  </a:lnTo>
                  <a:lnTo>
                    <a:pt x="52" y="164"/>
                  </a:lnTo>
                  <a:lnTo>
                    <a:pt x="52" y="160"/>
                  </a:lnTo>
                  <a:lnTo>
                    <a:pt x="52" y="156"/>
                  </a:lnTo>
                  <a:lnTo>
                    <a:pt x="52" y="152"/>
                  </a:lnTo>
                  <a:lnTo>
                    <a:pt x="56" y="148"/>
                  </a:lnTo>
                  <a:lnTo>
                    <a:pt x="52" y="148"/>
                  </a:lnTo>
                  <a:lnTo>
                    <a:pt x="52" y="146"/>
                  </a:lnTo>
                  <a:lnTo>
                    <a:pt x="52" y="142"/>
                  </a:lnTo>
                  <a:lnTo>
                    <a:pt x="48" y="142"/>
                  </a:lnTo>
                  <a:lnTo>
                    <a:pt x="48" y="138"/>
                  </a:lnTo>
                  <a:lnTo>
                    <a:pt x="44" y="138"/>
                  </a:lnTo>
                  <a:lnTo>
                    <a:pt x="44" y="134"/>
                  </a:lnTo>
                  <a:lnTo>
                    <a:pt x="40" y="134"/>
                  </a:lnTo>
                  <a:lnTo>
                    <a:pt x="38" y="130"/>
                  </a:lnTo>
                  <a:lnTo>
                    <a:pt x="34" y="126"/>
                  </a:lnTo>
                  <a:lnTo>
                    <a:pt x="30" y="126"/>
                  </a:lnTo>
                  <a:lnTo>
                    <a:pt x="30" y="122"/>
                  </a:lnTo>
                  <a:lnTo>
                    <a:pt x="30" y="120"/>
                  </a:lnTo>
                  <a:lnTo>
                    <a:pt x="26" y="120"/>
                  </a:lnTo>
                  <a:lnTo>
                    <a:pt x="26" y="116"/>
                  </a:lnTo>
                  <a:lnTo>
                    <a:pt x="22" y="116"/>
                  </a:lnTo>
                  <a:lnTo>
                    <a:pt x="22" y="112"/>
                  </a:lnTo>
                  <a:lnTo>
                    <a:pt x="22" y="108"/>
                  </a:lnTo>
                  <a:lnTo>
                    <a:pt x="18" y="108"/>
                  </a:lnTo>
                  <a:lnTo>
                    <a:pt x="22" y="108"/>
                  </a:lnTo>
                  <a:lnTo>
                    <a:pt x="22" y="104"/>
                  </a:lnTo>
                  <a:lnTo>
                    <a:pt x="22" y="100"/>
                  </a:lnTo>
                  <a:lnTo>
                    <a:pt x="18" y="100"/>
                  </a:lnTo>
                  <a:lnTo>
                    <a:pt x="22" y="96"/>
                  </a:lnTo>
                  <a:lnTo>
                    <a:pt x="26" y="96"/>
                  </a:lnTo>
                  <a:lnTo>
                    <a:pt x="22" y="96"/>
                  </a:lnTo>
                  <a:lnTo>
                    <a:pt x="22" y="92"/>
                  </a:lnTo>
                  <a:lnTo>
                    <a:pt x="26" y="92"/>
                  </a:lnTo>
                  <a:lnTo>
                    <a:pt x="26" y="90"/>
                  </a:lnTo>
                  <a:lnTo>
                    <a:pt x="26" y="92"/>
                  </a:lnTo>
                  <a:lnTo>
                    <a:pt x="26" y="90"/>
                  </a:lnTo>
                  <a:lnTo>
                    <a:pt x="30" y="90"/>
                  </a:lnTo>
                  <a:lnTo>
                    <a:pt x="30" y="86"/>
                  </a:lnTo>
                  <a:lnTo>
                    <a:pt x="30" y="82"/>
                  </a:lnTo>
                  <a:lnTo>
                    <a:pt x="26" y="78"/>
                  </a:lnTo>
                  <a:lnTo>
                    <a:pt x="30" y="78"/>
                  </a:lnTo>
                  <a:lnTo>
                    <a:pt x="30" y="74"/>
                  </a:lnTo>
                  <a:lnTo>
                    <a:pt x="34" y="74"/>
                  </a:lnTo>
                  <a:lnTo>
                    <a:pt x="30" y="74"/>
                  </a:lnTo>
                  <a:lnTo>
                    <a:pt x="26" y="74"/>
                  </a:lnTo>
                  <a:lnTo>
                    <a:pt x="22" y="70"/>
                  </a:lnTo>
                  <a:lnTo>
                    <a:pt x="18" y="70"/>
                  </a:lnTo>
                  <a:lnTo>
                    <a:pt x="18" y="66"/>
                  </a:lnTo>
                  <a:lnTo>
                    <a:pt x="18" y="64"/>
                  </a:lnTo>
                  <a:lnTo>
                    <a:pt x="14" y="64"/>
                  </a:lnTo>
                  <a:lnTo>
                    <a:pt x="14" y="60"/>
                  </a:lnTo>
                  <a:lnTo>
                    <a:pt x="14" y="56"/>
                  </a:lnTo>
                  <a:lnTo>
                    <a:pt x="12" y="56"/>
                  </a:lnTo>
                  <a:lnTo>
                    <a:pt x="12" y="52"/>
                  </a:lnTo>
                  <a:lnTo>
                    <a:pt x="12" y="48"/>
                  </a:lnTo>
                  <a:lnTo>
                    <a:pt x="12" y="44"/>
                  </a:lnTo>
                  <a:lnTo>
                    <a:pt x="8" y="44"/>
                  </a:lnTo>
                  <a:lnTo>
                    <a:pt x="8" y="40"/>
                  </a:lnTo>
                  <a:lnTo>
                    <a:pt x="8" y="36"/>
                  </a:lnTo>
                  <a:lnTo>
                    <a:pt x="4" y="34"/>
                  </a:lnTo>
                  <a:lnTo>
                    <a:pt x="4" y="30"/>
                  </a:lnTo>
                  <a:lnTo>
                    <a:pt x="8" y="26"/>
                  </a:lnTo>
                  <a:lnTo>
                    <a:pt x="4" y="26"/>
                  </a:lnTo>
                  <a:lnTo>
                    <a:pt x="4" y="22"/>
                  </a:lnTo>
                  <a:lnTo>
                    <a:pt x="4" y="18"/>
                  </a:lnTo>
                  <a:lnTo>
                    <a:pt x="4" y="14"/>
                  </a:lnTo>
                  <a:lnTo>
                    <a:pt x="4" y="10"/>
                  </a:lnTo>
                  <a:lnTo>
                    <a:pt x="0" y="8"/>
                  </a:lnTo>
                  <a:lnTo>
                    <a:pt x="0" y="4"/>
                  </a:lnTo>
                  <a:lnTo>
                    <a:pt x="4" y="4"/>
                  </a:lnTo>
                  <a:lnTo>
                    <a:pt x="4" y="8"/>
                  </a:lnTo>
                  <a:lnTo>
                    <a:pt x="4" y="4"/>
                  </a:lnTo>
                  <a:lnTo>
                    <a:pt x="8" y="4"/>
                  </a:lnTo>
                  <a:lnTo>
                    <a:pt x="8" y="0"/>
                  </a:lnTo>
                  <a:lnTo>
                    <a:pt x="12" y="0"/>
                  </a:lnTo>
                  <a:lnTo>
                    <a:pt x="12" y="4"/>
                  </a:lnTo>
                  <a:lnTo>
                    <a:pt x="14" y="4"/>
                  </a:lnTo>
                  <a:lnTo>
                    <a:pt x="14" y="8"/>
                  </a:lnTo>
                  <a:lnTo>
                    <a:pt x="18" y="10"/>
                  </a:lnTo>
                  <a:lnTo>
                    <a:pt x="18" y="14"/>
                  </a:lnTo>
                  <a:lnTo>
                    <a:pt x="22" y="14"/>
                  </a:lnTo>
                  <a:lnTo>
                    <a:pt x="26" y="14"/>
                  </a:lnTo>
                  <a:lnTo>
                    <a:pt x="30" y="14"/>
                  </a:lnTo>
                  <a:lnTo>
                    <a:pt x="34" y="14"/>
                  </a:lnTo>
                  <a:lnTo>
                    <a:pt x="38" y="14"/>
                  </a:lnTo>
                  <a:lnTo>
                    <a:pt x="38" y="10"/>
                  </a:lnTo>
                  <a:lnTo>
                    <a:pt x="40" y="10"/>
                  </a:lnTo>
                  <a:lnTo>
                    <a:pt x="44" y="8"/>
                  </a:lnTo>
                  <a:lnTo>
                    <a:pt x="48" y="8"/>
                  </a:lnTo>
                  <a:lnTo>
                    <a:pt x="48" y="4"/>
                  </a:lnTo>
                  <a:lnTo>
                    <a:pt x="52" y="0"/>
                  </a:lnTo>
                  <a:lnTo>
                    <a:pt x="56" y="0"/>
                  </a:lnTo>
                  <a:lnTo>
                    <a:pt x="60" y="4"/>
                  </a:lnTo>
                  <a:lnTo>
                    <a:pt x="64" y="8"/>
                  </a:lnTo>
                  <a:lnTo>
                    <a:pt x="60" y="8"/>
                  </a:lnTo>
                  <a:lnTo>
                    <a:pt x="60" y="10"/>
                  </a:lnTo>
                  <a:lnTo>
                    <a:pt x="60" y="14"/>
                  </a:lnTo>
                  <a:lnTo>
                    <a:pt x="56" y="14"/>
                  </a:lnTo>
                  <a:lnTo>
                    <a:pt x="60" y="18"/>
                  </a:lnTo>
                  <a:lnTo>
                    <a:pt x="60" y="22"/>
                  </a:lnTo>
                  <a:lnTo>
                    <a:pt x="64" y="22"/>
                  </a:lnTo>
                  <a:lnTo>
                    <a:pt x="64" y="26"/>
                  </a:lnTo>
                  <a:lnTo>
                    <a:pt x="68" y="26"/>
                  </a:lnTo>
                  <a:lnTo>
                    <a:pt x="68" y="22"/>
                  </a:lnTo>
                  <a:lnTo>
                    <a:pt x="70" y="22"/>
                  </a:lnTo>
                  <a:lnTo>
                    <a:pt x="82" y="26"/>
                  </a:lnTo>
                  <a:lnTo>
                    <a:pt x="86" y="26"/>
                  </a:lnTo>
                  <a:lnTo>
                    <a:pt x="90" y="26"/>
                  </a:lnTo>
                  <a:lnTo>
                    <a:pt x="94" y="22"/>
                  </a:lnTo>
                  <a:lnTo>
                    <a:pt x="98" y="22"/>
                  </a:lnTo>
                  <a:lnTo>
                    <a:pt x="100" y="22"/>
                  </a:lnTo>
                  <a:lnTo>
                    <a:pt x="104" y="18"/>
                  </a:lnTo>
                  <a:lnTo>
                    <a:pt x="104" y="22"/>
                  </a:lnTo>
                  <a:lnTo>
                    <a:pt x="108" y="26"/>
                  </a:lnTo>
                  <a:lnTo>
                    <a:pt x="112" y="30"/>
                  </a:lnTo>
                  <a:lnTo>
                    <a:pt x="112" y="34"/>
                  </a:lnTo>
                  <a:lnTo>
                    <a:pt x="116" y="34"/>
                  </a:lnTo>
                  <a:lnTo>
                    <a:pt x="116" y="36"/>
                  </a:lnTo>
                  <a:lnTo>
                    <a:pt x="118" y="36"/>
                  </a:lnTo>
                  <a:lnTo>
                    <a:pt x="122" y="36"/>
                  </a:lnTo>
                  <a:lnTo>
                    <a:pt x="126" y="36"/>
                  </a:lnTo>
                  <a:lnTo>
                    <a:pt x="126" y="40"/>
                  </a:lnTo>
                  <a:lnTo>
                    <a:pt x="130" y="40"/>
                  </a:lnTo>
                  <a:lnTo>
                    <a:pt x="134" y="44"/>
                  </a:lnTo>
                  <a:lnTo>
                    <a:pt x="138" y="44"/>
                  </a:lnTo>
                  <a:lnTo>
                    <a:pt x="142" y="44"/>
                  </a:lnTo>
                  <a:lnTo>
                    <a:pt x="144" y="44"/>
                  </a:lnTo>
                  <a:lnTo>
                    <a:pt x="148" y="44"/>
                  </a:lnTo>
                  <a:lnTo>
                    <a:pt x="152" y="40"/>
                  </a:lnTo>
                  <a:lnTo>
                    <a:pt x="152" y="36"/>
                  </a:lnTo>
                  <a:lnTo>
                    <a:pt x="156" y="36"/>
                  </a:lnTo>
                  <a:lnTo>
                    <a:pt x="156" y="34"/>
                  </a:lnTo>
                  <a:lnTo>
                    <a:pt x="160" y="34"/>
                  </a:lnTo>
                  <a:lnTo>
                    <a:pt x="160" y="30"/>
                  </a:lnTo>
                  <a:lnTo>
                    <a:pt x="164" y="30"/>
                  </a:lnTo>
                  <a:lnTo>
                    <a:pt x="168" y="30"/>
                  </a:lnTo>
                  <a:lnTo>
                    <a:pt x="172" y="30"/>
                  </a:lnTo>
                  <a:lnTo>
                    <a:pt x="174" y="30"/>
                  </a:lnTo>
                  <a:lnTo>
                    <a:pt x="174" y="26"/>
                  </a:lnTo>
                  <a:lnTo>
                    <a:pt x="178" y="26"/>
                  </a:lnTo>
                  <a:lnTo>
                    <a:pt x="182" y="26"/>
                  </a:lnTo>
                  <a:lnTo>
                    <a:pt x="182" y="30"/>
                  </a:lnTo>
                  <a:lnTo>
                    <a:pt x="186" y="30"/>
                  </a:lnTo>
                  <a:lnTo>
                    <a:pt x="186" y="26"/>
                  </a:lnTo>
                  <a:lnTo>
                    <a:pt x="190" y="30"/>
                  </a:lnTo>
                  <a:lnTo>
                    <a:pt x="190" y="34"/>
                  </a:lnTo>
                  <a:lnTo>
                    <a:pt x="194" y="34"/>
                  </a:lnTo>
                  <a:lnTo>
                    <a:pt x="202" y="36"/>
                  </a:lnTo>
                  <a:lnTo>
                    <a:pt x="204" y="40"/>
                  </a:lnTo>
                  <a:lnTo>
                    <a:pt x="208" y="36"/>
                  </a:lnTo>
                  <a:lnTo>
                    <a:pt x="208" y="40"/>
                  </a:lnTo>
                  <a:lnTo>
                    <a:pt x="208" y="36"/>
                  </a:lnTo>
                  <a:lnTo>
                    <a:pt x="212" y="36"/>
                  </a:lnTo>
                  <a:lnTo>
                    <a:pt x="212" y="40"/>
                  </a:lnTo>
                  <a:lnTo>
                    <a:pt x="216" y="40"/>
                  </a:lnTo>
                  <a:lnTo>
                    <a:pt x="216" y="44"/>
                  </a:lnTo>
                  <a:lnTo>
                    <a:pt x="220" y="48"/>
                  </a:lnTo>
                  <a:lnTo>
                    <a:pt x="224" y="48"/>
                  </a:lnTo>
                  <a:lnTo>
                    <a:pt x="228" y="52"/>
                  </a:lnTo>
                  <a:lnTo>
                    <a:pt x="228" y="56"/>
                  </a:lnTo>
                  <a:lnTo>
                    <a:pt x="232" y="60"/>
                  </a:lnTo>
                  <a:lnTo>
                    <a:pt x="234" y="60"/>
                  </a:lnTo>
                  <a:lnTo>
                    <a:pt x="238" y="60"/>
                  </a:lnTo>
                  <a:lnTo>
                    <a:pt x="242" y="60"/>
                  </a:lnTo>
                  <a:lnTo>
                    <a:pt x="242" y="64"/>
                  </a:lnTo>
                  <a:lnTo>
                    <a:pt x="242" y="66"/>
                  </a:lnTo>
                  <a:lnTo>
                    <a:pt x="242" y="70"/>
                  </a:lnTo>
                  <a:lnTo>
                    <a:pt x="242" y="74"/>
                  </a:lnTo>
                  <a:lnTo>
                    <a:pt x="242" y="78"/>
                  </a:lnTo>
                  <a:lnTo>
                    <a:pt x="246" y="78"/>
                  </a:lnTo>
                  <a:lnTo>
                    <a:pt x="242" y="82"/>
                  </a:lnTo>
                  <a:lnTo>
                    <a:pt x="242" y="86"/>
                  </a:lnTo>
                  <a:lnTo>
                    <a:pt x="242" y="90"/>
                  </a:lnTo>
                  <a:lnTo>
                    <a:pt x="242" y="92"/>
                  </a:lnTo>
                  <a:lnTo>
                    <a:pt x="238" y="96"/>
                  </a:lnTo>
                  <a:lnTo>
                    <a:pt x="234" y="96"/>
                  </a:lnTo>
                  <a:lnTo>
                    <a:pt x="238" y="100"/>
                  </a:lnTo>
                  <a:lnTo>
                    <a:pt x="234" y="100"/>
                  </a:lnTo>
                  <a:lnTo>
                    <a:pt x="234" y="104"/>
                  </a:lnTo>
                  <a:lnTo>
                    <a:pt x="234" y="108"/>
                  </a:lnTo>
                  <a:lnTo>
                    <a:pt x="234" y="112"/>
                  </a:lnTo>
                  <a:lnTo>
                    <a:pt x="234" y="116"/>
                  </a:lnTo>
                  <a:lnTo>
                    <a:pt x="238" y="116"/>
                  </a:lnTo>
                  <a:lnTo>
                    <a:pt x="238" y="120"/>
                  </a:lnTo>
                  <a:lnTo>
                    <a:pt x="234" y="120"/>
                  </a:lnTo>
                  <a:lnTo>
                    <a:pt x="234" y="122"/>
                  </a:lnTo>
                  <a:lnTo>
                    <a:pt x="234" y="126"/>
                  </a:lnTo>
                  <a:lnTo>
                    <a:pt x="234" y="130"/>
                  </a:lnTo>
                  <a:lnTo>
                    <a:pt x="234" y="134"/>
                  </a:lnTo>
                  <a:lnTo>
                    <a:pt x="238" y="138"/>
                  </a:lnTo>
                  <a:lnTo>
                    <a:pt x="238" y="142"/>
                  </a:lnTo>
                  <a:lnTo>
                    <a:pt x="238" y="146"/>
                  </a:lnTo>
                  <a:lnTo>
                    <a:pt x="238" y="146"/>
                  </a:lnTo>
                  <a:lnTo>
                    <a:pt x="238" y="146"/>
                  </a:lnTo>
                  <a:close/>
                  <a:moveTo>
                    <a:pt x="164" y="238"/>
                  </a:moveTo>
                  <a:lnTo>
                    <a:pt x="164" y="242"/>
                  </a:lnTo>
                  <a:lnTo>
                    <a:pt x="164" y="238"/>
                  </a:lnTo>
                  <a:lnTo>
                    <a:pt x="168" y="238"/>
                  </a:lnTo>
                  <a:lnTo>
                    <a:pt x="164" y="238"/>
                  </a:lnTo>
                  <a:lnTo>
                    <a:pt x="164" y="238"/>
                  </a:lnTo>
                  <a:lnTo>
                    <a:pt x="164" y="238"/>
                  </a:lnTo>
                  <a:close/>
                  <a:moveTo>
                    <a:pt x="174" y="238"/>
                  </a:moveTo>
                  <a:lnTo>
                    <a:pt x="172" y="238"/>
                  </a:lnTo>
                  <a:lnTo>
                    <a:pt x="172" y="242"/>
                  </a:lnTo>
                  <a:lnTo>
                    <a:pt x="168" y="242"/>
                  </a:lnTo>
                  <a:lnTo>
                    <a:pt x="164" y="242"/>
                  </a:lnTo>
                  <a:lnTo>
                    <a:pt x="160" y="246"/>
                  </a:lnTo>
                  <a:lnTo>
                    <a:pt x="160" y="242"/>
                  </a:lnTo>
                  <a:lnTo>
                    <a:pt x="164" y="242"/>
                  </a:lnTo>
                  <a:lnTo>
                    <a:pt x="168" y="242"/>
                  </a:lnTo>
                  <a:lnTo>
                    <a:pt x="168" y="238"/>
                  </a:lnTo>
                  <a:lnTo>
                    <a:pt x="172" y="238"/>
                  </a:lnTo>
                  <a:lnTo>
                    <a:pt x="172" y="234"/>
                  </a:lnTo>
                  <a:lnTo>
                    <a:pt x="174" y="238"/>
                  </a:lnTo>
                  <a:lnTo>
                    <a:pt x="174" y="238"/>
                  </a:lnTo>
                  <a:lnTo>
                    <a:pt x="174" y="23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37" name="Freeform 30"/>
            <p:cNvSpPr>
              <a:spLocks/>
            </p:cNvSpPr>
            <p:nvPr/>
          </p:nvSpPr>
          <p:spPr bwMode="auto">
            <a:xfrm>
              <a:off x="7384418" y="3727633"/>
              <a:ext cx="86661" cy="100684"/>
            </a:xfrm>
            <a:custGeom>
              <a:avLst/>
              <a:gdLst>
                <a:gd name="T0" fmla="*/ 4 w 138"/>
                <a:gd name="T1" fmla="*/ 90 h 154"/>
                <a:gd name="T2" fmla="*/ 14 w 138"/>
                <a:gd name="T3" fmla="*/ 68 h 154"/>
                <a:gd name="T4" fmla="*/ 34 w 138"/>
                <a:gd name="T5" fmla="*/ 56 h 154"/>
                <a:gd name="T6" fmla="*/ 34 w 138"/>
                <a:gd name="T7" fmla="*/ 40 h 154"/>
                <a:gd name="T8" fmla="*/ 38 w 138"/>
                <a:gd name="T9" fmla="*/ 38 h 154"/>
                <a:gd name="T10" fmla="*/ 38 w 138"/>
                <a:gd name="T11" fmla="*/ 34 h 154"/>
                <a:gd name="T12" fmla="*/ 38 w 138"/>
                <a:gd name="T13" fmla="*/ 18 h 154"/>
                <a:gd name="T14" fmla="*/ 52 w 138"/>
                <a:gd name="T15" fmla="*/ 4 h 154"/>
                <a:gd name="T16" fmla="*/ 56 w 138"/>
                <a:gd name="T17" fmla="*/ 0 h 154"/>
                <a:gd name="T18" fmla="*/ 60 w 138"/>
                <a:gd name="T19" fmla="*/ 0 h 154"/>
                <a:gd name="T20" fmla="*/ 74 w 138"/>
                <a:gd name="T21" fmla="*/ 4 h 154"/>
                <a:gd name="T22" fmla="*/ 74 w 138"/>
                <a:gd name="T23" fmla="*/ 0 h 154"/>
                <a:gd name="T24" fmla="*/ 78 w 138"/>
                <a:gd name="T25" fmla="*/ 4 h 154"/>
                <a:gd name="T26" fmla="*/ 82 w 138"/>
                <a:gd name="T27" fmla="*/ 4 h 154"/>
                <a:gd name="T28" fmla="*/ 86 w 138"/>
                <a:gd name="T29" fmla="*/ 4 h 154"/>
                <a:gd name="T30" fmla="*/ 86 w 138"/>
                <a:gd name="T31" fmla="*/ 8 h 154"/>
                <a:gd name="T32" fmla="*/ 86 w 138"/>
                <a:gd name="T33" fmla="*/ 10 h 154"/>
                <a:gd name="T34" fmla="*/ 90 w 138"/>
                <a:gd name="T35" fmla="*/ 14 h 154"/>
                <a:gd name="T36" fmla="*/ 90 w 138"/>
                <a:gd name="T37" fmla="*/ 18 h 154"/>
                <a:gd name="T38" fmla="*/ 94 w 138"/>
                <a:gd name="T39" fmla="*/ 18 h 154"/>
                <a:gd name="T40" fmla="*/ 96 w 138"/>
                <a:gd name="T41" fmla="*/ 26 h 154"/>
                <a:gd name="T42" fmla="*/ 100 w 138"/>
                <a:gd name="T43" fmla="*/ 30 h 154"/>
                <a:gd name="T44" fmla="*/ 104 w 138"/>
                <a:gd name="T45" fmla="*/ 30 h 154"/>
                <a:gd name="T46" fmla="*/ 108 w 138"/>
                <a:gd name="T47" fmla="*/ 30 h 154"/>
                <a:gd name="T48" fmla="*/ 104 w 138"/>
                <a:gd name="T49" fmla="*/ 30 h 154"/>
                <a:gd name="T50" fmla="*/ 104 w 138"/>
                <a:gd name="T51" fmla="*/ 38 h 154"/>
                <a:gd name="T52" fmla="*/ 104 w 138"/>
                <a:gd name="T53" fmla="*/ 40 h 154"/>
                <a:gd name="T54" fmla="*/ 100 w 138"/>
                <a:gd name="T55" fmla="*/ 44 h 154"/>
                <a:gd name="T56" fmla="*/ 96 w 138"/>
                <a:gd name="T57" fmla="*/ 48 h 154"/>
                <a:gd name="T58" fmla="*/ 100 w 138"/>
                <a:gd name="T59" fmla="*/ 52 h 154"/>
                <a:gd name="T60" fmla="*/ 96 w 138"/>
                <a:gd name="T61" fmla="*/ 56 h 154"/>
                <a:gd name="T62" fmla="*/ 96 w 138"/>
                <a:gd name="T63" fmla="*/ 60 h 154"/>
                <a:gd name="T64" fmla="*/ 96 w 138"/>
                <a:gd name="T65" fmla="*/ 64 h 154"/>
                <a:gd name="T66" fmla="*/ 100 w 138"/>
                <a:gd name="T67" fmla="*/ 70 h 154"/>
                <a:gd name="T68" fmla="*/ 100 w 138"/>
                <a:gd name="T69" fmla="*/ 74 h 154"/>
                <a:gd name="T70" fmla="*/ 104 w 138"/>
                <a:gd name="T71" fmla="*/ 74 h 154"/>
                <a:gd name="T72" fmla="*/ 104 w 138"/>
                <a:gd name="T73" fmla="*/ 78 h 154"/>
                <a:gd name="T74" fmla="*/ 104 w 138"/>
                <a:gd name="T75" fmla="*/ 82 h 154"/>
                <a:gd name="T76" fmla="*/ 108 w 138"/>
                <a:gd name="T77" fmla="*/ 82 h 154"/>
                <a:gd name="T78" fmla="*/ 112 w 138"/>
                <a:gd name="T79" fmla="*/ 86 h 154"/>
                <a:gd name="T80" fmla="*/ 116 w 138"/>
                <a:gd name="T81" fmla="*/ 90 h 154"/>
                <a:gd name="T82" fmla="*/ 120 w 138"/>
                <a:gd name="T83" fmla="*/ 94 h 154"/>
                <a:gd name="T84" fmla="*/ 126 w 138"/>
                <a:gd name="T85" fmla="*/ 98 h 154"/>
                <a:gd name="T86" fmla="*/ 130 w 138"/>
                <a:gd name="T87" fmla="*/ 104 h 154"/>
                <a:gd name="T88" fmla="*/ 126 w 138"/>
                <a:gd name="T89" fmla="*/ 116 h 154"/>
                <a:gd name="T90" fmla="*/ 130 w 138"/>
                <a:gd name="T91" fmla="*/ 120 h 154"/>
                <a:gd name="T92" fmla="*/ 130 w 138"/>
                <a:gd name="T93" fmla="*/ 130 h 154"/>
                <a:gd name="T94" fmla="*/ 138 w 138"/>
                <a:gd name="T95" fmla="*/ 134 h 154"/>
                <a:gd name="T96" fmla="*/ 138 w 138"/>
                <a:gd name="T97" fmla="*/ 138 h 154"/>
                <a:gd name="T98" fmla="*/ 134 w 138"/>
                <a:gd name="T99" fmla="*/ 138 h 154"/>
                <a:gd name="T100" fmla="*/ 130 w 138"/>
                <a:gd name="T101" fmla="*/ 138 h 154"/>
                <a:gd name="T102" fmla="*/ 124 w 138"/>
                <a:gd name="T103" fmla="*/ 134 h 154"/>
                <a:gd name="T104" fmla="*/ 120 w 138"/>
                <a:gd name="T105" fmla="*/ 138 h 154"/>
                <a:gd name="T106" fmla="*/ 116 w 138"/>
                <a:gd name="T107" fmla="*/ 150 h 154"/>
                <a:gd name="T108" fmla="*/ 112 w 138"/>
                <a:gd name="T109" fmla="*/ 154 h 154"/>
                <a:gd name="T110" fmla="*/ 104 w 138"/>
                <a:gd name="T111" fmla="*/ 154 h 154"/>
                <a:gd name="T112" fmla="*/ 38 w 138"/>
                <a:gd name="T113" fmla="*/ 112 h 154"/>
                <a:gd name="T114" fmla="*/ 8 w 138"/>
                <a:gd name="T115" fmla="*/ 9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8" h="154">
                  <a:moveTo>
                    <a:pt x="8" y="98"/>
                  </a:moveTo>
                  <a:lnTo>
                    <a:pt x="8" y="98"/>
                  </a:lnTo>
                  <a:lnTo>
                    <a:pt x="8" y="94"/>
                  </a:lnTo>
                  <a:lnTo>
                    <a:pt x="4" y="94"/>
                  </a:lnTo>
                  <a:lnTo>
                    <a:pt x="4" y="94"/>
                  </a:lnTo>
                  <a:lnTo>
                    <a:pt x="4" y="90"/>
                  </a:lnTo>
                  <a:lnTo>
                    <a:pt x="0" y="74"/>
                  </a:lnTo>
                  <a:lnTo>
                    <a:pt x="0" y="74"/>
                  </a:lnTo>
                  <a:lnTo>
                    <a:pt x="4" y="74"/>
                  </a:lnTo>
                  <a:lnTo>
                    <a:pt x="8" y="70"/>
                  </a:lnTo>
                  <a:lnTo>
                    <a:pt x="12" y="68"/>
                  </a:lnTo>
                  <a:lnTo>
                    <a:pt x="14" y="68"/>
                  </a:lnTo>
                  <a:lnTo>
                    <a:pt x="18" y="64"/>
                  </a:lnTo>
                  <a:lnTo>
                    <a:pt x="18" y="64"/>
                  </a:lnTo>
                  <a:lnTo>
                    <a:pt x="22" y="64"/>
                  </a:lnTo>
                  <a:lnTo>
                    <a:pt x="26" y="60"/>
                  </a:lnTo>
                  <a:lnTo>
                    <a:pt x="34" y="56"/>
                  </a:lnTo>
                  <a:lnTo>
                    <a:pt x="34" y="56"/>
                  </a:lnTo>
                  <a:lnTo>
                    <a:pt x="34" y="52"/>
                  </a:lnTo>
                  <a:lnTo>
                    <a:pt x="34" y="48"/>
                  </a:lnTo>
                  <a:lnTo>
                    <a:pt x="34" y="44"/>
                  </a:lnTo>
                  <a:lnTo>
                    <a:pt x="34" y="44"/>
                  </a:lnTo>
                  <a:lnTo>
                    <a:pt x="34" y="40"/>
                  </a:lnTo>
                  <a:lnTo>
                    <a:pt x="34" y="40"/>
                  </a:lnTo>
                  <a:lnTo>
                    <a:pt x="34" y="40"/>
                  </a:lnTo>
                  <a:lnTo>
                    <a:pt x="34" y="40"/>
                  </a:lnTo>
                  <a:lnTo>
                    <a:pt x="34" y="40"/>
                  </a:lnTo>
                  <a:lnTo>
                    <a:pt x="38" y="38"/>
                  </a:lnTo>
                  <a:lnTo>
                    <a:pt x="38" y="38"/>
                  </a:lnTo>
                  <a:lnTo>
                    <a:pt x="38" y="38"/>
                  </a:lnTo>
                  <a:lnTo>
                    <a:pt x="38" y="38"/>
                  </a:lnTo>
                  <a:lnTo>
                    <a:pt x="38" y="38"/>
                  </a:lnTo>
                  <a:lnTo>
                    <a:pt x="38" y="38"/>
                  </a:lnTo>
                  <a:lnTo>
                    <a:pt x="38" y="34"/>
                  </a:lnTo>
                  <a:lnTo>
                    <a:pt x="38" y="34"/>
                  </a:lnTo>
                  <a:lnTo>
                    <a:pt x="38" y="34"/>
                  </a:lnTo>
                  <a:lnTo>
                    <a:pt x="38" y="30"/>
                  </a:lnTo>
                  <a:lnTo>
                    <a:pt x="38" y="30"/>
                  </a:lnTo>
                  <a:lnTo>
                    <a:pt x="38" y="26"/>
                  </a:lnTo>
                  <a:lnTo>
                    <a:pt x="38" y="26"/>
                  </a:lnTo>
                  <a:lnTo>
                    <a:pt x="38" y="18"/>
                  </a:lnTo>
                  <a:lnTo>
                    <a:pt x="38" y="18"/>
                  </a:lnTo>
                  <a:lnTo>
                    <a:pt x="38" y="14"/>
                  </a:lnTo>
                  <a:lnTo>
                    <a:pt x="44" y="14"/>
                  </a:lnTo>
                  <a:lnTo>
                    <a:pt x="52" y="8"/>
                  </a:lnTo>
                  <a:lnTo>
                    <a:pt x="52" y="8"/>
                  </a:lnTo>
                  <a:lnTo>
                    <a:pt x="52" y="4"/>
                  </a:lnTo>
                  <a:lnTo>
                    <a:pt x="52" y="4"/>
                  </a:lnTo>
                  <a:lnTo>
                    <a:pt x="52" y="4"/>
                  </a:lnTo>
                  <a:lnTo>
                    <a:pt x="52" y="4"/>
                  </a:lnTo>
                  <a:lnTo>
                    <a:pt x="56" y="4"/>
                  </a:lnTo>
                  <a:lnTo>
                    <a:pt x="56" y="4"/>
                  </a:lnTo>
                  <a:lnTo>
                    <a:pt x="56" y="0"/>
                  </a:lnTo>
                  <a:lnTo>
                    <a:pt x="56" y="0"/>
                  </a:lnTo>
                  <a:lnTo>
                    <a:pt x="56" y="0"/>
                  </a:lnTo>
                  <a:lnTo>
                    <a:pt x="60" y="0"/>
                  </a:lnTo>
                  <a:lnTo>
                    <a:pt x="60" y="0"/>
                  </a:lnTo>
                  <a:lnTo>
                    <a:pt x="60" y="0"/>
                  </a:lnTo>
                  <a:lnTo>
                    <a:pt x="60" y="0"/>
                  </a:lnTo>
                  <a:lnTo>
                    <a:pt x="60" y="0"/>
                  </a:lnTo>
                  <a:lnTo>
                    <a:pt x="64" y="0"/>
                  </a:lnTo>
                  <a:lnTo>
                    <a:pt x="68" y="4"/>
                  </a:lnTo>
                  <a:lnTo>
                    <a:pt x="70" y="4"/>
                  </a:lnTo>
                  <a:lnTo>
                    <a:pt x="70" y="4"/>
                  </a:lnTo>
                  <a:lnTo>
                    <a:pt x="74" y="4"/>
                  </a:lnTo>
                  <a:lnTo>
                    <a:pt x="74" y="4"/>
                  </a:lnTo>
                  <a:lnTo>
                    <a:pt x="74" y="0"/>
                  </a:lnTo>
                  <a:lnTo>
                    <a:pt x="74" y="0"/>
                  </a:lnTo>
                  <a:lnTo>
                    <a:pt x="74" y="0"/>
                  </a:lnTo>
                  <a:lnTo>
                    <a:pt x="74" y="0"/>
                  </a:lnTo>
                  <a:lnTo>
                    <a:pt x="74" y="0"/>
                  </a:lnTo>
                  <a:lnTo>
                    <a:pt x="74" y="0"/>
                  </a:lnTo>
                  <a:lnTo>
                    <a:pt x="78" y="0"/>
                  </a:lnTo>
                  <a:lnTo>
                    <a:pt x="78" y="4"/>
                  </a:lnTo>
                  <a:lnTo>
                    <a:pt x="78" y="4"/>
                  </a:lnTo>
                  <a:lnTo>
                    <a:pt x="78" y="4"/>
                  </a:lnTo>
                  <a:lnTo>
                    <a:pt x="78" y="4"/>
                  </a:lnTo>
                  <a:lnTo>
                    <a:pt x="78" y="4"/>
                  </a:lnTo>
                  <a:lnTo>
                    <a:pt x="78" y="8"/>
                  </a:lnTo>
                  <a:lnTo>
                    <a:pt x="78" y="8"/>
                  </a:lnTo>
                  <a:lnTo>
                    <a:pt x="78" y="8"/>
                  </a:lnTo>
                  <a:lnTo>
                    <a:pt x="78" y="8"/>
                  </a:lnTo>
                  <a:lnTo>
                    <a:pt x="82" y="8"/>
                  </a:lnTo>
                  <a:lnTo>
                    <a:pt x="82" y="4"/>
                  </a:lnTo>
                  <a:lnTo>
                    <a:pt x="82" y="4"/>
                  </a:lnTo>
                  <a:lnTo>
                    <a:pt x="82" y="4"/>
                  </a:lnTo>
                  <a:lnTo>
                    <a:pt x="82" y="4"/>
                  </a:lnTo>
                  <a:lnTo>
                    <a:pt x="82" y="4"/>
                  </a:lnTo>
                  <a:lnTo>
                    <a:pt x="82" y="4"/>
                  </a:lnTo>
                  <a:lnTo>
                    <a:pt x="86" y="4"/>
                  </a:lnTo>
                  <a:lnTo>
                    <a:pt x="86" y="4"/>
                  </a:lnTo>
                  <a:lnTo>
                    <a:pt x="86" y="4"/>
                  </a:lnTo>
                  <a:lnTo>
                    <a:pt x="86" y="4"/>
                  </a:lnTo>
                  <a:lnTo>
                    <a:pt x="86" y="4"/>
                  </a:lnTo>
                  <a:lnTo>
                    <a:pt x="86" y="8"/>
                  </a:lnTo>
                  <a:lnTo>
                    <a:pt x="86" y="8"/>
                  </a:lnTo>
                  <a:lnTo>
                    <a:pt x="86" y="8"/>
                  </a:lnTo>
                  <a:lnTo>
                    <a:pt x="86" y="8"/>
                  </a:lnTo>
                  <a:lnTo>
                    <a:pt x="86" y="8"/>
                  </a:lnTo>
                  <a:lnTo>
                    <a:pt x="86" y="10"/>
                  </a:lnTo>
                  <a:lnTo>
                    <a:pt x="86" y="10"/>
                  </a:lnTo>
                  <a:lnTo>
                    <a:pt x="86" y="10"/>
                  </a:lnTo>
                  <a:lnTo>
                    <a:pt x="86" y="10"/>
                  </a:lnTo>
                  <a:lnTo>
                    <a:pt x="86" y="10"/>
                  </a:lnTo>
                  <a:lnTo>
                    <a:pt x="90" y="10"/>
                  </a:lnTo>
                  <a:lnTo>
                    <a:pt x="90" y="10"/>
                  </a:lnTo>
                  <a:lnTo>
                    <a:pt x="90" y="10"/>
                  </a:lnTo>
                  <a:lnTo>
                    <a:pt x="90" y="14"/>
                  </a:lnTo>
                  <a:lnTo>
                    <a:pt x="90" y="14"/>
                  </a:lnTo>
                  <a:lnTo>
                    <a:pt x="90" y="14"/>
                  </a:lnTo>
                  <a:lnTo>
                    <a:pt x="90" y="14"/>
                  </a:lnTo>
                  <a:lnTo>
                    <a:pt x="90" y="14"/>
                  </a:lnTo>
                  <a:lnTo>
                    <a:pt x="90" y="18"/>
                  </a:lnTo>
                  <a:lnTo>
                    <a:pt x="90" y="18"/>
                  </a:lnTo>
                  <a:lnTo>
                    <a:pt x="90" y="18"/>
                  </a:lnTo>
                  <a:lnTo>
                    <a:pt x="90" y="18"/>
                  </a:lnTo>
                  <a:lnTo>
                    <a:pt x="90" y="18"/>
                  </a:lnTo>
                  <a:lnTo>
                    <a:pt x="94" y="18"/>
                  </a:lnTo>
                  <a:lnTo>
                    <a:pt x="94" y="18"/>
                  </a:lnTo>
                  <a:lnTo>
                    <a:pt x="94" y="18"/>
                  </a:lnTo>
                  <a:lnTo>
                    <a:pt x="94" y="18"/>
                  </a:lnTo>
                  <a:lnTo>
                    <a:pt x="94" y="22"/>
                  </a:lnTo>
                  <a:lnTo>
                    <a:pt x="94" y="22"/>
                  </a:lnTo>
                  <a:lnTo>
                    <a:pt x="94" y="26"/>
                  </a:lnTo>
                  <a:lnTo>
                    <a:pt x="94" y="26"/>
                  </a:lnTo>
                  <a:lnTo>
                    <a:pt x="96" y="26"/>
                  </a:lnTo>
                  <a:lnTo>
                    <a:pt x="96" y="26"/>
                  </a:lnTo>
                  <a:lnTo>
                    <a:pt x="96" y="26"/>
                  </a:lnTo>
                  <a:lnTo>
                    <a:pt x="96" y="26"/>
                  </a:lnTo>
                  <a:lnTo>
                    <a:pt x="96" y="26"/>
                  </a:lnTo>
                  <a:lnTo>
                    <a:pt x="96" y="26"/>
                  </a:lnTo>
                  <a:lnTo>
                    <a:pt x="100" y="30"/>
                  </a:lnTo>
                  <a:lnTo>
                    <a:pt x="100" y="30"/>
                  </a:lnTo>
                  <a:lnTo>
                    <a:pt x="100" y="30"/>
                  </a:lnTo>
                  <a:lnTo>
                    <a:pt x="100" y="30"/>
                  </a:lnTo>
                  <a:lnTo>
                    <a:pt x="100" y="30"/>
                  </a:lnTo>
                  <a:lnTo>
                    <a:pt x="100" y="30"/>
                  </a:lnTo>
                  <a:lnTo>
                    <a:pt x="104" y="30"/>
                  </a:lnTo>
                  <a:lnTo>
                    <a:pt x="104" y="30"/>
                  </a:lnTo>
                  <a:lnTo>
                    <a:pt x="104" y="30"/>
                  </a:lnTo>
                  <a:lnTo>
                    <a:pt x="104" y="30"/>
                  </a:lnTo>
                  <a:lnTo>
                    <a:pt x="104" y="30"/>
                  </a:lnTo>
                  <a:lnTo>
                    <a:pt x="108" y="30"/>
                  </a:lnTo>
                  <a:lnTo>
                    <a:pt x="108" y="30"/>
                  </a:lnTo>
                  <a:lnTo>
                    <a:pt x="108" y="30"/>
                  </a:lnTo>
                  <a:lnTo>
                    <a:pt x="108" y="30"/>
                  </a:lnTo>
                  <a:lnTo>
                    <a:pt x="108" y="30"/>
                  </a:lnTo>
                  <a:lnTo>
                    <a:pt x="108" y="30"/>
                  </a:lnTo>
                  <a:lnTo>
                    <a:pt x="104" y="30"/>
                  </a:lnTo>
                  <a:lnTo>
                    <a:pt x="104" y="30"/>
                  </a:lnTo>
                  <a:lnTo>
                    <a:pt x="104" y="30"/>
                  </a:lnTo>
                  <a:lnTo>
                    <a:pt x="104" y="30"/>
                  </a:lnTo>
                  <a:lnTo>
                    <a:pt x="104" y="34"/>
                  </a:lnTo>
                  <a:lnTo>
                    <a:pt x="100" y="34"/>
                  </a:lnTo>
                  <a:lnTo>
                    <a:pt x="104" y="38"/>
                  </a:lnTo>
                  <a:lnTo>
                    <a:pt x="104" y="38"/>
                  </a:lnTo>
                  <a:lnTo>
                    <a:pt x="104" y="38"/>
                  </a:lnTo>
                  <a:lnTo>
                    <a:pt x="104" y="38"/>
                  </a:lnTo>
                  <a:lnTo>
                    <a:pt x="104" y="40"/>
                  </a:lnTo>
                  <a:lnTo>
                    <a:pt x="104" y="40"/>
                  </a:lnTo>
                  <a:lnTo>
                    <a:pt x="104" y="40"/>
                  </a:lnTo>
                  <a:lnTo>
                    <a:pt x="104" y="40"/>
                  </a:lnTo>
                  <a:lnTo>
                    <a:pt x="104" y="44"/>
                  </a:lnTo>
                  <a:lnTo>
                    <a:pt x="104" y="44"/>
                  </a:lnTo>
                  <a:lnTo>
                    <a:pt x="100" y="44"/>
                  </a:lnTo>
                  <a:lnTo>
                    <a:pt x="100" y="44"/>
                  </a:lnTo>
                  <a:lnTo>
                    <a:pt x="100" y="44"/>
                  </a:lnTo>
                  <a:lnTo>
                    <a:pt x="100" y="44"/>
                  </a:lnTo>
                  <a:lnTo>
                    <a:pt x="100" y="44"/>
                  </a:lnTo>
                  <a:lnTo>
                    <a:pt x="100" y="48"/>
                  </a:lnTo>
                  <a:lnTo>
                    <a:pt x="100" y="44"/>
                  </a:lnTo>
                  <a:lnTo>
                    <a:pt x="100" y="48"/>
                  </a:lnTo>
                  <a:lnTo>
                    <a:pt x="100" y="48"/>
                  </a:lnTo>
                  <a:lnTo>
                    <a:pt x="96" y="48"/>
                  </a:lnTo>
                  <a:lnTo>
                    <a:pt x="96" y="48"/>
                  </a:lnTo>
                  <a:lnTo>
                    <a:pt x="96" y="48"/>
                  </a:lnTo>
                  <a:lnTo>
                    <a:pt x="96" y="48"/>
                  </a:lnTo>
                  <a:lnTo>
                    <a:pt x="96" y="52"/>
                  </a:lnTo>
                  <a:lnTo>
                    <a:pt x="96" y="52"/>
                  </a:lnTo>
                  <a:lnTo>
                    <a:pt x="100" y="52"/>
                  </a:lnTo>
                  <a:lnTo>
                    <a:pt x="96" y="52"/>
                  </a:lnTo>
                  <a:lnTo>
                    <a:pt x="96" y="52"/>
                  </a:lnTo>
                  <a:lnTo>
                    <a:pt x="96" y="52"/>
                  </a:lnTo>
                  <a:lnTo>
                    <a:pt x="94" y="56"/>
                  </a:lnTo>
                  <a:lnTo>
                    <a:pt x="96" y="56"/>
                  </a:lnTo>
                  <a:lnTo>
                    <a:pt x="96" y="56"/>
                  </a:lnTo>
                  <a:lnTo>
                    <a:pt x="96" y="56"/>
                  </a:lnTo>
                  <a:lnTo>
                    <a:pt x="96" y="56"/>
                  </a:lnTo>
                  <a:lnTo>
                    <a:pt x="96" y="56"/>
                  </a:lnTo>
                  <a:lnTo>
                    <a:pt x="96" y="60"/>
                  </a:lnTo>
                  <a:lnTo>
                    <a:pt x="96" y="60"/>
                  </a:lnTo>
                  <a:lnTo>
                    <a:pt x="96" y="60"/>
                  </a:lnTo>
                  <a:lnTo>
                    <a:pt x="96" y="64"/>
                  </a:lnTo>
                  <a:lnTo>
                    <a:pt x="94" y="64"/>
                  </a:lnTo>
                  <a:lnTo>
                    <a:pt x="94" y="64"/>
                  </a:lnTo>
                  <a:lnTo>
                    <a:pt x="94" y="64"/>
                  </a:lnTo>
                  <a:lnTo>
                    <a:pt x="96" y="64"/>
                  </a:lnTo>
                  <a:lnTo>
                    <a:pt x="96" y="64"/>
                  </a:lnTo>
                  <a:lnTo>
                    <a:pt x="96" y="68"/>
                  </a:lnTo>
                  <a:lnTo>
                    <a:pt x="96" y="68"/>
                  </a:lnTo>
                  <a:lnTo>
                    <a:pt x="96" y="68"/>
                  </a:lnTo>
                  <a:lnTo>
                    <a:pt x="96" y="70"/>
                  </a:lnTo>
                  <a:lnTo>
                    <a:pt x="100" y="70"/>
                  </a:lnTo>
                  <a:lnTo>
                    <a:pt x="100" y="70"/>
                  </a:lnTo>
                  <a:lnTo>
                    <a:pt x="100" y="70"/>
                  </a:lnTo>
                  <a:lnTo>
                    <a:pt x="100" y="70"/>
                  </a:lnTo>
                  <a:lnTo>
                    <a:pt x="100" y="70"/>
                  </a:lnTo>
                  <a:lnTo>
                    <a:pt x="100" y="70"/>
                  </a:lnTo>
                  <a:lnTo>
                    <a:pt x="100" y="70"/>
                  </a:lnTo>
                  <a:lnTo>
                    <a:pt x="100" y="74"/>
                  </a:lnTo>
                  <a:lnTo>
                    <a:pt x="100" y="74"/>
                  </a:lnTo>
                  <a:lnTo>
                    <a:pt x="100" y="74"/>
                  </a:lnTo>
                  <a:lnTo>
                    <a:pt x="104" y="74"/>
                  </a:lnTo>
                  <a:lnTo>
                    <a:pt x="104" y="74"/>
                  </a:lnTo>
                  <a:lnTo>
                    <a:pt x="104" y="74"/>
                  </a:lnTo>
                  <a:lnTo>
                    <a:pt x="104" y="74"/>
                  </a:lnTo>
                  <a:lnTo>
                    <a:pt x="104" y="74"/>
                  </a:lnTo>
                  <a:lnTo>
                    <a:pt x="104" y="74"/>
                  </a:lnTo>
                  <a:lnTo>
                    <a:pt x="104" y="78"/>
                  </a:lnTo>
                  <a:lnTo>
                    <a:pt x="104" y="78"/>
                  </a:lnTo>
                  <a:lnTo>
                    <a:pt x="104" y="78"/>
                  </a:lnTo>
                  <a:lnTo>
                    <a:pt x="104" y="78"/>
                  </a:lnTo>
                  <a:lnTo>
                    <a:pt x="104" y="82"/>
                  </a:lnTo>
                  <a:lnTo>
                    <a:pt x="104" y="82"/>
                  </a:lnTo>
                  <a:lnTo>
                    <a:pt x="104" y="82"/>
                  </a:lnTo>
                  <a:lnTo>
                    <a:pt x="104" y="82"/>
                  </a:lnTo>
                  <a:lnTo>
                    <a:pt x="104" y="82"/>
                  </a:lnTo>
                  <a:lnTo>
                    <a:pt x="104" y="82"/>
                  </a:lnTo>
                  <a:lnTo>
                    <a:pt x="104" y="82"/>
                  </a:lnTo>
                  <a:lnTo>
                    <a:pt x="108" y="82"/>
                  </a:lnTo>
                  <a:lnTo>
                    <a:pt x="108" y="82"/>
                  </a:lnTo>
                  <a:lnTo>
                    <a:pt x="108" y="82"/>
                  </a:lnTo>
                  <a:lnTo>
                    <a:pt x="108" y="82"/>
                  </a:lnTo>
                  <a:lnTo>
                    <a:pt x="108" y="82"/>
                  </a:lnTo>
                  <a:lnTo>
                    <a:pt x="108" y="82"/>
                  </a:lnTo>
                  <a:lnTo>
                    <a:pt x="112" y="86"/>
                  </a:lnTo>
                  <a:lnTo>
                    <a:pt x="112" y="86"/>
                  </a:lnTo>
                  <a:lnTo>
                    <a:pt x="112" y="86"/>
                  </a:lnTo>
                  <a:lnTo>
                    <a:pt x="112" y="86"/>
                  </a:lnTo>
                  <a:lnTo>
                    <a:pt x="112" y="86"/>
                  </a:lnTo>
                  <a:lnTo>
                    <a:pt x="116" y="90"/>
                  </a:lnTo>
                  <a:lnTo>
                    <a:pt x="116" y="90"/>
                  </a:lnTo>
                  <a:lnTo>
                    <a:pt x="116" y="90"/>
                  </a:lnTo>
                  <a:lnTo>
                    <a:pt x="116" y="90"/>
                  </a:lnTo>
                  <a:lnTo>
                    <a:pt x="116" y="90"/>
                  </a:lnTo>
                  <a:lnTo>
                    <a:pt x="116" y="90"/>
                  </a:lnTo>
                  <a:lnTo>
                    <a:pt x="120" y="90"/>
                  </a:lnTo>
                  <a:lnTo>
                    <a:pt x="120" y="90"/>
                  </a:lnTo>
                  <a:lnTo>
                    <a:pt x="120" y="94"/>
                  </a:lnTo>
                  <a:lnTo>
                    <a:pt x="120" y="94"/>
                  </a:lnTo>
                  <a:lnTo>
                    <a:pt x="120" y="94"/>
                  </a:lnTo>
                  <a:lnTo>
                    <a:pt x="120" y="94"/>
                  </a:lnTo>
                  <a:lnTo>
                    <a:pt x="120" y="94"/>
                  </a:lnTo>
                  <a:lnTo>
                    <a:pt x="124" y="94"/>
                  </a:lnTo>
                  <a:lnTo>
                    <a:pt x="124" y="94"/>
                  </a:lnTo>
                  <a:lnTo>
                    <a:pt x="124" y="94"/>
                  </a:lnTo>
                  <a:lnTo>
                    <a:pt x="124" y="98"/>
                  </a:lnTo>
                  <a:lnTo>
                    <a:pt x="126" y="98"/>
                  </a:lnTo>
                  <a:lnTo>
                    <a:pt x="126" y="100"/>
                  </a:lnTo>
                  <a:lnTo>
                    <a:pt x="126" y="100"/>
                  </a:lnTo>
                  <a:lnTo>
                    <a:pt x="126" y="104"/>
                  </a:lnTo>
                  <a:lnTo>
                    <a:pt x="130" y="104"/>
                  </a:lnTo>
                  <a:lnTo>
                    <a:pt x="130" y="104"/>
                  </a:lnTo>
                  <a:lnTo>
                    <a:pt x="130" y="104"/>
                  </a:lnTo>
                  <a:lnTo>
                    <a:pt x="126" y="108"/>
                  </a:lnTo>
                  <a:lnTo>
                    <a:pt x="126" y="108"/>
                  </a:lnTo>
                  <a:lnTo>
                    <a:pt x="126" y="112"/>
                  </a:lnTo>
                  <a:lnTo>
                    <a:pt x="126" y="112"/>
                  </a:lnTo>
                  <a:lnTo>
                    <a:pt x="126" y="112"/>
                  </a:lnTo>
                  <a:lnTo>
                    <a:pt x="126" y="116"/>
                  </a:lnTo>
                  <a:lnTo>
                    <a:pt x="126" y="116"/>
                  </a:lnTo>
                  <a:lnTo>
                    <a:pt x="126" y="116"/>
                  </a:lnTo>
                  <a:lnTo>
                    <a:pt x="126" y="116"/>
                  </a:lnTo>
                  <a:lnTo>
                    <a:pt x="126" y="120"/>
                  </a:lnTo>
                  <a:lnTo>
                    <a:pt x="130" y="120"/>
                  </a:lnTo>
                  <a:lnTo>
                    <a:pt x="130" y="120"/>
                  </a:lnTo>
                  <a:lnTo>
                    <a:pt x="130" y="120"/>
                  </a:lnTo>
                  <a:lnTo>
                    <a:pt x="130" y="120"/>
                  </a:lnTo>
                  <a:lnTo>
                    <a:pt x="130" y="128"/>
                  </a:lnTo>
                  <a:lnTo>
                    <a:pt x="130" y="128"/>
                  </a:lnTo>
                  <a:lnTo>
                    <a:pt x="130" y="128"/>
                  </a:lnTo>
                  <a:lnTo>
                    <a:pt x="130" y="130"/>
                  </a:lnTo>
                  <a:lnTo>
                    <a:pt x="134" y="130"/>
                  </a:lnTo>
                  <a:lnTo>
                    <a:pt x="134" y="130"/>
                  </a:lnTo>
                  <a:lnTo>
                    <a:pt x="134" y="130"/>
                  </a:lnTo>
                  <a:lnTo>
                    <a:pt x="134" y="130"/>
                  </a:lnTo>
                  <a:lnTo>
                    <a:pt x="138" y="134"/>
                  </a:lnTo>
                  <a:lnTo>
                    <a:pt x="138" y="134"/>
                  </a:lnTo>
                  <a:lnTo>
                    <a:pt x="138" y="134"/>
                  </a:lnTo>
                  <a:lnTo>
                    <a:pt x="138" y="138"/>
                  </a:lnTo>
                  <a:lnTo>
                    <a:pt x="138" y="138"/>
                  </a:lnTo>
                  <a:lnTo>
                    <a:pt x="138" y="138"/>
                  </a:lnTo>
                  <a:lnTo>
                    <a:pt x="138" y="138"/>
                  </a:lnTo>
                  <a:lnTo>
                    <a:pt x="138" y="138"/>
                  </a:lnTo>
                  <a:lnTo>
                    <a:pt x="138" y="138"/>
                  </a:lnTo>
                  <a:lnTo>
                    <a:pt x="138" y="138"/>
                  </a:lnTo>
                  <a:lnTo>
                    <a:pt x="134" y="138"/>
                  </a:lnTo>
                  <a:lnTo>
                    <a:pt x="134" y="138"/>
                  </a:lnTo>
                  <a:lnTo>
                    <a:pt x="134" y="138"/>
                  </a:lnTo>
                  <a:lnTo>
                    <a:pt x="134" y="138"/>
                  </a:lnTo>
                  <a:lnTo>
                    <a:pt x="134" y="138"/>
                  </a:lnTo>
                  <a:lnTo>
                    <a:pt x="134" y="138"/>
                  </a:lnTo>
                  <a:lnTo>
                    <a:pt x="134" y="138"/>
                  </a:lnTo>
                  <a:lnTo>
                    <a:pt x="134" y="138"/>
                  </a:lnTo>
                  <a:lnTo>
                    <a:pt x="130" y="138"/>
                  </a:lnTo>
                  <a:lnTo>
                    <a:pt x="130" y="138"/>
                  </a:lnTo>
                  <a:lnTo>
                    <a:pt x="130" y="138"/>
                  </a:lnTo>
                  <a:lnTo>
                    <a:pt x="130" y="138"/>
                  </a:lnTo>
                  <a:lnTo>
                    <a:pt x="126" y="134"/>
                  </a:lnTo>
                  <a:lnTo>
                    <a:pt x="124" y="134"/>
                  </a:lnTo>
                  <a:lnTo>
                    <a:pt x="124" y="134"/>
                  </a:lnTo>
                  <a:lnTo>
                    <a:pt x="124" y="134"/>
                  </a:lnTo>
                  <a:lnTo>
                    <a:pt x="120" y="138"/>
                  </a:lnTo>
                  <a:lnTo>
                    <a:pt x="120" y="138"/>
                  </a:lnTo>
                  <a:lnTo>
                    <a:pt x="120" y="138"/>
                  </a:lnTo>
                  <a:lnTo>
                    <a:pt x="120" y="138"/>
                  </a:lnTo>
                  <a:lnTo>
                    <a:pt x="120" y="138"/>
                  </a:lnTo>
                  <a:lnTo>
                    <a:pt x="120" y="138"/>
                  </a:lnTo>
                  <a:lnTo>
                    <a:pt x="120" y="142"/>
                  </a:lnTo>
                  <a:lnTo>
                    <a:pt x="116" y="146"/>
                  </a:lnTo>
                  <a:lnTo>
                    <a:pt x="116" y="146"/>
                  </a:lnTo>
                  <a:lnTo>
                    <a:pt x="116" y="146"/>
                  </a:lnTo>
                  <a:lnTo>
                    <a:pt x="116" y="146"/>
                  </a:lnTo>
                  <a:lnTo>
                    <a:pt x="116" y="150"/>
                  </a:lnTo>
                  <a:lnTo>
                    <a:pt x="116" y="150"/>
                  </a:lnTo>
                  <a:lnTo>
                    <a:pt x="112" y="150"/>
                  </a:lnTo>
                  <a:lnTo>
                    <a:pt x="112" y="154"/>
                  </a:lnTo>
                  <a:lnTo>
                    <a:pt x="112" y="154"/>
                  </a:lnTo>
                  <a:lnTo>
                    <a:pt x="112" y="154"/>
                  </a:lnTo>
                  <a:lnTo>
                    <a:pt x="112" y="154"/>
                  </a:lnTo>
                  <a:lnTo>
                    <a:pt x="112" y="154"/>
                  </a:lnTo>
                  <a:lnTo>
                    <a:pt x="112" y="154"/>
                  </a:lnTo>
                  <a:lnTo>
                    <a:pt x="112" y="154"/>
                  </a:lnTo>
                  <a:lnTo>
                    <a:pt x="112" y="154"/>
                  </a:lnTo>
                  <a:lnTo>
                    <a:pt x="108" y="154"/>
                  </a:lnTo>
                  <a:lnTo>
                    <a:pt x="104" y="154"/>
                  </a:lnTo>
                  <a:lnTo>
                    <a:pt x="86" y="154"/>
                  </a:lnTo>
                  <a:lnTo>
                    <a:pt x="70" y="138"/>
                  </a:lnTo>
                  <a:lnTo>
                    <a:pt x="60" y="130"/>
                  </a:lnTo>
                  <a:lnTo>
                    <a:pt x="60" y="128"/>
                  </a:lnTo>
                  <a:lnTo>
                    <a:pt x="48" y="116"/>
                  </a:lnTo>
                  <a:lnTo>
                    <a:pt x="38" y="112"/>
                  </a:lnTo>
                  <a:lnTo>
                    <a:pt x="22" y="100"/>
                  </a:lnTo>
                  <a:lnTo>
                    <a:pt x="18" y="100"/>
                  </a:lnTo>
                  <a:lnTo>
                    <a:pt x="12" y="98"/>
                  </a:lnTo>
                  <a:lnTo>
                    <a:pt x="8" y="98"/>
                  </a:lnTo>
                  <a:lnTo>
                    <a:pt x="8" y="98"/>
                  </a:lnTo>
                  <a:lnTo>
                    <a:pt x="8" y="9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38" name="Freeform 31"/>
            <p:cNvSpPr>
              <a:spLocks noEditPoints="1"/>
            </p:cNvSpPr>
            <p:nvPr/>
          </p:nvSpPr>
          <p:spPr bwMode="auto">
            <a:xfrm>
              <a:off x="7344227" y="3778629"/>
              <a:ext cx="11304" cy="44458"/>
            </a:xfrm>
            <a:custGeom>
              <a:avLst/>
              <a:gdLst>
                <a:gd name="T0" fmla="*/ 14 w 18"/>
                <a:gd name="T1" fmla="*/ 46 h 68"/>
                <a:gd name="T2" fmla="*/ 14 w 18"/>
                <a:gd name="T3" fmla="*/ 50 h 68"/>
                <a:gd name="T4" fmla="*/ 12 w 18"/>
                <a:gd name="T5" fmla="*/ 56 h 68"/>
                <a:gd name="T6" fmla="*/ 12 w 18"/>
                <a:gd name="T7" fmla="*/ 60 h 68"/>
                <a:gd name="T8" fmla="*/ 12 w 18"/>
                <a:gd name="T9" fmla="*/ 60 h 68"/>
                <a:gd name="T10" fmla="*/ 12 w 18"/>
                <a:gd name="T11" fmla="*/ 68 h 68"/>
                <a:gd name="T12" fmla="*/ 8 w 18"/>
                <a:gd name="T13" fmla="*/ 68 h 68"/>
                <a:gd name="T14" fmla="*/ 8 w 18"/>
                <a:gd name="T15" fmla="*/ 68 h 68"/>
                <a:gd name="T16" fmla="*/ 4 w 18"/>
                <a:gd name="T17" fmla="*/ 52 h 68"/>
                <a:gd name="T18" fmla="*/ 4 w 18"/>
                <a:gd name="T19" fmla="*/ 46 h 68"/>
                <a:gd name="T20" fmla="*/ 0 w 18"/>
                <a:gd name="T21" fmla="*/ 38 h 68"/>
                <a:gd name="T22" fmla="*/ 4 w 18"/>
                <a:gd name="T23" fmla="*/ 34 h 68"/>
                <a:gd name="T24" fmla="*/ 4 w 18"/>
                <a:gd name="T25" fmla="*/ 30 h 68"/>
                <a:gd name="T26" fmla="*/ 4 w 18"/>
                <a:gd name="T27" fmla="*/ 26 h 68"/>
                <a:gd name="T28" fmla="*/ 8 w 18"/>
                <a:gd name="T29" fmla="*/ 22 h 68"/>
                <a:gd name="T30" fmla="*/ 8 w 18"/>
                <a:gd name="T31" fmla="*/ 20 h 68"/>
                <a:gd name="T32" fmla="*/ 12 w 18"/>
                <a:gd name="T33" fmla="*/ 8 h 68"/>
                <a:gd name="T34" fmla="*/ 12 w 18"/>
                <a:gd name="T35" fmla="*/ 8 h 68"/>
                <a:gd name="T36" fmla="*/ 12 w 18"/>
                <a:gd name="T37" fmla="*/ 8 h 68"/>
                <a:gd name="T38" fmla="*/ 12 w 18"/>
                <a:gd name="T39" fmla="*/ 4 h 68"/>
                <a:gd name="T40" fmla="*/ 14 w 18"/>
                <a:gd name="T41" fmla="*/ 4 h 68"/>
                <a:gd name="T42" fmla="*/ 18 w 18"/>
                <a:gd name="T43" fmla="*/ 4 h 68"/>
                <a:gd name="T44" fmla="*/ 18 w 18"/>
                <a:gd name="T45" fmla="*/ 0 h 68"/>
                <a:gd name="T46" fmla="*/ 18 w 18"/>
                <a:gd name="T47" fmla="*/ 0 h 68"/>
                <a:gd name="T48" fmla="*/ 18 w 18"/>
                <a:gd name="T49" fmla="*/ 0 h 68"/>
                <a:gd name="T50" fmla="*/ 18 w 18"/>
                <a:gd name="T51" fmla="*/ 4 h 68"/>
                <a:gd name="T52" fmla="*/ 18 w 18"/>
                <a:gd name="T53" fmla="*/ 8 h 68"/>
                <a:gd name="T54" fmla="*/ 18 w 18"/>
                <a:gd name="T55" fmla="*/ 8 h 68"/>
                <a:gd name="T56" fmla="*/ 18 w 18"/>
                <a:gd name="T57" fmla="*/ 12 h 68"/>
                <a:gd name="T58" fmla="*/ 18 w 18"/>
                <a:gd name="T59" fmla="*/ 16 h 68"/>
                <a:gd name="T60" fmla="*/ 14 w 18"/>
                <a:gd name="T61" fmla="*/ 12 h 68"/>
                <a:gd name="T62" fmla="*/ 14 w 18"/>
                <a:gd name="T63" fmla="*/ 12 h 68"/>
                <a:gd name="T64" fmla="*/ 12 w 18"/>
                <a:gd name="T65" fmla="*/ 16 h 68"/>
                <a:gd name="T66" fmla="*/ 12 w 18"/>
                <a:gd name="T67" fmla="*/ 20 h 68"/>
                <a:gd name="T68" fmla="*/ 12 w 18"/>
                <a:gd name="T69" fmla="*/ 22 h 68"/>
                <a:gd name="T70" fmla="*/ 12 w 18"/>
                <a:gd name="T71" fmla="*/ 26 h 68"/>
                <a:gd name="T72" fmla="*/ 12 w 18"/>
                <a:gd name="T73" fmla="*/ 26 h 68"/>
                <a:gd name="T74" fmla="*/ 12 w 18"/>
                <a:gd name="T75" fmla="*/ 26 h 68"/>
                <a:gd name="T76" fmla="*/ 12 w 18"/>
                <a:gd name="T77" fmla="*/ 30 h 68"/>
                <a:gd name="T78" fmla="*/ 8 w 18"/>
                <a:gd name="T79" fmla="*/ 34 h 68"/>
                <a:gd name="T80" fmla="*/ 12 w 18"/>
                <a:gd name="T81" fmla="*/ 34 h 68"/>
                <a:gd name="T82" fmla="*/ 14 w 18"/>
                <a:gd name="T83" fmla="*/ 34 h 68"/>
                <a:gd name="T84" fmla="*/ 18 w 18"/>
                <a:gd name="T85" fmla="*/ 30 h 68"/>
                <a:gd name="T86" fmla="*/ 18 w 18"/>
                <a:gd name="T87" fmla="*/ 34 h 68"/>
                <a:gd name="T88" fmla="*/ 18 w 18"/>
                <a:gd name="T89" fmla="*/ 38 h 68"/>
                <a:gd name="T90" fmla="*/ 14 w 18"/>
                <a:gd name="T91" fmla="*/ 42 h 68"/>
                <a:gd name="T92" fmla="*/ 14 w 18"/>
                <a:gd name="T93" fmla="*/ 26 h 68"/>
                <a:gd name="T94" fmla="*/ 14 w 18"/>
                <a:gd name="T95" fmla="*/ 26 h 68"/>
                <a:gd name="T96" fmla="*/ 14 w 18"/>
                <a:gd name="T97" fmla="*/ 2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68">
                  <a:moveTo>
                    <a:pt x="14" y="42"/>
                  </a:moveTo>
                  <a:lnTo>
                    <a:pt x="14" y="42"/>
                  </a:lnTo>
                  <a:lnTo>
                    <a:pt x="14" y="42"/>
                  </a:lnTo>
                  <a:lnTo>
                    <a:pt x="14" y="46"/>
                  </a:lnTo>
                  <a:lnTo>
                    <a:pt x="14" y="46"/>
                  </a:lnTo>
                  <a:lnTo>
                    <a:pt x="14" y="46"/>
                  </a:lnTo>
                  <a:lnTo>
                    <a:pt x="14" y="50"/>
                  </a:lnTo>
                  <a:lnTo>
                    <a:pt x="14" y="50"/>
                  </a:lnTo>
                  <a:lnTo>
                    <a:pt x="12" y="52"/>
                  </a:lnTo>
                  <a:lnTo>
                    <a:pt x="12" y="52"/>
                  </a:lnTo>
                  <a:lnTo>
                    <a:pt x="12" y="52"/>
                  </a:lnTo>
                  <a:lnTo>
                    <a:pt x="12" y="56"/>
                  </a:lnTo>
                  <a:lnTo>
                    <a:pt x="12" y="56"/>
                  </a:lnTo>
                  <a:lnTo>
                    <a:pt x="12" y="56"/>
                  </a:lnTo>
                  <a:lnTo>
                    <a:pt x="12" y="60"/>
                  </a:lnTo>
                  <a:lnTo>
                    <a:pt x="12" y="60"/>
                  </a:lnTo>
                  <a:lnTo>
                    <a:pt x="12" y="60"/>
                  </a:lnTo>
                  <a:lnTo>
                    <a:pt x="12" y="60"/>
                  </a:lnTo>
                  <a:lnTo>
                    <a:pt x="12" y="60"/>
                  </a:lnTo>
                  <a:lnTo>
                    <a:pt x="12" y="60"/>
                  </a:lnTo>
                  <a:lnTo>
                    <a:pt x="12" y="68"/>
                  </a:lnTo>
                  <a:lnTo>
                    <a:pt x="12" y="68"/>
                  </a:lnTo>
                  <a:lnTo>
                    <a:pt x="12" y="68"/>
                  </a:lnTo>
                  <a:lnTo>
                    <a:pt x="12" y="68"/>
                  </a:lnTo>
                  <a:lnTo>
                    <a:pt x="12" y="68"/>
                  </a:lnTo>
                  <a:lnTo>
                    <a:pt x="12" y="68"/>
                  </a:lnTo>
                  <a:lnTo>
                    <a:pt x="12" y="68"/>
                  </a:lnTo>
                  <a:lnTo>
                    <a:pt x="8" y="68"/>
                  </a:lnTo>
                  <a:lnTo>
                    <a:pt x="8" y="68"/>
                  </a:lnTo>
                  <a:lnTo>
                    <a:pt x="8" y="68"/>
                  </a:lnTo>
                  <a:lnTo>
                    <a:pt x="8" y="68"/>
                  </a:lnTo>
                  <a:lnTo>
                    <a:pt x="8" y="68"/>
                  </a:lnTo>
                  <a:lnTo>
                    <a:pt x="8" y="64"/>
                  </a:lnTo>
                  <a:lnTo>
                    <a:pt x="8" y="60"/>
                  </a:lnTo>
                  <a:lnTo>
                    <a:pt x="8" y="56"/>
                  </a:lnTo>
                  <a:lnTo>
                    <a:pt x="4" y="52"/>
                  </a:lnTo>
                  <a:lnTo>
                    <a:pt x="4" y="52"/>
                  </a:lnTo>
                  <a:lnTo>
                    <a:pt x="4" y="52"/>
                  </a:lnTo>
                  <a:lnTo>
                    <a:pt x="4" y="50"/>
                  </a:lnTo>
                  <a:lnTo>
                    <a:pt x="4" y="46"/>
                  </a:lnTo>
                  <a:lnTo>
                    <a:pt x="4" y="46"/>
                  </a:lnTo>
                  <a:lnTo>
                    <a:pt x="0" y="38"/>
                  </a:lnTo>
                  <a:lnTo>
                    <a:pt x="0" y="38"/>
                  </a:lnTo>
                  <a:lnTo>
                    <a:pt x="0" y="38"/>
                  </a:lnTo>
                  <a:lnTo>
                    <a:pt x="0" y="34"/>
                  </a:lnTo>
                  <a:lnTo>
                    <a:pt x="0" y="34"/>
                  </a:lnTo>
                  <a:lnTo>
                    <a:pt x="4" y="34"/>
                  </a:lnTo>
                  <a:lnTo>
                    <a:pt x="4" y="34"/>
                  </a:lnTo>
                  <a:lnTo>
                    <a:pt x="4" y="30"/>
                  </a:lnTo>
                  <a:lnTo>
                    <a:pt x="4" y="30"/>
                  </a:lnTo>
                  <a:lnTo>
                    <a:pt x="4" y="30"/>
                  </a:lnTo>
                  <a:lnTo>
                    <a:pt x="4" y="30"/>
                  </a:lnTo>
                  <a:lnTo>
                    <a:pt x="4" y="30"/>
                  </a:lnTo>
                  <a:lnTo>
                    <a:pt x="4" y="30"/>
                  </a:lnTo>
                  <a:lnTo>
                    <a:pt x="4" y="30"/>
                  </a:lnTo>
                  <a:lnTo>
                    <a:pt x="4" y="26"/>
                  </a:lnTo>
                  <a:lnTo>
                    <a:pt x="8" y="26"/>
                  </a:lnTo>
                  <a:lnTo>
                    <a:pt x="8" y="22"/>
                  </a:lnTo>
                  <a:lnTo>
                    <a:pt x="8" y="22"/>
                  </a:lnTo>
                  <a:lnTo>
                    <a:pt x="8" y="22"/>
                  </a:lnTo>
                  <a:lnTo>
                    <a:pt x="8" y="20"/>
                  </a:lnTo>
                  <a:lnTo>
                    <a:pt x="8" y="20"/>
                  </a:lnTo>
                  <a:lnTo>
                    <a:pt x="8" y="20"/>
                  </a:lnTo>
                  <a:lnTo>
                    <a:pt x="8" y="20"/>
                  </a:lnTo>
                  <a:lnTo>
                    <a:pt x="8" y="16"/>
                  </a:lnTo>
                  <a:lnTo>
                    <a:pt x="8" y="16"/>
                  </a:lnTo>
                  <a:lnTo>
                    <a:pt x="8" y="12"/>
                  </a:lnTo>
                  <a:lnTo>
                    <a:pt x="12" y="8"/>
                  </a:lnTo>
                  <a:lnTo>
                    <a:pt x="12" y="8"/>
                  </a:lnTo>
                  <a:lnTo>
                    <a:pt x="12" y="8"/>
                  </a:lnTo>
                  <a:lnTo>
                    <a:pt x="12" y="8"/>
                  </a:lnTo>
                  <a:lnTo>
                    <a:pt x="12" y="8"/>
                  </a:lnTo>
                  <a:lnTo>
                    <a:pt x="12" y="8"/>
                  </a:lnTo>
                  <a:lnTo>
                    <a:pt x="12" y="8"/>
                  </a:lnTo>
                  <a:lnTo>
                    <a:pt x="12" y="8"/>
                  </a:lnTo>
                  <a:lnTo>
                    <a:pt x="12" y="8"/>
                  </a:lnTo>
                  <a:lnTo>
                    <a:pt x="12" y="4"/>
                  </a:lnTo>
                  <a:lnTo>
                    <a:pt x="12" y="4"/>
                  </a:lnTo>
                  <a:lnTo>
                    <a:pt x="12" y="4"/>
                  </a:lnTo>
                  <a:lnTo>
                    <a:pt x="12" y="4"/>
                  </a:lnTo>
                  <a:lnTo>
                    <a:pt x="12" y="4"/>
                  </a:lnTo>
                  <a:lnTo>
                    <a:pt x="12" y="4"/>
                  </a:lnTo>
                  <a:lnTo>
                    <a:pt x="14" y="4"/>
                  </a:lnTo>
                  <a:lnTo>
                    <a:pt x="14" y="4"/>
                  </a:lnTo>
                  <a:lnTo>
                    <a:pt x="14" y="4"/>
                  </a:lnTo>
                  <a:lnTo>
                    <a:pt x="14" y="4"/>
                  </a:lnTo>
                  <a:lnTo>
                    <a:pt x="14" y="4"/>
                  </a:lnTo>
                  <a:lnTo>
                    <a:pt x="18" y="4"/>
                  </a:lnTo>
                  <a:lnTo>
                    <a:pt x="18" y="0"/>
                  </a:lnTo>
                  <a:lnTo>
                    <a:pt x="18" y="0"/>
                  </a:lnTo>
                  <a:lnTo>
                    <a:pt x="18" y="0"/>
                  </a:lnTo>
                  <a:lnTo>
                    <a:pt x="18" y="0"/>
                  </a:lnTo>
                  <a:lnTo>
                    <a:pt x="18" y="0"/>
                  </a:lnTo>
                  <a:lnTo>
                    <a:pt x="18" y="0"/>
                  </a:lnTo>
                  <a:lnTo>
                    <a:pt x="18" y="0"/>
                  </a:lnTo>
                  <a:lnTo>
                    <a:pt x="18" y="0"/>
                  </a:lnTo>
                  <a:lnTo>
                    <a:pt x="18" y="0"/>
                  </a:lnTo>
                  <a:lnTo>
                    <a:pt x="18" y="0"/>
                  </a:lnTo>
                  <a:lnTo>
                    <a:pt x="18" y="0"/>
                  </a:lnTo>
                  <a:lnTo>
                    <a:pt x="18" y="0"/>
                  </a:lnTo>
                  <a:lnTo>
                    <a:pt x="18" y="4"/>
                  </a:lnTo>
                  <a:lnTo>
                    <a:pt x="18" y="4"/>
                  </a:lnTo>
                  <a:lnTo>
                    <a:pt x="18" y="4"/>
                  </a:lnTo>
                  <a:lnTo>
                    <a:pt x="18" y="4"/>
                  </a:lnTo>
                  <a:lnTo>
                    <a:pt x="18" y="4"/>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4" y="16"/>
                  </a:lnTo>
                  <a:lnTo>
                    <a:pt x="14" y="12"/>
                  </a:lnTo>
                  <a:lnTo>
                    <a:pt x="14" y="12"/>
                  </a:lnTo>
                  <a:lnTo>
                    <a:pt x="14" y="12"/>
                  </a:lnTo>
                  <a:lnTo>
                    <a:pt x="14" y="12"/>
                  </a:lnTo>
                  <a:lnTo>
                    <a:pt x="14" y="12"/>
                  </a:lnTo>
                  <a:lnTo>
                    <a:pt x="14" y="12"/>
                  </a:lnTo>
                  <a:lnTo>
                    <a:pt x="14" y="12"/>
                  </a:lnTo>
                  <a:lnTo>
                    <a:pt x="12" y="16"/>
                  </a:lnTo>
                  <a:lnTo>
                    <a:pt x="12" y="16"/>
                  </a:lnTo>
                  <a:lnTo>
                    <a:pt x="12" y="16"/>
                  </a:lnTo>
                  <a:lnTo>
                    <a:pt x="12" y="16"/>
                  </a:lnTo>
                  <a:lnTo>
                    <a:pt x="12" y="16"/>
                  </a:lnTo>
                  <a:lnTo>
                    <a:pt x="12" y="16"/>
                  </a:lnTo>
                  <a:lnTo>
                    <a:pt x="12" y="20"/>
                  </a:lnTo>
                  <a:lnTo>
                    <a:pt x="12" y="20"/>
                  </a:lnTo>
                  <a:lnTo>
                    <a:pt x="12" y="20"/>
                  </a:lnTo>
                  <a:lnTo>
                    <a:pt x="12" y="22"/>
                  </a:lnTo>
                  <a:lnTo>
                    <a:pt x="12" y="22"/>
                  </a:lnTo>
                  <a:lnTo>
                    <a:pt x="12" y="22"/>
                  </a:lnTo>
                  <a:lnTo>
                    <a:pt x="12" y="22"/>
                  </a:lnTo>
                  <a:lnTo>
                    <a:pt x="12" y="26"/>
                  </a:lnTo>
                  <a:lnTo>
                    <a:pt x="12" y="26"/>
                  </a:lnTo>
                  <a:lnTo>
                    <a:pt x="12" y="26"/>
                  </a:lnTo>
                  <a:lnTo>
                    <a:pt x="12" y="26"/>
                  </a:lnTo>
                  <a:lnTo>
                    <a:pt x="12" y="26"/>
                  </a:lnTo>
                  <a:lnTo>
                    <a:pt x="12" y="26"/>
                  </a:lnTo>
                  <a:lnTo>
                    <a:pt x="12" y="26"/>
                  </a:lnTo>
                  <a:lnTo>
                    <a:pt x="14" y="26"/>
                  </a:lnTo>
                  <a:lnTo>
                    <a:pt x="14" y="26"/>
                  </a:lnTo>
                  <a:lnTo>
                    <a:pt x="12" y="26"/>
                  </a:lnTo>
                  <a:lnTo>
                    <a:pt x="12" y="26"/>
                  </a:lnTo>
                  <a:lnTo>
                    <a:pt x="12" y="30"/>
                  </a:lnTo>
                  <a:lnTo>
                    <a:pt x="12" y="30"/>
                  </a:lnTo>
                  <a:lnTo>
                    <a:pt x="12" y="30"/>
                  </a:lnTo>
                  <a:lnTo>
                    <a:pt x="12" y="30"/>
                  </a:lnTo>
                  <a:lnTo>
                    <a:pt x="12" y="30"/>
                  </a:lnTo>
                  <a:lnTo>
                    <a:pt x="12" y="30"/>
                  </a:lnTo>
                  <a:lnTo>
                    <a:pt x="12" y="34"/>
                  </a:lnTo>
                  <a:lnTo>
                    <a:pt x="8" y="34"/>
                  </a:lnTo>
                  <a:lnTo>
                    <a:pt x="8" y="34"/>
                  </a:lnTo>
                  <a:lnTo>
                    <a:pt x="8" y="34"/>
                  </a:lnTo>
                  <a:lnTo>
                    <a:pt x="8" y="34"/>
                  </a:lnTo>
                  <a:lnTo>
                    <a:pt x="12" y="34"/>
                  </a:lnTo>
                  <a:lnTo>
                    <a:pt x="12" y="34"/>
                  </a:lnTo>
                  <a:lnTo>
                    <a:pt x="14" y="34"/>
                  </a:lnTo>
                  <a:lnTo>
                    <a:pt x="14" y="34"/>
                  </a:lnTo>
                  <a:lnTo>
                    <a:pt x="14" y="34"/>
                  </a:lnTo>
                  <a:lnTo>
                    <a:pt x="14" y="34"/>
                  </a:lnTo>
                  <a:lnTo>
                    <a:pt x="14" y="30"/>
                  </a:lnTo>
                  <a:lnTo>
                    <a:pt x="18" y="30"/>
                  </a:lnTo>
                  <a:lnTo>
                    <a:pt x="18" y="30"/>
                  </a:lnTo>
                  <a:lnTo>
                    <a:pt x="18" y="34"/>
                  </a:lnTo>
                  <a:lnTo>
                    <a:pt x="18" y="34"/>
                  </a:lnTo>
                  <a:lnTo>
                    <a:pt x="18" y="34"/>
                  </a:lnTo>
                  <a:lnTo>
                    <a:pt x="18" y="34"/>
                  </a:lnTo>
                  <a:lnTo>
                    <a:pt x="14" y="38"/>
                  </a:lnTo>
                  <a:lnTo>
                    <a:pt x="14" y="38"/>
                  </a:lnTo>
                  <a:lnTo>
                    <a:pt x="18" y="38"/>
                  </a:lnTo>
                  <a:lnTo>
                    <a:pt x="18" y="38"/>
                  </a:lnTo>
                  <a:lnTo>
                    <a:pt x="18" y="38"/>
                  </a:lnTo>
                  <a:lnTo>
                    <a:pt x="14" y="42"/>
                  </a:lnTo>
                  <a:lnTo>
                    <a:pt x="14" y="42"/>
                  </a:lnTo>
                  <a:lnTo>
                    <a:pt x="14" y="42"/>
                  </a:lnTo>
                  <a:lnTo>
                    <a:pt x="14" y="42"/>
                  </a:lnTo>
                  <a:close/>
                  <a:moveTo>
                    <a:pt x="14" y="26"/>
                  </a:moveTo>
                  <a:lnTo>
                    <a:pt x="14" y="26"/>
                  </a:lnTo>
                  <a:lnTo>
                    <a:pt x="14" y="26"/>
                  </a:lnTo>
                  <a:lnTo>
                    <a:pt x="14" y="26"/>
                  </a:lnTo>
                  <a:lnTo>
                    <a:pt x="14" y="26"/>
                  </a:lnTo>
                  <a:lnTo>
                    <a:pt x="14" y="26"/>
                  </a:lnTo>
                  <a:lnTo>
                    <a:pt x="14" y="26"/>
                  </a:lnTo>
                  <a:lnTo>
                    <a:pt x="14" y="26"/>
                  </a:lnTo>
                  <a:lnTo>
                    <a:pt x="14" y="26"/>
                  </a:lnTo>
                  <a:lnTo>
                    <a:pt x="14" y="26"/>
                  </a:lnTo>
                  <a:lnTo>
                    <a:pt x="14" y="26"/>
                  </a:lnTo>
                  <a:lnTo>
                    <a:pt x="14" y="2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39" name="Freeform 32"/>
            <p:cNvSpPr>
              <a:spLocks noEditPoints="1"/>
            </p:cNvSpPr>
            <p:nvPr/>
          </p:nvSpPr>
          <p:spPr bwMode="auto">
            <a:xfrm>
              <a:off x="8136739" y="3623027"/>
              <a:ext cx="197186" cy="262824"/>
            </a:xfrm>
            <a:custGeom>
              <a:avLst/>
              <a:gdLst>
                <a:gd name="T0" fmla="*/ 98 w 314"/>
                <a:gd name="T1" fmla="*/ 250 h 402"/>
                <a:gd name="T2" fmla="*/ 278 w 314"/>
                <a:gd name="T3" fmla="*/ 70 h 402"/>
                <a:gd name="T4" fmla="*/ 240 w 314"/>
                <a:gd name="T5" fmla="*/ 60 h 402"/>
                <a:gd name="T6" fmla="*/ 248 w 314"/>
                <a:gd name="T7" fmla="*/ 78 h 402"/>
                <a:gd name="T8" fmla="*/ 228 w 314"/>
                <a:gd name="T9" fmla="*/ 66 h 402"/>
                <a:gd name="T10" fmla="*/ 244 w 314"/>
                <a:gd name="T11" fmla="*/ 48 h 402"/>
                <a:gd name="T12" fmla="*/ 258 w 314"/>
                <a:gd name="T13" fmla="*/ 26 h 402"/>
                <a:gd name="T14" fmla="*/ 270 w 314"/>
                <a:gd name="T15" fmla="*/ 12 h 402"/>
                <a:gd name="T16" fmla="*/ 296 w 314"/>
                <a:gd name="T17" fmla="*/ 34 h 402"/>
                <a:gd name="T18" fmla="*/ 310 w 314"/>
                <a:gd name="T19" fmla="*/ 42 h 402"/>
                <a:gd name="T20" fmla="*/ 296 w 314"/>
                <a:gd name="T21" fmla="*/ 52 h 402"/>
                <a:gd name="T22" fmla="*/ 252 w 314"/>
                <a:gd name="T23" fmla="*/ 8 h 402"/>
                <a:gd name="T24" fmla="*/ 226 w 314"/>
                <a:gd name="T25" fmla="*/ 66 h 402"/>
                <a:gd name="T26" fmla="*/ 136 w 314"/>
                <a:gd name="T27" fmla="*/ 216 h 402"/>
                <a:gd name="T28" fmla="*/ 116 w 314"/>
                <a:gd name="T29" fmla="*/ 224 h 402"/>
                <a:gd name="T30" fmla="*/ 120 w 314"/>
                <a:gd name="T31" fmla="*/ 208 h 402"/>
                <a:gd name="T32" fmla="*/ 136 w 314"/>
                <a:gd name="T33" fmla="*/ 194 h 402"/>
                <a:gd name="T34" fmla="*/ 166 w 314"/>
                <a:gd name="T35" fmla="*/ 190 h 402"/>
                <a:gd name="T36" fmla="*/ 176 w 314"/>
                <a:gd name="T37" fmla="*/ 194 h 402"/>
                <a:gd name="T38" fmla="*/ 188 w 314"/>
                <a:gd name="T39" fmla="*/ 164 h 402"/>
                <a:gd name="T40" fmla="*/ 192 w 314"/>
                <a:gd name="T41" fmla="*/ 172 h 402"/>
                <a:gd name="T42" fmla="*/ 218 w 314"/>
                <a:gd name="T43" fmla="*/ 148 h 402"/>
                <a:gd name="T44" fmla="*/ 236 w 314"/>
                <a:gd name="T45" fmla="*/ 118 h 402"/>
                <a:gd name="T46" fmla="*/ 232 w 314"/>
                <a:gd name="T47" fmla="*/ 96 h 402"/>
                <a:gd name="T48" fmla="*/ 248 w 314"/>
                <a:gd name="T49" fmla="*/ 90 h 402"/>
                <a:gd name="T50" fmla="*/ 252 w 314"/>
                <a:gd name="T51" fmla="*/ 82 h 402"/>
                <a:gd name="T52" fmla="*/ 262 w 314"/>
                <a:gd name="T53" fmla="*/ 116 h 402"/>
                <a:gd name="T54" fmla="*/ 254 w 314"/>
                <a:gd name="T55" fmla="*/ 142 h 402"/>
                <a:gd name="T56" fmla="*/ 244 w 314"/>
                <a:gd name="T57" fmla="*/ 172 h 402"/>
                <a:gd name="T58" fmla="*/ 236 w 314"/>
                <a:gd name="T59" fmla="*/ 202 h 402"/>
                <a:gd name="T60" fmla="*/ 228 w 314"/>
                <a:gd name="T61" fmla="*/ 198 h 402"/>
                <a:gd name="T62" fmla="*/ 214 w 314"/>
                <a:gd name="T63" fmla="*/ 202 h 402"/>
                <a:gd name="T64" fmla="*/ 196 w 314"/>
                <a:gd name="T65" fmla="*/ 208 h 402"/>
                <a:gd name="T66" fmla="*/ 184 w 314"/>
                <a:gd name="T67" fmla="*/ 212 h 402"/>
                <a:gd name="T68" fmla="*/ 176 w 314"/>
                <a:gd name="T69" fmla="*/ 230 h 402"/>
                <a:gd name="T70" fmla="*/ 166 w 314"/>
                <a:gd name="T71" fmla="*/ 212 h 402"/>
                <a:gd name="T72" fmla="*/ 210 w 314"/>
                <a:gd name="T73" fmla="*/ 148 h 402"/>
                <a:gd name="T74" fmla="*/ 214 w 314"/>
                <a:gd name="T75" fmla="*/ 142 h 402"/>
                <a:gd name="T76" fmla="*/ 80 w 314"/>
                <a:gd name="T77" fmla="*/ 216 h 402"/>
                <a:gd name="T78" fmla="*/ 158 w 314"/>
                <a:gd name="T79" fmla="*/ 220 h 402"/>
                <a:gd name="T80" fmla="*/ 150 w 314"/>
                <a:gd name="T81" fmla="*/ 234 h 402"/>
                <a:gd name="T82" fmla="*/ 132 w 314"/>
                <a:gd name="T83" fmla="*/ 246 h 402"/>
                <a:gd name="T84" fmla="*/ 124 w 314"/>
                <a:gd name="T85" fmla="*/ 234 h 402"/>
                <a:gd name="T86" fmla="*/ 146 w 314"/>
                <a:gd name="T87" fmla="*/ 220 h 402"/>
                <a:gd name="T88" fmla="*/ 80 w 314"/>
                <a:gd name="T89" fmla="*/ 224 h 402"/>
                <a:gd name="T90" fmla="*/ 128 w 314"/>
                <a:gd name="T91" fmla="*/ 220 h 402"/>
                <a:gd name="T92" fmla="*/ 90 w 314"/>
                <a:gd name="T93" fmla="*/ 238 h 402"/>
                <a:gd name="T94" fmla="*/ 106 w 314"/>
                <a:gd name="T95" fmla="*/ 230 h 402"/>
                <a:gd name="T96" fmla="*/ 120 w 314"/>
                <a:gd name="T97" fmla="*/ 246 h 402"/>
                <a:gd name="T98" fmla="*/ 106 w 314"/>
                <a:gd name="T99" fmla="*/ 272 h 402"/>
                <a:gd name="T100" fmla="*/ 98 w 314"/>
                <a:gd name="T101" fmla="*/ 272 h 402"/>
                <a:gd name="T102" fmla="*/ 98 w 314"/>
                <a:gd name="T103" fmla="*/ 258 h 402"/>
                <a:gd name="T104" fmla="*/ 98 w 314"/>
                <a:gd name="T105" fmla="*/ 246 h 402"/>
                <a:gd name="T106" fmla="*/ 90 w 314"/>
                <a:gd name="T107" fmla="*/ 228 h 402"/>
                <a:gd name="T108" fmla="*/ 86 w 314"/>
                <a:gd name="T109" fmla="*/ 234 h 402"/>
                <a:gd name="T110" fmla="*/ 76 w 314"/>
                <a:gd name="T111" fmla="*/ 250 h 402"/>
                <a:gd name="T112" fmla="*/ 90 w 314"/>
                <a:gd name="T113" fmla="*/ 258 h 402"/>
                <a:gd name="T114" fmla="*/ 98 w 314"/>
                <a:gd name="T115" fmla="*/ 294 h 402"/>
                <a:gd name="T116" fmla="*/ 86 w 314"/>
                <a:gd name="T117" fmla="*/ 324 h 402"/>
                <a:gd name="T118" fmla="*/ 60 w 314"/>
                <a:gd name="T119" fmla="*/ 362 h 402"/>
                <a:gd name="T120" fmla="*/ 68 w 314"/>
                <a:gd name="T121" fmla="*/ 354 h 402"/>
                <a:gd name="T122" fmla="*/ 12 w 314"/>
                <a:gd name="T123" fmla="*/ 39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 h="402">
                  <a:moveTo>
                    <a:pt x="128" y="228"/>
                  </a:moveTo>
                  <a:lnTo>
                    <a:pt x="124" y="228"/>
                  </a:lnTo>
                  <a:lnTo>
                    <a:pt x="124" y="224"/>
                  </a:lnTo>
                  <a:lnTo>
                    <a:pt x="124" y="228"/>
                  </a:lnTo>
                  <a:lnTo>
                    <a:pt x="124" y="224"/>
                  </a:lnTo>
                  <a:lnTo>
                    <a:pt x="128" y="224"/>
                  </a:lnTo>
                  <a:lnTo>
                    <a:pt x="128" y="228"/>
                  </a:lnTo>
                  <a:lnTo>
                    <a:pt x="128" y="228"/>
                  </a:lnTo>
                  <a:lnTo>
                    <a:pt x="128" y="228"/>
                  </a:lnTo>
                  <a:close/>
                  <a:moveTo>
                    <a:pt x="94" y="254"/>
                  </a:moveTo>
                  <a:lnTo>
                    <a:pt x="98" y="250"/>
                  </a:lnTo>
                  <a:lnTo>
                    <a:pt x="98" y="254"/>
                  </a:lnTo>
                  <a:lnTo>
                    <a:pt x="94" y="254"/>
                  </a:lnTo>
                  <a:lnTo>
                    <a:pt x="94" y="254"/>
                  </a:lnTo>
                  <a:lnTo>
                    <a:pt x="94" y="254"/>
                  </a:lnTo>
                  <a:close/>
                  <a:moveTo>
                    <a:pt x="288" y="56"/>
                  </a:moveTo>
                  <a:lnTo>
                    <a:pt x="284" y="60"/>
                  </a:lnTo>
                  <a:lnTo>
                    <a:pt x="282" y="60"/>
                  </a:lnTo>
                  <a:lnTo>
                    <a:pt x="282" y="62"/>
                  </a:lnTo>
                  <a:lnTo>
                    <a:pt x="282" y="66"/>
                  </a:lnTo>
                  <a:lnTo>
                    <a:pt x="282" y="70"/>
                  </a:lnTo>
                  <a:lnTo>
                    <a:pt x="278" y="70"/>
                  </a:lnTo>
                  <a:lnTo>
                    <a:pt x="274" y="66"/>
                  </a:lnTo>
                  <a:lnTo>
                    <a:pt x="270" y="66"/>
                  </a:lnTo>
                  <a:lnTo>
                    <a:pt x="266" y="62"/>
                  </a:lnTo>
                  <a:lnTo>
                    <a:pt x="262" y="62"/>
                  </a:lnTo>
                  <a:lnTo>
                    <a:pt x="262" y="60"/>
                  </a:lnTo>
                  <a:lnTo>
                    <a:pt x="258" y="60"/>
                  </a:lnTo>
                  <a:lnTo>
                    <a:pt x="254" y="60"/>
                  </a:lnTo>
                  <a:lnTo>
                    <a:pt x="252" y="62"/>
                  </a:lnTo>
                  <a:lnTo>
                    <a:pt x="248" y="62"/>
                  </a:lnTo>
                  <a:lnTo>
                    <a:pt x="244" y="60"/>
                  </a:lnTo>
                  <a:lnTo>
                    <a:pt x="240" y="60"/>
                  </a:lnTo>
                  <a:lnTo>
                    <a:pt x="240" y="62"/>
                  </a:lnTo>
                  <a:lnTo>
                    <a:pt x="236" y="62"/>
                  </a:lnTo>
                  <a:lnTo>
                    <a:pt x="236" y="66"/>
                  </a:lnTo>
                  <a:lnTo>
                    <a:pt x="240" y="66"/>
                  </a:lnTo>
                  <a:lnTo>
                    <a:pt x="244" y="66"/>
                  </a:lnTo>
                  <a:lnTo>
                    <a:pt x="244" y="70"/>
                  </a:lnTo>
                  <a:lnTo>
                    <a:pt x="248" y="70"/>
                  </a:lnTo>
                  <a:lnTo>
                    <a:pt x="248" y="74"/>
                  </a:lnTo>
                  <a:lnTo>
                    <a:pt x="252" y="74"/>
                  </a:lnTo>
                  <a:lnTo>
                    <a:pt x="248" y="74"/>
                  </a:lnTo>
                  <a:lnTo>
                    <a:pt x="248" y="78"/>
                  </a:lnTo>
                  <a:lnTo>
                    <a:pt x="244" y="74"/>
                  </a:lnTo>
                  <a:lnTo>
                    <a:pt x="240" y="78"/>
                  </a:lnTo>
                  <a:lnTo>
                    <a:pt x="240" y="82"/>
                  </a:lnTo>
                  <a:lnTo>
                    <a:pt x="236" y="82"/>
                  </a:lnTo>
                  <a:lnTo>
                    <a:pt x="232" y="82"/>
                  </a:lnTo>
                  <a:lnTo>
                    <a:pt x="232" y="78"/>
                  </a:lnTo>
                  <a:lnTo>
                    <a:pt x="236" y="74"/>
                  </a:lnTo>
                  <a:lnTo>
                    <a:pt x="236" y="70"/>
                  </a:lnTo>
                  <a:lnTo>
                    <a:pt x="232" y="70"/>
                  </a:lnTo>
                  <a:lnTo>
                    <a:pt x="232" y="66"/>
                  </a:lnTo>
                  <a:lnTo>
                    <a:pt x="228" y="66"/>
                  </a:lnTo>
                  <a:lnTo>
                    <a:pt x="228" y="62"/>
                  </a:lnTo>
                  <a:lnTo>
                    <a:pt x="232" y="62"/>
                  </a:lnTo>
                  <a:lnTo>
                    <a:pt x="232" y="60"/>
                  </a:lnTo>
                  <a:lnTo>
                    <a:pt x="232" y="56"/>
                  </a:lnTo>
                  <a:lnTo>
                    <a:pt x="236" y="56"/>
                  </a:lnTo>
                  <a:lnTo>
                    <a:pt x="240" y="56"/>
                  </a:lnTo>
                  <a:lnTo>
                    <a:pt x="240" y="52"/>
                  </a:lnTo>
                  <a:lnTo>
                    <a:pt x="240" y="48"/>
                  </a:lnTo>
                  <a:lnTo>
                    <a:pt x="240" y="46"/>
                  </a:lnTo>
                  <a:lnTo>
                    <a:pt x="244" y="46"/>
                  </a:lnTo>
                  <a:lnTo>
                    <a:pt x="244" y="48"/>
                  </a:lnTo>
                  <a:lnTo>
                    <a:pt x="248" y="48"/>
                  </a:lnTo>
                  <a:lnTo>
                    <a:pt x="252" y="48"/>
                  </a:lnTo>
                  <a:lnTo>
                    <a:pt x="252" y="46"/>
                  </a:lnTo>
                  <a:lnTo>
                    <a:pt x="254" y="46"/>
                  </a:lnTo>
                  <a:lnTo>
                    <a:pt x="254" y="42"/>
                  </a:lnTo>
                  <a:lnTo>
                    <a:pt x="252" y="38"/>
                  </a:lnTo>
                  <a:lnTo>
                    <a:pt x="254" y="38"/>
                  </a:lnTo>
                  <a:lnTo>
                    <a:pt x="254" y="34"/>
                  </a:lnTo>
                  <a:lnTo>
                    <a:pt x="258" y="34"/>
                  </a:lnTo>
                  <a:lnTo>
                    <a:pt x="258" y="30"/>
                  </a:lnTo>
                  <a:lnTo>
                    <a:pt x="258" y="26"/>
                  </a:lnTo>
                  <a:lnTo>
                    <a:pt x="258" y="22"/>
                  </a:lnTo>
                  <a:lnTo>
                    <a:pt x="258" y="20"/>
                  </a:lnTo>
                  <a:lnTo>
                    <a:pt x="258" y="16"/>
                  </a:lnTo>
                  <a:lnTo>
                    <a:pt x="258" y="12"/>
                  </a:lnTo>
                  <a:lnTo>
                    <a:pt x="254" y="8"/>
                  </a:lnTo>
                  <a:lnTo>
                    <a:pt x="258" y="4"/>
                  </a:lnTo>
                  <a:lnTo>
                    <a:pt x="262" y="0"/>
                  </a:lnTo>
                  <a:lnTo>
                    <a:pt x="262" y="4"/>
                  </a:lnTo>
                  <a:lnTo>
                    <a:pt x="266" y="4"/>
                  </a:lnTo>
                  <a:lnTo>
                    <a:pt x="266" y="8"/>
                  </a:lnTo>
                  <a:lnTo>
                    <a:pt x="270" y="12"/>
                  </a:lnTo>
                  <a:lnTo>
                    <a:pt x="270" y="16"/>
                  </a:lnTo>
                  <a:lnTo>
                    <a:pt x="274" y="16"/>
                  </a:lnTo>
                  <a:lnTo>
                    <a:pt x="274" y="20"/>
                  </a:lnTo>
                  <a:lnTo>
                    <a:pt x="278" y="20"/>
                  </a:lnTo>
                  <a:lnTo>
                    <a:pt x="278" y="22"/>
                  </a:lnTo>
                  <a:lnTo>
                    <a:pt x="282" y="26"/>
                  </a:lnTo>
                  <a:lnTo>
                    <a:pt x="284" y="26"/>
                  </a:lnTo>
                  <a:lnTo>
                    <a:pt x="284" y="30"/>
                  </a:lnTo>
                  <a:lnTo>
                    <a:pt x="288" y="30"/>
                  </a:lnTo>
                  <a:lnTo>
                    <a:pt x="292" y="30"/>
                  </a:lnTo>
                  <a:lnTo>
                    <a:pt x="296" y="34"/>
                  </a:lnTo>
                  <a:lnTo>
                    <a:pt x="300" y="34"/>
                  </a:lnTo>
                  <a:lnTo>
                    <a:pt x="302" y="34"/>
                  </a:lnTo>
                  <a:lnTo>
                    <a:pt x="302" y="30"/>
                  </a:lnTo>
                  <a:lnTo>
                    <a:pt x="306" y="30"/>
                  </a:lnTo>
                  <a:lnTo>
                    <a:pt x="306" y="26"/>
                  </a:lnTo>
                  <a:lnTo>
                    <a:pt x="310" y="26"/>
                  </a:lnTo>
                  <a:lnTo>
                    <a:pt x="306" y="30"/>
                  </a:lnTo>
                  <a:lnTo>
                    <a:pt x="306" y="34"/>
                  </a:lnTo>
                  <a:lnTo>
                    <a:pt x="306" y="38"/>
                  </a:lnTo>
                  <a:lnTo>
                    <a:pt x="306" y="42"/>
                  </a:lnTo>
                  <a:lnTo>
                    <a:pt x="310" y="42"/>
                  </a:lnTo>
                  <a:lnTo>
                    <a:pt x="306" y="42"/>
                  </a:lnTo>
                  <a:lnTo>
                    <a:pt x="306" y="46"/>
                  </a:lnTo>
                  <a:lnTo>
                    <a:pt x="310" y="46"/>
                  </a:lnTo>
                  <a:lnTo>
                    <a:pt x="314" y="46"/>
                  </a:lnTo>
                  <a:lnTo>
                    <a:pt x="310" y="46"/>
                  </a:lnTo>
                  <a:lnTo>
                    <a:pt x="310" y="48"/>
                  </a:lnTo>
                  <a:lnTo>
                    <a:pt x="306" y="48"/>
                  </a:lnTo>
                  <a:lnTo>
                    <a:pt x="302" y="52"/>
                  </a:lnTo>
                  <a:lnTo>
                    <a:pt x="302" y="48"/>
                  </a:lnTo>
                  <a:lnTo>
                    <a:pt x="300" y="52"/>
                  </a:lnTo>
                  <a:lnTo>
                    <a:pt x="296" y="52"/>
                  </a:lnTo>
                  <a:lnTo>
                    <a:pt x="292" y="52"/>
                  </a:lnTo>
                  <a:lnTo>
                    <a:pt x="288" y="52"/>
                  </a:lnTo>
                  <a:lnTo>
                    <a:pt x="288" y="56"/>
                  </a:lnTo>
                  <a:lnTo>
                    <a:pt x="288" y="56"/>
                  </a:lnTo>
                  <a:lnTo>
                    <a:pt x="288" y="56"/>
                  </a:lnTo>
                  <a:close/>
                  <a:moveTo>
                    <a:pt x="248" y="4"/>
                  </a:moveTo>
                  <a:lnTo>
                    <a:pt x="248" y="8"/>
                  </a:lnTo>
                  <a:lnTo>
                    <a:pt x="248" y="4"/>
                  </a:lnTo>
                  <a:lnTo>
                    <a:pt x="248" y="4"/>
                  </a:lnTo>
                  <a:lnTo>
                    <a:pt x="248" y="4"/>
                  </a:lnTo>
                  <a:close/>
                  <a:moveTo>
                    <a:pt x="252" y="8"/>
                  </a:moveTo>
                  <a:lnTo>
                    <a:pt x="252" y="12"/>
                  </a:lnTo>
                  <a:lnTo>
                    <a:pt x="252" y="8"/>
                  </a:lnTo>
                  <a:lnTo>
                    <a:pt x="252" y="8"/>
                  </a:lnTo>
                  <a:lnTo>
                    <a:pt x="252" y="8"/>
                  </a:lnTo>
                  <a:close/>
                  <a:moveTo>
                    <a:pt x="226" y="66"/>
                  </a:moveTo>
                  <a:lnTo>
                    <a:pt x="228" y="66"/>
                  </a:lnTo>
                  <a:lnTo>
                    <a:pt x="226" y="66"/>
                  </a:lnTo>
                  <a:lnTo>
                    <a:pt x="226" y="70"/>
                  </a:lnTo>
                  <a:lnTo>
                    <a:pt x="226" y="66"/>
                  </a:lnTo>
                  <a:lnTo>
                    <a:pt x="226" y="66"/>
                  </a:lnTo>
                  <a:lnTo>
                    <a:pt x="226" y="66"/>
                  </a:lnTo>
                  <a:close/>
                  <a:moveTo>
                    <a:pt x="154" y="208"/>
                  </a:moveTo>
                  <a:lnTo>
                    <a:pt x="150" y="208"/>
                  </a:lnTo>
                  <a:lnTo>
                    <a:pt x="150" y="212"/>
                  </a:lnTo>
                  <a:lnTo>
                    <a:pt x="146" y="212"/>
                  </a:lnTo>
                  <a:lnTo>
                    <a:pt x="150" y="212"/>
                  </a:lnTo>
                  <a:lnTo>
                    <a:pt x="146" y="216"/>
                  </a:lnTo>
                  <a:lnTo>
                    <a:pt x="142" y="212"/>
                  </a:lnTo>
                  <a:lnTo>
                    <a:pt x="142" y="216"/>
                  </a:lnTo>
                  <a:lnTo>
                    <a:pt x="140" y="216"/>
                  </a:lnTo>
                  <a:lnTo>
                    <a:pt x="136" y="220"/>
                  </a:lnTo>
                  <a:lnTo>
                    <a:pt x="136" y="216"/>
                  </a:lnTo>
                  <a:lnTo>
                    <a:pt x="132" y="216"/>
                  </a:lnTo>
                  <a:lnTo>
                    <a:pt x="132" y="220"/>
                  </a:lnTo>
                  <a:lnTo>
                    <a:pt x="128" y="220"/>
                  </a:lnTo>
                  <a:lnTo>
                    <a:pt x="128" y="216"/>
                  </a:lnTo>
                  <a:lnTo>
                    <a:pt x="124" y="216"/>
                  </a:lnTo>
                  <a:lnTo>
                    <a:pt x="124" y="220"/>
                  </a:lnTo>
                  <a:lnTo>
                    <a:pt x="124" y="224"/>
                  </a:lnTo>
                  <a:lnTo>
                    <a:pt x="120" y="224"/>
                  </a:lnTo>
                  <a:lnTo>
                    <a:pt x="124" y="228"/>
                  </a:lnTo>
                  <a:lnTo>
                    <a:pt x="120" y="228"/>
                  </a:lnTo>
                  <a:lnTo>
                    <a:pt x="116" y="224"/>
                  </a:lnTo>
                  <a:lnTo>
                    <a:pt x="112" y="224"/>
                  </a:lnTo>
                  <a:lnTo>
                    <a:pt x="110" y="224"/>
                  </a:lnTo>
                  <a:lnTo>
                    <a:pt x="106" y="224"/>
                  </a:lnTo>
                  <a:lnTo>
                    <a:pt x="106" y="220"/>
                  </a:lnTo>
                  <a:lnTo>
                    <a:pt x="106" y="216"/>
                  </a:lnTo>
                  <a:lnTo>
                    <a:pt x="110" y="216"/>
                  </a:lnTo>
                  <a:lnTo>
                    <a:pt x="112" y="216"/>
                  </a:lnTo>
                  <a:lnTo>
                    <a:pt x="112" y="212"/>
                  </a:lnTo>
                  <a:lnTo>
                    <a:pt x="116" y="212"/>
                  </a:lnTo>
                  <a:lnTo>
                    <a:pt x="116" y="208"/>
                  </a:lnTo>
                  <a:lnTo>
                    <a:pt x="120" y="208"/>
                  </a:lnTo>
                  <a:lnTo>
                    <a:pt x="120" y="204"/>
                  </a:lnTo>
                  <a:lnTo>
                    <a:pt x="124" y="204"/>
                  </a:lnTo>
                  <a:lnTo>
                    <a:pt x="124" y="202"/>
                  </a:lnTo>
                  <a:lnTo>
                    <a:pt x="128" y="202"/>
                  </a:lnTo>
                  <a:lnTo>
                    <a:pt x="128" y="198"/>
                  </a:lnTo>
                  <a:lnTo>
                    <a:pt x="132" y="198"/>
                  </a:lnTo>
                  <a:lnTo>
                    <a:pt x="128" y="198"/>
                  </a:lnTo>
                  <a:lnTo>
                    <a:pt x="132" y="198"/>
                  </a:lnTo>
                  <a:lnTo>
                    <a:pt x="132" y="194"/>
                  </a:lnTo>
                  <a:lnTo>
                    <a:pt x="136" y="198"/>
                  </a:lnTo>
                  <a:lnTo>
                    <a:pt x="136" y="194"/>
                  </a:lnTo>
                  <a:lnTo>
                    <a:pt x="140" y="194"/>
                  </a:lnTo>
                  <a:lnTo>
                    <a:pt x="140" y="198"/>
                  </a:lnTo>
                  <a:lnTo>
                    <a:pt x="142" y="198"/>
                  </a:lnTo>
                  <a:lnTo>
                    <a:pt x="142" y="194"/>
                  </a:lnTo>
                  <a:lnTo>
                    <a:pt x="142" y="198"/>
                  </a:lnTo>
                  <a:lnTo>
                    <a:pt x="146" y="198"/>
                  </a:lnTo>
                  <a:lnTo>
                    <a:pt x="150" y="194"/>
                  </a:lnTo>
                  <a:lnTo>
                    <a:pt x="154" y="194"/>
                  </a:lnTo>
                  <a:lnTo>
                    <a:pt x="158" y="194"/>
                  </a:lnTo>
                  <a:lnTo>
                    <a:pt x="162" y="194"/>
                  </a:lnTo>
                  <a:lnTo>
                    <a:pt x="166" y="190"/>
                  </a:lnTo>
                  <a:lnTo>
                    <a:pt x="166" y="194"/>
                  </a:lnTo>
                  <a:lnTo>
                    <a:pt x="170" y="198"/>
                  </a:lnTo>
                  <a:lnTo>
                    <a:pt x="170" y="194"/>
                  </a:lnTo>
                  <a:lnTo>
                    <a:pt x="170" y="198"/>
                  </a:lnTo>
                  <a:lnTo>
                    <a:pt x="170" y="194"/>
                  </a:lnTo>
                  <a:lnTo>
                    <a:pt x="170" y="198"/>
                  </a:lnTo>
                  <a:lnTo>
                    <a:pt x="172" y="198"/>
                  </a:lnTo>
                  <a:lnTo>
                    <a:pt x="172" y="194"/>
                  </a:lnTo>
                  <a:lnTo>
                    <a:pt x="176" y="194"/>
                  </a:lnTo>
                  <a:lnTo>
                    <a:pt x="176" y="190"/>
                  </a:lnTo>
                  <a:lnTo>
                    <a:pt x="176" y="194"/>
                  </a:lnTo>
                  <a:lnTo>
                    <a:pt x="176" y="190"/>
                  </a:lnTo>
                  <a:lnTo>
                    <a:pt x="176" y="186"/>
                  </a:lnTo>
                  <a:lnTo>
                    <a:pt x="176" y="182"/>
                  </a:lnTo>
                  <a:lnTo>
                    <a:pt x="180" y="182"/>
                  </a:lnTo>
                  <a:lnTo>
                    <a:pt x="180" y="178"/>
                  </a:lnTo>
                  <a:lnTo>
                    <a:pt x="184" y="178"/>
                  </a:lnTo>
                  <a:lnTo>
                    <a:pt x="184" y="174"/>
                  </a:lnTo>
                  <a:lnTo>
                    <a:pt x="188" y="174"/>
                  </a:lnTo>
                  <a:lnTo>
                    <a:pt x="188" y="172"/>
                  </a:lnTo>
                  <a:lnTo>
                    <a:pt x="188" y="168"/>
                  </a:lnTo>
                  <a:lnTo>
                    <a:pt x="188" y="164"/>
                  </a:lnTo>
                  <a:lnTo>
                    <a:pt x="188" y="160"/>
                  </a:lnTo>
                  <a:lnTo>
                    <a:pt x="192" y="160"/>
                  </a:lnTo>
                  <a:lnTo>
                    <a:pt x="192" y="156"/>
                  </a:lnTo>
                  <a:lnTo>
                    <a:pt x="196" y="156"/>
                  </a:lnTo>
                  <a:lnTo>
                    <a:pt x="196" y="160"/>
                  </a:lnTo>
                  <a:lnTo>
                    <a:pt x="192" y="160"/>
                  </a:lnTo>
                  <a:lnTo>
                    <a:pt x="192" y="164"/>
                  </a:lnTo>
                  <a:lnTo>
                    <a:pt x="188" y="164"/>
                  </a:lnTo>
                  <a:lnTo>
                    <a:pt x="188" y="168"/>
                  </a:lnTo>
                  <a:lnTo>
                    <a:pt x="192" y="168"/>
                  </a:lnTo>
                  <a:lnTo>
                    <a:pt x="192" y="172"/>
                  </a:lnTo>
                  <a:lnTo>
                    <a:pt x="196" y="172"/>
                  </a:lnTo>
                  <a:lnTo>
                    <a:pt x="196" y="168"/>
                  </a:lnTo>
                  <a:lnTo>
                    <a:pt x="198" y="168"/>
                  </a:lnTo>
                  <a:lnTo>
                    <a:pt x="202" y="168"/>
                  </a:lnTo>
                  <a:lnTo>
                    <a:pt x="206" y="164"/>
                  </a:lnTo>
                  <a:lnTo>
                    <a:pt x="210" y="164"/>
                  </a:lnTo>
                  <a:lnTo>
                    <a:pt x="214" y="160"/>
                  </a:lnTo>
                  <a:lnTo>
                    <a:pt x="214" y="156"/>
                  </a:lnTo>
                  <a:lnTo>
                    <a:pt x="218" y="156"/>
                  </a:lnTo>
                  <a:lnTo>
                    <a:pt x="218" y="152"/>
                  </a:lnTo>
                  <a:lnTo>
                    <a:pt x="218" y="148"/>
                  </a:lnTo>
                  <a:lnTo>
                    <a:pt x="222" y="148"/>
                  </a:lnTo>
                  <a:lnTo>
                    <a:pt x="226" y="148"/>
                  </a:lnTo>
                  <a:lnTo>
                    <a:pt x="226" y="146"/>
                  </a:lnTo>
                  <a:lnTo>
                    <a:pt x="226" y="142"/>
                  </a:lnTo>
                  <a:lnTo>
                    <a:pt x="228" y="138"/>
                  </a:lnTo>
                  <a:lnTo>
                    <a:pt x="228" y="134"/>
                  </a:lnTo>
                  <a:lnTo>
                    <a:pt x="228" y="130"/>
                  </a:lnTo>
                  <a:lnTo>
                    <a:pt x="232" y="126"/>
                  </a:lnTo>
                  <a:lnTo>
                    <a:pt x="232" y="122"/>
                  </a:lnTo>
                  <a:lnTo>
                    <a:pt x="232" y="118"/>
                  </a:lnTo>
                  <a:lnTo>
                    <a:pt x="236" y="118"/>
                  </a:lnTo>
                  <a:lnTo>
                    <a:pt x="236" y="116"/>
                  </a:lnTo>
                  <a:lnTo>
                    <a:pt x="232" y="116"/>
                  </a:lnTo>
                  <a:lnTo>
                    <a:pt x="232" y="112"/>
                  </a:lnTo>
                  <a:lnTo>
                    <a:pt x="228" y="112"/>
                  </a:lnTo>
                  <a:lnTo>
                    <a:pt x="228" y="108"/>
                  </a:lnTo>
                  <a:lnTo>
                    <a:pt x="228" y="112"/>
                  </a:lnTo>
                  <a:lnTo>
                    <a:pt x="232" y="112"/>
                  </a:lnTo>
                  <a:lnTo>
                    <a:pt x="232" y="108"/>
                  </a:lnTo>
                  <a:lnTo>
                    <a:pt x="232" y="104"/>
                  </a:lnTo>
                  <a:lnTo>
                    <a:pt x="232" y="100"/>
                  </a:lnTo>
                  <a:lnTo>
                    <a:pt x="232" y="96"/>
                  </a:lnTo>
                  <a:lnTo>
                    <a:pt x="236" y="96"/>
                  </a:lnTo>
                  <a:lnTo>
                    <a:pt x="236" y="92"/>
                  </a:lnTo>
                  <a:lnTo>
                    <a:pt x="240" y="90"/>
                  </a:lnTo>
                  <a:lnTo>
                    <a:pt x="236" y="90"/>
                  </a:lnTo>
                  <a:lnTo>
                    <a:pt x="240" y="90"/>
                  </a:lnTo>
                  <a:lnTo>
                    <a:pt x="240" y="86"/>
                  </a:lnTo>
                  <a:lnTo>
                    <a:pt x="244" y="86"/>
                  </a:lnTo>
                  <a:lnTo>
                    <a:pt x="244" y="90"/>
                  </a:lnTo>
                  <a:lnTo>
                    <a:pt x="244" y="92"/>
                  </a:lnTo>
                  <a:lnTo>
                    <a:pt x="248" y="92"/>
                  </a:lnTo>
                  <a:lnTo>
                    <a:pt x="248" y="90"/>
                  </a:lnTo>
                  <a:lnTo>
                    <a:pt x="248" y="92"/>
                  </a:lnTo>
                  <a:lnTo>
                    <a:pt x="252" y="92"/>
                  </a:lnTo>
                  <a:lnTo>
                    <a:pt x="252" y="90"/>
                  </a:lnTo>
                  <a:lnTo>
                    <a:pt x="252" y="86"/>
                  </a:lnTo>
                  <a:lnTo>
                    <a:pt x="248" y="86"/>
                  </a:lnTo>
                  <a:lnTo>
                    <a:pt x="244" y="90"/>
                  </a:lnTo>
                  <a:lnTo>
                    <a:pt x="244" y="86"/>
                  </a:lnTo>
                  <a:lnTo>
                    <a:pt x="244" y="82"/>
                  </a:lnTo>
                  <a:lnTo>
                    <a:pt x="248" y="78"/>
                  </a:lnTo>
                  <a:lnTo>
                    <a:pt x="248" y="82"/>
                  </a:lnTo>
                  <a:lnTo>
                    <a:pt x="252" y="82"/>
                  </a:lnTo>
                  <a:lnTo>
                    <a:pt x="254" y="82"/>
                  </a:lnTo>
                  <a:lnTo>
                    <a:pt x="254" y="86"/>
                  </a:lnTo>
                  <a:lnTo>
                    <a:pt x="254" y="92"/>
                  </a:lnTo>
                  <a:lnTo>
                    <a:pt x="254" y="96"/>
                  </a:lnTo>
                  <a:lnTo>
                    <a:pt x="254" y="100"/>
                  </a:lnTo>
                  <a:lnTo>
                    <a:pt x="258" y="100"/>
                  </a:lnTo>
                  <a:lnTo>
                    <a:pt x="258" y="104"/>
                  </a:lnTo>
                  <a:lnTo>
                    <a:pt x="258" y="108"/>
                  </a:lnTo>
                  <a:lnTo>
                    <a:pt x="262" y="108"/>
                  </a:lnTo>
                  <a:lnTo>
                    <a:pt x="262" y="112"/>
                  </a:lnTo>
                  <a:lnTo>
                    <a:pt x="262" y="116"/>
                  </a:lnTo>
                  <a:lnTo>
                    <a:pt x="262" y="118"/>
                  </a:lnTo>
                  <a:lnTo>
                    <a:pt x="262" y="122"/>
                  </a:lnTo>
                  <a:lnTo>
                    <a:pt x="258" y="122"/>
                  </a:lnTo>
                  <a:lnTo>
                    <a:pt x="258" y="126"/>
                  </a:lnTo>
                  <a:lnTo>
                    <a:pt x="258" y="130"/>
                  </a:lnTo>
                  <a:lnTo>
                    <a:pt x="254" y="130"/>
                  </a:lnTo>
                  <a:lnTo>
                    <a:pt x="258" y="130"/>
                  </a:lnTo>
                  <a:lnTo>
                    <a:pt x="254" y="130"/>
                  </a:lnTo>
                  <a:lnTo>
                    <a:pt x="254" y="134"/>
                  </a:lnTo>
                  <a:lnTo>
                    <a:pt x="254" y="138"/>
                  </a:lnTo>
                  <a:lnTo>
                    <a:pt x="254" y="142"/>
                  </a:lnTo>
                  <a:lnTo>
                    <a:pt x="252" y="142"/>
                  </a:lnTo>
                  <a:lnTo>
                    <a:pt x="248" y="142"/>
                  </a:lnTo>
                  <a:lnTo>
                    <a:pt x="248" y="146"/>
                  </a:lnTo>
                  <a:lnTo>
                    <a:pt x="248" y="148"/>
                  </a:lnTo>
                  <a:lnTo>
                    <a:pt x="248" y="152"/>
                  </a:lnTo>
                  <a:lnTo>
                    <a:pt x="248" y="156"/>
                  </a:lnTo>
                  <a:lnTo>
                    <a:pt x="248" y="160"/>
                  </a:lnTo>
                  <a:lnTo>
                    <a:pt x="248" y="164"/>
                  </a:lnTo>
                  <a:lnTo>
                    <a:pt x="248" y="168"/>
                  </a:lnTo>
                  <a:lnTo>
                    <a:pt x="244" y="168"/>
                  </a:lnTo>
                  <a:lnTo>
                    <a:pt x="244" y="172"/>
                  </a:lnTo>
                  <a:lnTo>
                    <a:pt x="244" y="174"/>
                  </a:lnTo>
                  <a:lnTo>
                    <a:pt x="244" y="178"/>
                  </a:lnTo>
                  <a:lnTo>
                    <a:pt x="240" y="182"/>
                  </a:lnTo>
                  <a:lnTo>
                    <a:pt x="244" y="182"/>
                  </a:lnTo>
                  <a:lnTo>
                    <a:pt x="244" y="186"/>
                  </a:lnTo>
                  <a:lnTo>
                    <a:pt x="244" y="190"/>
                  </a:lnTo>
                  <a:lnTo>
                    <a:pt x="244" y="194"/>
                  </a:lnTo>
                  <a:lnTo>
                    <a:pt x="240" y="194"/>
                  </a:lnTo>
                  <a:lnTo>
                    <a:pt x="240" y="198"/>
                  </a:lnTo>
                  <a:lnTo>
                    <a:pt x="240" y="202"/>
                  </a:lnTo>
                  <a:lnTo>
                    <a:pt x="236" y="202"/>
                  </a:lnTo>
                  <a:lnTo>
                    <a:pt x="236" y="204"/>
                  </a:lnTo>
                  <a:lnTo>
                    <a:pt x="232" y="204"/>
                  </a:lnTo>
                  <a:lnTo>
                    <a:pt x="232" y="208"/>
                  </a:lnTo>
                  <a:lnTo>
                    <a:pt x="228" y="204"/>
                  </a:lnTo>
                  <a:lnTo>
                    <a:pt x="232" y="204"/>
                  </a:lnTo>
                  <a:lnTo>
                    <a:pt x="232" y="202"/>
                  </a:lnTo>
                  <a:lnTo>
                    <a:pt x="232" y="198"/>
                  </a:lnTo>
                  <a:lnTo>
                    <a:pt x="236" y="194"/>
                  </a:lnTo>
                  <a:lnTo>
                    <a:pt x="232" y="194"/>
                  </a:lnTo>
                  <a:lnTo>
                    <a:pt x="228" y="194"/>
                  </a:lnTo>
                  <a:lnTo>
                    <a:pt x="228" y="198"/>
                  </a:lnTo>
                  <a:lnTo>
                    <a:pt x="228" y="202"/>
                  </a:lnTo>
                  <a:lnTo>
                    <a:pt x="226" y="198"/>
                  </a:lnTo>
                  <a:lnTo>
                    <a:pt x="226" y="202"/>
                  </a:lnTo>
                  <a:lnTo>
                    <a:pt x="222" y="202"/>
                  </a:lnTo>
                  <a:lnTo>
                    <a:pt x="222" y="204"/>
                  </a:lnTo>
                  <a:lnTo>
                    <a:pt x="222" y="208"/>
                  </a:lnTo>
                  <a:lnTo>
                    <a:pt x="218" y="212"/>
                  </a:lnTo>
                  <a:lnTo>
                    <a:pt x="218" y="208"/>
                  </a:lnTo>
                  <a:lnTo>
                    <a:pt x="218" y="204"/>
                  </a:lnTo>
                  <a:lnTo>
                    <a:pt x="218" y="202"/>
                  </a:lnTo>
                  <a:lnTo>
                    <a:pt x="214" y="202"/>
                  </a:lnTo>
                  <a:lnTo>
                    <a:pt x="214" y="204"/>
                  </a:lnTo>
                  <a:lnTo>
                    <a:pt x="210" y="208"/>
                  </a:lnTo>
                  <a:lnTo>
                    <a:pt x="206" y="212"/>
                  </a:lnTo>
                  <a:lnTo>
                    <a:pt x="210" y="212"/>
                  </a:lnTo>
                  <a:lnTo>
                    <a:pt x="206" y="212"/>
                  </a:lnTo>
                  <a:lnTo>
                    <a:pt x="202" y="212"/>
                  </a:lnTo>
                  <a:lnTo>
                    <a:pt x="198" y="212"/>
                  </a:lnTo>
                  <a:lnTo>
                    <a:pt x="196" y="212"/>
                  </a:lnTo>
                  <a:lnTo>
                    <a:pt x="192" y="212"/>
                  </a:lnTo>
                  <a:lnTo>
                    <a:pt x="196" y="212"/>
                  </a:lnTo>
                  <a:lnTo>
                    <a:pt x="196" y="208"/>
                  </a:lnTo>
                  <a:lnTo>
                    <a:pt x="192" y="208"/>
                  </a:lnTo>
                  <a:lnTo>
                    <a:pt x="192" y="204"/>
                  </a:lnTo>
                  <a:lnTo>
                    <a:pt x="192" y="208"/>
                  </a:lnTo>
                  <a:lnTo>
                    <a:pt x="192" y="212"/>
                  </a:lnTo>
                  <a:lnTo>
                    <a:pt x="188" y="208"/>
                  </a:lnTo>
                  <a:lnTo>
                    <a:pt x="188" y="204"/>
                  </a:lnTo>
                  <a:lnTo>
                    <a:pt x="192" y="204"/>
                  </a:lnTo>
                  <a:lnTo>
                    <a:pt x="188" y="204"/>
                  </a:lnTo>
                  <a:lnTo>
                    <a:pt x="188" y="208"/>
                  </a:lnTo>
                  <a:lnTo>
                    <a:pt x="184" y="208"/>
                  </a:lnTo>
                  <a:lnTo>
                    <a:pt x="184" y="212"/>
                  </a:lnTo>
                  <a:lnTo>
                    <a:pt x="188" y="212"/>
                  </a:lnTo>
                  <a:lnTo>
                    <a:pt x="188" y="216"/>
                  </a:lnTo>
                  <a:lnTo>
                    <a:pt x="192" y="216"/>
                  </a:lnTo>
                  <a:lnTo>
                    <a:pt x="192" y="220"/>
                  </a:lnTo>
                  <a:lnTo>
                    <a:pt x="188" y="220"/>
                  </a:lnTo>
                  <a:lnTo>
                    <a:pt x="184" y="220"/>
                  </a:lnTo>
                  <a:lnTo>
                    <a:pt x="180" y="220"/>
                  </a:lnTo>
                  <a:lnTo>
                    <a:pt x="180" y="224"/>
                  </a:lnTo>
                  <a:lnTo>
                    <a:pt x="180" y="228"/>
                  </a:lnTo>
                  <a:lnTo>
                    <a:pt x="176" y="228"/>
                  </a:lnTo>
                  <a:lnTo>
                    <a:pt x="176" y="230"/>
                  </a:lnTo>
                  <a:lnTo>
                    <a:pt x="172" y="234"/>
                  </a:lnTo>
                  <a:lnTo>
                    <a:pt x="170" y="230"/>
                  </a:lnTo>
                  <a:lnTo>
                    <a:pt x="170" y="228"/>
                  </a:lnTo>
                  <a:lnTo>
                    <a:pt x="166" y="228"/>
                  </a:lnTo>
                  <a:lnTo>
                    <a:pt x="166" y="224"/>
                  </a:lnTo>
                  <a:lnTo>
                    <a:pt x="166" y="220"/>
                  </a:lnTo>
                  <a:lnTo>
                    <a:pt x="166" y="216"/>
                  </a:lnTo>
                  <a:lnTo>
                    <a:pt x="170" y="216"/>
                  </a:lnTo>
                  <a:lnTo>
                    <a:pt x="170" y="212"/>
                  </a:lnTo>
                  <a:lnTo>
                    <a:pt x="170" y="208"/>
                  </a:lnTo>
                  <a:lnTo>
                    <a:pt x="166" y="212"/>
                  </a:lnTo>
                  <a:lnTo>
                    <a:pt x="162" y="212"/>
                  </a:lnTo>
                  <a:lnTo>
                    <a:pt x="158" y="208"/>
                  </a:lnTo>
                  <a:lnTo>
                    <a:pt x="154" y="208"/>
                  </a:lnTo>
                  <a:lnTo>
                    <a:pt x="154" y="212"/>
                  </a:lnTo>
                  <a:lnTo>
                    <a:pt x="154" y="208"/>
                  </a:lnTo>
                  <a:lnTo>
                    <a:pt x="154" y="208"/>
                  </a:lnTo>
                  <a:lnTo>
                    <a:pt x="154" y="208"/>
                  </a:lnTo>
                  <a:close/>
                  <a:moveTo>
                    <a:pt x="214" y="142"/>
                  </a:moveTo>
                  <a:lnTo>
                    <a:pt x="214" y="146"/>
                  </a:lnTo>
                  <a:lnTo>
                    <a:pt x="210" y="146"/>
                  </a:lnTo>
                  <a:lnTo>
                    <a:pt x="210" y="148"/>
                  </a:lnTo>
                  <a:lnTo>
                    <a:pt x="214" y="146"/>
                  </a:lnTo>
                  <a:lnTo>
                    <a:pt x="214" y="148"/>
                  </a:lnTo>
                  <a:lnTo>
                    <a:pt x="210" y="152"/>
                  </a:lnTo>
                  <a:lnTo>
                    <a:pt x="206" y="152"/>
                  </a:lnTo>
                  <a:lnTo>
                    <a:pt x="210" y="152"/>
                  </a:lnTo>
                  <a:lnTo>
                    <a:pt x="210" y="148"/>
                  </a:lnTo>
                  <a:lnTo>
                    <a:pt x="210" y="146"/>
                  </a:lnTo>
                  <a:lnTo>
                    <a:pt x="210" y="142"/>
                  </a:lnTo>
                  <a:lnTo>
                    <a:pt x="214" y="142"/>
                  </a:lnTo>
                  <a:lnTo>
                    <a:pt x="214" y="142"/>
                  </a:lnTo>
                  <a:lnTo>
                    <a:pt x="214" y="142"/>
                  </a:lnTo>
                  <a:close/>
                  <a:moveTo>
                    <a:pt x="140" y="178"/>
                  </a:moveTo>
                  <a:lnTo>
                    <a:pt x="140" y="182"/>
                  </a:lnTo>
                  <a:lnTo>
                    <a:pt x="136" y="182"/>
                  </a:lnTo>
                  <a:lnTo>
                    <a:pt x="140" y="178"/>
                  </a:lnTo>
                  <a:lnTo>
                    <a:pt x="140" y="178"/>
                  </a:lnTo>
                  <a:lnTo>
                    <a:pt x="140" y="178"/>
                  </a:lnTo>
                  <a:close/>
                  <a:moveTo>
                    <a:pt x="84" y="212"/>
                  </a:moveTo>
                  <a:lnTo>
                    <a:pt x="84" y="216"/>
                  </a:lnTo>
                  <a:lnTo>
                    <a:pt x="84" y="220"/>
                  </a:lnTo>
                  <a:lnTo>
                    <a:pt x="84" y="216"/>
                  </a:lnTo>
                  <a:lnTo>
                    <a:pt x="80" y="216"/>
                  </a:lnTo>
                  <a:lnTo>
                    <a:pt x="84" y="212"/>
                  </a:lnTo>
                  <a:lnTo>
                    <a:pt x="84" y="212"/>
                  </a:lnTo>
                  <a:lnTo>
                    <a:pt x="84" y="212"/>
                  </a:lnTo>
                  <a:close/>
                  <a:moveTo>
                    <a:pt x="158" y="220"/>
                  </a:moveTo>
                  <a:lnTo>
                    <a:pt x="158" y="216"/>
                  </a:lnTo>
                  <a:lnTo>
                    <a:pt x="162" y="216"/>
                  </a:lnTo>
                  <a:lnTo>
                    <a:pt x="162" y="212"/>
                  </a:lnTo>
                  <a:lnTo>
                    <a:pt x="162" y="216"/>
                  </a:lnTo>
                  <a:lnTo>
                    <a:pt x="162" y="220"/>
                  </a:lnTo>
                  <a:lnTo>
                    <a:pt x="158" y="220"/>
                  </a:lnTo>
                  <a:lnTo>
                    <a:pt x="158" y="220"/>
                  </a:lnTo>
                  <a:lnTo>
                    <a:pt x="158" y="220"/>
                  </a:lnTo>
                  <a:close/>
                  <a:moveTo>
                    <a:pt x="154" y="212"/>
                  </a:moveTo>
                  <a:lnTo>
                    <a:pt x="154" y="216"/>
                  </a:lnTo>
                  <a:lnTo>
                    <a:pt x="150" y="216"/>
                  </a:lnTo>
                  <a:lnTo>
                    <a:pt x="150" y="212"/>
                  </a:lnTo>
                  <a:lnTo>
                    <a:pt x="154" y="212"/>
                  </a:lnTo>
                  <a:lnTo>
                    <a:pt x="154" y="212"/>
                  </a:lnTo>
                  <a:lnTo>
                    <a:pt x="154" y="212"/>
                  </a:lnTo>
                  <a:close/>
                  <a:moveTo>
                    <a:pt x="154" y="230"/>
                  </a:moveTo>
                  <a:lnTo>
                    <a:pt x="154" y="234"/>
                  </a:lnTo>
                  <a:lnTo>
                    <a:pt x="150" y="234"/>
                  </a:lnTo>
                  <a:lnTo>
                    <a:pt x="150" y="238"/>
                  </a:lnTo>
                  <a:lnTo>
                    <a:pt x="150" y="234"/>
                  </a:lnTo>
                  <a:lnTo>
                    <a:pt x="146" y="234"/>
                  </a:lnTo>
                  <a:lnTo>
                    <a:pt x="146" y="230"/>
                  </a:lnTo>
                  <a:lnTo>
                    <a:pt x="142" y="230"/>
                  </a:lnTo>
                  <a:lnTo>
                    <a:pt x="142" y="234"/>
                  </a:lnTo>
                  <a:lnTo>
                    <a:pt x="140" y="234"/>
                  </a:lnTo>
                  <a:lnTo>
                    <a:pt x="140" y="238"/>
                  </a:lnTo>
                  <a:lnTo>
                    <a:pt x="136" y="242"/>
                  </a:lnTo>
                  <a:lnTo>
                    <a:pt x="136" y="246"/>
                  </a:lnTo>
                  <a:lnTo>
                    <a:pt x="132" y="246"/>
                  </a:lnTo>
                  <a:lnTo>
                    <a:pt x="128" y="246"/>
                  </a:lnTo>
                  <a:lnTo>
                    <a:pt x="132" y="246"/>
                  </a:lnTo>
                  <a:lnTo>
                    <a:pt x="132" y="242"/>
                  </a:lnTo>
                  <a:lnTo>
                    <a:pt x="128" y="242"/>
                  </a:lnTo>
                  <a:lnTo>
                    <a:pt x="128" y="246"/>
                  </a:lnTo>
                  <a:lnTo>
                    <a:pt x="128" y="242"/>
                  </a:lnTo>
                  <a:lnTo>
                    <a:pt x="128" y="238"/>
                  </a:lnTo>
                  <a:lnTo>
                    <a:pt x="124" y="238"/>
                  </a:lnTo>
                  <a:lnTo>
                    <a:pt x="124" y="234"/>
                  </a:lnTo>
                  <a:lnTo>
                    <a:pt x="120" y="234"/>
                  </a:lnTo>
                  <a:lnTo>
                    <a:pt x="124" y="234"/>
                  </a:lnTo>
                  <a:lnTo>
                    <a:pt x="128" y="230"/>
                  </a:lnTo>
                  <a:lnTo>
                    <a:pt x="128" y="228"/>
                  </a:lnTo>
                  <a:lnTo>
                    <a:pt x="132" y="228"/>
                  </a:lnTo>
                  <a:lnTo>
                    <a:pt x="132" y="224"/>
                  </a:lnTo>
                  <a:lnTo>
                    <a:pt x="132" y="220"/>
                  </a:lnTo>
                  <a:lnTo>
                    <a:pt x="136" y="220"/>
                  </a:lnTo>
                  <a:lnTo>
                    <a:pt x="136" y="224"/>
                  </a:lnTo>
                  <a:lnTo>
                    <a:pt x="140" y="224"/>
                  </a:lnTo>
                  <a:lnTo>
                    <a:pt x="142" y="224"/>
                  </a:lnTo>
                  <a:lnTo>
                    <a:pt x="142" y="220"/>
                  </a:lnTo>
                  <a:lnTo>
                    <a:pt x="146" y="220"/>
                  </a:lnTo>
                  <a:lnTo>
                    <a:pt x="146" y="216"/>
                  </a:lnTo>
                  <a:lnTo>
                    <a:pt x="150" y="216"/>
                  </a:lnTo>
                  <a:lnTo>
                    <a:pt x="154" y="220"/>
                  </a:lnTo>
                  <a:lnTo>
                    <a:pt x="158" y="220"/>
                  </a:lnTo>
                  <a:lnTo>
                    <a:pt x="158" y="224"/>
                  </a:lnTo>
                  <a:lnTo>
                    <a:pt x="158" y="228"/>
                  </a:lnTo>
                  <a:lnTo>
                    <a:pt x="154" y="230"/>
                  </a:lnTo>
                  <a:lnTo>
                    <a:pt x="154" y="230"/>
                  </a:lnTo>
                  <a:lnTo>
                    <a:pt x="154" y="230"/>
                  </a:lnTo>
                  <a:close/>
                  <a:moveTo>
                    <a:pt x="84" y="220"/>
                  </a:moveTo>
                  <a:lnTo>
                    <a:pt x="80" y="224"/>
                  </a:lnTo>
                  <a:lnTo>
                    <a:pt x="80" y="220"/>
                  </a:lnTo>
                  <a:lnTo>
                    <a:pt x="80" y="216"/>
                  </a:lnTo>
                  <a:lnTo>
                    <a:pt x="84" y="216"/>
                  </a:lnTo>
                  <a:lnTo>
                    <a:pt x="84" y="220"/>
                  </a:lnTo>
                  <a:lnTo>
                    <a:pt x="84" y="220"/>
                  </a:lnTo>
                  <a:lnTo>
                    <a:pt x="84" y="220"/>
                  </a:lnTo>
                  <a:close/>
                  <a:moveTo>
                    <a:pt x="128" y="220"/>
                  </a:moveTo>
                  <a:lnTo>
                    <a:pt x="124" y="220"/>
                  </a:lnTo>
                  <a:lnTo>
                    <a:pt x="128" y="220"/>
                  </a:lnTo>
                  <a:lnTo>
                    <a:pt x="128" y="220"/>
                  </a:lnTo>
                  <a:lnTo>
                    <a:pt x="128" y="220"/>
                  </a:lnTo>
                  <a:close/>
                  <a:moveTo>
                    <a:pt x="86" y="250"/>
                  </a:moveTo>
                  <a:lnTo>
                    <a:pt x="90" y="250"/>
                  </a:lnTo>
                  <a:lnTo>
                    <a:pt x="90" y="246"/>
                  </a:lnTo>
                  <a:lnTo>
                    <a:pt x="86" y="246"/>
                  </a:lnTo>
                  <a:lnTo>
                    <a:pt x="86" y="242"/>
                  </a:lnTo>
                  <a:lnTo>
                    <a:pt x="90" y="242"/>
                  </a:lnTo>
                  <a:lnTo>
                    <a:pt x="90" y="246"/>
                  </a:lnTo>
                  <a:lnTo>
                    <a:pt x="90" y="242"/>
                  </a:lnTo>
                  <a:lnTo>
                    <a:pt x="86" y="238"/>
                  </a:lnTo>
                  <a:lnTo>
                    <a:pt x="86" y="234"/>
                  </a:lnTo>
                  <a:lnTo>
                    <a:pt x="90" y="238"/>
                  </a:lnTo>
                  <a:lnTo>
                    <a:pt x="90" y="234"/>
                  </a:lnTo>
                  <a:lnTo>
                    <a:pt x="90" y="230"/>
                  </a:lnTo>
                  <a:lnTo>
                    <a:pt x="90" y="234"/>
                  </a:lnTo>
                  <a:lnTo>
                    <a:pt x="94" y="234"/>
                  </a:lnTo>
                  <a:lnTo>
                    <a:pt x="94" y="230"/>
                  </a:lnTo>
                  <a:lnTo>
                    <a:pt x="98" y="230"/>
                  </a:lnTo>
                  <a:lnTo>
                    <a:pt x="98" y="228"/>
                  </a:lnTo>
                  <a:lnTo>
                    <a:pt x="102" y="224"/>
                  </a:lnTo>
                  <a:lnTo>
                    <a:pt x="106" y="224"/>
                  </a:lnTo>
                  <a:lnTo>
                    <a:pt x="106" y="228"/>
                  </a:lnTo>
                  <a:lnTo>
                    <a:pt x="106" y="230"/>
                  </a:lnTo>
                  <a:lnTo>
                    <a:pt x="110" y="230"/>
                  </a:lnTo>
                  <a:lnTo>
                    <a:pt x="112" y="230"/>
                  </a:lnTo>
                  <a:lnTo>
                    <a:pt x="116" y="230"/>
                  </a:lnTo>
                  <a:lnTo>
                    <a:pt x="116" y="234"/>
                  </a:lnTo>
                  <a:lnTo>
                    <a:pt x="112" y="234"/>
                  </a:lnTo>
                  <a:lnTo>
                    <a:pt x="112" y="238"/>
                  </a:lnTo>
                  <a:lnTo>
                    <a:pt x="116" y="238"/>
                  </a:lnTo>
                  <a:lnTo>
                    <a:pt x="120" y="238"/>
                  </a:lnTo>
                  <a:lnTo>
                    <a:pt x="116" y="238"/>
                  </a:lnTo>
                  <a:lnTo>
                    <a:pt x="120" y="242"/>
                  </a:lnTo>
                  <a:lnTo>
                    <a:pt x="120" y="246"/>
                  </a:lnTo>
                  <a:lnTo>
                    <a:pt x="116" y="246"/>
                  </a:lnTo>
                  <a:lnTo>
                    <a:pt x="116" y="250"/>
                  </a:lnTo>
                  <a:lnTo>
                    <a:pt x="116" y="254"/>
                  </a:lnTo>
                  <a:lnTo>
                    <a:pt x="112" y="254"/>
                  </a:lnTo>
                  <a:lnTo>
                    <a:pt x="112" y="258"/>
                  </a:lnTo>
                  <a:lnTo>
                    <a:pt x="112" y="260"/>
                  </a:lnTo>
                  <a:lnTo>
                    <a:pt x="112" y="264"/>
                  </a:lnTo>
                  <a:lnTo>
                    <a:pt x="112" y="268"/>
                  </a:lnTo>
                  <a:lnTo>
                    <a:pt x="112" y="272"/>
                  </a:lnTo>
                  <a:lnTo>
                    <a:pt x="110" y="272"/>
                  </a:lnTo>
                  <a:lnTo>
                    <a:pt x="106" y="272"/>
                  </a:lnTo>
                  <a:lnTo>
                    <a:pt x="110" y="272"/>
                  </a:lnTo>
                  <a:lnTo>
                    <a:pt x="110" y="276"/>
                  </a:lnTo>
                  <a:lnTo>
                    <a:pt x="106" y="276"/>
                  </a:lnTo>
                  <a:lnTo>
                    <a:pt x="102" y="280"/>
                  </a:lnTo>
                  <a:lnTo>
                    <a:pt x="102" y="276"/>
                  </a:lnTo>
                  <a:lnTo>
                    <a:pt x="102" y="272"/>
                  </a:lnTo>
                  <a:lnTo>
                    <a:pt x="102" y="268"/>
                  </a:lnTo>
                  <a:lnTo>
                    <a:pt x="102" y="264"/>
                  </a:lnTo>
                  <a:lnTo>
                    <a:pt x="102" y="268"/>
                  </a:lnTo>
                  <a:lnTo>
                    <a:pt x="98" y="268"/>
                  </a:lnTo>
                  <a:lnTo>
                    <a:pt x="98" y="272"/>
                  </a:lnTo>
                  <a:lnTo>
                    <a:pt x="102" y="272"/>
                  </a:lnTo>
                  <a:lnTo>
                    <a:pt x="102" y="276"/>
                  </a:lnTo>
                  <a:lnTo>
                    <a:pt x="98" y="276"/>
                  </a:lnTo>
                  <a:lnTo>
                    <a:pt x="94" y="276"/>
                  </a:lnTo>
                  <a:lnTo>
                    <a:pt x="94" y="272"/>
                  </a:lnTo>
                  <a:lnTo>
                    <a:pt x="98" y="268"/>
                  </a:lnTo>
                  <a:lnTo>
                    <a:pt x="94" y="264"/>
                  </a:lnTo>
                  <a:lnTo>
                    <a:pt x="94" y="260"/>
                  </a:lnTo>
                  <a:lnTo>
                    <a:pt x="94" y="258"/>
                  </a:lnTo>
                  <a:lnTo>
                    <a:pt x="94" y="260"/>
                  </a:lnTo>
                  <a:lnTo>
                    <a:pt x="98" y="258"/>
                  </a:lnTo>
                  <a:lnTo>
                    <a:pt x="98" y="254"/>
                  </a:lnTo>
                  <a:lnTo>
                    <a:pt x="102" y="250"/>
                  </a:lnTo>
                  <a:lnTo>
                    <a:pt x="98" y="250"/>
                  </a:lnTo>
                  <a:lnTo>
                    <a:pt x="102" y="246"/>
                  </a:lnTo>
                  <a:lnTo>
                    <a:pt x="98" y="246"/>
                  </a:lnTo>
                  <a:lnTo>
                    <a:pt x="98" y="242"/>
                  </a:lnTo>
                  <a:lnTo>
                    <a:pt x="98" y="238"/>
                  </a:lnTo>
                  <a:lnTo>
                    <a:pt x="94" y="238"/>
                  </a:lnTo>
                  <a:lnTo>
                    <a:pt x="94" y="242"/>
                  </a:lnTo>
                  <a:lnTo>
                    <a:pt x="94" y="246"/>
                  </a:lnTo>
                  <a:lnTo>
                    <a:pt x="98" y="246"/>
                  </a:lnTo>
                  <a:lnTo>
                    <a:pt x="98" y="250"/>
                  </a:lnTo>
                  <a:lnTo>
                    <a:pt x="94" y="250"/>
                  </a:lnTo>
                  <a:lnTo>
                    <a:pt x="94" y="246"/>
                  </a:lnTo>
                  <a:lnTo>
                    <a:pt x="90" y="246"/>
                  </a:lnTo>
                  <a:lnTo>
                    <a:pt x="90" y="250"/>
                  </a:lnTo>
                  <a:lnTo>
                    <a:pt x="86" y="250"/>
                  </a:lnTo>
                  <a:lnTo>
                    <a:pt x="86" y="250"/>
                  </a:lnTo>
                  <a:lnTo>
                    <a:pt x="86" y="250"/>
                  </a:lnTo>
                  <a:close/>
                  <a:moveTo>
                    <a:pt x="86" y="230"/>
                  </a:moveTo>
                  <a:lnTo>
                    <a:pt x="86" y="228"/>
                  </a:lnTo>
                  <a:lnTo>
                    <a:pt x="90" y="228"/>
                  </a:lnTo>
                  <a:lnTo>
                    <a:pt x="86" y="228"/>
                  </a:lnTo>
                  <a:lnTo>
                    <a:pt x="86" y="230"/>
                  </a:lnTo>
                  <a:lnTo>
                    <a:pt x="86" y="230"/>
                  </a:lnTo>
                  <a:lnTo>
                    <a:pt x="86" y="230"/>
                  </a:lnTo>
                  <a:close/>
                  <a:moveTo>
                    <a:pt x="86" y="234"/>
                  </a:moveTo>
                  <a:lnTo>
                    <a:pt x="86" y="238"/>
                  </a:lnTo>
                  <a:lnTo>
                    <a:pt x="84" y="238"/>
                  </a:lnTo>
                  <a:lnTo>
                    <a:pt x="84" y="234"/>
                  </a:lnTo>
                  <a:lnTo>
                    <a:pt x="86" y="234"/>
                  </a:lnTo>
                  <a:lnTo>
                    <a:pt x="86" y="234"/>
                  </a:lnTo>
                  <a:lnTo>
                    <a:pt x="86" y="234"/>
                  </a:lnTo>
                  <a:close/>
                  <a:moveTo>
                    <a:pt x="80" y="242"/>
                  </a:moveTo>
                  <a:lnTo>
                    <a:pt x="80" y="246"/>
                  </a:lnTo>
                  <a:lnTo>
                    <a:pt x="80" y="242"/>
                  </a:lnTo>
                  <a:lnTo>
                    <a:pt x="80" y="238"/>
                  </a:lnTo>
                  <a:lnTo>
                    <a:pt x="80" y="242"/>
                  </a:lnTo>
                  <a:lnTo>
                    <a:pt x="80" y="242"/>
                  </a:lnTo>
                  <a:lnTo>
                    <a:pt x="80" y="242"/>
                  </a:lnTo>
                  <a:close/>
                  <a:moveTo>
                    <a:pt x="72" y="250"/>
                  </a:moveTo>
                  <a:lnTo>
                    <a:pt x="72" y="246"/>
                  </a:lnTo>
                  <a:lnTo>
                    <a:pt x="76" y="246"/>
                  </a:lnTo>
                  <a:lnTo>
                    <a:pt x="76" y="250"/>
                  </a:lnTo>
                  <a:lnTo>
                    <a:pt x="72" y="250"/>
                  </a:lnTo>
                  <a:lnTo>
                    <a:pt x="72" y="250"/>
                  </a:lnTo>
                  <a:lnTo>
                    <a:pt x="72" y="250"/>
                  </a:lnTo>
                  <a:close/>
                  <a:moveTo>
                    <a:pt x="90" y="258"/>
                  </a:moveTo>
                  <a:lnTo>
                    <a:pt x="90" y="254"/>
                  </a:lnTo>
                  <a:lnTo>
                    <a:pt x="94" y="250"/>
                  </a:lnTo>
                  <a:lnTo>
                    <a:pt x="94" y="254"/>
                  </a:lnTo>
                  <a:lnTo>
                    <a:pt x="94" y="258"/>
                  </a:lnTo>
                  <a:lnTo>
                    <a:pt x="90" y="258"/>
                  </a:lnTo>
                  <a:lnTo>
                    <a:pt x="90" y="258"/>
                  </a:lnTo>
                  <a:lnTo>
                    <a:pt x="90" y="258"/>
                  </a:lnTo>
                  <a:close/>
                  <a:moveTo>
                    <a:pt x="106" y="284"/>
                  </a:moveTo>
                  <a:lnTo>
                    <a:pt x="106" y="286"/>
                  </a:lnTo>
                  <a:lnTo>
                    <a:pt x="106" y="290"/>
                  </a:lnTo>
                  <a:lnTo>
                    <a:pt x="106" y="286"/>
                  </a:lnTo>
                  <a:lnTo>
                    <a:pt x="106" y="284"/>
                  </a:lnTo>
                  <a:lnTo>
                    <a:pt x="106" y="284"/>
                  </a:lnTo>
                  <a:lnTo>
                    <a:pt x="106" y="284"/>
                  </a:lnTo>
                  <a:close/>
                  <a:moveTo>
                    <a:pt x="98" y="290"/>
                  </a:moveTo>
                  <a:lnTo>
                    <a:pt x="102" y="290"/>
                  </a:lnTo>
                  <a:lnTo>
                    <a:pt x="102" y="294"/>
                  </a:lnTo>
                  <a:lnTo>
                    <a:pt x="98" y="294"/>
                  </a:lnTo>
                  <a:lnTo>
                    <a:pt x="98" y="290"/>
                  </a:lnTo>
                  <a:lnTo>
                    <a:pt x="98" y="290"/>
                  </a:lnTo>
                  <a:lnTo>
                    <a:pt x="98" y="290"/>
                  </a:lnTo>
                  <a:close/>
                  <a:moveTo>
                    <a:pt x="86" y="324"/>
                  </a:moveTo>
                  <a:lnTo>
                    <a:pt x="86" y="328"/>
                  </a:lnTo>
                  <a:lnTo>
                    <a:pt x="84" y="328"/>
                  </a:lnTo>
                  <a:lnTo>
                    <a:pt x="84" y="332"/>
                  </a:lnTo>
                  <a:lnTo>
                    <a:pt x="80" y="328"/>
                  </a:lnTo>
                  <a:lnTo>
                    <a:pt x="84" y="328"/>
                  </a:lnTo>
                  <a:lnTo>
                    <a:pt x="86" y="324"/>
                  </a:lnTo>
                  <a:lnTo>
                    <a:pt x="86" y="324"/>
                  </a:lnTo>
                  <a:lnTo>
                    <a:pt x="86" y="324"/>
                  </a:lnTo>
                  <a:close/>
                  <a:moveTo>
                    <a:pt x="76" y="336"/>
                  </a:moveTo>
                  <a:lnTo>
                    <a:pt x="80" y="340"/>
                  </a:lnTo>
                  <a:lnTo>
                    <a:pt x="76" y="340"/>
                  </a:lnTo>
                  <a:lnTo>
                    <a:pt x="76" y="336"/>
                  </a:lnTo>
                  <a:lnTo>
                    <a:pt x="76" y="336"/>
                  </a:lnTo>
                  <a:lnTo>
                    <a:pt x="76" y="336"/>
                  </a:lnTo>
                  <a:close/>
                  <a:moveTo>
                    <a:pt x="68" y="354"/>
                  </a:moveTo>
                  <a:lnTo>
                    <a:pt x="68" y="358"/>
                  </a:lnTo>
                  <a:lnTo>
                    <a:pt x="64" y="362"/>
                  </a:lnTo>
                  <a:lnTo>
                    <a:pt x="60" y="362"/>
                  </a:lnTo>
                  <a:lnTo>
                    <a:pt x="60" y="366"/>
                  </a:lnTo>
                  <a:lnTo>
                    <a:pt x="60" y="370"/>
                  </a:lnTo>
                  <a:lnTo>
                    <a:pt x="56" y="370"/>
                  </a:lnTo>
                  <a:lnTo>
                    <a:pt x="56" y="366"/>
                  </a:lnTo>
                  <a:lnTo>
                    <a:pt x="60" y="366"/>
                  </a:lnTo>
                  <a:lnTo>
                    <a:pt x="60" y="362"/>
                  </a:lnTo>
                  <a:lnTo>
                    <a:pt x="64" y="362"/>
                  </a:lnTo>
                  <a:lnTo>
                    <a:pt x="64" y="358"/>
                  </a:lnTo>
                  <a:lnTo>
                    <a:pt x="60" y="358"/>
                  </a:lnTo>
                  <a:lnTo>
                    <a:pt x="64" y="358"/>
                  </a:lnTo>
                  <a:lnTo>
                    <a:pt x="68" y="354"/>
                  </a:lnTo>
                  <a:lnTo>
                    <a:pt x="68" y="354"/>
                  </a:lnTo>
                  <a:lnTo>
                    <a:pt x="68" y="354"/>
                  </a:lnTo>
                  <a:close/>
                  <a:moveTo>
                    <a:pt x="24" y="392"/>
                  </a:moveTo>
                  <a:lnTo>
                    <a:pt x="28" y="392"/>
                  </a:lnTo>
                  <a:lnTo>
                    <a:pt x="24" y="392"/>
                  </a:lnTo>
                  <a:lnTo>
                    <a:pt x="24" y="392"/>
                  </a:lnTo>
                  <a:lnTo>
                    <a:pt x="24" y="392"/>
                  </a:lnTo>
                  <a:close/>
                  <a:moveTo>
                    <a:pt x="8" y="398"/>
                  </a:moveTo>
                  <a:lnTo>
                    <a:pt x="12" y="398"/>
                  </a:lnTo>
                  <a:lnTo>
                    <a:pt x="12" y="396"/>
                  </a:lnTo>
                  <a:lnTo>
                    <a:pt x="12" y="398"/>
                  </a:lnTo>
                  <a:lnTo>
                    <a:pt x="8" y="398"/>
                  </a:lnTo>
                  <a:lnTo>
                    <a:pt x="8" y="398"/>
                  </a:lnTo>
                  <a:lnTo>
                    <a:pt x="8" y="398"/>
                  </a:lnTo>
                  <a:close/>
                  <a:moveTo>
                    <a:pt x="4" y="398"/>
                  </a:moveTo>
                  <a:lnTo>
                    <a:pt x="4" y="402"/>
                  </a:lnTo>
                  <a:lnTo>
                    <a:pt x="0" y="402"/>
                  </a:lnTo>
                  <a:lnTo>
                    <a:pt x="0" y="398"/>
                  </a:lnTo>
                  <a:lnTo>
                    <a:pt x="4" y="398"/>
                  </a:lnTo>
                  <a:lnTo>
                    <a:pt x="4" y="398"/>
                  </a:lnTo>
                  <a:lnTo>
                    <a:pt x="4" y="39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40" name="Freeform 33"/>
            <p:cNvSpPr>
              <a:spLocks/>
            </p:cNvSpPr>
            <p:nvPr/>
          </p:nvSpPr>
          <p:spPr bwMode="auto">
            <a:xfrm>
              <a:off x="7351763" y="3776014"/>
              <a:ext cx="36423" cy="52303"/>
            </a:xfrm>
            <a:custGeom>
              <a:avLst/>
              <a:gdLst>
                <a:gd name="T0" fmla="*/ 6 w 58"/>
                <a:gd name="T1" fmla="*/ 34 h 80"/>
                <a:gd name="T2" fmla="*/ 6 w 58"/>
                <a:gd name="T3" fmla="*/ 34 h 80"/>
                <a:gd name="T4" fmla="*/ 6 w 58"/>
                <a:gd name="T5" fmla="*/ 30 h 80"/>
                <a:gd name="T6" fmla="*/ 6 w 58"/>
                <a:gd name="T7" fmla="*/ 30 h 80"/>
                <a:gd name="T8" fmla="*/ 6 w 58"/>
                <a:gd name="T9" fmla="*/ 26 h 80"/>
                <a:gd name="T10" fmla="*/ 6 w 58"/>
                <a:gd name="T11" fmla="*/ 26 h 80"/>
                <a:gd name="T12" fmla="*/ 6 w 58"/>
                <a:gd name="T13" fmla="*/ 24 h 80"/>
                <a:gd name="T14" fmla="*/ 6 w 58"/>
                <a:gd name="T15" fmla="*/ 20 h 80"/>
                <a:gd name="T16" fmla="*/ 6 w 58"/>
                <a:gd name="T17" fmla="*/ 16 h 80"/>
                <a:gd name="T18" fmla="*/ 6 w 58"/>
                <a:gd name="T19" fmla="*/ 16 h 80"/>
                <a:gd name="T20" fmla="*/ 6 w 58"/>
                <a:gd name="T21" fmla="*/ 12 h 80"/>
                <a:gd name="T22" fmla="*/ 10 w 58"/>
                <a:gd name="T23" fmla="*/ 12 h 80"/>
                <a:gd name="T24" fmla="*/ 14 w 58"/>
                <a:gd name="T25" fmla="*/ 16 h 80"/>
                <a:gd name="T26" fmla="*/ 14 w 58"/>
                <a:gd name="T27" fmla="*/ 16 h 80"/>
                <a:gd name="T28" fmla="*/ 14 w 58"/>
                <a:gd name="T29" fmla="*/ 16 h 80"/>
                <a:gd name="T30" fmla="*/ 18 w 58"/>
                <a:gd name="T31" fmla="*/ 20 h 80"/>
                <a:gd name="T32" fmla="*/ 18 w 58"/>
                <a:gd name="T33" fmla="*/ 20 h 80"/>
                <a:gd name="T34" fmla="*/ 22 w 58"/>
                <a:gd name="T35" fmla="*/ 20 h 80"/>
                <a:gd name="T36" fmla="*/ 22 w 58"/>
                <a:gd name="T37" fmla="*/ 20 h 80"/>
                <a:gd name="T38" fmla="*/ 26 w 58"/>
                <a:gd name="T39" fmla="*/ 20 h 80"/>
                <a:gd name="T40" fmla="*/ 32 w 58"/>
                <a:gd name="T41" fmla="*/ 16 h 80"/>
                <a:gd name="T42" fmla="*/ 32 w 58"/>
                <a:gd name="T43" fmla="*/ 16 h 80"/>
                <a:gd name="T44" fmla="*/ 40 w 58"/>
                <a:gd name="T45" fmla="*/ 8 h 80"/>
                <a:gd name="T46" fmla="*/ 48 w 58"/>
                <a:gd name="T47" fmla="*/ 4 h 80"/>
                <a:gd name="T48" fmla="*/ 52 w 58"/>
                <a:gd name="T49" fmla="*/ 0 h 80"/>
                <a:gd name="T50" fmla="*/ 54 w 58"/>
                <a:gd name="T51" fmla="*/ 20 h 80"/>
                <a:gd name="T52" fmla="*/ 58 w 58"/>
                <a:gd name="T53" fmla="*/ 20 h 80"/>
                <a:gd name="T54" fmla="*/ 58 w 58"/>
                <a:gd name="T55" fmla="*/ 24 h 80"/>
                <a:gd name="T56" fmla="*/ 54 w 58"/>
                <a:gd name="T57" fmla="*/ 26 h 80"/>
                <a:gd name="T58" fmla="*/ 40 w 58"/>
                <a:gd name="T59" fmla="*/ 30 h 80"/>
                <a:gd name="T60" fmla="*/ 36 w 58"/>
                <a:gd name="T61" fmla="*/ 34 h 80"/>
                <a:gd name="T62" fmla="*/ 28 w 58"/>
                <a:gd name="T63" fmla="*/ 34 h 80"/>
                <a:gd name="T64" fmla="*/ 32 w 58"/>
                <a:gd name="T65" fmla="*/ 42 h 80"/>
                <a:gd name="T66" fmla="*/ 36 w 58"/>
                <a:gd name="T67" fmla="*/ 46 h 80"/>
                <a:gd name="T68" fmla="*/ 36 w 58"/>
                <a:gd name="T69" fmla="*/ 56 h 80"/>
                <a:gd name="T70" fmla="*/ 32 w 58"/>
                <a:gd name="T71" fmla="*/ 64 h 80"/>
                <a:gd name="T72" fmla="*/ 22 w 58"/>
                <a:gd name="T73" fmla="*/ 68 h 80"/>
                <a:gd name="T74" fmla="*/ 18 w 58"/>
                <a:gd name="T75" fmla="*/ 76 h 80"/>
                <a:gd name="T76" fmla="*/ 6 w 58"/>
                <a:gd name="T77" fmla="*/ 76 h 80"/>
                <a:gd name="T78" fmla="*/ 0 w 58"/>
                <a:gd name="T79" fmla="*/ 76 h 80"/>
                <a:gd name="T80" fmla="*/ 0 w 58"/>
                <a:gd name="T81" fmla="*/ 76 h 80"/>
                <a:gd name="T82" fmla="*/ 0 w 58"/>
                <a:gd name="T83" fmla="*/ 72 h 80"/>
                <a:gd name="T84" fmla="*/ 0 w 58"/>
                <a:gd name="T85" fmla="*/ 72 h 80"/>
                <a:gd name="T86" fmla="*/ 0 w 58"/>
                <a:gd name="T87" fmla="*/ 72 h 80"/>
                <a:gd name="T88" fmla="*/ 0 w 58"/>
                <a:gd name="T89" fmla="*/ 64 h 80"/>
                <a:gd name="T90" fmla="*/ 0 w 58"/>
                <a:gd name="T91" fmla="*/ 64 h 80"/>
                <a:gd name="T92" fmla="*/ 0 w 58"/>
                <a:gd name="T93" fmla="*/ 64 h 80"/>
                <a:gd name="T94" fmla="*/ 0 w 58"/>
                <a:gd name="T95" fmla="*/ 60 h 80"/>
                <a:gd name="T96" fmla="*/ 0 w 58"/>
                <a:gd name="T97" fmla="*/ 56 h 80"/>
                <a:gd name="T98" fmla="*/ 0 w 58"/>
                <a:gd name="T99" fmla="*/ 56 h 80"/>
                <a:gd name="T100" fmla="*/ 2 w 58"/>
                <a:gd name="T101" fmla="*/ 54 h 80"/>
                <a:gd name="T102" fmla="*/ 2 w 58"/>
                <a:gd name="T103" fmla="*/ 50 h 80"/>
                <a:gd name="T104" fmla="*/ 2 w 58"/>
                <a:gd name="T105" fmla="*/ 46 h 80"/>
                <a:gd name="T106" fmla="*/ 2 w 58"/>
                <a:gd name="T107" fmla="*/ 46 h 80"/>
                <a:gd name="T108" fmla="*/ 6 w 58"/>
                <a:gd name="T109" fmla="*/ 42 h 80"/>
                <a:gd name="T110" fmla="*/ 6 w 58"/>
                <a:gd name="T111" fmla="*/ 42 h 80"/>
                <a:gd name="T112" fmla="*/ 2 w 58"/>
                <a:gd name="T113" fmla="*/ 42 h 80"/>
                <a:gd name="T114" fmla="*/ 6 w 58"/>
                <a:gd name="T115" fmla="*/ 38 h 80"/>
                <a:gd name="T116" fmla="*/ 6 w 58"/>
                <a:gd name="T117" fmla="*/ 38 h 80"/>
                <a:gd name="T118" fmla="*/ 6 w 58"/>
                <a:gd name="T119" fmla="*/ 3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 h="80">
                  <a:moveTo>
                    <a:pt x="6" y="34"/>
                  </a:moveTo>
                  <a:lnTo>
                    <a:pt x="6" y="34"/>
                  </a:lnTo>
                  <a:lnTo>
                    <a:pt x="6" y="34"/>
                  </a:lnTo>
                  <a:lnTo>
                    <a:pt x="6" y="34"/>
                  </a:lnTo>
                  <a:lnTo>
                    <a:pt x="6" y="34"/>
                  </a:lnTo>
                  <a:lnTo>
                    <a:pt x="6" y="30"/>
                  </a:lnTo>
                  <a:lnTo>
                    <a:pt x="6" y="30"/>
                  </a:lnTo>
                  <a:lnTo>
                    <a:pt x="6" y="30"/>
                  </a:lnTo>
                  <a:lnTo>
                    <a:pt x="6" y="30"/>
                  </a:lnTo>
                  <a:lnTo>
                    <a:pt x="6" y="26"/>
                  </a:lnTo>
                  <a:lnTo>
                    <a:pt x="6" y="26"/>
                  </a:lnTo>
                  <a:lnTo>
                    <a:pt x="6" y="26"/>
                  </a:lnTo>
                  <a:lnTo>
                    <a:pt x="6" y="24"/>
                  </a:lnTo>
                  <a:lnTo>
                    <a:pt x="6" y="24"/>
                  </a:lnTo>
                  <a:lnTo>
                    <a:pt x="6" y="20"/>
                  </a:lnTo>
                  <a:lnTo>
                    <a:pt x="6" y="20"/>
                  </a:lnTo>
                  <a:lnTo>
                    <a:pt x="6" y="20"/>
                  </a:lnTo>
                  <a:lnTo>
                    <a:pt x="6" y="16"/>
                  </a:lnTo>
                  <a:lnTo>
                    <a:pt x="6" y="16"/>
                  </a:lnTo>
                  <a:lnTo>
                    <a:pt x="6" y="16"/>
                  </a:lnTo>
                  <a:lnTo>
                    <a:pt x="6" y="16"/>
                  </a:lnTo>
                  <a:lnTo>
                    <a:pt x="6" y="12"/>
                  </a:lnTo>
                  <a:lnTo>
                    <a:pt x="10" y="12"/>
                  </a:lnTo>
                  <a:lnTo>
                    <a:pt x="10" y="12"/>
                  </a:lnTo>
                  <a:lnTo>
                    <a:pt x="10" y="12"/>
                  </a:lnTo>
                  <a:lnTo>
                    <a:pt x="14" y="16"/>
                  </a:lnTo>
                  <a:lnTo>
                    <a:pt x="14" y="16"/>
                  </a:lnTo>
                  <a:lnTo>
                    <a:pt x="14" y="16"/>
                  </a:lnTo>
                  <a:lnTo>
                    <a:pt x="14" y="16"/>
                  </a:lnTo>
                  <a:lnTo>
                    <a:pt x="14" y="16"/>
                  </a:lnTo>
                  <a:lnTo>
                    <a:pt x="14" y="16"/>
                  </a:lnTo>
                  <a:lnTo>
                    <a:pt x="18" y="20"/>
                  </a:lnTo>
                  <a:lnTo>
                    <a:pt x="18" y="20"/>
                  </a:lnTo>
                  <a:lnTo>
                    <a:pt x="18" y="20"/>
                  </a:lnTo>
                  <a:lnTo>
                    <a:pt x="18" y="20"/>
                  </a:lnTo>
                  <a:lnTo>
                    <a:pt x="22" y="20"/>
                  </a:lnTo>
                  <a:lnTo>
                    <a:pt x="22" y="20"/>
                  </a:lnTo>
                  <a:lnTo>
                    <a:pt x="22" y="20"/>
                  </a:lnTo>
                  <a:lnTo>
                    <a:pt x="26" y="20"/>
                  </a:lnTo>
                  <a:lnTo>
                    <a:pt x="26" y="20"/>
                  </a:lnTo>
                  <a:lnTo>
                    <a:pt x="28" y="16"/>
                  </a:lnTo>
                  <a:lnTo>
                    <a:pt x="32" y="16"/>
                  </a:lnTo>
                  <a:lnTo>
                    <a:pt x="32" y="16"/>
                  </a:lnTo>
                  <a:lnTo>
                    <a:pt x="32" y="16"/>
                  </a:lnTo>
                  <a:lnTo>
                    <a:pt x="36" y="12"/>
                  </a:lnTo>
                  <a:lnTo>
                    <a:pt x="40" y="8"/>
                  </a:lnTo>
                  <a:lnTo>
                    <a:pt x="44" y="4"/>
                  </a:lnTo>
                  <a:lnTo>
                    <a:pt x="48" y="4"/>
                  </a:lnTo>
                  <a:lnTo>
                    <a:pt x="52" y="0"/>
                  </a:lnTo>
                  <a:lnTo>
                    <a:pt x="52" y="0"/>
                  </a:lnTo>
                  <a:lnTo>
                    <a:pt x="54" y="16"/>
                  </a:lnTo>
                  <a:lnTo>
                    <a:pt x="54" y="20"/>
                  </a:lnTo>
                  <a:lnTo>
                    <a:pt x="54" y="20"/>
                  </a:lnTo>
                  <a:lnTo>
                    <a:pt x="58" y="20"/>
                  </a:lnTo>
                  <a:lnTo>
                    <a:pt x="58" y="24"/>
                  </a:lnTo>
                  <a:lnTo>
                    <a:pt x="58" y="24"/>
                  </a:lnTo>
                  <a:lnTo>
                    <a:pt x="54" y="26"/>
                  </a:lnTo>
                  <a:lnTo>
                    <a:pt x="54" y="26"/>
                  </a:lnTo>
                  <a:lnTo>
                    <a:pt x="48" y="30"/>
                  </a:lnTo>
                  <a:lnTo>
                    <a:pt x="40" y="30"/>
                  </a:lnTo>
                  <a:lnTo>
                    <a:pt x="40" y="30"/>
                  </a:lnTo>
                  <a:lnTo>
                    <a:pt x="36" y="34"/>
                  </a:lnTo>
                  <a:lnTo>
                    <a:pt x="32" y="34"/>
                  </a:lnTo>
                  <a:lnTo>
                    <a:pt x="28" y="34"/>
                  </a:lnTo>
                  <a:lnTo>
                    <a:pt x="26" y="34"/>
                  </a:lnTo>
                  <a:lnTo>
                    <a:pt x="32" y="42"/>
                  </a:lnTo>
                  <a:lnTo>
                    <a:pt x="32" y="46"/>
                  </a:lnTo>
                  <a:lnTo>
                    <a:pt x="36" y="46"/>
                  </a:lnTo>
                  <a:lnTo>
                    <a:pt x="40" y="54"/>
                  </a:lnTo>
                  <a:lnTo>
                    <a:pt x="36" y="56"/>
                  </a:lnTo>
                  <a:lnTo>
                    <a:pt x="32" y="64"/>
                  </a:lnTo>
                  <a:lnTo>
                    <a:pt x="32" y="64"/>
                  </a:lnTo>
                  <a:lnTo>
                    <a:pt x="28" y="64"/>
                  </a:lnTo>
                  <a:lnTo>
                    <a:pt x="22" y="68"/>
                  </a:lnTo>
                  <a:lnTo>
                    <a:pt x="22" y="72"/>
                  </a:lnTo>
                  <a:lnTo>
                    <a:pt x="18" y="76"/>
                  </a:lnTo>
                  <a:lnTo>
                    <a:pt x="14" y="80"/>
                  </a:lnTo>
                  <a:lnTo>
                    <a:pt x="6" y="76"/>
                  </a:lnTo>
                  <a:lnTo>
                    <a:pt x="2" y="76"/>
                  </a:lnTo>
                  <a:lnTo>
                    <a:pt x="0" y="76"/>
                  </a:lnTo>
                  <a:lnTo>
                    <a:pt x="0" y="76"/>
                  </a:lnTo>
                  <a:lnTo>
                    <a:pt x="0" y="76"/>
                  </a:lnTo>
                  <a:lnTo>
                    <a:pt x="0" y="72"/>
                  </a:lnTo>
                  <a:lnTo>
                    <a:pt x="0" y="72"/>
                  </a:lnTo>
                  <a:lnTo>
                    <a:pt x="0" y="72"/>
                  </a:lnTo>
                  <a:lnTo>
                    <a:pt x="0" y="72"/>
                  </a:lnTo>
                  <a:lnTo>
                    <a:pt x="0" y="72"/>
                  </a:lnTo>
                  <a:lnTo>
                    <a:pt x="0" y="72"/>
                  </a:lnTo>
                  <a:lnTo>
                    <a:pt x="0" y="64"/>
                  </a:lnTo>
                  <a:lnTo>
                    <a:pt x="0" y="64"/>
                  </a:lnTo>
                  <a:lnTo>
                    <a:pt x="0" y="64"/>
                  </a:lnTo>
                  <a:lnTo>
                    <a:pt x="0" y="64"/>
                  </a:lnTo>
                  <a:lnTo>
                    <a:pt x="0" y="64"/>
                  </a:lnTo>
                  <a:lnTo>
                    <a:pt x="0" y="64"/>
                  </a:lnTo>
                  <a:lnTo>
                    <a:pt x="0" y="60"/>
                  </a:lnTo>
                  <a:lnTo>
                    <a:pt x="0" y="60"/>
                  </a:lnTo>
                  <a:lnTo>
                    <a:pt x="0" y="60"/>
                  </a:lnTo>
                  <a:lnTo>
                    <a:pt x="0" y="56"/>
                  </a:lnTo>
                  <a:lnTo>
                    <a:pt x="0" y="56"/>
                  </a:lnTo>
                  <a:lnTo>
                    <a:pt x="0" y="56"/>
                  </a:lnTo>
                  <a:lnTo>
                    <a:pt x="2" y="54"/>
                  </a:lnTo>
                  <a:lnTo>
                    <a:pt x="2" y="54"/>
                  </a:lnTo>
                  <a:lnTo>
                    <a:pt x="2" y="50"/>
                  </a:lnTo>
                  <a:lnTo>
                    <a:pt x="2" y="50"/>
                  </a:lnTo>
                  <a:lnTo>
                    <a:pt x="2" y="50"/>
                  </a:lnTo>
                  <a:lnTo>
                    <a:pt x="2" y="46"/>
                  </a:lnTo>
                  <a:lnTo>
                    <a:pt x="2" y="46"/>
                  </a:lnTo>
                  <a:lnTo>
                    <a:pt x="2" y="46"/>
                  </a:lnTo>
                  <a:lnTo>
                    <a:pt x="2" y="46"/>
                  </a:lnTo>
                  <a:lnTo>
                    <a:pt x="6" y="42"/>
                  </a:lnTo>
                  <a:lnTo>
                    <a:pt x="6" y="42"/>
                  </a:lnTo>
                  <a:lnTo>
                    <a:pt x="6" y="42"/>
                  </a:lnTo>
                  <a:lnTo>
                    <a:pt x="2" y="42"/>
                  </a:lnTo>
                  <a:lnTo>
                    <a:pt x="2" y="42"/>
                  </a:lnTo>
                  <a:lnTo>
                    <a:pt x="6" y="38"/>
                  </a:lnTo>
                  <a:lnTo>
                    <a:pt x="6" y="38"/>
                  </a:lnTo>
                  <a:lnTo>
                    <a:pt x="6" y="38"/>
                  </a:lnTo>
                  <a:lnTo>
                    <a:pt x="6" y="38"/>
                  </a:lnTo>
                  <a:lnTo>
                    <a:pt x="6" y="34"/>
                  </a:lnTo>
                  <a:lnTo>
                    <a:pt x="6" y="34"/>
                  </a:lnTo>
                  <a:lnTo>
                    <a:pt x="6" y="3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41" name="Freeform 34"/>
            <p:cNvSpPr>
              <a:spLocks/>
            </p:cNvSpPr>
            <p:nvPr/>
          </p:nvSpPr>
          <p:spPr bwMode="auto">
            <a:xfrm>
              <a:off x="7452240" y="3488346"/>
              <a:ext cx="362973" cy="197445"/>
            </a:xfrm>
            <a:custGeom>
              <a:avLst/>
              <a:gdLst>
                <a:gd name="T0" fmla="*/ 388 w 578"/>
                <a:gd name="T1" fmla="*/ 254 h 302"/>
                <a:gd name="T2" fmla="*/ 372 w 578"/>
                <a:gd name="T3" fmla="*/ 262 h 302"/>
                <a:gd name="T4" fmla="*/ 342 w 578"/>
                <a:gd name="T5" fmla="*/ 272 h 302"/>
                <a:gd name="T6" fmla="*/ 316 w 578"/>
                <a:gd name="T7" fmla="*/ 294 h 302"/>
                <a:gd name="T8" fmla="*/ 306 w 578"/>
                <a:gd name="T9" fmla="*/ 292 h 302"/>
                <a:gd name="T10" fmla="*/ 278 w 578"/>
                <a:gd name="T11" fmla="*/ 272 h 302"/>
                <a:gd name="T12" fmla="*/ 264 w 578"/>
                <a:gd name="T13" fmla="*/ 248 h 302"/>
                <a:gd name="T14" fmla="*/ 220 w 578"/>
                <a:gd name="T15" fmla="*/ 248 h 302"/>
                <a:gd name="T16" fmla="*/ 156 w 578"/>
                <a:gd name="T17" fmla="*/ 210 h 302"/>
                <a:gd name="T18" fmla="*/ 136 w 578"/>
                <a:gd name="T19" fmla="*/ 254 h 302"/>
                <a:gd name="T20" fmla="*/ 134 w 578"/>
                <a:gd name="T21" fmla="*/ 292 h 302"/>
                <a:gd name="T22" fmla="*/ 110 w 578"/>
                <a:gd name="T23" fmla="*/ 268 h 302"/>
                <a:gd name="T24" fmla="*/ 76 w 578"/>
                <a:gd name="T25" fmla="*/ 288 h 302"/>
                <a:gd name="T26" fmla="*/ 44 w 578"/>
                <a:gd name="T27" fmla="*/ 258 h 302"/>
                <a:gd name="T28" fmla="*/ 36 w 578"/>
                <a:gd name="T29" fmla="*/ 214 h 302"/>
                <a:gd name="T30" fmla="*/ 36 w 578"/>
                <a:gd name="T31" fmla="*/ 188 h 302"/>
                <a:gd name="T32" fmla="*/ 30 w 578"/>
                <a:gd name="T33" fmla="*/ 168 h 302"/>
                <a:gd name="T34" fmla="*/ 6 w 578"/>
                <a:gd name="T35" fmla="*/ 150 h 302"/>
                <a:gd name="T36" fmla="*/ 6 w 578"/>
                <a:gd name="T37" fmla="*/ 128 h 302"/>
                <a:gd name="T38" fmla="*/ 18 w 578"/>
                <a:gd name="T39" fmla="*/ 110 h 302"/>
                <a:gd name="T40" fmla="*/ 34 w 578"/>
                <a:gd name="T41" fmla="*/ 112 h 302"/>
                <a:gd name="T42" fmla="*/ 44 w 578"/>
                <a:gd name="T43" fmla="*/ 90 h 302"/>
                <a:gd name="T44" fmla="*/ 62 w 578"/>
                <a:gd name="T45" fmla="*/ 84 h 302"/>
                <a:gd name="T46" fmla="*/ 76 w 578"/>
                <a:gd name="T47" fmla="*/ 80 h 302"/>
                <a:gd name="T48" fmla="*/ 100 w 578"/>
                <a:gd name="T49" fmla="*/ 84 h 302"/>
                <a:gd name="T50" fmla="*/ 114 w 578"/>
                <a:gd name="T51" fmla="*/ 102 h 302"/>
                <a:gd name="T52" fmla="*/ 130 w 578"/>
                <a:gd name="T53" fmla="*/ 106 h 302"/>
                <a:gd name="T54" fmla="*/ 160 w 578"/>
                <a:gd name="T55" fmla="*/ 98 h 302"/>
                <a:gd name="T56" fmla="*/ 178 w 578"/>
                <a:gd name="T57" fmla="*/ 102 h 302"/>
                <a:gd name="T58" fmla="*/ 204 w 578"/>
                <a:gd name="T59" fmla="*/ 102 h 302"/>
                <a:gd name="T60" fmla="*/ 204 w 578"/>
                <a:gd name="T61" fmla="*/ 84 h 302"/>
                <a:gd name="T62" fmla="*/ 204 w 578"/>
                <a:gd name="T63" fmla="*/ 68 h 302"/>
                <a:gd name="T64" fmla="*/ 216 w 578"/>
                <a:gd name="T65" fmla="*/ 54 h 302"/>
                <a:gd name="T66" fmla="*/ 208 w 578"/>
                <a:gd name="T67" fmla="*/ 46 h 302"/>
                <a:gd name="T68" fmla="*/ 208 w 578"/>
                <a:gd name="T69" fmla="*/ 38 h 302"/>
                <a:gd name="T70" fmla="*/ 226 w 578"/>
                <a:gd name="T71" fmla="*/ 30 h 302"/>
                <a:gd name="T72" fmla="*/ 256 w 578"/>
                <a:gd name="T73" fmla="*/ 24 h 302"/>
                <a:gd name="T74" fmla="*/ 276 w 578"/>
                <a:gd name="T75" fmla="*/ 20 h 302"/>
                <a:gd name="T76" fmla="*/ 306 w 578"/>
                <a:gd name="T77" fmla="*/ 8 h 302"/>
                <a:gd name="T78" fmla="*/ 332 w 578"/>
                <a:gd name="T79" fmla="*/ 4 h 302"/>
                <a:gd name="T80" fmla="*/ 354 w 578"/>
                <a:gd name="T81" fmla="*/ 16 h 302"/>
                <a:gd name="T82" fmla="*/ 366 w 578"/>
                <a:gd name="T83" fmla="*/ 28 h 302"/>
                <a:gd name="T84" fmla="*/ 368 w 578"/>
                <a:gd name="T85" fmla="*/ 30 h 302"/>
                <a:gd name="T86" fmla="*/ 380 w 578"/>
                <a:gd name="T87" fmla="*/ 34 h 302"/>
                <a:gd name="T88" fmla="*/ 398 w 578"/>
                <a:gd name="T89" fmla="*/ 38 h 302"/>
                <a:gd name="T90" fmla="*/ 420 w 578"/>
                <a:gd name="T91" fmla="*/ 24 h 302"/>
                <a:gd name="T92" fmla="*/ 436 w 578"/>
                <a:gd name="T93" fmla="*/ 38 h 302"/>
                <a:gd name="T94" fmla="*/ 462 w 578"/>
                <a:gd name="T95" fmla="*/ 68 h 302"/>
                <a:gd name="T96" fmla="*/ 480 w 578"/>
                <a:gd name="T97" fmla="*/ 90 h 302"/>
                <a:gd name="T98" fmla="*/ 498 w 578"/>
                <a:gd name="T99" fmla="*/ 98 h 302"/>
                <a:gd name="T100" fmla="*/ 524 w 578"/>
                <a:gd name="T101" fmla="*/ 94 h 302"/>
                <a:gd name="T102" fmla="*/ 548 w 578"/>
                <a:gd name="T103" fmla="*/ 116 h 302"/>
                <a:gd name="T104" fmla="*/ 566 w 578"/>
                <a:gd name="T105" fmla="*/ 124 h 302"/>
                <a:gd name="T106" fmla="*/ 570 w 578"/>
                <a:gd name="T107" fmla="*/ 136 h 302"/>
                <a:gd name="T108" fmla="*/ 554 w 578"/>
                <a:gd name="T109" fmla="*/ 158 h 302"/>
                <a:gd name="T110" fmla="*/ 540 w 578"/>
                <a:gd name="T111" fmla="*/ 176 h 302"/>
                <a:gd name="T112" fmla="*/ 514 w 578"/>
                <a:gd name="T113" fmla="*/ 188 h 302"/>
                <a:gd name="T114" fmla="*/ 514 w 578"/>
                <a:gd name="T115" fmla="*/ 214 h 302"/>
                <a:gd name="T116" fmla="*/ 484 w 578"/>
                <a:gd name="T117" fmla="*/ 214 h 302"/>
                <a:gd name="T118" fmla="*/ 480 w 578"/>
                <a:gd name="T119" fmla="*/ 232 h 302"/>
                <a:gd name="T120" fmla="*/ 484 w 578"/>
                <a:gd name="T121" fmla="*/ 258 h 302"/>
                <a:gd name="T122" fmla="*/ 466 w 578"/>
                <a:gd name="T123" fmla="*/ 268 h 302"/>
                <a:gd name="T124" fmla="*/ 436 w 578"/>
                <a:gd name="T125" fmla="*/ 25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8" h="302">
                  <a:moveTo>
                    <a:pt x="416" y="258"/>
                  </a:moveTo>
                  <a:lnTo>
                    <a:pt x="412" y="262"/>
                  </a:lnTo>
                  <a:lnTo>
                    <a:pt x="408" y="262"/>
                  </a:lnTo>
                  <a:lnTo>
                    <a:pt x="408" y="258"/>
                  </a:lnTo>
                  <a:lnTo>
                    <a:pt x="406" y="258"/>
                  </a:lnTo>
                  <a:lnTo>
                    <a:pt x="402" y="258"/>
                  </a:lnTo>
                  <a:lnTo>
                    <a:pt x="398" y="254"/>
                  </a:lnTo>
                  <a:lnTo>
                    <a:pt x="394" y="254"/>
                  </a:lnTo>
                  <a:lnTo>
                    <a:pt x="392" y="254"/>
                  </a:lnTo>
                  <a:lnTo>
                    <a:pt x="388" y="254"/>
                  </a:lnTo>
                  <a:lnTo>
                    <a:pt x="384" y="254"/>
                  </a:lnTo>
                  <a:lnTo>
                    <a:pt x="384" y="258"/>
                  </a:lnTo>
                  <a:lnTo>
                    <a:pt x="384" y="262"/>
                  </a:lnTo>
                  <a:lnTo>
                    <a:pt x="384" y="266"/>
                  </a:lnTo>
                  <a:lnTo>
                    <a:pt x="384" y="268"/>
                  </a:lnTo>
                  <a:lnTo>
                    <a:pt x="380" y="268"/>
                  </a:lnTo>
                  <a:lnTo>
                    <a:pt x="380" y="266"/>
                  </a:lnTo>
                  <a:lnTo>
                    <a:pt x="376" y="266"/>
                  </a:lnTo>
                  <a:lnTo>
                    <a:pt x="372" y="266"/>
                  </a:lnTo>
                  <a:lnTo>
                    <a:pt x="372" y="262"/>
                  </a:lnTo>
                  <a:lnTo>
                    <a:pt x="368" y="262"/>
                  </a:lnTo>
                  <a:lnTo>
                    <a:pt x="366" y="262"/>
                  </a:lnTo>
                  <a:lnTo>
                    <a:pt x="362" y="262"/>
                  </a:lnTo>
                  <a:lnTo>
                    <a:pt x="358" y="262"/>
                  </a:lnTo>
                  <a:lnTo>
                    <a:pt x="354" y="262"/>
                  </a:lnTo>
                  <a:lnTo>
                    <a:pt x="350" y="262"/>
                  </a:lnTo>
                  <a:lnTo>
                    <a:pt x="350" y="266"/>
                  </a:lnTo>
                  <a:lnTo>
                    <a:pt x="346" y="268"/>
                  </a:lnTo>
                  <a:lnTo>
                    <a:pt x="346" y="272"/>
                  </a:lnTo>
                  <a:lnTo>
                    <a:pt x="342" y="272"/>
                  </a:lnTo>
                  <a:lnTo>
                    <a:pt x="342" y="276"/>
                  </a:lnTo>
                  <a:lnTo>
                    <a:pt x="338" y="272"/>
                  </a:lnTo>
                  <a:lnTo>
                    <a:pt x="338" y="276"/>
                  </a:lnTo>
                  <a:lnTo>
                    <a:pt x="336" y="280"/>
                  </a:lnTo>
                  <a:lnTo>
                    <a:pt x="332" y="284"/>
                  </a:lnTo>
                  <a:lnTo>
                    <a:pt x="328" y="284"/>
                  </a:lnTo>
                  <a:lnTo>
                    <a:pt x="324" y="288"/>
                  </a:lnTo>
                  <a:lnTo>
                    <a:pt x="320" y="288"/>
                  </a:lnTo>
                  <a:lnTo>
                    <a:pt x="320" y="292"/>
                  </a:lnTo>
                  <a:lnTo>
                    <a:pt x="316" y="294"/>
                  </a:lnTo>
                  <a:lnTo>
                    <a:pt x="316" y="298"/>
                  </a:lnTo>
                  <a:lnTo>
                    <a:pt x="312" y="298"/>
                  </a:lnTo>
                  <a:lnTo>
                    <a:pt x="312" y="302"/>
                  </a:lnTo>
                  <a:lnTo>
                    <a:pt x="316" y="302"/>
                  </a:lnTo>
                  <a:lnTo>
                    <a:pt x="312" y="302"/>
                  </a:lnTo>
                  <a:lnTo>
                    <a:pt x="308" y="302"/>
                  </a:lnTo>
                  <a:lnTo>
                    <a:pt x="306" y="298"/>
                  </a:lnTo>
                  <a:lnTo>
                    <a:pt x="308" y="294"/>
                  </a:lnTo>
                  <a:lnTo>
                    <a:pt x="306" y="294"/>
                  </a:lnTo>
                  <a:lnTo>
                    <a:pt x="306" y="292"/>
                  </a:lnTo>
                  <a:lnTo>
                    <a:pt x="302" y="292"/>
                  </a:lnTo>
                  <a:lnTo>
                    <a:pt x="298" y="292"/>
                  </a:lnTo>
                  <a:lnTo>
                    <a:pt x="294" y="292"/>
                  </a:lnTo>
                  <a:lnTo>
                    <a:pt x="290" y="292"/>
                  </a:lnTo>
                  <a:lnTo>
                    <a:pt x="286" y="292"/>
                  </a:lnTo>
                  <a:lnTo>
                    <a:pt x="286" y="288"/>
                  </a:lnTo>
                  <a:lnTo>
                    <a:pt x="286" y="280"/>
                  </a:lnTo>
                  <a:lnTo>
                    <a:pt x="282" y="276"/>
                  </a:lnTo>
                  <a:lnTo>
                    <a:pt x="278" y="276"/>
                  </a:lnTo>
                  <a:lnTo>
                    <a:pt x="278" y="272"/>
                  </a:lnTo>
                  <a:lnTo>
                    <a:pt x="278" y="268"/>
                  </a:lnTo>
                  <a:lnTo>
                    <a:pt x="278" y="266"/>
                  </a:lnTo>
                  <a:lnTo>
                    <a:pt x="278" y="262"/>
                  </a:lnTo>
                  <a:lnTo>
                    <a:pt x="278" y="258"/>
                  </a:lnTo>
                  <a:lnTo>
                    <a:pt x="276" y="258"/>
                  </a:lnTo>
                  <a:lnTo>
                    <a:pt x="272" y="254"/>
                  </a:lnTo>
                  <a:lnTo>
                    <a:pt x="272" y="252"/>
                  </a:lnTo>
                  <a:lnTo>
                    <a:pt x="268" y="252"/>
                  </a:lnTo>
                  <a:lnTo>
                    <a:pt x="268" y="248"/>
                  </a:lnTo>
                  <a:lnTo>
                    <a:pt x="264" y="248"/>
                  </a:lnTo>
                  <a:lnTo>
                    <a:pt x="264" y="244"/>
                  </a:lnTo>
                  <a:lnTo>
                    <a:pt x="260" y="244"/>
                  </a:lnTo>
                  <a:lnTo>
                    <a:pt x="256" y="248"/>
                  </a:lnTo>
                  <a:lnTo>
                    <a:pt x="250" y="248"/>
                  </a:lnTo>
                  <a:lnTo>
                    <a:pt x="246" y="248"/>
                  </a:lnTo>
                  <a:lnTo>
                    <a:pt x="242" y="244"/>
                  </a:lnTo>
                  <a:lnTo>
                    <a:pt x="238" y="244"/>
                  </a:lnTo>
                  <a:lnTo>
                    <a:pt x="230" y="248"/>
                  </a:lnTo>
                  <a:lnTo>
                    <a:pt x="226" y="248"/>
                  </a:lnTo>
                  <a:lnTo>
                    <a:pt x="220" y="248"/>
                  </a:lnTo>
                  <a:lnTo>
                    <a:pt x="220" y="244"/>
                  </a:lnTo>
                  <a:lnTo>
                    <a:pt x="216" y="240"/>
                  </a:lnTo>
                  <a:lnTo>
                    <a:pt x="212" y="236"/>
                  </a:lnTo>
                  <a:lnTo>
                    <a:pt x="208" y="232"/>
                  </a:lnTo>
                  <a:lnTo>
                    <a:pt x="186" y="218"/>
                  </a:lnTo>
                  <a:lnTo>
                    <a:pt x="170" y="206"/>
                  </a:lnTo>
                  <a:lnTo>
                    <a:pt x="166" y="206"/>
                  </a:lnTo>
                  <a:lnTo>
                    <a:pt x="164" y="210"/>
                  </a:lnTo>
                  <a:lnTo>
                    <a:pt x="160" y="210"/>
                  </a:lnTo>
                  <a:lnTo>
                    <a:pt x="156" y="210"/>
                  </a:lnTo>
                  <a:lnTo>
                    <a:pt x="152" y="214"/>
                  </a:lnTo>
                  <a:lnTo>
                    <a:pt x="144" y="214"/>
                  </a:lnTo>
                  <a:lnTo>
                    <a:pt x="140" y="218"/>
                  </a:lnTo>
                  <a:lnTo>
                    <a:pt x="136" y="218"/>
                  </a:lnTo>
                  <a:lnTo>
                    <a:pt x="136" y="222"/>
                  </a:lnTo>
                  <a:lnTo>
                    <a:pt x="136" y="228"/>
                  </a:lnTo>
                  <a:lnTo>
                    <a:pt x="136" y="240"/>
                  </a:lnTo>
                  <a:lnTo>
                    <a:pt x="136" y="244"/>
                  </a:lnTo>
                  <a:lnTo>
                    <a:pt x="136" y="252"/>
                  </a:lnTo>
                  <a:lnTo>
                    <a:pt x="136" y="254"/>
                  </a:lnTo>
                  <a:lnTo>
                    <a:pt x="136" y="258"/>
                  </a:lnTo>
                  <a:lnTo>
                    <a:pt x="136" y="262"/>
                  </a:lnTo>
                  <a:lnTo>
                    <a:pt x="136" y="266"/>
                  </a:lnTo>
                  <a:lnTo>
                    <a:pt x="136" y="272"/>
                  </a:lnTo>
                  <a:lnTo>
                    <a:pt x="136" y="280"/>
                  </a:lnTo>
                  <a:lnTo>
                    <a:pt x="136" y="284"/>
                  </a:lnTo>
                  <a:lnTo>
                    <a:pt x="136" y="288"/>
                  </a:lnTo>
                  <a:lnTo>
                    <a:pt x="136" y="292"/>
                  </a:lnTo>
                  <a:lnTo>
                    <a:pt x="134" y="288"/>
                  </a:lnTo>
                  <a:lnTo>
                    <a:pt x="134" y="292"/>
                  </a:lnTo>
                  <a:lnTo>
                    <a:pt x="130" y="292"/>
                  </a:lnTo>
                  <a:lnTo>
                    <a:pt x="126" y="292"/>
                  </a:lnTo>
                  <a:lnTo>
                    <a:pt x="126" y="288"/>
                  </a:lnTo>
                  <a:lnTo>
                    <a:pt x="126" y="284"/>
                  </a:lnTo>
                  <a:lnTo>
                    <a:pt x="122" y="284"/>
                  </a:lnTo>
                  <a:lnTo>
                    <a:pt x="122" y="280"/>
                  </a:lnTo>
                  <a:lnTo>
                    <a:pt x="118" y="276"/>
                  </a:lnTo>
                  <a:lnTo>
                    <a:pt x="114" y="272"/>
                  </a:lnTo>
                  <a:lnTo>
                    <a:pt x="110" y="272"/>
                  </a:lnTo>
                  <a:lnTo>
                    <a:pt x="110" y="268"/>
                  </a:lnTo>
                  <a:lnTo>
                    <a:pt x="106" y="268"/>
                  </a:lnTo>
                  <a:lnTo>
                    <a:pt x="104" y="268"/>
                  </a:lnTo>
                  <a:lnTo>
                    <a:pt x="100" y="272"/>
                  </a:lnTo>
                  <a:lnTo>
                    <a:pt x="96" y="272"/>
                  </a:lnTo>
                  <a:lnTo>
                    <a:pt x="92" y="272"/>
                  </a:lnTo>
                  <a:lnTo>
                    <a:pt x="92" y="276"/>
                  </a:lnTo>
                  <a:lnTo>
                    <a:pt x="88" y="276"/>
                  </a:lnTo>
                  <a:lnTo>
                    <a:pt x="84" y="280"/>
                  </a:lnTo>
                  <a:lnTo>
                    <a:pt x="80" y="284"/>
                  </a:lnTo>
                  <a:lnTo>
                    <a:pt x="76" y="288"/>
                  </a:lnTo>
                  <a:lnTo>
                    <a:pt x="74" y="288"/>
                  </a:lnTo>
                  <a:lnTo>
                    <a:pt x="66" y="292"/>
                  </a:lnTo>
                  <a:lnTo>
                    <a:pt x="66" y="288"/>
                  </a:lnTo>
                  <a:lnTo>
                    <a:pt x="62" y="284"/>
                  </a:lnTo>
                  <a:lnTo>
                    <a:pt x="60" y="280"/>
                  </a:lnTo>
                  <a:lnTo>
                    <a:pt x="60" y="276"/>
                  </a:lnTo>
                  <a:lnTo>
                    <a:pt x="56" y="272"/>
                  </a:lnTo>
                  <a:lnTo>
                    <a:pt x="52" y="268"/>
                  </a:lnTo>
                  <a:lnTo>
                    <a:pt x="48" y="262"/>
                  </a:lnTo>
                  <a:lnTo>
                    <a:pt x="44" y="258"/>
                  </a:lnTo>
                  <a:lnTo>
                    <a:pt x="44" y="254"/>
                  </a:lnTo>
                  <a:lnTo>
                    <a:pt x="40" y="252"/>
                  </a:lnTo>
                  <a:lnTo>
                    <a:pt x="40" y="248"/>
                  </a:lnTo>
                  <a:lnTo>
                    <a:pt x="36" y="240"/>
                  </a:lnTo>
                  <a:lnTo>
                    <a:pt x="36" y="236"/>
                  </a:lnTo>
                  <a:lnTo>
                    <a:pt x="36" y="232"/>
                  </a:lnTo>
                  <a:lnTo>
                    <a:pt x="34" y="224"/>
                  </a:lnTo>
                  <a:lnTo>
                    <a:pt x="34" y="222"/>
                  </a:lnTo>
                  <a:lnTo>
                    <a:pt x="34" y="218"/>
                  </a:lnTo>
                  <a:lnTo>
                    <a:pt x="36" y="214"/>
                  </a:lnTo>
                  <a:lnTo>
                    <a:pt x="40" y="210"/>
                  </a:lnTo>
                  <a:lnTo>
                    <a:pt x="44" y="206"/>
                  </a:lnTo>
                  <a:lnTo>
                    <a:pt x="48" y="202"/>
                  </a:lnTo>
                  <a:lnTo>
                    <a:pt x="52" y="202"/>
                  </a:lnTo>
                  <a:lnTo>
                    <a:pt x="52" y="198"/>
                  </a:lnTo>
                  <a:lnTo>
                    <a:pt x="48" y="198"/>
                  </a:lnTo>
                  <a:lnTo>
                    <a:pt x="44" y="196"/>
                  </a:lnTo>
                  <a:lnTo>
                    <a:pt x="40" y="196"/>
                  </a:lnTo>
                  <a:lnTo>
                    <a:pt x="40" y="192"/>
                  </a:lnTo>
                  <a:lnTo>
                    <a:pt x="36" y="188"/>
                  </a:lnTo>
                  <a:lnTo>
                    <a:pt x="34" y="188"/>
                  </a:lnTo>
                  <a:lnTo>
                    <a:pt x="30" y="188"/>
                  </a:lnTo>
                  <a:lnTo>
                    <a:pt x="30" y="184"/>
                  </a:lnTo>
                  <a:lnTo>
                    <a:pt x="34" y="180"/>
                  </a:lnTo>
                  <a:lnTo>
                    <a:pt x="34" y="184"/>
                  </a:lnTo>
                  <a:lnTo>
                    <a:pt x="36" y="184"/>
                  </a:lnTo>
                  <a:lnTo>
                    <a:pt x="36" y="180"/>
                  </a:lnTo>
                  <a:lnTo>
                    <a:pt x="34" y="176"/>
                  </a:lnTo>
                  <a:lnTo>
                    <a:pt x="34" y="172"/>
                  </a:lnTo>
                  <a:lnTo>
                    <a:pt x="30" y="168"/>
                  </a:lnTo>
                  <a:lnTo>
                    <a:pt x="26" y="166"/>
                  </a:lnTo>
                  <a:lnTo>
                    <a:pt x="26" y="162"/>
                  </a:lnTo>
                  <a:lnTo>
                    <a:pt x="22" y="162"/>
                  </a:lnTo>
                  <a:lnTo>
                    <a:pt x="18" y="162"/>
                  </a:lnTo>
                  <a:lnTo>
                    <a:pt x="14" y="162"/>
                  </a:lnTo>
                  <a:lnTo>
                    <a:pt x="10" y="162"/>
                  </a:lnTo>
                  <a:lnTo>
                    <a:pt x="10" y="158"/>
                  </a:lnTo>
                  <a:lnTo>
                    <a:pt x="10" y="154"/>
                  </a:lnTo>
                  <a:lnTo>
                    <a:pt x="10" y="150"/>
                  </a:lnTo>
                  <a:lnTo>
                    <a:pt x="6" y="150"/>
                  </a:lnTo>
                  <a:lnTo>
                    <a:pt x="4" y="150"/>
                  </a:lnTo>
                  <a:lnTo>
                    <a:pt x="0" y="146"/>
                  </a:lnTo>
                  <a:lnTo>
                    <a:pt x="4" y="146"/>
                  </a:lnTo>
                  <a:lnTo>
                    <a:pt x="4" y="142"/>
                  </a:lnTo>
                  <a:lnTo>
                    <a:pt x="6" y="140"/>
                  </a:lnTo>
                  <a:lnTo>
                    <a:pt x="6" y="136"/>
                  </a:lnTo>
                  <a:lnTo>
                    <a:pt x="10" y="136"/>
                  </a:lnTo>
                  <a:lnTo>
                    <a:pt x="10" y="132"/>
                  </a:lnTo>
                  <a:lnTo>
                    <a:pt x="6" y="132"/>
                  </a:lnTo>
                  <a:lnTo>
                    <a:pt x="6" y="128"/>
                  </a:lnTo>
                  <a:lnTo>
                    <a:pt x="6" y="124"/>
                  </a:lnTo>
                  <a:lnTo>
                    <a:pt x="6" y="116"/>
                  </a:lnTo>
                  <a:lnTo>
                    <a:pt x="10" y="116"/>
                  </a:lnTo>
                  <a:lnTo>
                    <a:pt x="14" y="116"/>
                  </a:lnTo>
                  <a:lnTo>
                    <a:pt x="14" y="112"/>
                  </a:lnTo>
                  <a:lnTo>
                    <a:pt x="10" y="112"/>
                  </a:lnTo>
                  <a:lnTo>
                    <a:pt x="14" y="110"/>
                  </a:lnTo>
                  <a:lnTo>
                    <a:pt x="14" y="106"/>
                  </a:lnTo>
                  <a:lnTo>
                    <a:pt x="18" y="106"/>
                  </a:lnTo>
                  <a:lnTo>
                    <a:pt x="18" y="110"/>
                  </a:lnTo>
                  <a:lnTo>
                    <a:pt x="22" y="110"/>
                  </a:lnTo>
                  <a:lnTo>
                    <a:pt x="22" y="112"/>
                  </a:lnTo>
                  <a:lnTo>
                    <a:pt x="26" y="112"/>
                  </a:lnTo>
                  <a:lnTo>
                    <a:pt x="26" y="116"/>
                  </a:lnTo>
                  <a:lnTo>
                    <a:pt x="30" y="120"/>
                  </a:lnTo>
                  <a:lnTo>
                    <a:pt x="30" y="116"/>
                  </a:lnTo>
                  <a:lnTo>
                    <a:pt x="34" y="116"/>
                  </a:lnTo>
                  <a:lnTo>
                    <a:pt x="36" y="116"/>
                  </a:lnTo>
                  <a:lnTo>
                    <a:pt x="36" y="112"/>
                  </a:lnTo>
                  <a:lnTo>
                    <a:pt x="34" y="112"/>
                  </a:lnTo>
                  <a:lnTo>
                    <a:pt x="34" y="110"/>
                  </a:lnTo>
                  <a:lnTo>
                    <a:pt x="34" y="106"/>
                  </a:lnTo>
                  <a:lnTo>
                    <a:pt x="34" y="102"/>
                  </a:lnTo>
                  <a:lnTo>
                    <a:pt x="36" y="102"/>
                  </a:lnTo>
                  <a:lnTo>
                    <a:pt x="36" y="98"/>
                  </a:lnTo>
                  <a:lnTo>
                    <a:pt x="40" y="98"/>
                  </a:lnTo>
                  <a:lnTo>
                    <a:pt x="44" y="98"/>
                  </a:lnTo>
                  <a:lnTo>
                    <a:pt x="40" y="94"/>
                  </a:lnTo>
                  <a:lnTo>
                    <a:pt x="44" y="94"/>
                  </a:lnTo>
                  <a:lnTo>
                    <a:pt x="44" y="90"/>
                  </a:lnTo>
                  <a:lnTo>
                    <a:pt x="44" y="94"/>
                  </a:lnTo>
                  <a:lnTo>
                    <a:pt x="48" y="90"/>
                  </a:lnTo>
                  <a:lnTo>
                    <a:pt x="52" y="90"/>
                  </a:lnTo>
                  <a:lnTo>
                    <a:pt x="56" y="90"/>
                  </a:lnTo>
                  <a:lnTo>
                    <a:pt x="56" y="86"/>
                  </a:lnTo>
                  <a:lnTo>
                    <a:pt x="60" y="86"/>
                  </a:lnTo>
                  <a:lnTo>
                    <a:pt x="60" y="84"/>
                  </a:lnTo>
                  <a:lnTo>
                    <a:pt x="60" y="80"/>
                  </a:lnTo>
                  <a:lnTo>
                    <a:pt x="60" y="84"/>
                  </a:lnTo>
                  <a:lnTo>
                    <a:pt x="62" y="84"/>
                  </a:lnTo>
                  <a:lnTo>
                    <a:pt x="62" y="80"/>
                  </a:lnTo>
                  <a:lnTo>
                    <a:pt x="66" y="80"/>
                  </a:lnTo>
                  <a:lnTo>
                    <a:pt x="70" y="80"/>
                  </a:lnTo>
                  <a:lnTo>
                    <a:pt x="70" y="84"/>
                  </a:lnTo>
                  <a:lnTo>
                    <a:pt x="74" y="84"/>
                  </a:lnTo>
                  <a:lnTo>
                    <a:pt x="74" y="86"/>
                  </a:lnTo>
                  <a:lnTo>
                    <a:pt x="76" y="84"/>
                  </a:lnTo>
                  <a:lnTo>
                    <a:pt x="74" y="84"/>
                  </a:lnTo>
                  <a:lnTo>
                    <a:pt x="76" y="84"/>
                  </a:lnTo>
                  <a:lnTo>
                    <a:pt x="76" y="80"/>
                  </a:lnTo>
                  <a:lnTo>
                    <a:pt x="80" y="80"/>
                  </a:lnTo>
                  <a:lnTo>
                    <a:pt x="84" y="80"/>
                  </a:lnTo>
                  <a:lnTo>
                    <a:pt x="84" y="84"/>
                  </a:lnTo>
                  <a:lnTo>
                    <a:pt x="88" y="86"/>
                  </a:lnTo>
                  <a:lnTo>
                    <a:pt x="88" y="84"/>
                  </a:lnTo>
                  <a:lnTo>
                    <a:pt x="92" y="84"/>
                  </a:lnTo>
                  <a:lnTo>
                    <a:pt x="92" y="86"/>
                  </a:lnTo>
                  <a:lnTo>
                    <a:pt x="92" y="84"/>
                  </a:lnTo>
                  <a:lnTo>
                    <a:pt x="96" y="84"/>
                  </a:lnTo>
                  <a:lnTo>
                    <a:pt x="100" y="84"/>
                  </a:lnTo>
                  <a:lnTo>
                    <a:pt x="104" y="86"/>
                  </a:lnTo>
                  <a:lnTo>
                    <a:pt x="100" y="86"/>
                  </a:lnTo>
                  <a:lnTo>
                    <a:pt x="104" y="90"/>
                  </a:lnTo>
                  <a:lnTo>
                    <a:pt x="106" y="90"/>
                  </a:lnTo>
                  <a:lnTo>
                    <a:pt x="106" y="94"/>
                  </a:lnTo>
                  <a:lnTo>
                    <a:pt x="110" y="94"/>
                  </a:lnTo>
                  <a:lnTo>
                    <a:pt x="110" y="98"/>
                  </a:lnTo>
                  <a:lnTo>
                    <a:pt x="114" y="98"/>
                  </a:lnTo>
                  <a:lnTo>
                    <a:pt x="110" y="102"/>
                  </a:lnTo>
                  <a:lnTo>
                    <a:pt x="114" y="102"/>
                  </a:lnTo>
                  <a:lnTo>
                    <a:pt x="114" y="106"/>
                  </a:lnTo>
                  <a:lnTo>
                    <a:pt x="118" y="102"/>
                  </a:lnTo>
                  <a:lnTo>
                    <a:pt x="114" y="102"/>
                  </a:lnTo>
                  <a:lnTo>
                    <a:pt x="114" y="98"/>
                  </a:lnTo>
                  <a:lnTo>
                    <a:pt x="114" y="94"/>
                  </a:lnTo>
                  <a:lnTo>
                    <a:pt x="118" y="94"/>
                  </a:lnTo>
                  <a:lnTo>
                    <a:pt x="122" y="98"/>
                  </a:lnTo>
                  <a:lnTo>
                    <a:pt x="126" y="102"/>
                  </a:lnTo>
                  <a:lnTo>
                    <a:pt x="130" y="102"/>
                  </a:lnTo>
                  <a:lnTo>
                    <a:pt x="130" y="106"/>
                  </a:lnTo>
                  <a:lnTo>
                    <a:pt x="134" y="102"/>
                  </a:lnTo>
                  <a:lnTo>
                    <a:pt x="136" y="102"/>
                  </a:lnTo>
                  <a:lnTo>
                    <a:pt x="136" y="98"/>
                  </a:lnTo>
                  <a:lnTo>
                    <a:pt x="140" y="98"/>
                  </a:lnTo>
                  <a:lnTo>
                    <a:pt x="140" y="94"/>
                  </a:lnTo>
                  <a:lnTo>
                    <a:pt x="144" y="94"/>
                  </a:lnTo>
                  <a:lnTo>
                    <a:pt x="148" y="94"/>
                  </a:lnTo>
                  <a:lnTo>
                    <a:pt x="152" y="94"/>
                  </a:lnTo>
                  <a:lnTo>
                    <a:pt x="156" y="98"/>
                  </a:lnTo>
                  <a:lnTo>
                    <a:pt x="160" y="98"/>
                  </a:lnTo>
                  <a:lnTo>
                    <a:pt x="160" y="94"/>
                  </a:lnTo>
                  <a:lnTo>
                    <a:pt x="160" y="90"/>
                  </a:lnTo>
                  <a:lnTo>
                    <a:pt x="164" y="94"/>
                  </a:lnTo>
                  <a:lnTo>
                    <a:pt x="166" y="94"/>
                  </a:lnTo>
                  <a:lnTo>
                    <a:pt x="166" y="90"/>
                  </a:lnTo>
                  <a:lnTo>
                    <a:pt x="170" y="90"/>
                  </a:lnTo>
                  <a:lnTo>
                    <a:pt x="170" y="94"/>
                  </a:lnTo>
                  <a:lnTo>
                    <a:pt x="170" y="98"/>
                  </a:lnTo>
                  <a:lnTo>
                    <a:pt x="174" y="98"/>
                  </a:lnTo>
                  <a:lnTo>
                    <a:pt x="178" y="102"/>
                  </a:lnTo>
                  <a:lnTo>
                    <a:pt x="182" y="102"/>
                  </a:lnTo>
                  <a:lnTo>
                    <a:pt x="186" y="102"/>
                  </a:lnTo>
                  <a:lnTo>
                    <a:pt x="186" y="106"/>
                  </a:lnTo>
                  <a:lnTo>
                    <a:pt x="190" y="106"/>
                  </a:lnTo>
                  <a:lnTo>
                    <a:pt x="190" y="102"/>
                  </a:lnTo>
                  <a:lnTo>
                    <a:pt x="190" y="98"/>
                  </a:lnTo>
                  <a:lnTo>
                    <a:pt x="192" y="98"/>
                  </a:lnTo>
                  <a:lnTo>
                    <a:pt x="196" y="102"/>
                  </a:lnTo>
                  <a:lnTo>
                    <a:pt x="200" y="102"/>
                  </a:lnTo>
                  <a:lnTo>
                    <a:pt x="204" y="102"/>
                  </a:lnTo>
                  <a:lnTo>
                    <a:pt x="208" y="102"/>
                  </a:lnTo>
                  <a:lnTo>
                    <a:pt x="212" y="98"/>
                  </a:lnTo>
                  <a:lnTo>
                    <a:pt x="212" y="94"/>
                  </a:lnTo>
                  <a:lnTo>
                    <a:pt x="216" y="90"/>
                  </a:lnTo>
                  <a:lnTo>
                    <a:pt x="216" y="86"/>
                  </a:lnTo>
                  <a:lnTo>
                    <a:pt x="212" y="86"/>
                  </a:lnTo>
                  <a:lnTo>
                    <a:pt x="208" y="84"/>
                  </a:lnTo>
                  <a:lnTo>
                    <a:pt x="208" y="86"/>
                  </a:lnTo>
                  <a:lnTo>
                    <a:pt x="208" y="84"/>
                  </a:lnTo>
                  <a:lnTo>
                    <a:pt x="204" y="84"/>
                  </a:lnTo>
                  <a:lnTo>
                    <a:pt x="200" y="84"/>
                  </a:lnTo>
                  <a:lnTo>
                    <a:pt x="196" y="80"/>
                  </a:lnTo>
                  <a:lnTo>
                    <a:pt x="200" y="80"/>
                  </a:lnTo>
                  <a:lnTo>
                    <a:pt x="196" y="80"/>
                  </a:lnTo>
                  <a:lnTo>
                    <a:pt x="196" y="76"/>
                  </a:lnTo>
                  <a:lnTo>
                    <a:pt x="192" y="76"/>
                  </a:lnTo>
                  <a:lnTo>
                    <a:pt x="192" y="72"/>
                  </a:lnTo>
                  <a:lnTo>
                    <a:pt x="196" y="72"/>
                  </a:lnTo>
                  <a:lnTo>
                    <a:pt x="200" y="72"/>
                  </a:lnTo>
                  <a:lnTo>
                    <a:pt x="204" y="68"/>
                  </a:lnTo>
                  <a:lnTo>
                    <a:pt x="208" y="68"/>
                  </a:lnTo>
                  <a:lnTo>
                    <a:pt x="208" y="64"/>
                  </a:lnTo>
                  <a:lnTo>
                    <a:pt x="204" y="64"/>
                  </a:lnTo>
                  <a:lnTo>
                    <a:pt x="204" y="60"/>
                  </a:lnTo>
                  <a:lnTo>
                    <a:pt x="200" y="60"/>
                  </a:lnTo>
                  <a:lnTo>
                    <a:pt x="200" y="56"/>
                  </a:lnTo>
                  <a:lnTo>
                    <a:pt x="204" y="56"/>
                  </a:lnTo>
                  <a:lnTo>
                    <a:pt x="208" y="54"/>
                  </a:lnTo>
                  <a:lnTo>
                    <a:pt x="212" y="54"/>
                  </a:lnTo>
                  <a:lnTo>
                    <a:pt x="216" y="54"/>
                  </a:lnTo>
                  <a:lnTo>
                    <a:pt x="220" y="54"/>
                  </a:lnTo>
                  <a:lnTo>
                    <a:pt x="222" y="54"/>
                  </a:lnTo>
                  <a:lnTo>
                    <a:pt x="222" y="50"/>
                  </a:lnTo>
                  <a:lnTo>
                    <a:pt x="220" y="50"/>
                  </a:lnTo>
                  <a:lnTo>
                    <a:pt x="216" y="50"/>
                  </a:lnTo>
                  <a:lnTo>
                    <a:pt x="216" y="46"/>
                  </a:lnTo>
                  <a:lnTo>
                    <a:pt x="216" y="50"/>
                  </a:lnTo>
                  <a:lnTo>
                    <a:pt x="212" y="50"/>
                  </a:lnTo>
                  <a:lnTo>
                    <a:pt x="212" y="46"/>
                  </a:lnTo>
                  <a:lnTo>
                    <a:pt x="208" y="46"/>
                  </a:lnTo>
                  <a:lnTo>
                    <a:pt x="208" y="42"/>
                  </a:lnTo>
                  <a:lnTo>
                    <a:pt x="212" y="42"/>
                  </a:lnTo>
                  <a:lnTo>
                    <a:pt x="216" y="42"/>
                  </a:lnTo>
                  <a:lnTo>
                    <a:pt x="216" y="38"/>
                  </a:lnTo>
                  <a:lnTo>
                    <a:pt x="212" y="38"/>
                  </a:lnTo>
                  <a:lnTo>
                    <a:pt x="212" y="42"/>
                  </a:lnTo>
                  <a:lnTo>
                    <a:pt x="208" y="42"/>
                  </a:lnTo>
                  <a:lnTo>
                    <a:pt x="208" y="38"/>
                  </a:lnTo>
                  <a:lnTo>
                    <a:pt x="204" y="38"/>
                  </a:lnTo>
                  <a:lnTo>
                    <a:pt x="208" y="38"/>
                  </a:lnTo>
                  <a:lnTo>
                    <a:pt x="208" y="34"/>
                  </a:lnTo>
                  <a:lnTo>
                    <a:pt x="204" y="34"/>
                  </a:lnTo>
                  <a:lnTo>
                    <a:pt x="208" y="30"/>
                  </a:lnTo>
                  <a:lnTo>
                    <a:pt x="212" y="30"/>
                  </a:lnTo>
                  <a:lnTo>
                    <a:pt x="216" y="30"/>
                  </a:lnTo>
                  <a:lnTo>
                    <a:pt x="220" y="30"/>
                  </a:lnTo>
                  <a:lnTo>
                    <a:pt x="222" y="30"/>
                  </a:lnTo>
                  <a:lnTo>
                    <a:pt x="226" y="30"/>
                  </a:lnTo>
                  <a:lnTo>
                    <a:pt x="226" y="34"/>
                  </a:lnTo>
                  <a:lnTo>
                    <a:pt x="226" y="30"/>
                  </a:lnTo>
                  <a:lnTo>
                    <a:pt x="230" y="30"/>
                  </a:lnTo>
                  <a:lnTo>
                    <a:pt x="234" y="30"/>
                  </a:lnTo>
                  <a:lnTo>
                    <a:pt x="234" y="28"/>
                  </a:lnTo>
                  <a:lnTo>
                    <a:pt x="238" y="28"/>
                  </a:lnTo>
                  <a:lnTo>
                    <a:pt x="242" y="28"/>
                  </a:lnTo>
                  <a:lnTo>
                    <a:pt x="246" y="28"/>
                  </a:lnTo>
                  <a:lnTo>
                    <a:pt x="250" y="28"/>
                  </a:lnTo>
                  <a:lnTo>
                    <a:pt x="250" y="24"/>
                  </a:lnTo>
                  <a:lnTo>
                    <a:pt x="252" y="24"/>
                  </a:lnTo>
                  <a:lnTo>
                    <a:pt x="256" y="24"/>
                  </a:lnTo>
                  <a:lnTo>
                    <a:pt x="260" y="24"/>
                  </a:lnTo>
                  <a:lnTo>
                    <a:pt x="264" y="24"/>
                  </a:lnTo>
                  <a:lnTo>
                    <a:pt x="268" y="24"/>
                  </a:lnTo>
                  <a:lnTo>
                    <a:pt x="264" y="24"/>
                  </a:lnTo>
                  <a:lnTo>
                    <a:pt x="264" y="20"/>
                  </a:lnTo>
                  <a:lnTo>
                    <a:pt x="268" y="20"/>
                  </a:lnTo>
                  <a:lnTo>
                    <a:pt x="268" y="16"/>
                  </a:lnTo>
                  <a:lnTo>
                    <a:pt x="272" y="16"/>
                  </a:lnTo>
                  <a:lnTo>
                    <a:pt x="272" y="20"/>
                  </a:lnTo>
                  <a:lnTo>
                    <a:pt x="276" y="20"/>
                  </a:lnTo>
                  <a:lnTo>
                    <a:pt x="276" y="16"/>
                  </a:lnTo>
                  <a:lnTo>
                    <a:pt x="278" y="16"/>
                  </a:lnTo>
                  <a:lnTo>
                    <a:pt x="282" y="16"/>
                  </a:lnTo>
                  <a:lnTo>
                    <a:pt x="286" y="16"/>
                  </a:lnTo>
                  <a:lnTo>
                    <a:pt x="290" y="16"/>
                  </a:lnTo>
                  <a:lnTo>
                    <a:pt x="294" y="12"/>
                  </a:lnTo>
                  <a:lnTo>
                    <a:pt x="298" y="12"/>
                  </a:lnTo>
                  <a:lnTo>
                    <a:pt x="302" y="12"/>
                  </a:lnTo>
                  <a:lnTo>
                    <a:pt x="302" y="8"/>
                  </a:lnTo>
                  <a:lnTo>
                    <a:pt x="306" y="8"/>
                  </a:lnTo>
                  <a:lnTo>
                    <a:pt x="306" y="12"/>
                  </a:lnTo>
                  <a:lnTo>
                    <a:pt x="308" y="8"/>
                  </a:lnTo>
                  <a:lnTo>
                    <a:pt x="308" y="4"/>
                  </a:lnTo>
                  <a:lnTo>
                    <a:pt x="312" y="4"/>
                  </a:lnTo>
                  <a:lnTo>
                    <a:pt x="316" y="0"/>
                  </a:lnTo>
                  <a:lnTo>
                    <a:pt x="320" y="4"/>
                  </a:lnTo>
                  <a:lnTo>
                    <a:pt x="320" y="0"/>
                  </a:lnTo>
                  <a:lnTo>
                    <a:pt x="324" y="0"/>
                  </a:lnTo>
                  <a:lnTo>
                    <a:pt x="328" y="0"/>
                  </a:lnTo>
                  <a:lnTo>
                    <a:pt x="332" y="4"/>
                  </a:lnTo>
                  <a:lnTo>
                    <a:pt x="336" y="4"/>
                  </a:lnTo>
                  <a:lnTo>
                    <a:pt x="338" y="4"/>
                  </a:lnTo>
                  <a:lnTo>
                    <a:pt x="342" y="4"/>
                  </a:lnTo>
                  <a:lnTo>
                    <a:pt x="342" y="0"/>
                  </a:lnTo>
                  <a:lnTo>
                    <a:pt x="346" y="0"/>
                  </a:lnTo>
                  <a:lnTo>
                    <a:pt x="346" y="4"/>
                  </a:lnTo>
                  <a:lnTo>
                    <a:pt x="346" y="8"/>
                  </a:lnTo>
                  <a:lnTo>
                    <a:pt x="346" y="12"/>
                  </a:lnTo>
                  <a:lnTo>
                    <a:pt x="350" y="16"/>
                  </a:lnTo>
                  <a:lnTo>
                    <a:pt x="354" y="16"/>
                  </a:lnTo>
                  <a:lnTo>
                    <a:pt x="350" y="16"/>
                  </a:lnTo>
                  <a:lnTo>
                    <a:pt x="350" y="20"/>
                  </a:lnTo>
                  <a:lnTo>
                    <a:pt x="350" y="24"/>
                  </a:lnTo>
                  <a:lnTo>
                    <a:pt x="346" y="24"/>
                  </a:lnTo>
                  <a:lnTo>
                    <a:pt x="350" y="24"/>
                  </a:lnTo>
                  <a:lnTo>
                    <a:pt x="350" y="28"/>
                  </a:lnTo>
                  <a:lnTo>
                    <a:pt x="354" y="28"/>
                  </a:lnTo>
                  <a:lnTo>
                    <a:pt x="358" y="28"/>
                  </a:lnTo>
                  <a:lnTo>
                    <a:pt x="362" y="28"/>
                  </a:lnTo>
                  <a:lnTo>
                    <a:pt x="366" y="28"/>
                  </a:lnTo>
                  <a:lnTo>
                    <a:pt x="362" y="24"/>
                  </a:lnTo>
                  <a:lnTo>
                    <a:pt x="366" y="24"/>
                  </a:lnTo>
                  <a:lnTo>
                    <a:pt x="368" y="28"/>
                  </a:lnTo>
                  <a:lnTo>
                    <a:pt x="366" y="28"/>
                  </a:lnTo>
                  <a:lnTo>
                    <a:pt x="368" y="28"/>
                  </a:lnTo>
                  <a:lnTo>
                    <a:pt x="368" y="30"/>
                  </a:lnTo>
                  <a:lnTo>
                    <a:pt x="368" y="34"/>
                  </a:lnTo>
                  <a:lnTo>
                    <a:pt x="368" y="30"/>
                  </a:lnTo>
                  <a:lnTo>
                    <a:pt x="372" y="30"/>
                  </a:lnTo>
                  <a:lnTo>
                    <a:pt x="368" y="30"/>
                  </a:lnTo>
                  <a:lnTo>
                    <a:pt x="368" y="28"/>
                  </a:lnTo>
                  <a:lnTo>
                    <a:pt x="372" y="28"/>
                  </a:lnTo>
                  <a:lnTo>
                    <a:pt x="376" y="28"/>
                  </a:lnTo>
                  <a:lnTo>
                    <a:pt x="376" y="30"/>
                  </a:lnTo>
                  <a:lnTo>
                    <a:pt x="380" y="30"/>
                  </a:lnTo>
                  <a:lnTo>
                    <a:pt x="384" y="30"/>
                  </a:lnTo>
                  <a:lnTo>
                    <a:pt x="388" y="30"/>
                  </a:lnTo>
                  <a:lnTo>
                    <a:pt x="388" y="34"/>
                  </a:lnTo>
                  <a:lnTo>
                    <a:pt x="384" y="34"/>
                  </a:lnTo>
                  <a:lnTo>
                    <a:pt x="380" y="34"/>
                  </a:lnTo>
                  <a:lnTo>
                    <a:pt x="380" y="38"/>
                  </a:lnTo>
                  <a:lnTo>
                    <a:pt x="380" y="42"/>
                  </a:lnTo>
                  <a:lnTo>
                    <a:pt x="384" y="42"/>
                  </a:lnTo>
                  <a:lnTo>
                    <a:pt x="380" y="42"/>
                  </a:lnTo>
                  <a:lnTo>
                    <a:pt x="384" y="42"/>
                  </a:lnTo>
                  <a:lnTo>
                    <a:pt x="388" y="38"/>
                  </a:lnTo>
                  <a:lnTo>
                    <a:pt x="392" y="38"/>
                  </a:lnTo>
                  <a:lnTo>
                    <a:pt x="394" y="38"/>
                  </a:lnTo>
                  <a:lnTo>
                    <a:pt x="394" y="42"/>
                  </a:lnTo>
                  <a:lnTo>
                    <a:pt x="398" y="38"/>
                  </a:lnTo>
                  <a:lnTo>
                    <a:pt x="394" y="38"/>
                  </a:lnTo>
                  <a:lnTo>
                    <a:pt x="398" y="38"/>
                  </a:lnTo>
                  <a:lnTo>
                    <a:pt x="398" y="34"/>
                  </a:lnTo>
                  <a:lnTo>
                    <a:pt x="402" y="34"/>
                  </a:lnTo>
                  <a:lnTo>
                    <a:pt x="406" y="34"/>
                  </a:lnTo>
                  <a:lnTo>
                    <a:pt x="408" y="30"/>
                  </a:lnTo>
                  <a:lnTo>
                    <a:pt x="412" y="28"/>
                  </a:lnTo>
                  <a:lnTo>
                    <a:pt x="416" y="28"/>
                  </a:lnTo>
                  <a:lnTo>
                    <a:pt x="420" y="28"/>
                  </a:lnTo>
                  <a:lnTo>
                    <a:pt x="420" y="24"/>
                  </a:lnTo>
                  <a:lnTo>
                    <a:pt x="424" y="24"/>
                  </a:lnTo>
                  <a:lnTo>
                    <a:pt x="428" y="24"/>
                  </a:lnTo>
                  <a:lnTo>
                    <a:pt x="428" y="20"/>
                  </a:lnTo>
                  <a:lnTo>
                    <a:pt x="432" y="24"/>
                  </a:lnTo>
                  <a:lnTo>
                    <a:pt x="428" y="28"/>
                  </a:lnTo>
                  <a:lnTo>
                    <a:pt x="424" y="28"/>
                  </a:lnTo>
                  <a:lnTo>
                    <a:pt x="424" y="30"/>
                  </a:lnTo>
                  <a:lnTo>
                    <a:pt x="428" y="34"/>
                  </a:lnTo>
                  <a:lnTo>
                    <a:pt x="432" y="34"/>
                  </a:lnTo>
                  <a:lnTo>
                    <a:pt x="436" y="38"/>
                  </a:lnTo>
                  <a:lnTo>
                    <a:pt x="438" y="42"/>
                  </a:lnTo>
                  <a:lnTo>
                    <a:pt x="442" y="46"/>
                  </a:lnTo>
                  <a:lnTo>
                    <a:pt x="446" y="46"/>
                  </a:lnTo>
                  <a:lnTo>
                    <a:pt x="446" y="50"/>
                  </a:lnTo>
                  <a:lnTo>
                    <a:pt x="450" y="56"/>
                  </a:lnTo>
                  <a:lnTo>
                    <a:pt x="454" y="56"/>
                  </a:lnTo>
                  <a:lnTo>
                    <a:pt x="454" y="60"/>
                  </a:lnTo>
                  <a:lnTo>
                    <a:pt x="454" y="64"/>
                  </a:lnTo>
                  <a:lnTo>
                    <a:pt x="458" y="64"/>
                  </a:lnTo>
                  <a:lnTo>
                    <a:pt x="462" y="68"/>
                  </a:lnTo>
                  <a:lnTo>
                    <a:pt x="466" y="80"/>
                  </a:lnTo>
                  <a:lnTo>
                    <a:pt x="468" y="84"/>
                  </a:lnTo>
                  <a:lnTo>
                    <a:pt x="468" y="86"/>
                  </a:lnTo>
                  <a:lnTo>
                    <a:pt x="468" y="90"/>
                  </a:lnTo>
                  <a:lnTo>
                    <a:pt x="472" y="90"/>
                  </a:lnTo>
                  <a:lnTo>
                    <a:pt x="472" y="98"/>
                  </a:lnTo>
                  <a:lnTo>
                    <a:pt x="476" y="98"/>
                  </a:lnTo>
                  <a:lnTo>
                    <a:pt x="480" y="98"/>
                  </a:lnTo>
                  <a:lnTo>
                    <a:pt x="480" y="94"/>
                  </a:lnTo>
                  <a:lnTo>
                    <a:pt x="480" y="90"/>
                  </a:lnTo>
                  <a:lnTo>
                    <a:pt x="484" y="90"/>
                  </a:lnTo>
                  <a:lnTo>
                    <a:pt x="484" y="86"/>
                  </a:lnTo>
                  <a:lnTo>
                    <a:pt x="488" y="90"/>
                  </a:lnTo>
                  <a:lnTo>
                    <a:pt x="492" y="90"/>
                  </a:lnTo>
                  <a:lnTo>
                    <a:pt x="492" y="94"/>
                  </a:lnTo>
                  <a:lnTo>
                    <a:pt x="496" y="94"/>
                  </a:lnTo>
                  <a:lnTo>
                    <a:pt x="496" y="98"/>
                  </a:lnTo>
                  <a:lnTo>
                    <a:pt x="496" y="102"/>
                  </a:lnTo>
                  <a:lnTo>
                    <a:pt x="498" y="102"/>
                  </a:lnTo>
                  <a:lnTo>
                    <a:pt x="498" y="98"/>
                  </a:lnTo>
                  <a:lnTo>
                    <a:pt x="502" y="98"/>
                  </a:lnTo>
                  <a:lnTo>
                    <a:pt x="502" y="102"/>
                  </a:lnTo>
                  <a:lnTo>
                    <a:pt x="506" y="102"/>
                  </a:lnTo>
                  <a:lnTo>
                    <a:pt x="510" y="98"/>
                  </a:lnTo>
                  <a:lnTo>
                    <a:pt x="510" y="102"/>
                  </a:lnTo>
                  <a:lnTo>
                    <a:pt x="514" y="98"/>
                  </a:lnTo>
                  <a:lnTo>
                    <a:pt x="518" y="98"/>
                  </a:lnTo>
                  <a:lnTo>
                    <a:pt x="518" y="94"/>
                  </a:lnTo>
                  <a:lnTo>
                    <a:pt x="522" y="94"/>
                  </a:lnTo>
                  <a:lnTo>
                    <a:pt x="524" y="94"/>
                  </a:lnTo>
                  <a:lnTo>
                    <a:pt x="528" y="98"/>
                  </a:lnTo>
                  <a:lnTo>
                    <a:pt x="532" y="98"/>
                  </a:lnTo>
                  <a:lnTo>
                    <a:pt x="532" y="102"/>
                  </a:lnTo>
                  <a:lnTo>
                    <a:pt x="536" y="106"/>
                  </a:lnTo>
                  <a:lnTo>
                    <a:pt x="536" y="110"/>
                  </a:lnTo>
                  <a:lnTo>
                    <a:pt x="536" y="112"/>
                  </a:lnTo>
                  <a:lnTo>
                    <a:pt x="540" y="112"/>
                  </a:lnTo>
                  <a:lnTo>
                    <a:pt x="544" y="112"/>
                  </a:lnTo>
                  <a:lnTo>
                    <a:pt x="548" y="112"/>
                  </a:lnTo>
                  <a:lnTo>
                    <a:pt x="548" y="116"/>
                  </a:lnTo>
                  <a:lnTo>
                    <a:pt x="544" y="116"/>
                  </a:lnTo>
                  <a:lnTo>
                    <a:pt x="548" y="116"/>
                  </a:lnTo>
                  <a:lnTo>
                    <a:pt x="548" y="120"/>
                  </a:lnTo>
                  <a:lnTo>
                    <a:pt x="548" y="124"/>
                  </a:lnTo>
                  <a:lnTo>
                    <a:pt x="552" y="124"/>
                  </a:lnTo>
                  <a:lnTo>
                    <a:pt x="554" y="124"/>
                  </a:lnTo>
                  <a:lnTo>
                    <a:pt x="558" y="124"/>
                  </a:lnTo>
                  <a:lnTo>
                    <a:pt x="562" y="128"/>
                  </a:lnTo>
                  <a:lnTo>
                    <a:pt x="562" y="124"/>
                  </a:lnTo>
                  <a:lnTo>
                    <a:pt x="566" y="124"/>
                  </a:lnTo>
                  <a:lnTo>
                    <a:pt x="566" y="120"/>
                  </a:lnTo>
                  <a:lnTo>
                    <a:pt x="570" y="120"/>
                  </a:lnTo>
                  <a:lnTo>
                    <a:pt x="570" y="124"/>
                  </a:lnTo>
                  <a:lnTo>
                    <a:pt x="574" y="124"/>
                  </a:lnTo>
                  <a:lnTo>
                    <a:pt x="574" y="128"/>
                  </a:lnTo>
                  <a:lnTo>
                    <a:pt x="574" y="132"/>
                  </a:lnTo>
                  <a:lnTo>
                    <a:pt x="578" y="132"/>
                  </a:lnTo>
                  <a:lnTo>
                    <a:pt x="578" y="136"/>
                  </a:lnTo>
                  <a:lnTo>
                    <a:pt x="574" y="136"/>
                  </a:lnTo>
                  <a:lnTo>
                    <a:pt x="570" y="136"/>
                  </a:lnTo>
                  <a:lnTo>
                    <a:pt x="570" y="140"/>
                  </a:lnTo>
                  <a:lnTo>
                    <a:pt x="570" y="142"/>
                  </a:lnTo>
                  <a:lnTo>
                    <a:pt x="570" y="146"/>
                  </a:lnTo>
                  <a:lnTo>
                    <a:pt x="566" y="146"/>
                  </a:lnTo>
                  <a:lnTo>
                    <a:pt x="562" y="146"/>
                  </a:lnTo>
                  <a:lnTo>
                    <a:pt x="558" y="146"/>
                  </a:lnTo>
                  <a:lnTo>
                    <a:pt x="558" y="150"/>
                  </a:lnTo>
                  <a:lnTo>
                    <a:pt x="554" y="150"/>
                  </a:lnTo>
                  <a:lnTo>
                    <a:pt x="554" y="154"/>
                  </a:lnTo>
                  <a:lnTo>
                    <a:pt x="554" y="158"/>
                  </a:lnTo>
                  <a:lnTo>
                    <a:pt x="554" y="162"/>
                  </a:lnTo>
                  <a:lnTo>
                    <a:pt x="554" y="166"/>
                  </a:lnTo>
                  <a:lnTo>
                    <a:pt x="554" y="168"/>
                  </a:lnTo>
                  <a:lnTo>
                    <a:pt x="554" y="172"/>
                  </a:lnTo>
                  <a:lnTo>
                    <a:pt x="554" y="176"/>
                  </a:lnTo>
                  <a:lnTo>
                    <a:pt x="552" y="176"/>
                  </a:lnTo>
                  <a:lnTo>
                    <a:pt x="548" y="176"/>
                  </a:lnTo>
                  <a:lnTo>
                    <a:pt x="548" y="180"/>
                  </a:lnTo>
                  <a:lnTo>
                    <a:pt x="544" y="180"/>
                  </a:lnTo>
                  <a:lnTo>
                    <a:pt x="540" y="176"/>
                  </a:lnTo>
                  <a:lnTo>
                    <a:pt x="536" y="176"/>
                  </a:lnTo>
                  <a:lnTo>
                    <a:pt x="532" y="176"/>
                  </a:lnTo>
                  <a:lnTo>
                    <a:pt x="528" y="176"/>
                  </a:lnTo>
                  <a:lnTo>
                    <a:pt x="524" y="176"/>
                  </a:lnTo>
                  <a:lnTo>
                    <a:pt x="522" y="172"/>
                  </a:lnTo>
                  <a:lnTo>
                    <a:pt x="518" y="172"/>
                  </a:lnTo>
                  <a:lnTo>
                    <a:pt x="518" y="176"/>
                  </a:lnTo>
                  <a:lnTo>
                    <a:pt x="518" y="180"/>
                  </a:lnTo>
                  <a:lnTo>
                    <a:pt x="514" y="184"/>
                  </a:lnTo>
                  <a:lnTo>
                    <a:pt x="514" y="188"/>
                  </a:lnTo>
                  <a:lnTo>
                    <a:pt x="514" y="192"/>
                  </a:lnTo>
                  <a:lnTo>
                    <a:pt x="510" y="192"/>
                  </a:lnTo>
                  <a:lnTo>
                    <a:pt x="510" y="196"/>
                  </a:lnTo>
                  <a:lnTo>
                    <a:pt x="510" y="198"/>
                  </a:lnTo>
                  <a:lnTo>
                    <a:pt x="510" y="202"/>
                  </a:lnTo>
                  <a:lnTo>
                    <a:pt x="506" y="206"/>
                  </a:lnTo>
                  <a:lnTo>
                    <a:pt x="510" y="206"/>
                  </a:lnTo>
                  <a:lnTo>
                    <a:pt x="510" y="210"/>
                  </a:lnTo>
                  <a:lnTo>
                    <a:pt x="514" y="210"/>
                  </a:lnTo>
                  <a:lnTo>
                    <a:pt x="514" y="214"/>
                  </a:lnTo>
                  <a:lnTo>
                    <a:pt x="510" y="214"/>
                  </a:lnTo>
                  <a:lnTo>
                    <a:pt x="506" y="214"/>
                  </a:lnTo>
                  <a:lnTo>
                    <a:pt x="502" y="214"/>
                  </a:lnTo>
                  <a:lnTo>
                    <a:pt x="498" y="214"/>
                  </a:lnTo>
                  <a:lnTo>
                    <a:pt x="498" y="210"/>
                  </a:lnTo>
                  <a:lnTo>
                    <a:pt x="496" y="210"/>
                  </a:lnTo>
                  <a:lnTo>
                    <a:pt x="496" y="214"/>
                  </a:lnTo>
                  <a:lnTo>
                    <a:pt x="492" y="214"/>
                  </a:lnTo>
                  <a:lnTo>
                    <a:pt x="488" y="214"/>
                  </a:lnTo>
                  <a:lnTo>
                    <a:pt x="484" y="214"/>
                  </a:lnTo>
                  <a:lnTo>
                    <a:pt x="480" y="218"/>
                  </a:lnTo>
                  <a:lnTo>
                    <a:pt x="476" y="218"/>
                  </a:lnTo>
                  <a:lnTo>
                    <a:pt x="472" y="222"/>
                  </a:lnTo>
                  <a:lnTo>
                    <a:pt x="476" y="222"/>
                  </a:lnTo>
                  <a:lnTo>
                    <a:pt x="480" y="222"/>
                  </a:lnTo>
                  <a:lnTo>
                    <a:pt x="484" y="222"/>
                  </a:lnTo>
                  <a:lnTo>
                    <a:pt x="484" y="224"/>
                  </a:lnTo>
                  <a:lnTo>
                    <a:pt x="480" y="224"/>
                  </a:lnTo>
                  <a:lnTo>
                    <a:pt x="480" y="228"/>
                  </a:lnTo>
                  <a:lnTo>
                    <a:pt x="480" y="232"/>
                  </a:lnTo>
                  <a:lnTo>
                    <a:pt x="480" y="236"/>
                  </a:lnTo>
                  <a:lnTo>
                    <a:pt x="480" y="240"/>
                  </a:lnTo>
                  <a:lnTo>
                    <a:pt x="484" y="240"/>
                  </a:lnTo>
                  <a:lnTo>
                    <a:pt x="484" y="244"/>
                  </a:lnTo>
                  <a:lnTo>
                    <a:pt x="484" y="248"/>
                  </a:lnTo>
                  <a:lnTo>
                    <a:pt x="488" y="252"/>
                  </a:lnTo>
                  <a:lnTo>
                    <a:pt x="488" y="254"/>
                  </a:lnTo>
                  <a:lnTo>
                    <a:pt x="484" y="254"/>
                  </a:lnTo>
                  <a:lnTo>
                    <a:pt x="480" y="258"/>
                  </a:lnTo>
                  <a:lnTo>
                    <a:pt x="484" y="258"/>
                  </a:lnTo>
                  <a:lnTo>
                    <a:pt x="480" y="262"/>
                  </a:lnTo>
                  <a:lnTo>
                    <a:pt x="476" y="266"/>
                  </a:lnTo>
                  <a:lnTo>
                    <a:pt x="476" y="268"/>
                  </a:lnTo>
                  <a:lnTo>
                    <a:pt x="480" y="268"/>
                  </a:lnTo>
                  <a:lnTo>
                    <a:pt x="480" y="272"/>
                  </a:lnTo>
                  <a:lnTo>
                    <a:pt x="476" y="272"/>
                  </a:lnTo>
                  <a:lnTo>
                    <a:pt x="476" y="268"/>
                  </a:lnTo>
                  <a:lnTo>
                    <a:pt x="472" y="268"/>
                  </a:lnTo>
                  <a:lnTo>
                    <a:pt x="468" y="268"/>
                  </a:lnTo>
                  <a:lnTo>
                    <a:pt x="466" y="268"/>
                  </a:lnTo>
                  <a:lnTo>
                    <a:pt x="466" y="266"/>
                  </a:lnTo>
                  <a:lnTo>
                    <a:pt x="466" y="262"/>
                  </a:lnTo>
                  <a:lnTo>
                    <a:pt x="462" y="262"/>
                  </a:lnTo>
                  <a:lnTo>
                    <a:pt x="458" y="262"/>
                  </a:lnTo>
                  <a:lnTo>
                    <a:pt x="454" y="258"/>
                  </a:lnTo>
                  <a:lnTo>
                    <a:pt x="450" y="258"/>
                  </a:lnTo>
                  <a:lnTo>
                    <a:pt x="446" y="258"/>
                  </a:lnTo>
                  <a:lnTo>
                    <a:pt x="442" y="258"/>
                  </a:lnTo>
                  <a:lnTo>
                    <a:pt x="438" y="258"/>
                  </a:lnTo>
                  <a:lnTo>
                    <a:pt x="436" y="258"/>
                  </a:lnTo>
                  <a:lnTo>
                    <a:pt x="432" y="258"/>
                  </a:lnTo>
                  <a:lnTo>
                    <a:pt x="428" y="258"/>
                  </a:lnTo>
                  <a:lnTo>
                    <a:pt x="424" y="258"/>
                  </a:lnTo>
                  <a:lnTo>
                    <a:pt x="420" y="258"/>
                  </a:lnTo>
                  <a:lnTo>
                    <a:pt x="416" y="258"/>
                  </a:lnTo>
                  <a:lnTo>
                    <a:pt x="416" y="258"/>
                  </a:lnTo>
                  <a:lnTo>
                    <a:pt x="416" y="25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42" name="Freeform 35"/>
            <p:cNvSpPr>
              <a:spLocks noEditPoints="1"/>
            </p:cNvSpPr>
            <p:nvPr/>
          </p:nvSpPr>
          <p:spPr bwMode="auto">
            <a:xfrm>
              <a:off x="7454752" y="3816549"/>
              <a:ext cx="16328" cy="18306"/>
            </a:xfrm>
            <a:custGeom>
              <a:avLst/>
              <a:gdLst>
                <a:gd name="T0" fmla="*/ 10 w 26"/>
                <a:gd name="T1" fmla="*/ 22 h 28"/>
                <a:gd name="T2" fmla="*/ 4 w 26"/>
                <a:gd name="T3" fmla="*/ 18 h 28"/>
                <a:gd name="T4" fmla="*/ 0 w 26"/>
                <a:gd name="T5" fmla="*/ 18 h 28"/>
                <a:gd name="T6" fmla="*/ 0 w 26"/>
                <a:gd name="T7" fmla="*/ 18 h 28"/>
                <a:gd name="T8" fmla="*/ 0 w 26"/>
                <a:gd name="T9" fmla="*/ 18 h 28"/>
                <a:gd name="T10" fmla="*/ 0 w 26"/>
                <a:gd name="T11" fmla="*/ 18 h 28"/>
                <a:gd name="T12" fmla="*/ 0 w 26"/>
                <a:gd name="T13" fmla="*/ 18 h 28"/>
                <a:gd name="T14" fmla="*/ 4 w 26"/>
                <a:gd name="T15" fmla="*/ 14 h 28"/>
                <a:gd name="T16" fmla="*/ 4 w 26"/>
                <a:gd name="T17" fmla="*/ 10 h 28"/>
                <a:gd name="T18" fmla="*/ 4 w 26"/>
                <a:gd name="T19" fmla="*/ 10 h 28"/>
                <a:gd name="T20" fmla="*/ 6 w 26"/>
                <a:gd name="T21" fmla="*/ 6 h 28"/>
                <a:gd name="T22" fmla="*/ 6 w 26"/>
                <a:gd name="T23" fmla="*/ 2 h 28"/>
                <a:gd name="T24" fmla="*/ 6 w 26"/>
                <a:gd name="T25" fmla="*/ 2 h 28"/>
                <a:gd name="T26" fmla="*/ 6 w 26"/>
                <a:gd name="T27" fmla="*/ 2 h 28"/>
                <a:gd name="T28" fmla="*/ 10 w 26"/>
                <a:gd name="T29" fmla="*/ 0 h 28"/>
                <a:gd name="T30" fmla="*/ 14 w 26"/>
                <a:gd name="T31" fmla="*/ 0 h 28"/>
                <a:gd name="T32" fmla="*/ 18 w 26"/>
                <a:gd name="T33" fmla="*/ 2 h 28"/>
                <a:gd name="T34" fmla="*/ 18 w 26"/>
                <a:gd name="T35" fmla="*/ 6 h 28"/>
                <a:gd name="T36" fmla="*/ 18 w 26"/>
                <a:gd name="T37" fmla="*/ 6 h 28"/>
                <a:gd name="T38" fmla="*/ 18 w 26"/>
                <a:gd name="T39" fmla="*/ 6 h 28"/>
                <a:gd name="T40" fmla="*/ 22 w 26"/>
                <a:gd name="T41" fmla="*/ 10 h 28"/>
                <a:gd name="T42" fmla="*/ 22 w 26"/>
                <a:gd name="T43" fmla="*/ 10 h 28"/>
                <a:gd name="T44" fmla="*/ 18 w 26"/>
                <a:gd name="T45" fmla="*/ 10 h 28"/>
                <a:gd name="T46" fmla="*/ 18 w 26"/>
                <a:gd name="T47" fmla="*/ 10 h 28"/>
                <a:gd name="T48" fmla="*/ 14 w 26"/>
                <a:gd name="T49" fmla="*/ 14 h 28"/>
                <a:gd name="T50" fmla="*/ 14 w 26"/>
                <a:gd name="T51" fmla="*/ 14 h 28"/>
                <a:gd name="T52" fmla="*/ 18 w 26"/>
                <a:gd name="T53" fmla="*/ 14 h 28"/>
                <a:gd name="T54" fmla="*/ 18 w 26"/>
                <a:gd name="T55" fmla="*/ 14 h 28"/>
                <a:gd name="T56" fmla="*/ 18 w 26"/>
                <a:gd name="T57" fmla="*/ 14 h 28"/>
                <a:gd name="T58" fmla="*/ 18 w 26"/>
                <a:gd name="T59" fmla="*/ 14 h 28"/>
                <a:gd name="T60" fmla="*/ 18 w 26"/>
                <a:gd name="T61" fmla="*/ 18 h 28"/>
                <a:gd name="T62" fmla="*/ 22 w 26"/>
                <a:gd name="T63" fmla="*/ 18 h 28"/>
                <a:gd name="T64" fmla="*/ 22 w 26"/>
                <a:gd name="T65" fmla="*/ 22 h 28"/>
                <a:gd name="T66" fmla="*/ 22 w 26"/>
                <a:gd name="T67" fmla="*/ 26 h 28"/>
                <a:gd name="T68" fmla="*/ 26 w 26"/>
                <a:gd name="T69" fmla="*/ 26 h 28"/>
                <a:gd name="T70" fmla="*/ 26 w 26"/>
                <a:gd name="T71" fmla="*/ 26 h 28"/>
                <a:gd name="T72" fmla="*/ 22 w 26"/>
                <a:gd name="T73" fmla="*/ 28 h 28"/>
                <a:gd name="T74" fmla="*/ 14 w 26"/>
                <a:gd name="T75" fmla="*/ 28 h 28"/>
                <a:gd name="T76" fmla="*/ 14 w 26"/>
                <a:gd name="T77" fmla="*/ 26 h 28"/>
                <a:gd name="T78" fmla="*/ 14 w 26"/>
                <a:gd name="T79" fmla="*/ 26 h 28"/>
                <a:gd name="T80" fmla="*/ 10 w 26"/>
                <a:gd name="T81" fmla="*/ 22 h 28"/>
                <a:gd name="T82" fmla="*/ 10 w 26"/>
                <a:gd name="T83" fmla="*/ 22 h 28"/>
                <a:gd name="T84" fmla="*/ 10 w 26"/>
                <a:gd name="T85" fmla="*/ 22 h 28"/>
                <a:gd name="T86" fmla="*/ 22 w 26"/>
                <a:gd name="T87" fmla="*/ 2 h 28"/>
                <a:gd name="T88" fmla="*/ 22 w 26"/>
                <a:gd name="T89" fmla="*/ 6 h 28"/>
                <a:gd name="T90" fmla="*/ 22 w 26"/>
                <a:gd name="T91" fmla="*/ 6 h 28"/>
                <a:gd name="T92" fmla="*/ 26 w 26"/>
                <a:gd name="T93" fmla="*/ 6 h 28"/>
                <a:gd name="T94" fmla="*/ 26 w 26"/>
                <a:gd name="T95" fmla="*/ 6 h 28"/>
                <a:gd name="T96" fmla="*/ 22 w 26"/>
                <a:gd name="T97" fmla="*/ 6 h 28"/>
                <a:gd name="T98" fmla="*/ 22 w 26"/>
                <a:gd name="T99" fmla="*/ 10 h 28"/>
                <a:gd name="T100" fmla="*/ 22 w 26"/>
                <a:gd name="T101" fmla="*/ 10 h 28"/>
                <a:gd name="T102" fmla="*/ 22 w 26"/>
                <a:gd name="T103" fmla="*/ 10 h 28"/>
                <a:gd name="T104" fmla="*/ 22 w 26"/>
                <a:gd name="T105" fmla="*/ 10 h 28"/>
                <a:gd name="T106" fmla="*/ 22 w 26"/>
                <a:gd name="T107" fmla="*/ 10 h 28"/>
                <a:gd name="T108" fmla="*/ 22 w 26"/>
                <a:gd name="T109" fmla="*/ 10 h 28"/>
                <a:gd name="T110" fmla="*/ 22 w 26"/>
                <a:gd name="T111" fmla="*/ 2 h 28"/>
                <a:gd name="T112" fmla="*/ 22 w 26"/>
                <a:gd name="T113" fmla="*/ 2 h 28"/>
                <a:gd name="T114" fmla="*/ 22 w 26"/>
                <a:gd name="T115" fmla="*/ 2 h 28"/>
                <a:gd name="T116" fmla="*/ 22 w 26"/>
                <a:gd name="T117"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28">
                  <a:moveTo>
                    <a:pt x="10" y="22"/>
                  </a:moveTo>
                  <a:lnTo>
                    <a:pt x="10" y="22"/>
                  </a:lnTo>
                  <a:lnTo>
                    <a:pt x="4" y="18"/>
                  </a:lnTo>
                  <a:lnTo>
                    <a:pt x="4" y="18"/>
                  </a:lnTo>
                  <a:lnTo>
                    <a:pt x="0" y="18"/>
                  </a:lnTo>
                  <a:lnTo>
                    <a:pt x="0" y="18"/>
                  </a:lnTo>
                  <a:lnTo>
                    <a:pt x="0" y="18"/>
                  </a:lnTo>
                  <a:lnTo>
                    <a:pt x="0" y="18"/>
                  </a:lnTo>
                  <a:lnTo>
                    <a:pt x="0" y="18"/>
                  </a:lnTo>
                  <a:lnTo>
                    <a:pt x="0" y="18"/>
                  </a:lnTo>
                  <a:lnTo>
                    <a:pt x="0" y="18"/>
                  </a:lnTo>
                  <a:lnTo>
                    <a:pt x="0" y="18"/>
                  </a:lnTo>
                  <a:lnTo>
                    <a:pt x="0" y="18"/>
                  </a:lnTo>
                  <a:lnTo>
                    <a:pt x="0" y="18"/>
                  </a:lnTo>
                  <a:lnTo>
                    <a:pt x="0" y="14"/>
                  </a:lnTo>
                  <a:lnTo>
                    <a:pt x="4" y="14"/>
                  </a:lnTo>
                  <a:lnTo>
                    <a:pt x="4" y="14"/>
                  </a:lnTo>
                  <a:lnTo>
                    <a:pt x="4" y="10"/>
                  </a:lnTo>
                  <a:lnTo>
                    <a:pt x="4" y="10"/>
                  </a:lnTo>
                  <a:lnTo>
                    <a:pt x="4" y="10"/>
                  </a:lnTo>
                  <a:lnTo>
                    <a:pt x="4" y="10"/>
                  </a:lnTo>
                  <a:lnTo>
                    <a:pt x="6" y="6"/>
                  </a:lnTo>
                  <a:lnTo>
                    <a:pt x="6" y="2"/>
                  </a:lnTo>
                  <a:lnTo>
                    <a:pt x="6" y="2"/>
                  </a:lnTo>
                  <a:lnTo>
                    <a:pt x="6" y="2"/>
                  </a:lnTo>
                  <a:lnTo>
                    <a:pt x="6" y="2"/>
                  </a:lnTo>
                  <a:lnTo>
                    <a:pt x="6" y="2"/>
                  </a:lnTo>
                  <a:lnTo>
                    <a:pt x="6" y="2"/>
                  </a:lnTo>
                  <a:lnTo>
                    <a:pt x="10" y="0"/>
                  </a:lnTo>
                  <a:lnTo>
                    <a:pt x="10" y="0"/>
                  </a:lnTo>
                  <a:lnTo>
                    <a:pt x="10" y="0"/>
                  </a:lnTo>
                  <a:lnTo>
                    <a:pt x="14" y="0"/>
                  </a:lnTo>
                  <a:lnTo>
                    <a:pt x="18" y="2"/>
                  </a:lnTo>
                  <a:lnTo>
                    <a:pt x="18" y="2"/>
                  </a:lnTo>
                  <a:lnTo>
                    <a:pt x="18" y="2"/>
                  </a:lnTo>
                  <a:lnTo>
                    <a:pt x="18" y="6"/>
                  </a:lnTo>
                  <a:lnTo>
                    <a:pt x="18" y="6"/>
                  </a:lnTo>
                  <a:lnTo>
                    <a:pt x="18" y="6"/>
                  </a:lnTo>
                  <a:lnTo>
                    <a:pt x="18" y="6"/>
                  </a:lnTo>
                  <a:lnTo>
                    <a:pt x="18" y="6"/>
                  </a:lnTo>
                  <a:lnTo>
                    <a:pt x="18" y="6"/>
                  </a:lnTo>
                  <a:lnTo>
                    <a:pt x="22" y="10"/>
                  </a:lnTo>
                  <a:lnTo>
                    <a:pt x="22" y="10"/>
                  </a:lnTo>
                  <a:lnTo>
                    <a:pt x="22" y="10"/>
                  </a:lnTo>
                  <a:lnTo>
                    <a:pt x="22" y="10"/>
                  </a:lnTo>
                  <a:lnTo>
                    <a:pt x="18" y="10"/>
                  </a:lnTo>
                  <a:lnTo>
                    <a:pt x="18" y="10"/>
                  </a:lnTo>
                  <a:lnTo>
                    <a:pt x="18" y="10"/>
                  </a:lnTo>
                  <a:lnTo>
                    <a:pt x="18" y="10"/>
                  </a:lnTo>
                  <a:lnTo>
                    <a:pt x="14" y="14"/>
                  </a:lnTo>
                  <a:lnTo>
                    <a:pt x="14" y="14"/>
                  </a:lnTo>
                  <a:lnTo>
                    <a:pt x="14" y="14"/>
                  </a:lnTo>
                  <a:lnTo>
                    <a:pt x="18" y="14"/>
                  </a:lnTo>
                  <a:lnTo>
                    <a:pt x="18" y="14"/>
                  </a:lnTo>
                  <a:lnTo>
                    <a:pt x="18" y="14"/>
                  </a:lnTo>
                  <a:lnTo>
                    <a:pt x="18" y="14"/>
                  </a:lnTo>
                  <a:lnTo>
                    <a:pt x="18" y="14"/>
                  </a:lnTo>
                  <a:lnTo>
                    <a:pt x="18" y="14"/>
                  </a:lnTo>
                  <a:lnTo>
                    <a:pt x="18" y="14"/>
                  </a:lnTo>
                  <a:lnTo>
                    <a:pt x="18" y="14"/>
                  </a:lnTo>
                  <a:lnTo>
                    <a:pt x="18" y="14"/>
                  </a:lnTo>
                  <a:lnTo>
                    <a:pt x="18" y="18"/>
                  </a:lnTo>
                  <a:lnTo>
                    <a:pt x="22" y="18"/>
                  </a:lnTo>
                  <a:lnTo>
                    <a:pt x="22" y="18"/>
                  </a:lnTo>
                  <a:lnTo>
                    <a:pt x="22" y="22"/>
                  </a:lnTo>
                  <a:lnTo>
                    <a:pt x="22" y="22"/>
                  </a:lnTo>
                  <a:lnTo>
                    <a:pt x="22" y="22"/>
                  </a:lnTo>
                  <a:lnTo>
                    <a:pt x="22" y="26"/>
                  </a:lnTo>
                  <a:lnTo>
                    <a:pt x="26" y="26"/>
                  </a:lnTo>
                  <a:lnTo>
                    <a:pt x="26" y="26"/>
                  </a:lnTo>
                  <a:lnTo>
                    <a:pt x="26" y="26"/>
                  </a:lnTo>
                  <a:lnTo>
                    <a:pt x="26" y="26"/>
                  </a:lnTo>
                  <a:lnTo>
                    <a:pt x="26" y="28"/>
                  </a:lnTo>
                  <a:lnTo>
                    <a:pt x="22" y="28"/>
                  </a:lnTo>
                  <a:lnTo>
                    <a:pt x="14" y="28"/>
                  </a:lnTo>
                  <a:lnTo>
                    <a:pt x="14" y="28"/>
                  </a:lnTo>
                  <a:lnTo>
                    <a:pt x="14" y="28"/>
                  </a:lnTo>
                  <a:lnTo>
                    <a:pt x="14" y="26"/>
                  </a:lnTo>
                  <a:lnTo>
                    <a:pt x="14" y="26"/>
                  </a:lnTo>
                  <a:lnTo>
                    <a:pt x="14" y="26"/>
                  </a:lnTo>
                  <a:lnTo>
                    <a:pt x="14" y="26"/>
                  </a:lnTo>
                  <a:lnTo>
                    <a:pt x="10" y="22"/>
                  </a:lnTo>
                  <a:lnTo>
                    <a:pt x="10" y="22"/>
                  </a:lnTo>
                  <a:lnTo>
                    <a:pt x="10" y="22"/>
                  </a:lnTo>
                  <a:lnTo>
                    <a:pt x="10" y="22"/>
                  </a:lnTo>
                  <a:lnTo>
                    <a:pt x="10" y="22"/>
                  </a:lnTo>
                  <a:close/>
                  <a:moveTo>
                    <a:pt x="22" y="2"/>
                  </a:moveTo>
                  <a:lnTo>
                    <a:pt x="22" y="2"/>
                  </a:lnTo>
                  <a:lnTo>
                    <a:pt x="22" y="2"/>
                  </a:lnTo>
                  <a:lnTo>
                    <a:pt x="22" y="6"/>
                  </a:lnTo>
                  <a:lnTo>
                    <a:pt x="22" y="6"/>
                  </a:lnTo>
                  <a:lnTo>
                    <a:pt x="22" y="6"/>
                  </a:lnTo>
                  <a:lnTo>
                    <a:pt x="22" y="6"/>
                  </a:lnTo>
                  <a:lnTo>
                    <a:pt x="26" y="6"/>
                  </a:lnTo>
                  <a:lnTo>
                    <a:pt x="26" y="6"/>
                  </a:lnTo>
                  <a:lnTo>
                    <a:pt x="26" y="6"/>
                  </a:lnTo>
                  <a:lnTo>
                    <a:pt x="22" y="6"/>
                  </a:lnTo>
                  <a:lnTo>
                    <a:pt x="22" y="6"/>
                  </a:lnTo>
                  <a:lnTo>
                    <a:pt x="22" y="6"/>
                  </a:lnTo>
                  <a:lnTo>
                    <a:pt x="22" y="10"/>
                  </a:lnTo>
                  <a:lnTo>
                    <a:pt x="22" y="10"/>
                  </a:lnTo>
                  <a:lnTo>
                    <a:pt x="22" y="10"/>
                  </a:lnTo>
                  <a:lnTo>
                    <a:pt x="22" y="10"/>
                  </a:lnTo>
                  <a:lnTo>
                    <a:pt x="22" y="10"/>
                  </a:lnTo>
                  <a:lnTo>
                    <a:pt x="22" y="10"/>
                  </a:lnTo>
                  <a:lnTo>
                    <a:pt x="22" y="10"/>
                  </a:lnTo>
                  <a:lnTo>
                    <a:pt x="22" y="10"/>
                  </a:lnTo>
                  <a:lnTo>
                    <a:pt x="22" y="10"/>
                  </a:lnTo>
                  <a:lnTo>
                    <a:pt x="22" y="10"/>
                  </a:lnTo>
                  <a:lnTo>
                    <a:pt x="22" y="10"/>
                  </a:lnTo>
                  <a:lnTo>
                    <a:pt x="18" y="6"/>
                  </a:lnTo>
                  <a:lnTo>
                    <a:pt x="22" y="2"/>
                  </a:lnTo>
                  <a:lnTo>
                    <a:pt x="22" y="2"/>
                  </a:lnTo>
                  <a:lnTo>
                    <a:pt x="22" y="2"/>
                  </a:lnTo>
                  <a:lnTo>
                    <a:pt x="22" y="2"/>
                  </a:lnTo>
                  <a:lnTo>
                    <a:pt x="22" y="2"/>
                  </a:lnTo>
                  <a:lnTo>
                    <a:pt x="22" y="2"/>
                  </a:lnTo>
                  <a:lnTo>
                    <a:pt x="22" y="2"/>
                  </a:lnTo>
                  <a:lnTo>
                    <a:pt x="22" y="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43" name="Freeform 36"/>
            <p:cNvSpPr>
              <a:spLocks/>
            </p:cNvSpPr>
            <p:nvPr/>
          </p:nvSpPr>
          <p:spPr bwMode="auto">
            <a:xfrm>
              <a:off x="7655706" y="3655716"/>
              <a:ext cx="97965" cy="49688"/>
            </a:xfrm>
            <a:custGeom>
              <a:avLst/>
              <a:gdLst>
                <a:gd name="T0" fmla="*/ 74 w 156"/>
                <a:gd name="T1" fmla="*/ 54 h 76"/>
                <a:gd name="T2" fmla="*/ 68 w 156"/>
                <a:gd name="T3" fmla="*/ 58 h 76"/>
                <a:gd name="T4" fmla="*/ 68 w 156"/>
                <a:gd name="T5" fmla="*/ 66 h 76"/>
                <a:gd name="T6" fmla="*/ 60 w 156"/>
                <a:gd name="T7" fmla="*/ 68 h 76"/>
                <a:gd name="T8" fmla="*/ 52 w 156"/>
                <a:gd name="T9" fmla="*/ 72 h 76"/>
                <a:gd name="T10" fmla="*/ 42 w 156"/>
                <a:gd name="T11" fmla="*/ 72 h 76"/>
                <a:gd name="T12" fmla="*/ 38 w 156"/>
                <a:gd name="T13" fmla="*/ 72 h 76"/>
                <a:gd name="T14" fmla="*/ 30 w 156"/>
                <a:gd name="T15" fmla="*/ 68 h 76"/>
                <a:gd name="T16" fmla="*/ 30 w 156"/>
                <a:gd name="T17" fmla="*/ 68 h 76"/>
                <a:gd name="T18" fmla="*/ 22 w 156"/>
                <a:gd name="T19" fmla="*/ 68 h 76"/>
                <a:gd name="T20" fmla="*/ 14 w 156"/>
                <a:gd name="T21" fmla="*/ 66 h 76"/>
                <a:gd name="T22" fmla="*/ 8 w 156"/>
                <a:gd name="T23" fmla="*/ 68 h 76"/>
                <a:gd name="T24" fmla="*/ 0 w 156"/>
                <a:gd name="T25" fmla="*/ 66 h 76"/>
                <a:gd name="T26" fmla="*/ 0 w 156"/>
                <a:gd name="T27" fmla="*/ 62 h 76"/>
                <a:gd name="T28" fmla="*/ 8 w 156"/>
                <a:gd name="T29" fmla="*/ 58 h 76"/>
                <a:gd name="T30" fmla="*/ 18 w 156"/>
                <a:gd name="T31" fmla="*/ 58 h 76"/>
                <a:gd name="T32" fmla="*/ 18 w 156"/>
                <a:gd name="T33" fmla="*/ 62 h 76"/>
                <a:gd name="T34" fmla="*/ 22 w 156"/>
                <a:gd name="T35" fmla="*/ 54 h 76"/>
                <a:gd name="T36" fmla="*/ 34 w 156"/>
                <a:gd name="T37" fmla="*/ 58 h 76"/>
                <a:gd name="T38" fmla="*/ 44 w 156"/>
                <a:gd name="T39" fmla="*/ 50 h 76"/>
                <a:gd name="T40" fmla="*/ 48 w 156"/>
                <a:gd name="T41" fmla="*/ 50 h 76"/>
                <a:gd name="T42" fmla="*/ 52 w 156"/>
                <a:gd name="T43" fmla="*/ 42 h 76"/>
                <a:gd name="T44" fmla="*/ 48 w 156"/>
                <a:gd name="T45" fmla="*/ 42 h 76"/>
                <a:gd name="T46" fmla="*/ 42 w 156"/>
                <a:gd name="T47" fmla="*/ 36 h 76"/>
                <a:gd name="T48" fmla="*/ 34 w 156"/>
                <a:gd name="T49" fmla="*/ 28 h 76"/>
                <a:gd name="T50" fmla="*/ 30 w 156"/>
                <a:gd name="T51" fmla="*/ 36 h 76"/>
                <a:gd name="T52" fmla="*/ 30 w 156"/>
                <a:gd name="T53" fmla="*/ 40 h 76"/>
                <a:gd name="T54" fmla="*/ 22 w 156"/>
                <a:gd name="T55" fmla="*/ 32 h 76"/>
                <a:gd name="T56" fmla="*/ 12 w 156"/>
                <a:gd name="T57" fmla="*/ 32 h 76"/>
                <a:gd name="T58" fmla="*/ 14 w 156"/>
                <a:gd name="T59" fmla="*/ 24 h 76"/>
                <a:gd name="T60" fmla="*/ 22 w 156"/>
                <a:gd name="T61" fmla="*/ 20 h 76"/>
                <a:gd name="T62" fmla="*/ 22 w 156"/>
                <a:gd name="T63" fmla="*/ 16 h 76"/>
                <a:gd name="T64" fmla="*/ 26 w 156"/>
                <a:gd name="T65" fmla="*/ 6 h 76"/>
                <a:gd name="T66" fmla="*/ 38 w 156"/>
                <a:gd name="T67" fmla="*/ 6 h 76"/>
                <a:gd name="T68" fmla="*/ 48 w 156"/>
                <a:gd name="T69" fmla="*/ 6 h 76"/>
                <a:gd name="T70" fmla="*/ 56 w 156"/>
                <a:gd name="T71" fmla="*/ 10 h 76"/>
                <a:gd name="T72" fmla="*/ 60 w 156"/>
                <a:gd name="T73" fmla="*/ 10 h 76"/>
                <a:gd name="T74" fmla="*/ 60 w 156"/>
                <a:gd name="T75" fmla="*/ 0 h 76"/>
                <a:gd name="T76" fmla="*/ 72 w 156"/>
                <a:gd name="T77" fmla="*/ 0 h 76"/>
                <a:gd name="T78" fmla="*/ 82 w 156"/>
                <a:gd name="T79" fmla="*/ 4 h 76"/>
                <a:gd name="T80" fmla="*/ 88 w 156"/>
                <a:gd name="T81" fmla="*/ 6 h 76"/>
                <a:gd name="T82" fmla="*/ 100 w 156"/>
                <a:gd name="T83" fmla="*/ 4 h 76"/>
                <a:gd name="T84" fmla="*/ 112 w 156"/>
                <a:gd name="T85" fmla="*/ 4 h 76"/>
                <a:gd name="T86" fmla="*/ 122 w 156"/>
                <a:gd name="T87" fmla="*/ 4 h 76"/>
                <a:gd name="T88" fmla="*/ 134 w 156"/>
                <a:gd name="T89" fmla="*/ 6 h 76"/>
                <a:gd name="T90" fmla="*/ 142 w 156"/>
                <a:gd name="T91" fmla="*/ 10 h 76"/>
                <a:gd name="T92" fmla="*/ 148 w 156"/>
                <a:gd name="T93" fmla="*/ 14 h 76"/>
                <a:gd name="T94" fmla="*/ 156 w 156"/>
                <a:gd name="T95" fmla="*/ 16 h 76"/>
                <a:gd name="T96" fmla="*/ 148 w 156"/>
                <a:gd name="T97" fmla="*/ 20 h 76"/>
                <a:gd name="T98" fmla="*/ 142 w 156"/>
                <a:gd name="T99" fmla="*/ 24 h 76"/>
                <a:gd name="T100" fmla="*/ 134 w 156"/>
                <a:gd name="T101" fmla="*/ 28 h 76"/>
                <a:gd name="T102" fmla="*/ 126 w 156"/>
                <a:gd name="T103" fmla="*/ 36 h 76"/>
                <a:gd name="T104" fmla="*/ 118 w 156"/>
                <a:gd name="T105" fmla="*/ 40 h 76"/>
                <a:gd name="T106" fmla="*/ 108 w 156"/>
                <a:gd name="T107" fmla="*/ 40 h 76"/>
                <a:gd name="T108" fmla="*/ 104 w 156"/>
                <a:gd name="T109" fmla="*/ 50 h 76"/>
                <a:gd name="T110" fmla="*/ 100 w 156"/>
                <a:gd name="T111" fmla="*/ 50 h 76"/>
                <a:gd name="T112" fmla="*/ 88 w 156"/>
                <a:gd name="T113" fmla="*/ 54 h 76"/>
                <a:gd name="T114" fmla="*/ 86 w 156"/>
                <a:gd name="T115" fmla="*/ 46 h 76"/>
                <a:gd name="T116" fmla="*/ 78 w 156"/>
                <a:gd name="T117" fmla="*/ 5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6">
                  <a:moveTo>
                    <a:pt x="78" y="50"/>
                  </a:moveTo>
                  <a:lnTo>
                    <a:pt x="78" y="54"/>
                  </a:lnTo>
                  <a:lnTo>
                    <a:pt x="74" y="54"/>
                  </a:lnTo>
                  <a:lnTo>
                    <a:pt x="74" y="58"/>
                  </a:lnTo>
                  <a:lnTo>
                    <a:pt x="72" y="58"/>
                  </a:lnTo>
                  <a:lnTo>
                    <a:pt x="68" y="58"/>
                  </a:lnTo>
                  <a:lnTo>
                    <a:pt x="64" y="62"/>
                  </a:lnTo>
                  <a:lnTo>
                    <a:pt x="64" y="66"/>
                  </a:lnTo>
                  <a:lnTo>
                    <a:pt x="68" y="66"/>
                  </a:lnTo>
                  <a:lnTo>
                    <a:pt x="68" y="68"/>
                  </a:lnTo>
                  <a:lnTo>
                    <a:pt x="64" y="68"/>
                  </a:lnTo>
                  <a:lnTo>
                    <a:pt x="60" y="68"/>
                  </a:lnTo>
                  <a:lnTo>
                    <a:pt x="56" y="68"/>
                  </a:lnTo>
                  <a:lnTo>
                    <a:pt x="56" y="72"/>
                  </a:lnTo>
                  <a:lnTo>
                    <a:pt x="52" y="72"/>
                  </a:lnTo>
                  <a:lnTo>
                    <a:pt x="48" y="72"/>
                  </a:lnTo>
                  <a:lnTo>
                    <a:pt x="44" y="72"/>
                  </a:lnTo>
                  <a:lnTo>
                    <a:pt x="42" y="72"/>
                  </a:lnTo>
                  <a:lnTo>
                    <a:pt x="42" y="76"/>
                  </a:lnTo>
                  <a:lnTo>
                    <a:pt x="42" y="72"/>
                  </a:lnTo>
                  <a:lnTo>
                    <a:pt x="38" y="72"/>
                  </a:lnTo>
                  <a:lnTo>
                    <a:pt x="34" y="72"/>
                  </a:lnTo>
                  <a:lnTo>
                    <a:pt x="34" y="68"/>
                  </a:lnTo>
                  <a:lnTo>
                    <a:pt x="30" y="68"/>
                  </a:lnTo>
                  <a:lnTo>
                    <a:pt x="34" y="68"/>
                  </a:lnTo>
                  <a:lnTo>
                    <a:pt x="30" y="66"/>
                  </a:lnTo>
                  <a:lnTo>
                    <a:pt x="30" y="68"/>
                  </a:lnTo>
                  <a:lnTo>
                    <a:pt x="26" y="68"/>
                  </a:lnTo>
                  <a:lnTo>
                    <a:pt x="22" y="72"/>
                  </a:lnTo>
                  <a:lnTo>
                    <a:pt x="22" y="68"/>
                  </a:lnTo>
                  <a:lnTo>
                    <a:pt x="18" y="68"/>
                  </a:lnTo>
                  <a:lnTo>
                    <a:pt x="18" y="66"/>
                  </a:lnTo>
                  <a:lnTo>
                    <a:pt x="14" y="66"/>
                  </a:lnTo>
                  <a:lnTo>
                    <a:pt x="14" y="68"/>
                  </a:lnTo>
                  <a:lnTo>
                    <a:pt x="12" y="68"/>
                  </a:lnTo>
                  <a:lnTo>
                    <a:pt x="8" y="68"/>
                  </a:lnTo>
                  <a:lnTo>
                    <a:pt x="4" y="68"/>
                  </a:lnTo>
                  <a:lnTo>
                    <a:pt x="0" y="68"/>
                  </a:lnTo>
                  <a:lnTo>
                    <a:pt x="0" y="66"/>
                  </a:lnTo>
                  <a:lnTo>
                    <a:pt x="0" y="62"/>
                  </a:lnTo>
                  <a:lnTo>
                    <a:pt x="0" y="58"/>
                  </a:lnTo>
                  <a:lnTo>
                    <a:pt x="0" y="62"/>
                  </a:lnTo>
                  <a:lnTo>
                    <a:pt x="4" y="62"/>
                  </a:lnTo>
                  <a:lnTo>
                    <a:pt x="4" y="58"/>
                  </a:lnTo>
                  <a:lnTo>
                    <a:pt x="8" y="58"/>
                  </a:lnTo>
                  <a:lnTo>
                    <a:pt x="12" y="54"/>
                  </a:lnTo>
                  <a:lnTo>
                    <a:pt x="14" y="58"/>
                  </a:lnTo>
                  <a:lnTo>
                    <a:pt x="18" y="58"/>
                  </a:lnTo>
                  <a:lnTo>
                    <a:pt x="18" y="62"/>
                  </a:lnTo>
                  <a:lnTo>
                    <a:pt x="14" y="62"/>
                  </a:lnTo>
                  <a:lnTo>
                    <a:pt x="18" y="62"/>
                  </a:lnTo>
                  <a:lnTo>
                    <a:pt x="18" y="58"/>
                  </a:lnTo>
                  <a:lnTo>
                    <a:pt x="22" y="58"/>
                  </a:lnTo>
                  <a:lnTo>
                    <a:pt x="22" y="54"/>
                  </a:lnTo>
                  <a:lnTo>
                    <a:pt x="26" y="54"/>
                  </a:lnTo>
                  <a:lnTo>
                    <a:pt x="30" y="54"/>
                  </a:lnTo>
                  <a:lnTo>
                    <a:pt x="34" y="58"/>
                  </a:lnTo>
                  <a:lnTo>
                    <a:pt x="38" y="54"/>
                  </a:lnTo>
                  <a:lnTo>
                    <a:pt x="42" y="50"/>
                  </a:lnTo>
                  <a:lnTo>
                    <a:pt x="44" y="50"/>
                  </a:lnTo>
                  <a:lnTo>
                    <a:pt x="44" y="46"/>
                  </a:lnTo>
                  <a:lnTo>
                    <a:pt x="44" y="50"/>
                  </a:lnTo>
                  <a:lnTo>
                    <a:pt x="48" y="50"/>
                  </a:lnTo>
                  <a:lnTo>
                    <a:pt x="48" y="46"/>
                  </a:lnTo>
                  <a:lnTo>
                    <a:pt x="52" y="46"/>
                  </a:lnTo>
                  <a:lnTo>
                    <a:pt x="52" y="42"/>
                  </a:lnTo>
                  <a:lnTo>
                    <a:pt x="56" y="42"/>
                  </a:lnTo>
                  <a:lnTo>
                    <a:pt x="52" y="42"/>
                  </a:lnTo>
                  <a:lnTo>
                    <a:pt x="48" y="42"/>
                  </a:lnTo>
                  <a:lnTo>
                    <a:pt x="44" y="40"/>
                  </a:lnTo>
                  <a:lnTo>
                    <a:pt x="42" y="40"/>
                  </a:lnTo>
                  <a:lnTo>
                    <a:pt x="42" y="36"/>
                  </a:lnTo>
                  <a:lnTo>
                    <a:pt x="38" y="36"/>
                  </a:lnTo>
                  <a:lnTo>
                    <a:pt x="38" y="32"/>
                  </a:lnTo>
                  <a:lnTo>
                    <a:pt x="34" y="28"/>
                  </a:lnTo>
                  <a:lnTo>
                    <a:pt x="34" y="32"/>
                  </a:lnTo>
                  <a:lnTo>
                    <a:pt x="34" y="36"/>
                  </a:lnTo>
                  <a:lnTo>
                    <a:pt x="30" y="36"/>
                  </a:lnTo>
                  <a:lnTo>
                    <a:pt x="30" y="32"/>
                  </a:lnTo>
                  <a:lnTo>
                    <a:pt x="30" y="36"/>
                  </a:lnTo>
                  <a:lnTo>
                    <a:pt x="30" y="40"/>
                  </a:lnTo>
                  <a:lnTo>
                    <a:pt x="26" y="36"/>
                  </a:lnTo>
                  <a:lnTo>
                    <a:pt x="22" y="36"/>
                  </a:lnTo>
                  <a:lnTo>
                    <a:pt x="22" y="32"/>
                  </a:lnTo>
                  <a:lnTo>
                    <a:pt x="18" y="32"/>
                  </a:lnTo>
                  <a:lnTo>
                    <a:pt x="14" y="32"/>
                  </a:lnTo>
                  <a:lnTo>
                    <a:pt x="12" y="32"/>
                  </a:lnTo>
                  <a:lnTo>
                    <a:pt x="12" y="28"/>
                  </a:lnTo>
                  <a:lnTo>
                    <a:pt x="14" y="28"/>
                  </a:lnTo>
                  <a:lnTo>
                    <a:pt x="14" y="24"/>
                  </a:lnTo>
                  <a:lnTo>
                    <a:pt x="18" y="24"/>
                  </a:lnTo>
                  <a:lnTo>
                    <a:pt x="18" y="20"/>
                  </a:lnTo>
                  <a:lnTo>
                    <a:pt x="22" y="20"/>
                  </a:lnTo>
                  <a:lnTo>
                    <a:pt x="26" y="16"/>
                  </a:lnTo>
                  <a:lnTo>
                    <a:pt x="26" y="14"/>
                  </a:lnTo>
                  <a:lnTo>
                    <a:pt x="22" y="16"/>
                  </a:lnTo>
                  <a:lnTo>
                    <a:pt x="22" y="14"/>
                  </a:lnTo>
                  <a:lnTo>
                    <a:pt x="26" y="10"/>
                  </a:lnTo>
                  <a:lnTo>
                    <a:pt x="26" y="6"/>
                  </a:lnTo>
                  <a:lnTo>
                    <a:pt x="30" y="6"/>
                  </a:lnTo>
                  <a:lnTo>
                    <a:pt x="34" y="6"/>
                  </a:lnTo>
                  <a:lnTo>
                    <a:pt x="38" y="6"/>
                  </a:lnTo>
                  <a:lnTo>
                    <a:pt x="42" y="6"/>
                  </a:lnTo>
                  <a:lnTo>
                    <a:pt x="44" y="6"/>
                  </a:lnTo>
                  <a:lnTo>
                    <a:pt x="48" y="6"/>
                  </a:lnTo>
                  <a:lnTo>
                    <a:pt x="48" y="10"/>
                  </a:lnTo>
                  <a:lnTo>
                    <a:pt x="52" y="10"/>
                  </a:lnTo>
                  <a:lnTo>
                    <a:pt x="56" y="10"/>
                  </a:lnTo>
                  <a:lnTo>
                    <a:pt x="56" y="14"/>
                  </a:lnTo>
                  <a:lnTo>
                    <a:pt x="60" y="14"/>
                  </a:lnTo>
                  <a:lnTo>
                    <a:pt x="60" y="10"/>
                  </a:lnTo>
                  <a:lnTo>
                    <a:pt x="60" y="6"/>
                  </a:lnTo>
                  <a:lnTo>
                    <a:pt x="60" y="4"/>
                  </a:lnTo>
                  <a:lnTo>
                    <a:pt x="60" y="0"/>
                  </a:lnTo>
                  <a:lnTo>
                    <a:pt x="64" y="0"/>
                  </a:lnTo>
                  <a:lnTo>
                    <a:pt x="68" y="0"/>
                  </a:lnTo>
                  <a:lnTo>
                    <a:pt x="72" y="0"/>
                  </a:lnTo>
                  <a:lnTo>
                    <a:pt x="74" y="0"/>
                  </a:lnTo>
                  <a:lnTo>
                    <a:pt x="78" y="4"/>
                  </a:lnTo>
                  <a:lnTo>
                    <a:pt x="82" y="4"/>
                  </a:lnTo>
                  <a:lnTo>
                    <a:pt x="86" y="4"/>
                  </a:lnTo>
                  <a:lnTo>
                    <a:pt x="86" y="6"/>
                  </a:lnTo>
                  <a:lnTo>
                    <a:pt x="88" y="6"/>
                  </a:lnTo>
                  <a:lnTo>
                    <a:pt x="92" y="4"/>
                  </a:lnTo>
                  <a:lnTo>
                    <a:pt x="96" y="4"/>
                  </a:lnTo>
                  <a:lnTo>
                    <a:pt x="100" y="4"/>
                  </a:lnTo>
                  <a:lnTo>
                    <a:pt x="104" y="4"/>
                  </a:lnTo>
                  <a:lnTo>
                    <a:pt x="108" y="4"/>
                  </a:lnTo>
                  <a:lnTo>
                    <a:pt x="112" y="4"/>
                  </a:lnTo>
                  <a:lnTo>
                    <a:pt x="116" y="4"/>
                  </a:lnTo>
                  <a:lnTo>
                    <a:pt x="118" y="4"/>
                  </a:lnTo>
                  <a:lnTo>
                    <a:pt x="122" y="4"/>
                  </a:lnTo>
                  <a:lnTo>
                    <a:pt x="126" y="4"/>
                  </a:lnTo>
                  <a:lnTo>
                    <a:pt x="130" y="4"/>
                  </a:lnTo>
                  <a:lnTo>
                    <a:pt x="134" y="6"/>
                  </a:lnTo>
                  <a:lnTo>
                    <a:pt x="138" y="6"/>
                  </a:lnTo>
                  <a:lnTo>
                    <a:pt x="142" y="6"/>
                  </a:lnTo>
                  <a:lnTo>
                    <a:pt x="142" y="10"/>
                  </a:lnTo>
                  <a:lnTo>
                    <a:pt x="142" y="14"/>
                  </a:lnTo>
                  <a:lnTo>
                    <a:pt x="146" y="14"/>
                  </a:lnTo>
                  <a:lnTo>
                    <a:pt x="148" y="14"/>
                  </a:lnTo>
                  <a:lnTo>
                    <a:pt x="152" y="14"/>
                  </a:lnTo>
                  <a:lnTo>
                    <a:pt x="152" y="16"/>
                  </a:lnTo>
                  <a:lnTo>
                    <a:pt x="156" y="16"/>
                  </a:lnTo>
                  <a:lnTo>
                    <a:pt x="156" y="20"/>
                  </a:lnTo>
                  <a:lnTo>
                    <a:pt x="152" y="20"/>
                  </a:lnTo>
                  <a:lnTo>
                    <a:pt x="148" y="20"/>
                  </a:lnTo>
                  <a:lnTo>
                    <a:pt x="148" y="24"/>
                  </a:lnTo>
                  <a:lnTo>
                    <a:pt x="146" y="24"/>
                  </a:lnTo>
                  <a:lnTo>
                    <a:pt x="142" y="24"/>
                  </a:lnTo>
                  <a:lnTo>
                    <a:pt x="138" y="24"/>
                  </a:lnTo>
                  <a:lnTo>
                    <a:pt x="138" y="28"/>
                  </a:lnTo>
                  <a:lnTo>
                    <a:pt x="134" y="28"/>
                  </a:lnTo>
                  <a:lnTo>
                    <a:pt x="130" y="32"/>
                  </a:lnTo>
                  <a:lnTo>
                    <a:pt x="126" y="32"/>
                  </a:lnTo>
                  <a:lnTo>
                    <a:pt x="126" y="36"/>
                  </a:lnTo>
                  <a:lnTo>
                    <a:pt x="126" y="40"/>
                  </a:lnTo>
                  <a:lnTo>
                    <a:pt x="122" y="40"/>
                  </a:lnTo>
                  <a:lnTo>
                    <a:pt x="118" y="40"/>
                  </a:lnTo>
                  <a:lnTo>
                    <a:pt x="116" y="40"/>
                  </a:lnTo>
                  <a:lnTo>
                    <a:pt x="112" y="40"/>
                  </a:lnTo>
                  <a:lnTo>
                    <a:pt x="108" y="40"/>
                  </a:lnTo>
                  <a:lnTo>
                    <a:pt x="104" y="40"/>
                  </a:lnTo>
                  <a:lnTo>
                    <a:pt x="104" y="46"/>
                  </a:lnTo>
                  <a:lnTo>
                    <a:pt x="104" y="50"/>
                  </a:lnTo>
                  <a:lnTo>
                    <a:pt x="100" y="50"/>
                  </a:lnTo>
                  <a:lnTo>
                    <a:pt x="100" y="54"/>
                  </a:lnTo>
                  <a:lnTo>
                    <a:pt x="100" y="50"/>
                  </a:lnTo>
                  <a:lnTo>
                    <a:pt x="96" y="50"/>
                  </a:lnTo>
                  <a:lnTo>
                    <a:pt x="92" y="54"/>
                  </a:lnTo>
                  <a:lnTo>
                    <a:pt x="88" y="54"/>
                  </a:lnTo>
                  <a:lnTo>
                    <a:pt x="88" y="50"/>
                  </a:lnTo>
                  <a:lnTo>
                    <a:pt x="88" y="46"/>
                  </a:lnTo>
                  <a:lnTo>
                    <a:pt x="86" y="46"/>
                  </a:lnTo>
                  <a:lnTo>
                    <a:pt x="86" y="50"/>
                  </a:lnTo>
                  <a:lnTo>
                    <a:pt x="82" y="50"/>
                  </a:lnTo>
                  <a:lnTo>
                    <a:pt x="78" y="50"/>
                  </a:lnTo>
                  <a:lnTo>
                    <a:pt x="78" y="50"/>
                  </a:lnTo>
                  <a:lnTo>
                    <a:pt x="78" y="5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44" name="Freeform 37"/>
            <p:cNvSpPr>
              <a:spLocks/>
            </p:cNvSpPr>
            <p:nvPr/>
          </p:nvSpPr>
          <p:spPr bwMode="auto">
            <a:xfrm>
              <a:off x="7928250" y="3906772"/>
              <a:ext cx="69078" cy="96761"/>
            </a:xfrm>
            <a:custGeom>
              <a:avLst/>
              <a:gdLst>
                <a:gd name="T0" fmla="*/ 54 w 110"/>
                <a:gd name="T1" fmla="*/ 72 h 148"/>
                <a:gd name="T2" fmla="*/ 46 w 110"/>
                <a:gd name="T3" fmla="*/ 72 h 148"/>
                <a:gd name="T4" fmla="*/ 34 w 110"/>
                <a:gd name="T5" fmla="*/ 80 h 148"/>
                <a:gd name="T6" fmla="*/ 26 w 110"/>
                <a:gd name="T7" fmla="*/ 72 h 148"/>
                <a:gd name="T8" fmla="*/ 20 w 110"/>
                <a:gd name="T9" fmla="*/ 80 h 148"/>
                <a:gd name="T10" fmla="*/ 12 w 110"/>
                <a:gd name="T11" fmla="*/ 88 h 148"/>
                <a:gd name="T12" fmla="*/ 16 w 110"/>
                <a:gd name="T13" fmla="*/ 76 h 148"/>
                <a:gd name="T14" fmla="*/ 16 w 110"/>
                <a:gd name="T15" fmla="*/ 62 h 148"/>
                <a:gd name="T16" fmla="*/ 16 w 110"/>
                <a:gd name="T17" fmla="*/ 54 h 148"/>
                <a:gd name="T18" fmla="*/ 4 w 110"/>
                <a:gd name="T19" fmla="*/ 50 h 148"/>
                <a:gd name="T20" fmla="*/ 4 w 110"/>
                <a:gd name="T21" fmla="*/ 40 h 148"/>
                <a:gd name="T22" fmla="*/ 0 w 110"/>
                <a:gd name="T23" fmla="*/ 36 h 148"/>
                <a:gd name="T24" fmla="*/ 8 w 110"/>
                <a:gd name="T25" fmla="*/ 30 h 148"/>
                <a:gd name="T26" fmla="*/ 8 w 110"/>
                <a:gd name="T27" fmla="*/ 22 h 148"/>
                <a:gd name="T28" fmla="*/ 16 w 110"/>
                <a:gd name="T29" fmla="*/ 14 h 148"/>
                <a:gd name="T30" fmla="*/ 24 w 110"/>
                <a:gd name="T31" fmla="*/ 22 h 148"/>
                <a:gd name="T32" fmla="*/ 24 w 110"/>
                <a:gd name="T33" fmla="*/ 22 h 148"/>
                <a:gd name="T34" fmla="*/ 20 w 110"/>
                <a:gd name="T35" fmla="*/ 4 h 148"/>
                <a:gd name="T36" fmla="*/ 30 w 110"/>
                <a:gd name="T37" fmla="*/ 0 h 148"/>
                <a:gd name="T38" fmla="*/ 38 w 110"/>
                <a:gd name="T39" fmla="*/ 10 h 148"/>
                <a:gd name="T40" fmla="*/ 38 w 110"/>
                <a:gd name="T41" fmla="*/ 18 h 148"/>
                <a:gd name="T42" fmla="*/ 42 w 110"/>
                <a:gd name="T43" fmla="*/ 26 h 148"/>
                <a:gd name="T44" fmla="*/ 50 w 110"/>
                <a:gd name="T45" fmla="*/ 32 h 148"/>
                <a:gd name="T46" fmla="*/ 60 w 110"/>
                <a:gd name="T47" fmla="*/ 30 h 148"/>
                <a:gd name="T48" fmla="*/ 68 w 110"/>
                <a:gd name="T49" fmla="*/ 40 h 148"/>
                <a:gd name="T50" fmla="*/ 64 w 110"/>
                <a:gd name="T51" fmla="*/ 50 h 148"/>
                <a:gd name="T52" fmla="*/ 56 w 110"/>
                <a:gd name="T53" fmla="*/ 50 h 148"/>
                <a:gd name="T54" fmla="*/ 54 w 110"/>
                <a:gd name="T55" fmla="*/ 54 h 148"/>
                <a:gd name="T56" fmla="*/ 64 w 110"/>
                <a:gd name="T57" fmla="*/ 66 h 148"/>
                <a:gd name="T58" fmla="*/ 72 w 110"/>
                <a:gd name="T59" fmla="*/ 72 h 148"/>
                <a:gd name="T60" fmla="*/ 80 w 110"/>
                <a:gd name="T61" fmla="*/ 80 h 148"/>
                <a:gd name="T62" fmla="*/ 86 w 110"/>
                <a:gd name="T63" fmla="*/ 88 h 148"/>
                <a:gd name="T64" fmla="*/ 90 w 110"/>
                <a:gd name="T65" fmla="*/ 98 h 148"/>
                <a:gd name="T66" fmla="*/ 98 w 110"/>
                <a:gd name="T67" fmla="*/ 102 h 148"/>
                <a:gd name="T68" fmla="*/ 106 w 110"/>
                <a:gd name="T69" fmla="*/ 110 h 148"/>
                <a:gd name="T70" fmla="*/ 102 w 110"/>
                <a:gd name="T71" fmla="*/ 122 h 148"/>
                <a:gd name="T72" fmla="*/ 106 w 110"/>
                <a:gd name="T73" fmla="*/ 128 h 148"/>
                <a:gd name="T74" fmla="*/ 102 w 110"/>
                <a:gd name="T75" fmla="*/ 140 h 148"/>
                <a:gd name="T76" fmla="*/ 90 w 110"/>
                <a:gd name="T77" fmla="*/ 140 h 148"/>
                <a:gd name="T78" fmla="*/ 86 w 110"/>
                <a:gd name="T79" fmla="*/ 144 h 148"/>
                <a:gd name="T80" fmla="*/ 80 w 110"/>
                <a:gd name="T81" fmla="*/ 144 h 148"/>
                <a:gd name="T82" fmla="*/ 72 w 110"/>
                <a:gd name="T83" fmla="*/ 144 h 148"/>
                <a:gd name="T84" fmla="*/ 76 w 110"/>
                <a:gd name="T85" fmla="*/ 132 h 148"/>
                <a:gd name="T86" fmla="*/ 80 w 110"/>
                <a:gd name="T87" fmla="*/ 124 h 148"/>
                <a:gd name="T88" fmla="*/ 76 w 110"/>
                <a:gd name="T89" fmla="*/ 114 h 148"/>
                <a:gd name="T90" fmla="*/ 68 w 110"/>
                <a:gd name="T91" fmla="*/ 102 h 148"/>
                <a:gd name="T92" fmla="*/ 64 w 110"/>
                <a:gd name="T93" fmla="*/ 96 h 148"/>
                <a:gd name="T94" fmla="*/ 64 w 110"/>
                <a:gd name="T95" fmla="*/ 88 h 148"/>
                <a:gd name="T96" fmla="*/ 60 w 110"/>
                <a:gd name="T97" fmla="*/ 8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0" h="148">
                  <a:moveTo>
                    <a:pt x="60" y="80"/>
                  </a:moveTo>
                  <a:lnTo>
                    <a:pt x="56" y="76"/>
                  </a:lnTo>
                  <a:lnTo>
                    <a:pt x="56" y="72"/>
                  </a:lnTo>
                  <a:lnTo>
                    <a:pt x="54" y="72"/>
                  </a:lnTo>
                  <a:lnTo>
                    <a:pt x="50" y="72"/>
                  </a:lnTo>
                  <a:lnTo>
                    <a:pt x="50" y="70"/>
                  </a:lnTo>
                  <a:lnTo>
                    <a:pt x="46" y="70"/>
                  </a:lnTo>
                  <a:lnTo>
                    <a:pt x="46" y="72"/>
                  </a:lnTo>
                  <a:lnTo>
                    <a:pt x="42" y="76"/>
                  </a:lnTo>
                  <a:lnTo>
                    <a:pt x="38" y="76"/>
                  </a:lnTo>
                  <a:lnTo>
                    <a:pt x="38" y="80"/>
                  </a:lnTo>
                  <a:lnTo>
                    <a:pt x="34" y="80"/>
                  </a:lnTo>
                  <a:lnTo>
                    <a:pt x="34" y="76"/>
                  </a:lnTo>
                  <a:lnTo>
                    <a:pt x="30" y="76"/>
                  </a:lnTo>
                  <a:lnTo>
                    <a:pt x="30" y="72"/>
                  </a:lnTo>
                  <a:lnTo>
                    <a:pt x="26" y="72"/>
                  </a:lnTo>
                  <a:lnTo>
                    <a:pt x="26" y="76"/>
                  </a:lnTo>
                  <a:lnTo>
                    <a:pt x="24" y="76"/>
                  </a:lnTo>
                  <a:lnTo>
                    <a:pt x="24" y="80"/>
                  </a:lnTo>
                  <a:lnTo>
                    <a:pt x="20" y="80"/>
                  </a:lnTo>
                  <a:lnTo>
                    <a:pt x="20" y="84"/>
                  </a:lnTo>
                  <a:lnTo>
                    <a:pt x="16" y="84"/>
                  </a:lnTo>
                  <a:lnTo>
                    <a:pt x="16" y="88"/>
                  </a:lnTo>
                  <a:lnTo>
                    <a:pt x="12" y="88"/>
                  </a:lnTo>
                  <a:lnTo>
                    <a:pt x="12" y="84"/>
                  </a:lnTo>
                  <a:lnTo>
                    <a:pt x="12" y="80"/>
                  </a:lnTo>
                  <a:lnTo>
                    <a:pt x="16" y="80"/>
                  </a:lnTo>
                  <a:lnTo>
                    <a:pt x="16" y="76"/>
                  </a:lnTo>
                  <a:lnTo>
                    <a:pt x="16" y="72"/>
                  </a:lnTo>
                  <a:lnTo>
                    <a:pt x="16" y="70"/>
                  </a:lnTo>
                  <a:lnTo>
                    <a:pt x="16" y="66"/>
                  </a:lnTo>
                  <a:lnTo>
                    <a:pt x="16" y="62"/>
                  </a:lnTo>
                  <a:lnTo>
                    <a:pt x="20" y="62"/>
                  </a:lnTo>
                  <a:lnTo>
                    <a:pt x="20" y="58"/>
                  </a:lnTo>
                  <a:lnTo>
                    <a:pt x="16" y="58"/>
                  </a:lnTo>
                  <a:lnTo>
                    <a:pt x="16" y="54"/>
                  </a:lnTo>
                  <a:lnTo>
                    <a:pt x="16" y="50"/>
                  </a:lnTo>
                  <a:lnTo>
                    <a:pt x="12" y="50"/>
                  </a:lnTo>
                  <a:lnTo>
                    <a:pt x="8" y="50"/>
                  </a:lnTo>
                  <a:lnTo>
                    <a:pt x="4" y="50"/>
                  </a:lnTo>
                  <a:lnTo>
                    <a:pt x="4" y="46"/>
                  </a:lnTo>
                  <a:lnTo>
                    <a:pt x="8" y="44"/>
                  </a:lnTo>
                  <a:lnTo>
                    <a:pt x="8" y="40"/>
                  </a:lnTo>
                  <a:lnTo>
                    <a:pt x="4" y="40"/>
                  </a:lnTo>
                  <a:lnTo>
                    <a:pt x="4" y="36"/>
                  </a:lnTo>
                  <a:lnTo>
                    <a:pt x="0" y="36"/>
                  </a:lnTo>
                  <a:lnTo>
                    <a:pt x="0" y="40"/>
                  </a:lnTo>
                  <a:lnTo>
                    <a:pt x="0" y="36"/>
                  </a:lnTo>
                  <a:lnTo>
                    <a:pt x="0" y="32"/>
                  </a:lnTo>
                  <a:lnTo>
                    <a:pt x="0" y="30"/>
                  </a:lnTo>
                  <a:lnTo>
                    <a:pt x="4" y="30"/>
                  </a:lnTo>
                  <a:lnTo>
                    <a:pt x="8" y="30"/>
                  </a:lnTo>
                  <a:lnTo>
                    <a:pt x="4" y="30"/>
                  </a:lnTo>
                  <a:lnTo>
                    <a:pt x="4" y="26"/>
                  </a:lnTo>
                  <a:lnTo>
                    <a:pt x="8" y="26"/>
                  </a:lnTo>
                  <a:lnTo>
                    <a:pt x="8" y="22"/>
                  </a:lnTo>
                  <a:lnTo>
                    <a:pt x="12" y="22"/>
                  </a:lnTo>
                  <a:lnTo>
                    <a:pt x="12" y="18"/>
                  </a:lnTo>
                  <a:lnTo>
                    <a:pt x="16" y="18"/>
                  </a:lnTo>
                  <a:lnTo>
                    <a:pt x="16" y="14"/>
                  </a:lnTo>
                  <a:lnTo>
                    <a:pt x="16" y="18"/>
                  </a:lnTo>
                  <a:lnTo>
                    <a:pt x="16" y="22"/>
                  </a:lnTo>
                  <a:lnTo>
                    <a:pt x="20" y="22"/>
                  </a:lnTo>
                  <a:lnTo>
                    <a:pt x="24" y="22"/>
                  </a:lnTo>
                  <a:lnTo>
                    <a:pt x="24" y="26"/>
                  </a:lnTo>
                  <a:lnTo>
                    <a:pt x="24" y="22"/>
                  </a:lnTo>
                  <a:lnTo>
                    <a:pt x="26" y="22"/>
                  </a:lnTo>
                  <a:lnTo>
                    <a:pt x="24" y="22"/>
                  </a:lnTo>
                  <a:lnTo>
                    <a:pt x="24" y="18"/>
                  </a:lnTo>
                  <a:lnTo>
                    <a:pt x="24" y="14"/>
                  </a:lnTo>
                  <a:lnTo>
                    <a:pt x="24" y="10"/>
                  </a:lnTo>
                  <a:lnTo>
                    <a:pt x="20" y="4"/>
                  </a:lnTo>
                  <a:lnTo>
                    <a:pt x="24" y="4"/>
                  </a:lnTo>
                  <a:lnTo>
                    <a:pt x="24" y="0"/>
                  </a:lnTo>
                  <a:lnTo>
                    <a:pt x="26" y="0"/>
                  </a:lnTo>
                  <a:lnTo>
                    <a:pt x="30" y="0"/>
                  </a:lnTo>
                  <a:lnTo>
                    <a:pt x="30" y="4"/>
                  </a:lnTo>
                  <a:lnTo>
                    <a:pt x="34" y="6"/>
                  </a:lnTo>
                  <a:lnTo>
                    <a:pt x="34" y="10"/>
                  </a:lnTo>
                  <a:lnTo>
                    <a:pt x="38" y="10"/>
                  </a:lnTo>
                  <a:lnTo>
                    <a:pt x="38" y="14"/>
                  </a:lnTo>
                  <a:lnTo>
                    <a:pt x="42" y="14"/>
                  </a:lnTo>
                  <a:lnTo>
                    <a:pt x="42" y="18"/>
                  </a:lnTo>
                  <a:lnTo>
                    <a:pt x="38" y="18"/>
                  </a:lnTo>
                  <a:lnTo>
                    <a:pt x="42" y="18"/>
                  </a:lnTo>
                  <a:lnTo>
                    <a:pt x="38" y="22"/>
                  </a:lnTo>
                  <a:lnTo>
                    <a:pt x="42" y="22"/>
                  </a:lnTo>
                  <a:lnTo>
                    <a:pt x="42" y="26"/>
                  </a:lnTo>
                  <a:lnTo>
                    <a:pt x="42" y="30"/>
                  </a:lnTo>
                  <a:lnTo>
                    <a:pt x="46" y="30"/>
                  </a:lnTo>
                  <a:lnTo>
                    <a:pt x="50" y="30"/>
                  </a:lnTo>
                  <a:lnTo>
                    <a:pt x="50" y="32"/>
                  </a:lnTo>
                  <a:lnTo>
                    <a:pt x="54" y="32"/>
                  </a:lnTo>
                  <a:lnTo>
                    <a:pt x="54" y="30"/>
                  </a:lnTo>
                  <a:lnTo>
                    <a:pt x="56" y="26"/>
                  </a:lnTo>
                  <a:lnTo>
                    <a:pt x="60" y="30"/>
                  </a:lnTo>
                  <a:lnTo>
                    <a:pt x="64" y="32"/>
                  </a:lnTo>
                  <a:lnTo>
                    <a:pt x="60" y="36"/>
                  </a:lnTo>
                  <a:lnTo>
                    <a:pt x="64" y="36"/>
                  </a:lnTo>
                  <a:lnTo>
                    <a:pt x="68" y="40"/>
                  </a:lnTo>
                  <a:lnTo>
                    <a:pt x="68" y="44"/>
                  </a:lnTo>
                  <a:lnTo>
                    <a:pt x="68" y="46"/>
                  </a:lnTo>
                  <a:lnTo>
                    <a:pt x="64" y="46"/>
                  </a:lnTo>
                  <a:lnTo>
                    <a:pt x="64" y="50"/>
                  </a:lnTo>
                  <a:lnTo>
                    <a:pt x="60" y="50"/>
                  </a:lnTo>
                  <a:lnTo>
                    <a:pt x="60" y="46"/>
                  </a:lnTo>
                  <a:lnTo>
                    <a:pt x="56" y="46"/>
                  </a:lnTo>
                  <a:lnTo>
                    <a:pt x="56" y="50"/>
                  </a:lnTo>
                  <a:lnTo>
                    <a:pt x="56" y="46"/>
                  </a:lnTo>
                  <a:lnTo>
                    <a:pt x="56" y="50"/>
                  </a:lnTo>
                  <a:lnTo>
                    <a:pt x="56" y="54"/>
                  </a:lnTo>
                  <a:lnTo>
                    <a:pt x="54" y="54"/>
                  </a:lnTo>
                  <a:lnTo>
                    <a:pt x="56" y="58"/>
                  </a:lnTo>
                  <a:lnTo>
                    <a:pt x="60" y="58"/>
                  </a:lnTo>
                  <a:lnTo>
                    <a:pt x="64" y="62"/>
                  </a:lnTo>
                  <a:lnTo>
                    <a:pt x="64" y="66"/>
                  </a:lnTo>
                  <a:lnTo>
                    <a:pt x="68" y="66"/>
                  </a:lnTo>
                  <a:lnTo>
                    <a:pt x="72" y="66"/>
                  </a:lnTo>
                  <a:lnTo>
                    <a:pt x="72" y="70"/>
                  </a:lnTo>
                  <a:lnTo>
                    <a:pt x="72" y="72"/>
                  </a:lnTo>
                  <a:lnTo>
                    <a:pt x="76" y="72"/>
                  </a:lnTo>
                  <a:lnTo>
                    <a:pt x="76" y="76"/>
                  </a:lnTo>
                  <a:lnTo>
                    <a:pt x="80" y="76"/>
                  </a:lnTo>
                  <a:lnTo>
                    <a:pt x="80" y="80"/>
                  </a:lnTo>
                  <a:lnTo>
                    <a:pt x="80" y="84"/>
                  </a:lnTo>
                  <a:lnTo>
                    <a:pt x="84" y="84"/>
                  </a:lnTo>
                  <a:lnTo>
                    <a:pt x="84" y="88"/>
                  </a:lnTo>
                  <a:lnTo>
                    <a:pt x="86" y="88"/>
                  </a:lnTo>
                  <a:lnTo>
                    <a:pt x="86" y="92"/>
                  </a:lnTo>
                  <a:lnTo>
                    <a:pt x="90" y="92"/>
                  </a:lnTo>
                  <a:lnTo>
                    <a:pt x="90" y="96"/>
                  </a:lnTo>
                  <a:lnTo>
                    <a:pt x="90" y="98"/>
                  </a:lnTo>
                  <a:lnTo>
                    <a:pt x="90" y="102"/>
                  </a:lnTo>
                  <a:lnTo>
                    <a:pt x="94" y="106"/>
                  </a:lnTo>
                  <a:lnTo>
                    <a:pt x="94" y="102"/>
                  </a:lnTo>
                  <a:lnTo>
                    <a:pt x="98" y="102"/>
                  </a:lnTo>
                  <a:lnTo>
                    <a:pt x="98" y="106"/>
                  </a:lnTo>
                  <a:lnTo>
                    <a:pt x="102" y="106"/>
                  </a:lnTo>
                  <a:lnTo>
                    <a:pt x="102" y="110"/>
                  </a:lnTo>
                  <a:lnTo>
                    <a:pt x="106" y="110"/>
                  </a:lnTo>
                  <a:lnTo>
                    <a:pt x="106" y="114"/>
                  </a:lnTo>
                  <a:lnTo>
                    <a:pt x="102" y="114"/>
                  </a:lnTo>
                  <a:lnTo>
                    <a:pt x="102" y="118"/>
                  </a:lnTo>
                  <a:lnTo>
                    <a:pt x="102" y="122"/>
                  </a:lnTo>
                  <a:lnTo>
                    <a:pt x="106" y="122"/>
                  </a:lnTo>
                  <a:lnTo>
                    <a:pt x="106" y="124"/>
                  </a:lnTo>
                  <a:lnTo>
                    <a:pt x="110" y="124"/>
                  </a:lnTo>
                  <a:lnTo>
                    <a:pt x="106" y="128"/>
                  </a:lnTo>
                  <a:lnTo>
                    <a:pt x="106" y="132"/>
                  </a:lnTo>
                  <a:lnTo>
                    <a:pt x="106" y="136"/>
                  </a:lnTo>
                  <a:lnTo>
                    <a:pt x="102" y="136"/>
                  </a:lnTo>
                  <a:lnTo>
                    <a:pt x="102" y="140"/>
                  </a:lnTo>
                  <a:lnTo>
                    <a:pt x="94" y="144"/>
                  </a:lnTo>
                  <a:lnTo>
                    <a:pt x="94" y="140"/>
                  </a:lnTo>
                  <a:lnTo>
                    <a:pt x="90" y="136"/>
                  </a:lnTo>
                  <a:lnTo>
                    <a:pt x="90" y="140"/>
                  </a:lnTo>
                  <a:lnTo>
                    <a:pt x="86" y="140"/>
                  </a:lnTo>
                  <a:lnTo>
                    <a:pt x="84" y="140"/>
                  </a:lnTo>
                  <a:lnTo>
                    <a:pt x="84" y="144"/>
                  </a:lnTo>
                  <a:lnTo>
                    <a:pt x="86" y="144"/>
                  </a:lnTo>
                  <a:lnTo>
                    <a:pt x="86" y="148"/>
                  </a:lnTo>
                  <a:lnTo>
                    <a:pt x="84" y="148"/>
                  </a:lnTo>
                  <a:lnTo>
                    <a:pt x="80" y="148"/>
                  </a:lnTo>
                  <a:lnTo>
                    <a:pt x="80" y="144"/>
                  </a:lnTo>
                  <a:lnTo>
                    <a:pt x="76" y="144"/>
                  </a:lnTo>
                  <a:lnTo>
                    <a:pt x="76" y="148"/>
                  </a:lnTo>
                  <a:lnTo>
                    <a:pt x="76" y="144"/>
                  </a:lnTo>
                  <a:lnTo>
                    <a:pt x="72" y="144"/>
                  </a:lnTo>
                  <a:lnTo>
                    <a:pt x="72" y="140"/>
                  </a:lnTo>
                  <a:lnTo>
                    <a:pt x="76" y="140"/>
                  </a:lnTo>
                  <a:lnTo>
                    <a:pt x="76" y="136"/>
                  </a:lnTo>
                  <a:lnTo>
                    <a:pt x="76" y="132"/>
                  </a:lnTo>
                  <a:lnTo>
                    <a:pt x="80" y="132"/>
                  </a:lnTo>
                  <a:lnTo>
                    <a:pt x="80" y="128"/>
                  </a:lnTo>
                  <a:lnTo>
                    <a:pt x="76" y="128"/>
                  </a:lnTo>
                  <a:lnTo>
                    <a:pt x="80" y="124"/>
                  </a:lnTo>
                  <a:lnTo>
                    <a:pt x="80" y="122"/>
                  </a:lnTo>
                  <a:lnTo>
                    <a:pt x="80" y="118"/>
                  </a:lnTo>
                  <a:lnTo>
                    <a:pt x="76" y="118"/>
                  </a:lnTo>
                  <a:lnTo>
                    <a:pt x="76" y="114"/>
                  </a:lnTo>
                  <a:lnTo>
                    <a:pt x="72" y="114"/>
                  </a:lnTo>
                  <a:lnTo>
                    <a:pt x="72" y="110"/>
                  </a:lnTo>
                  <a:lnTo>
                    <a:pt x="68" y="106"/>
                  </a:lnTo>
                  <a:lnTo>
                    <a:pt x="68" y="102"/>
                  </a:lnTo>
                  <a:lnTo>
                    <a:pt x="64" y="102"/>
                  </a:lnTo>
                  <a:lnTo>
                    <a:pt x="68" y="102"/>
                  </a:lnTo>
                  <a:lnTo>
                    <a:pt x="68" y="98"/>
                  </a:lnTo>
                  <a:lnTo>
                    <a:pt x="64" y="96"/>
                  </a:lnTo>
                  <a:lnTo>
                    <a:pt x="68" y="96"/>
                  </a:lnTo>
                  <a:lnTo>
                    <a:pt x="68" y="92"/>
                  </a:lnTo>
                  <a:lnTo>
                    <a:pt x="68" y="88"/>
                  </a:lnTo>
                  <a:lnTo>
                    <a:pt x="64" y="88"/>
                  </a:lnTo>
                  <a:lnTo>
                    <a:pt x="64" y="84"/>
                  </a:lnTo>
                  <a:lnTo>
                    <a:pt x="60" y="84"/>
                  </a:lnTo>
                  <a:lnTo>
                    <a:pt x="60" y="80"/>
                  </a:lnTo>
                  <a:lnTo>
                    <a:pt x="60" y="80"/>
                  </a:lnTo>
                  <a:lnTo>
                    <a:pt x="60" y="8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45" name="Freeform 38"/>
            <p:cNvSpPr>
              <a:spLocks/>
            </p:cNvSpPr>
            <p:nvPr/>
          </p:nvSpPr>
          <p:spPr bwMode="auto">
            <a:xfrm>
              <a:off x="7351763" y="3761630"/>
              <a:ext cx="13816" cy="19614"/>
            </a:xfrm>
            <a:custGeom>
              <a:avLst/>
              <a:gdLst>
                <a:gd name="T0" fmla="*/ 14 w 22"/>
                <a:gd name="T1" fmla="*/ 0 h 30"/>
                <a:gd name="T2" fmla="*/ 14 w 22"/>
                <a:gd name="T3" fmla="*/ 0 h 30"/>
                <a:gd name="T4" fmla="*/ 14 w 22"/>
                <a:gd name="T5" fmla="*/ 0 h 30"/>
                <a:gd name="T6" fmla="*/ 18 w 22"/>
                <a:gd name="T7" fmla="*/ 0 h 30"/>
                <a:gd name="T8" fmla="*/ 18 w 22"/>
                <a:gd name="T9" fmla="*/ 0 h 30"/>
                <a:gd name="T10" fmla="*/ 18 w 22"/>
                <a:gd name="T11" fmla="*/ 0 h 30"/>
                <a:gd name="T12" fmla="*/ 18 w 22"/>
                <a:gd name="T13" fmla="*/ 0 h 30"/>
                <a:gd name="T14" fmla="*/ 22 w 22"/>
                <a:gd name="T15" fmla="*/ 4 h 30"/>
                <a:gd name="T16" fmla="*/ 22 w 22"/>
                <a:gd name="T17" fmla="*/ 8 h 30"/>
                <a:gd name="T18" fmla="*/ 22 w 22"/>
                <a:gd name="T19" fmla="*/ 8 h 30"/>
                <a:gd name="T20" fmla="*/ 18 w 22"/>
                <a:gd name="T21" fmla="*/ 12 h 30"/>
                <a:gd name="T22" fmla="*/ 18 w 22"/>
                <a:gd name="T23" fmla="*/ 12 h 30"/>
                <a:gd name="T24" fmla="*/ 18 w 22"/>
                <a:gd name="T25" fmla="*/ 16 h 30"/>
                <a:gd name="T26" fmla="*/ 18 w 22"/>
                <a:gd name="T27" fmla="*/ 16 h 30"/>
                <a:gd name="T28" fmla="*/ 18 w 22"/>
                <a:gd name="T29" fmla="*/ 16 h 30"/>
                <a:gd name="T30" fmla="*/ 14 w 22"/>
                <a:gd name="T31" fmla="*/ 16 h 30"/>
                <a:gd name="T32" fmla="*/ 10 w 22"/>
                <a:gd name="T33" fmla="*/ 20 h 30"/>
                <a:gd name="T34" fmla="*/ 14 w 22"/>
                <a:gd name="T35" fmla="*/ 20 h 30"/>
                <a:gd name="T36" fmla="*/ 14 w 22"/>
                <a:gd name="T37" fmla="*/ 20 h 30"/>
                <a:gd name="T38" fmla="*/ 10 w 22"/>
                <a:gd name="T39" fmla="*/ 22 h 30"/>
                <a:gd name="T40" fmla="*/ 10 w 22"/>
                <a:gd name="T41" fmla="*/ 22 h 30"/>
                <a:gd name="T42" fmla="*/ 10 w 22"/>
                <a:gd name="T43" fmla="*/ 22 h 30"/>
                <a:gd name="T44" fmla="*/ 10 w 22"/>
                <a:gd name="T45" fmla="*/ 22 h 30"/>
                <a:gd name="T46" fmla="*/ 6 w 22"/>
                <a:gd name="T47" fmla="*/ 26 h 30"/>
                <a:gd name="T48" fmla="*/ 6 w 22"/>
                <a:gd name="T49" fmla="*/ 26 h 30"/>
                <a:gd name="T50" fmla="*/ 6 w 22"/>
                <a:gd name="T51" fmla="*/ 26 h 30"/>
                <a:gd name="T52" fmla="*/ 6 w 22"/>
                <a:gd name="T53" fmla="*/ 30 h 30"/>
                <a:gd name="T54" fmla="*/ 2 w 22"/>
                <a:gd name="T55" fmla="*/ 30 h 30"/>
                <a:gd name="T56" fmla="*/ 2 w 22"/>
                <a:gd name="T57" fmla="*/ 30 h 30"/>
                <a:gd name="T58" fmla="*/ 0 w 22"/>
                <a:gd name="T59" fmla="*/ 30 h 30"/>
                <a:gd name="T60" fmla="*/ 0 w 22"/>
                <a:gd name="T61" fmla="*/ 26 h 30"/>
                <a:gd name="T62" fmla="*/ 2 w 22"/>
                <a:gd name="T63" fmla="*/ 26 h 30"/>
                <a:gd name="T64" fmla="*/ 2 w 22"/>
                <a:gd name="T65" fmla="*/ 22 h 30"/>
                <a:gd name="T66" fmla="*/ 2 w 22"/>
                <a:gd name="T67" fmla="*/ 22 h 30"/>
                <a:gd name="T68" fmla="*/ 2 w 22"/>
                <a:gd name="T69" fmla="*/ 22 h 30"/>
                <a:gd name="T70" fmla="*/ 2 w 22"/>
                <a:gd name="T71" fmla="*/ 20 h 30"/>
                <a:gd name="T72" fmla="*/ 2 w 22"/>
                <a:gd name="T73" fmla="*/ 20 h 30"/>
                <a:gd name="T74" fmla="*/ 6 w 22"/>
                <a:gd name="T75" fmla="*/ 16 h 30"/>
                <a:gd name="T76" fmla="*/ 6 w 22"/>
                <a:gd name="T77" fmla="*/ 16 h 30"/>
                <a:gd name="T78" fmla="*/ 6 w 22"/>
                <a:gd name="T79" fmla="*/ 16 h 30"/>
                <a:gd name="T80" fmla="*/ 6 w 22"/>
                <a:gd name="T81" fmla="*/ 12 h 30"/>
                <a:gd name="T82" fmla="*/ 6 w 22"/>
                <a:gd name="T83" fmla="*/ 12 h 30"/>
                <a:gd name="T84" fmla="*/ 6 w 22"/>
                <a:gd name="T85" fmla="*/ 8 h 30"/>
                <a:gd name="T86" fmla="*/ 6 w 22"/>
                <a:gd name="T87" fmla="*/ 8 h 30"/>
                <a:gd name="T88" fmla="*/ 6 w 22"/>
                <a:gd name="T89" fmla="*/ 8 h 30"/>
                <a:gd name="T90" fmla="*/ 10 w 22"/>
                <a:gd name="T91" fmla="*/ 4 h 30"/>
                <a:gd name="T92" fmla="*/ 14 w 22"/>
                <a:gd name="T93" fmla="*/ 0 h 30"/>
                <a:gd name="T94" fmla="*/ 14 w 22"/>
                <a:gd name="T95" fmla="*/ 0 h 30"/>
                <a:gd name="T96" fmla="*/ 14 w 22"/>
                <a:gd name="T9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 h="30">
                  <a:moveTo>
                    <a:pt x="14" y="0"/>
                  </a:moveTo>
                  <a:lnTo>
                    <a:pt x="14" y="0"/>
                  </a:lnTo>
                  <a:lnTo>
                    <a:pt x="14" y="0"/>
                  </a:lnTo>
                  <a:lnTo>
                    <a:pt x="14" y="0"/>
                  </a:lnTo>
                  <a:lnTo>
                    <a:pt x="14" y="0"/>
                  </a:lnTo>
                  <a:lnTo>
                    <a:pt x="14" y="0"/>
                  </a:lnTo>
                  <a:lnTo>
                    <a:pt x="18" y="0"/>
                  </a:lnTo>
                  <a:lnTo>
                    <a:pt x="18" y="0"/>
                  </a:lnTo>
                  <a:lnTo>
                    <a:pt x="18" y="0"/>
                  </a:lnTo>
                  <a:lnTo>
                    <a:pt x="18" y="0"/>
                  </a:lnTo>
                  <a:lnTo>
                    <a:pt x="18" y="0"/>
                  </a:lnTo>
                  <a:lnTo>
                    <a:pt x="18" y="0"/>
                  </a:lnTo>
                  <a:lnTo>
                    <a:pt x="18" y="4"/>
                  </a:lnTo>
                  <a:lnTo>
                    <a:pt x="18" y="0"/>
                  </a:lnTo>
                  <a:lnTo>
                    <a:pt x="18" y="4"/>
                  </a:lnTo>
                  <a:lnTo>
                    <a:pt x="22" y="4"/>
                  </a:lnTo>
                  <a:lnTo>
                    <a:pt x="22" y="4"/>
                  </a:lnTo>
                  <a:lnTo>
                    <a:pt x="22" y="8"/>
                  </a:lnTo>
                  <a:lnTo>
                    <a:pt x="22" y="8"/>
                  </a:lnTo>
                  <a:lnTo>
                    <a:pt x="22" y="8"/>
                  </a:lnTo>
                  <a:lnTo>
                    <a:pt x="18" y="12"/>
                  </a:lnTo>
                  <a:lnTo>
                    <a:pt x="18" y="12"/>
                  </a:lnTo>
                  <a:lnTo>
                    <a:pt x="18" y="12"/>
                  </a:lnTo>
                  <a:lnTo>
                    <a:pt x="18" y="12"/>
                  </a:lnTo>
                  <a:lnTo>
                    <a:pt x="18" y="16"/>
                  </a:lnTo>
                  <a:lnTo>
                    <a:pt x="18" y="16"/>
                  </a:lnTo>
                  <a:lnTo>
                    <a:pt x="18" y="16"/>
                  </a:lnTo>
                  <a:lnTo>
                    <a:pt x="18" y="16"/>
                  </a:lnTo>
                  <a:lnTo>
                    <a:pt x="18" y="16"/>
                  </a:lnTo>
                  <a:lnTo>
                    <a:pt x="18" y="16"/>
                  </a:lnTo>
                  <a:lnTo>
                    <a:pt x="14" y="16"/>
                  </a:lnTo>
                  <a:lnTo>
                    <a:pt x="14" y="16"/>
                  </a:lnTo>
                  <a:lnTo>
                    <a:pt x="14" y="16"/>
                  </a:lnTo>
                  <a:lnTo>
                    <a:pt x="10" y="20"/>
                  </a:lnTo>
                  <a:lnTo>
                    <a:pt x="10" y="20"/>
                  </a:lnTo>
                  <a:lnTo>
                    <a:pt x="14" y="20"/>
                  </a:lnTo>
                  <a:lnTo>
                    <a:pt x="14" y="20"/>
                  </a:lnTo>
                  <a:lnTo>
                    <a:pt x="14" y="20"/>
                  </a:lnTo>
                  <a:lnTo>
                    <a:pt x="10" y="22"/>
                  </a:lnTo>
                  <a:lnTo>
                    <a:pt x="10" y="22"/>
                  </a:lnTo>
                  <a:lnTo>
                    <a:pt x="10" y="22"/>
                  </a:lnTo>
                  <a:lnTo>
                    <a:pt x="10" y="22"/>
                  </a:lnTo>
                  <a:lnTo>
                    <a:pt x="10" y="22"/>
                  </a:lnTo>
                  <a:lnTo>
                    <a:pt x="10" y="22"/>
                  </a:lnTo>
                  <a:lnTo>
                    <a:pt x="10" y="22"/>
                  </a:lnTo>
                  <a:lnTo>
                    <a:pt x="10" y="22"/>
                  </a:lnTo>
                  <a:lnTo>
                    <a:pt x="10" y="22"/>
                  </a:lnTo>
                  <a:lnTo>
                    <a:pt x="6" y="26"/>
                  </a:lnTo>
                  <a:lnTo>
                    <a:pt x="6" y="26"/>
                  </a:lnTo>
                  <a:lnTo>
                    <a:pt x="6" y="26"/>
                  </a:lnTo>
                  <a:lnTo>
                    <a:pt x="6" y="26"/>
                  </a:lnTo>
                  <a:lnTo>
                    <a:pt x="6" y="26"/>
                  </a:lnTo>
                  <a:lnTo>
                    <a:pt x="6" y="26"/>
                  </a:lnTo>
                  <a:lnTo>
                    <a:pt x="6" y="30"/>
                  </a:lnTo>
                  <a:lnTo>
                    <a:pt x="2" y="30"/>
                  </a:lnTo>
                  <a:lnTo>
                    <a:pt x="2" y="30"/>
                  </a:lnTo>
                  <a:lnTo>
                    <a:pt x="2" y="30"/>
                  </a:lnTo>
                  <a:lnTo>
                    <a:pt x="2" y="30"/>
                  </a:lnTo>
                  <a:lnTo>
                    <a:pt x="2" y="30"/>
                  </a:lnTo>
                  <a:lnTo>
                    <a:pt x="0" y="30"/>
                  </a:lnTo>
                  <a:lnTo>
                    <a:pt x="0" y="30"/>
                  </a:lnTo>
                  <a:lnTo>
                    <a:pt x="0" y="26"/>
                  </a:lnTo>
                  <a:lnTo>
                    <a:pt x="2" y="26"/>
                  </a:lnTo>
                  <a:lnTo>
                    <a:pt x="2" y="26"/>
                  </a:lnTo>
                  <a:lnTo>
                    <a:pt x="2" y="26"/>
                  </a:lnTo>
                  <a:lnTo>
                    <a:pt x="2" y="22"/>
                  </a:lnTo>
                  <a:lnTo>
                    <a:pt x="2" y="22"/>
                  </a:lnTo>
                  <a:lnTo>
                    <a:pt x="2" y="22"/>
                  </a:lnTo>
                  <a:lnTo>
                    <a:pt x="2" y="22"/>
                  </a:lnTo>
                  <a:lnTo>
                    <a:pt x="2" y="22"/>
                  </a:lnTo>
                  <a:lnTo>
                    <a:pt x="2" y="20"/>
                  </a:lnTo>
                  <a:lnTo>
                    <a:pt x="2" y="20"/>
                  </a:lnTo>
                  <a:lnTo>
                    <a:pt x="2" y="20"/>
                  </a:lnTo>
                  <a:lnTo>
                    <a:pt x="2" y="20"/>
                  </a:lnTo>
                  <a:lnTo>
                    <a:pt x="2" y="16"/>
                  </a:lnTo>
                  <a:lnTo>
                    <a:pt x="6" y="16"/>
                  </a:lnTo>
                  <a:lnTo>
                    <a:pt x="6" y="16"/>
                  </a:lnTo>
                  <a:lnTo>
                    <a:pt x="6" y="16"/>
                  </a:lnTo>
                  <a:lnTo>
                    <a:pt x="6" y="16"/>
                  </a:lnTo>
                  <a:lnTo>
                    <a:pt x="6" y="16"/>
                  </a:lnTo>
                  <a:lnTo>
                    <a:pt x="6" y="16"/>
                  </a:lnTo>
                  <a:lnTo>
                    <a:pt x="6" y="12"/>
                  </a:lnTo>
                  <a:lnTo>
                    <a:pt x="6" y="16"/>
                  </a:lnTo>
                  <a:lnTo>
                    <a:pt x="6" y="12"/>
                  </a:lnTo>
                  <a:lnTo>
                    <a:pt x="6" y="12"/>
                  </a:lnTo>
                  <a:lnTo>
                    <a:pt x="6" y="8"/>
                  </a:lnTo>
                  <a:lnTo>
                    <a:pt x="6" y="8"/>
                  </a:lnTo>
                  <a:lnTo>
                    <a:pt x="6" y="8"/>
                  </a:lnTo>
                  <a:lnTo>
                    <a:pt x="6" y="8"/>
                  </a:lnTo>
                  <a:lnTo>
                    <a:pt x="6" y="8"/>
                  </a:lnTo>
                  <a:lnTo>
                    <a:pt x="6" y="4"/>
                  </a:lnTo>
                  <a:lnTo>
                    <a:pt x="10" y="4"/>
                  </a:lnTo>
                  <a:lnTo>
                    <a:pt x="10" y="4"/>
                  </a:lnTo>
                  <a:lnTo>
                    <a:pt x="14" y="0"/>
                  </a:lnTo>
                  <a:lnTo>
                    <a:pt x="14" y="0"/>
                  </a:lnTo>
                  <a:lnTo>
                    <a:pt x="14" y="0"/>
                  </a:lnTo>
                  <a:lnTo>
                    <a:pt x="14" y="0"/>
                  </a:lnTo>
                  <a:lnTo>
                    <a:pt x="14" y="0"/>
                  </a:lnTo>
                  <a:lnTo>
                    <a:pt x="14" y="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46" name="Freeform 39"/>
            <p:cNvSpPr>
              <a:spLocks noEditPoints="1"/>
            </p:cNvSpPr>
            <p:nvPr/>
          </p:nvSpPr>
          <p:spPr bwMode="auto">
            <a:xfrm>
              <a:off x="7924482" y="4079373"/>
              <a:ext cx="175835" cy="73225"/>
            </a:xfrm>
            <a:custGeom>
              <a:avLst/>
              <a:gdLst>
                <a:gd name="T0" fmla="*/ 8 w 280"/>
                <a:gd name="T1" fmla="*/ 14 h 112"/>
                <a:gd name="T2" fmla="*/ 18 w 280"/>
                <a:gd name="T3" fmla="*/ 18 h 112"/>
                <a:gd name="T4" fmla="*/ 22 w 280"/>
                <a:gd name="T5" fmla="*/ 30 h 112"/>
                <a:gd name="T6" fmla="*/ 34 w 280"/>
                <a:gd name="T7" fmla="*/ 26 h 112"/>
                <a:gd name="T8" fmla="*/ 42 w 280"/>
                <a:gd name="T9" fmla="*/ 26 h 112"/>
                <a:gd name="T10" fmla="*/ 52 w 280"/>
                <a:gd name="T11" fmla="*/ 36 h 112"/>
                <a:gd name="T12" fmla="*/ 52 w 280"/>
                <a:gd name="T13" fmla="*/ 56 h 112"/>
                <a:gd name="T14" fmla="*/ 56 w 280"/>
                <a:gd name="T15" fmla="*/ 66 h 112"/>
                <a:gd name="T16" fmla="*/ 60 w 280"/>
                <a:gd name="T17" fmla="*/ 86 h 112"/>
                <a:gd name="T18" fmla="*/ 64 w 280"/>
                <a:gd name="T19" fmla="*/ 100 h 112"/>
                <a:gd name="T20" fmla="*/ 56 w 280"/>
                <a:gd name="T21" fmla="*/ 100 h 112"/>
                <a:gd name="T22" fmla="*/ 38 w 280"/>
                <a:gd name="T23" fmla="*/ 90 h 112"/>
                <a:gd name="T24" fmla="*/ 22 w 280"/>
                <a:gd name="T25" fmla="*/ 78 h 112"/>
                <a:gd name="T26" fmla="*/ 22 w 280"/>
                <a:gd name="T27" fmla="*/ 64 h 112"/>
                <a:gd name="T28" fmla="*/ 14 w 280"/>
                <a:gd name="T29" fmla="*/ 52 h 112"/>
                <a:gd name="T30" fmla="*/ 12 w 280"/>
                <a:gd name="T31" fmla="*/ 30 h 112"/>
                <a:gd name="T32" fmla="*/ 242 w 280"/>
                <a:gd name="T33" fmla="*/ 4 h 112"/>
                <a:gd name="T34" fmla="*/ 246 w 280"/>
                <a:gd name="T35" fmla="*/ 0 h 112"/>
                <a:gd name="T36" fmla="*/ 254 w 280"/>
                <a:gd name="T37" fmla="*/ 10 h 112"/>
                <a:gd name="T38" fmla="*/ 266 w 280"/>
                <a:gd name="T39" fmla="*/ 44 h 112"/>
                <a:gd name="T40" fmla="*/ 258 w 280"/>
                <a:gd name="T41" fmla="*/ 52 h 112"/>
                <a:gd name="T42" fmla="*/ 168 w 280"/>
                <a:gd name="T43" fmla="*/ 86 h 112"/>
                <a:gd name="T44" fmla="*/ 210 w 280"/>
                <a:gd name="T45" fmla="*/ 48 h 112"/>
                <a:gd name="T46" fmla="*/ 216 w 280"/>
                <a:gd name="T47" fmla="*/ 44 h 112"/>
                <a:gd name="T48" fmla="*/ 224 w 280"/>
                <a:gd name="T49" fmla="*/ 52 h 112"/>
                <a:gd name="T50" fmla="*/ 224 w 280"/>
                <a:gd name="T51" fmla="*/ 36 h 112"/>
                <a:gd name="T52" fmla="*/ 232 w 280"/>
                <a:gd name="T53" fmla="*/ 30 h 112"/>
                <a:gd name="T54" fmla="*/ 240 w 280"/>
                <a:gd name="T55" fmla="*/ 14 h 112"/>
                <a:gd name="T56" fmla="*/ 242 w 280"/>
                <a:gd name="T57" fmla="*/ 10 h 112"/>
                <a:gd name="T58" fmla="*/ 250 w 280"/>
                <a:gd name="T59" fmla="*/ 10 h 112"/>
                <a:gd name="T60" fmla="*/ 258 w 280"/>
                <a:gd name="T61" fmla="*/ 18 h 112"/>
                <a:gd name="T62" fmla="*/ 262 w 280"/>
                <a:gd name="T63" fmla="*/ 26 h 112"/>
                <a:gd name="T64" fmla="*/ 272 w 280"/>
                <a:gd name="T65" fmla="*/ 30 h 112"/>
                <a:gd name="T66" fmla="*/ 272 w 280"/>
                <a:gd name="T67" fmla="*/ 36 h 112"/>
                <a:gd name="T68" fmla="*/ 262 w 280"/>
                <a:gd name="T69" fmla="*/ 40 h 112"/>
                <a:gd name="T70" fmla="*/ 262 w 280"/>
                <a:gd name="T71" fmla="*/ 52 h 112"/>
                <a:gd name="T72" fmla="*/ 242 w 280"/>
                <a:gd name="T73" fmla="*/ 52 h 112"/>
                <a:gd name="T74" fmla="*/ 228 w 280"/>
                <a:gd name="T75" fmla="*/ 52 h 112"/>
                <a:gd name="T76" fmla="*/ 224 w 280"/>
                <a:gd name="T77" fmla="*/ 70 h 112"/>
                <a:gd name="T78" fmla="*/ 216 w 280"/>
                <a:gd name="T79" fmla="*/ 92 h 112"/>
                <a:gd name="T80" fmla="*/ 202 w 280"/>
                <a:gd name="T81" fmla="*/ 100 h 112"/>
                <a:gd name="T82" fmla="*/ 186 w 280"/>
                <a:gd name="T83" fmla="*/ 96 h 112"/>
                <a:gd name="T84" fmla="*/ 172 w 280"/>
                <a:gd name="T85" fmla="*/ 108 h 112"/>
                <a:gd name="T86" fmla="*/ 154 w 280"/>
                <a:gd name="T87" fmla="*/ 112 h 112"/>
                <a:gd name="T88" fmla="*/ 142 w 280"/>
                <a:gd name="T89" fmla="*/ 92 h 112"/>
                <a:gd name="T90" fmla="*/ 154 w 280"/>
                <a:gd name="T91" fmla="*/ 92 h 112"/>
                <a:gd name="T92" fmla="*/ 160 w 280"/>
                <a:gd name="T93" fmla="*/ 100 h 112"/>
                <a:gd name="T94" fmla="*/ 164 w 280"/>
                <a:gd name="T95" fmla="*/ 92 h 112"/>
                <a:gd name="T96" fmla="*/ 164 w 280"/>
                <a:gd name="T97" fmla="*/ 86 h 112"/>
                <a:gd name="T98" fmla="*/ 176 w 280"/>
                <a:gd name="T99" fmla="*/ 74 h 112"/>
                <a:gd name="T100" fmla="*/ 194 w 280"/>
                <a:gd name="T101" fmla="*/ 66 h 112"/>
                <a:gd name="T102" fmla="*/ 206 w 280"/>
                <a:gd name="T103" fmla="*/ 48 h 112"/>
                <a:gd name="T104" fmla="*/ 4 w 280"/>
                <a:gd name="T105" fmla="*/ 14 h 112"/>
                <a:gd name="T106" fmla="*/ 12 w 280"/>
                <a:gd name="T107" fmla="*/ 34 h 112"/>
                <a:gd name="T108" fmla="*/ 12 w 280"/>
                <a:gd name="T109" fmla="*/ 34 h 112"/>
                <a:gd name="T110" fmla="*/ 64 w 280"/>
                <a:gd name="T111" fmla="*/ 7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0" h="112">
                  <a:moveTo>
                    <a:pt x="12" y="30"/>
                  </a:moveTo>
                  <a:lnTo>
                    <a:pt x="12" y="26"/>
                  </a:lnTo>
                  <a:lnTo>
                    <a:pt x="12" y="22"/>
                  </a:lnTo>
                  <a:lnTo>
                    <a:pt x="12" y="18"/>
                  </a:lnTo>
                  <a:lnTo>
                    <a:pt x="8" y="18"/>
                  </a:lnTo>
                  <a:lnTo>
                    <a:pt x="8" y="14"/>
                  </a:lnTo>
                  <a:lnTo>
                    <a:pt x="8" y="10"/>
                  </a:lnTo>
                  <a:lnTo>
                    <a:pt x="12" y="10"/>
                  </a:lnTo>
                  <a:lnTo>
                    <a:pt x="12" y="14"/>
                  </a:lnTo>
                  <a:lnTo>
                    <a:pt x="14" y="14"/>
                  </a:lnTo>
                  <a:lnTo>
                    <a:pt x="18" y="14"/>
                  </a:lnTo>
                  <a:lnTo>
                    <a:pt x="18" y="18"/>
                  </a:lnTo>
                  <a:lnTo>
                    <a:pt x="22" y="18"/>
                  </a:lnTo>
                  <a:lnTo>
                    <a:pt x="22" y="22"/>
                  </a:lnTo>
                  <a:lnTo>
                    <a:pt x="18" y="22"/>
                  </a:lnTo>
                  <a:lnTo>
                    <a:pt x="18" y="26"/>
                  </a:lnTo>
                  <a:lnTo>
                    <a:pt x="22" y="26"/>
                  </a:lnTo>
                  <a:lnTo>
                    <a:pt x="22" y="30"/>
                  </a:lnTo>
                  <a:lnTo>
                    <a:pt x="22" y="26"/>
                  </a:lnTo>
                  <a:lnTo>
                    <a:pt x="26" y="26"/>
                  </a:lnTo>
                  <a:lnTo>
                    <a:pt x="26" y="22"/>
                  </a:lnTo>
                  <a:lnTo>
                    <a:pt x="30" y="22"/>
                  </a:lnTo>
                  <a:lnTo>
                    <a:pt x="30" y="26"/>
                  </a:lnTo>
                  <a:lnTo>
                    <a:pt x="34" y="26"/>
                  </a:lnTo>
                  <a:lnTo>
                    <a:pt x="34" y="22"/>
                  </a:lnTo>
                  <a:lnTo>
                    <a:pt x="34" y="18"/>
                  </a:lnTo>
                  <a:lnTo>
                    <a:pt x="38" y="18"/>
                  </a:lnTo>
                  <a:lnTo>
                    <a:pt x="42" y="18"/>
                  </a:lnTo>
                  <a:lnTo>
                    <a:pt x="42" y="22"/>
                  </a:lnTo>
                  <a:lnTo>
                    <a:pt x="42" y="26"/>
                  </a:lnTo>
                  <a:lnTo>
                    <a:pt x="44" y="26"/>
                  </a:lnTo>
                  <a:lnTo>
                    <a:pt x="44" y="30"/>
                  </a:lnTo>
                  <a:lnTo>
                    <a:pt x="48" y="30"/>
                  </a:lnTo>
                  <a:lnTo>
                    <a:pt x="48" y="34"/>
                  </a:lnTo>
                  <a:lnTo>
                    <a:pt x="52" y="34"/>
                  </a:lnTo>
                  <a:lnTo>
                    <a:pt x="52" y="36"/>
                  </a:lnTo>
                  <a:lnTo>
                    <a:pt x="52" y="40"/>
                  </a:lnTo>
                  <a:lnTo>
                    <a:pt x="56" y="44"/>
                  </a:lnTo>
                  <a:lnTo>
                    <a:pt x="56" y="48"/>
                  </a:lnTo>
                  <a:lnTo>
                    <a:pt x="56" y="52"/>
                  </a:lnTo>
                  <a:lnTo>
                    <a:pt x="52" y="52"/>
                  </a:lnTo>
                  <a:lnTo>
                    <a:pt x="52" y="56"/>
                  </a:lnTo>
                  <a:lnTo>
                    <a:pt x="52" y="60"/>
                  </a:lnTo>
                  <a:lnTo>
                    <a:pt x="52" y="64"/>
                  </a:lnTo>
                  <a:lnTo>
                    <a:pt x="56" y="64"/>
                  </a:lnTo>
                  <a:lnTo>
                    <a:pt x="56" y="66"/>
                  </a:lnTo>
                  <a:lnTo>
                    <a:pt x="52" y="66"/>
                  </a:lnTo>
                  <a:lnTo>
                    <a:pt x="56" y="66"/>
                  </a:lnTo>
                  <a:lnTo>
                    <a:pt x="56" y="70"/>
                  </a:lnTo>
                  <a:lnTo>
                    <a:pt x="56" y="74"/>
                  </a:lnTo>
                  <a:lnTo>
                    <a:pt x="56" y="78"/>
                  </a:lnTo>
                  <a:lnTo>
                    <a:pt x="60" y="78"/>
                  </a:lnTo>
                  <a:lnTo>
                    <a:pt x="60" y="82"/>
                  </a:lnTo>
                  <a:lnTo>
                    <a:pt x="60" y="86"/>
                  </a:lnTo>
                  <a:lnTo>
                    <a:pt x="64" y="86"/>
                  </a:lnTo>
                  <a:lnTo>
                    <a:pt x="64" y="90"/>
                  </a:lnTo>
                  <a:lnTo>
                    <a:pt x="64" y="92"/>
                  </a:lnTo>
                  <a:lnTo>
                    <a:pt x="68" y="96"/>
                  </a:lnTo>
                  <a:lnTo>
                    <a:pt x="68" y="100"/>
                  </a:lnTo>
                  <a:lnTo>
                    <a:pt x="64" y="100"/>
                  </a:lnTo>
                  <a:lnTo>
                    <a:pt x="64" y="96"/>
                  </a:lnTo>
                  <a:lnTo>
                    <a:pt x="64" y="100"/>
                  </a:lnTo>
                  <a:lnTo>
                    <a:pt x="60" y="100"/>
                  </a:lnTo>
                  <a:lnTo>
                    <a:pt x="56" y="100"/>
                  </a:lnTo>
                  <a:lnTo>
                    <a:pt x="56" y="104"/>
                  </a:lnTo>
                  <a:lnTo>
                    <a:pt x="56" y="100"/>
                  </a:lnTo>
                  <a:lnTo>
                    <a:pt x="52" y="100"/>
                  </a:lnTo>
                  <a:lnTo>
                    <a:pt x="52" y="96"/>
                  </a:lnTo>
                  <a:lnTo>
                    <a:pt x="48" y="96"/>
                  </a:lnTo>
                  <a:lnTo>
                    <a:pt x="44" y="92"/>
                  </a:lnTo>
                  <a:lnTo>
                    <a:pt x="42" y="90"/>
                  </a:lnTo>
                  <a:lnTo>
                    <a:pt x="38" y="90"/>
                  </a:lnTo>
                  <a:lnTo>
                    <a:pt x="38" y="86"/>
                  </a:lnTo>
                  <a:lnTo>
                    <a:pt x="34" y="86"/>
                  </a:lnTo>
                  <a:lnTo>
                    <a:pt x="34" y="82"/>
                  </a:lnTo>
                  <a:lnTo>
                    <a:pt x="30" y="82"/>
                  </a:lnTo>
                  <a:lnTo>
                    <a:pt x="26" y="78"/>
                  </a:lnTo>
                  <a:lnTo>
                    <a:pt x="22" y="78"/>
                  </a:lnTo>
                  <a:lnTo>
                    <a:pt x="22" y="74"/>
                  </a:lnTo>
                  <a:lnTo>
                    <a:pt x="26" y="74"/>
                  </a:lnTo>
                  <a:lnTo>
                    <a:pt x="26" y="70"/>
                  </a:lnTo>
                  <a:lnTo>
                    <a:pt x="22" y="70"/>
                  </a:lnTo>
                  <a:lnTo>
                    <a:pt x="22" y="66"/>
                  </a:lnTo>
                  <a:lnTo>
                    <a:pt x="22" y="64"/>
                  </a:lnTo>
                  <a:lnTo>
                    <a:pt x="18" y="64"/>
                  </a:lnTo>
                  <a:lnTo>
                    <a:pt x="18" y="60"/>
                  </a:lnTo>
                  <a:lnTo>
                    <a:pt x="14" y="60"/>
                  </a:lnTo>
                  <a:lnTo>
                    <a:pt x="14" y="56"/>
                  </a:lnTo>
                  <a:lnTo>
                    <a:pt x="18" y="56"/>
                  </a:lnTo>
                  <a:lnTo>
                    <a:pt x="14" y="52"/>
                  </a:lnTo>
                  <a:lnTo>
                    <a:pt x="14" y="48"/>
                  </a:lnTo>
                  <a:lnTo>
                    <a:pt x="14" y="44"/>
                  </a:lnTo>
                  <a:lnTo>
                    <a:pt x="12" y="40"/>
                  </a:lnTo>
                  <a:lnTo>
                    <a:pt x="12" y="36"/>
                  </a:lnTo>
                  <a:lnTo>
                    <a:pt x="12" y="34"/>
                  </a:lnTo>
                  <a:lnTo>
                    <a:pt x="12" y="30"/>
                  </a:lnTo>
                  <a:lnTo>
                    <a:pt x="12" y="30"/>
                  </a:lnTo>
                  <a:lnTo>
                    <a:pt x="12" y="30"/>
                  </a:lnTo>
                  <a:close/>
                  <a:moveTo>
                    <a:pt x="242" y="4"/>
                  </a:moveTo>
                  <a:lnTo>
                    <a:pt x="246" y="0"/>
                  </a:lnTo>
                  <a:lnTo>
                    <a:pt x="242" y="4"/>
                  </a:lnTo>
                  <a:lnTo>
                    <a:pt x="242" y="4"/>
                  </a:lnTo>
                  <a:lnTo>
                    <a:pt x="242" y="4"/>
                  </a:lnTo>
                  <a:close/>
                  <a:moveTo>
                    <a:pt x="246" y="0"/>
                  </a:moveTo>
                  <a:lnTo>
                    <a:pt x="250" y="0"/>
                  </a:lnTo>
                  <a:lnTo>
                    <a:pt x="250" y="4"/>
                  </a:lnTo>
                  <a:lnTo>
                    <a:pt x="246" y="4"/>
                  </a:lnTo>
                  <a:lnTo>
                    <a:pt x="246" y="0"/>
                  </a:lnTo>
                  <a:lnTo>
                    <a:pt x="246" y="0"/>
                  </a:lnTo>
                  <a:lnTo>
                    <a:pt x="246" y="0"/>
                  </a:lnTo>
                  <a:close/>
                  <a:moveTo>
                    <a:pt x="250" y="10"/>
                  </a:moveTo>
                  <a:lnTo>
                    <a:pt x="254" y="10"/>
                  </a:lnTo>
                  <a:lnTo>
                    <a:pt x="254" y="6"/>
                  </a:lnTo>
                  <a:lnTo>
                    <a:pt x="254" y="10"/>
                  </a:lnTo>
                  <a:lnTo>
                    <a:pt x="250" y="10"/>
                  </a:lnTo>
                  <a:lnTo>
                    <a:pt x="250" y="10"/>
                  </a:lnTo>
                  <a:lnTo>
                    <a:pt x="250" y="10"/>
                  </a:lnTo>
                  <a:close/>
                  <a:moveTo>
                    <a:pt x="266" y="44"/>
                  </a:moveTo>
                  <a:lnTo>
                    <a:pt x="270" y="44"/>
                  </a:lnTo>
                  <a:lnTo>
                    <a:pt x="266" y="44"/>
                  </a:lnTo>
                  <a:lnTo>
                    <a:pt x="266" y="44"/>
                  </a:lnTo>
                  <a:lnTo>
                    <a:pt x="266" y="44"/>
                  </a:lnTo>
                  <a:close/>
                  <a:moveTo>
                    <a:pt x="258" y="52"/>
                  </a:moveTo>
                  <a:lnTo>
                    <a:pt x="254" y="52"/>
                  </a:lnTo>
                  <a:lnTo>
                    <a:pt x="258" y="52"/>
                  </a:lnTo>
                  <a:lnTo>
                    <a:pt x="258" y="52"/>
                  </a:lnTo>
                  <a:lnTo>
                    <a:pt x="258" y="52"/>
                  </a:lnTo>
                  <a:close/>
                  <a:moveTo>
                    <a:pt x="164" y="82"/>
                  </a:moveTo>
                  <a:lnTo>
                    <a:pt x="164" y="78"/>
                  </a:lnTo>
                  <a:lnTo>
                    <a:pt x="168" y="78"/>
                  </a:lnTo>
                  <a:lnTo>
                    <a:pt x="168" y="82"/>
                  </a:lnTo>
                  <a:lnTo>
                    <a:pt x="168" y="86"/>
                  </a:lnTo>
                  <a:lnTo>
                    <a:pt x="164" y="82"/>
                  </a:lnTo>
                  <a:lnTo>
                    <a:pt x="164" y="82"/>
                  </a:lnTo>
                  <a:lnTo>
                    <a:pt x="164" y="82"/>
                  </a:lnTo>
                  <a:close/>
                  <a:moveTo>
                    <a:pt x="206" y="44"/>
                  </a:moveTo>
                  <a:lnTo>
                    <a:pt x="206" y="48"/>
                  </a:lnTo>
                  <a:lnTo>
                    <a:pt x="210" y="48"/>
                  </a:lnTo>
                  <a:lnTo>
                    <a:pt x="210" y="52"/>
                  </a:lnTo>
                  <a:lnTo>
                    <a:pt x="214" y="56"/>
                  </a:lnTo>
                  <a:lnTo>
                    <a:pt x="216" y="56"/>
                  </a:lnTo>
                  <a:lnTo>
                    <a:pt x="216" y="52"/>
                  </a:lnTo>
                  <a:lnTo>
                    <a:pt x="216" y="48"/>
                  </a:lnTo>
                  <a:lnTo>
                    <a:pt x="216" y="44"/>
                  </a:lnTo>
                  <a:lnTo>
                    <a:pt x="216" y="40"/>
                  </a:lnTo>
                  <a:lnTo>
                    <a:pt x="220" y="40"/>
                  </a:lnTo>
                  <a:lnTo>
                    <a:pt x="216" y="44"/>
                  </a:lnTo>
                  <a:lnTo>
                    <a:pt x="220" y="44"/>
                  </a:lnTo>
                  <a:lnTo>
                    <a:pt x="220" y="48"/>
                  </a:lnTo>
                  <a:lnTo>
                    <a:pt x="224" y="52"/>
                  </a:lnTo>
                  <a:lnTo>
                    <a:pt x="224" y="48"/>
                  </a:lnTo>
                  <a:lnTo>
                    <a:pt x="220" y="48"/>
                  </a:lnTo>
                  <a:lnTo>
                    <a:pt x="220" y="44"/>
                  </a:lnTo>
                  <a:lnTo>
                    <a:pt x="220" y="40"/>
                  </a:lnTo>
                  <a:lnTo>
                    <a:pt x="224" y="40"/>
                  </a:lnTo>
                  <a:lnTo>
                    <a:pt x="224" y="36"/>
                  </a:lnTo>
                  <a:lnTo>
                    <a:pt x="228" y="36"/>
                  </a:lnTo>
                  <a:lnTo>
                    <a:pt x="224" y="36"/>
                  </a:lnTo>
                  <a:lnTo>
                    <a:pt x="224" y="34"/>
                  </a:lnTo>
                  <a:lnTo>
                    <a:pt x="224" y="30"/>
                  </a:lnTo>
                  <a:lnTo>
                    <a:pt x="228" y="30"/>
                  </a:lnTo>
                  <a:lnTo>
                    <a:pt x="232" y="30"/>
                  </a:lnTo>
                  <a:lnTo>
                    <a:pt x="232" y="26"/>
                  </a:lnTo>
                  <a:lnTo>
                    <a:pt x="232" y="22"/>
                  </a:lnTo>
                  <a:lnTo>
                    <a:pt x="236" y="22"/>
                  </a:lnTo>
                  <a:lnTo>
                    <a:pt x="236" y="18"/>
                  </a:lnTo>
                  <a:lnTo>
                    <a:pt x="236" y="14"/>
                  </a:lnTo>
                  <a:lnTo>
                    <a:pt x="240" y="14"/>
                  </a:lnTo>
                  <a:lnTo>
                    <a:pt x="240" y="10"/>
                  </a:lnTo>
                  <a:lnTo>
                    <a:pt x="242" y="10"/>
                  </a:lnTo>
                  <a:lnTo>
                    <a:pt x="242" y="6"/>
                  </a:lnTo>
                  <a:lnTo>
                    <a:pt x="242" y="4"/>
                  </a:lnTo>
                  <a:lnTo>
                    <a:pt x="242" y="6"/>
                  </a:lnTo>
                  <a:lnTo>
                    <a:pt x="242" y="10"/>
                  </a:lnTo>
                  <a:lnTo>
                    <a:pt x="246" y="10"/>
                  </a:lnTo>
                  <a:lnTo>
                    <a:pt x="246" y="6"/>
                  </a:lnTo>
                  <a:lnTo>
                    <a:pt x="246" y="4"/>
                  </a:lnTo>
                  <a:lnTo>
                    <a:pt x="250" y="4"/>
                  </a:lnTo>
                  <a:lnTo>
                    <a:pt x="250" y="6"/>
                  </a:lnTo>
                  <a:lnTo>
                    <a:pt x="250" y="10"/>
                  </a:lnTo>
                  <a:lnTo>
                    <a:pt x="254" y="10"/>
                  </a:lnTo>
                  <a:lnTo>
                    <a:pt x="254" y="14"/>
                  </a:lnTo>
                  <a:lnTo>
                    <a:pt x="254" y="10"/>
                  </a:lnTo>
                  <a:lnTo>
                    <a:pt x="254" y="14"/>
                  </a:lnTo>
                  <a:lnTo>
                    <a:pt x="258" y="14"/>
                  </a:lnTo>
                  <a:lnTo>
                    <a:pt x="258" y="18"/>
                  </a:lnTo>
                  <a:lnTo>
                    <a:pt x="254" y="18"/>
                  </a:lnTo>
                  <a:lnTo>
                    <a:pt x="258" y="22"/>
                  </a:lnTo>
                  <a:lnTo>
                    <a:pt x="254" y="22"/>
                  </a:lnTo>
                  <a:lnTo>
                    <a:pt x="258" y="22"/>
                  </a:lnTo>
                  <a:lnTo>
                    <a:pt x="262" y="22"/>
                  </a:lnTo>
                  <a:lnTo>
                    <a:pt x="262" y="26"/>
                  </a:lnTo>
                  <a:lnTo>
                    <a:pt x="258" y="26"/>
                  </a:lnTo>
                  <a:lnTo>
                    <a:pt x="262" y="26"/>
                  </a:lnTo>
                  <a:lnTo>
                    <a:pt x="266" y="26"/>
                  </a:lnTo>
                  <a:lnTo>
                    <a:pt x="270" y="26"/>
                  </a:lnTo>
                  <a:lnTo>
                    <a:pt x="270" y="30"/>
                  </a:lnTo>
                  <a:lnTo>
                    <a:pt x="272" y="30"/>
                  </a:lnTo>
                  <a:lnTo>
                    <a:pt x="272" y="34"/>
                  </a:lnTo>
                  <a:lnTo>
                    <a:pt x="276" y="34"/>
                  </a:lnTo>
                  <a:lnTo>
                    <a:pt x="280" y="34"/>
                  </a:lnTo>
                  <a:lnTo>
                    <a:pt x="280" y="36"/>
                  </a:lnTo>
                  <a:lnTo>
                    <a:pt x="276" y="36"/>
                  </a:lnTo>
                  <a:lnTo>
                    <a:pt x="272" y="36"/>
                  </a:lnTo>
                  <a:lnTo>
                    <a:pt x="272" y="40"/>
                  </a:lnTo>
                  <a:lnTo>
                    <a:pt x="270" y="40"/>
                  </a:lnTo>
                  <a:lnTo>
                    <a:pt x="266" y="40"/>
                  </a:lnTo>
                  <a:lnTo>
                    <a:pt x="266" y="36"/>
                  </a:lnTo>
                  <a:lnTo>
                    <a:pt x="266" y="40"/>
                  </a:lnTo>
                  <a:lnTo>
                    <a:pt x="262" y="40"/>
                  </a:lnTo>
                  <a:lnTo>
                    <a:pt x="266" y="44"/>
                  </a:lnTo>
                  <a:lnTo>
                    <a:pt x="270" y="44"/>
                  </a:lnTo>
                  <a:lnTo>
                    <a:pt x="270" y="48"/>
                  </a:lnTo>
                  <a:lnTo>
                    <a:pt x="270" y="52"/>
                  </a:lnTo>
                  <a:lnTo>
                    <a:pt x="266" y="52"/>
                  </a:lnTo>
                  <a:lnTo>
                    <a:pt x="262" y="52"/>
                  </a:lnTo>
                  <a:lnTo>
                    <a:pt x="258" y="52"/>
                  </a:lnTo>
                  <a:lnTo>
                    <a:pt x="258" y="48"/>
                  </a:lnTo>
                  <a:lnTo>
                    <a:pt x="254" y="52"/>
                  </a:lnTo>
                  <a:lnTo>
                    <a:pt x="250" y="52"/>
                  </a:lnTo>
                  <a:lnTo>
                    <a:pt x="246" y="52"/>
                  </a:lnTo>
                  <a:lnTo>
                    <a:pt x="242" y="52"/>
                  </a:lnTo>
                  <a:lnTo>
                    <a:pt x="240" y="52"/>
                  </a:lnTo>
                  <a:lnTo>
                    <a:pt x="236" y="52"/>
                  </a:lnTo>
                  <a:lnTo>
                    <a:pt x="232" y="52"/>
                  </a:lnTo>
                  <a:lnTo>
                    <a:pt x="232" y="48"/>
                  </a:lnTo>
                  <a:lnTo>
                    <a:pt x="232" y="52"/>
                  </a:lnTo>
                  <a:lnTo>
                    <a:pt x="228" y="52"/>
                  </a:lnTo>
                  <a:lnTo>
                    <a:pt x="228" y="56"/>
                  </a:lnTo>
                  <a:lnTo>
                    <a:pt x="228" y="60"/>
                  </a:lnTo>
                  <a:lnTo>
                    <a:pt x="228" y="64"/>
                  </a:lnTo>
                  <a:lnTo>
                    <a:pt x="228" y="66"/>
                  </a:lnTo>
                  <a:lnTo>
                    <a:pt x="224" y="66"/>
                  </a:lnTo>
                  <a:lnTo>
                    <a:pt x="224" y="70"/>
                  </a:lnTo>
                  <a:lnTo>
                    <a:pt x="224" y="74"/>
                  </a:lnTo>
                  <a:lnTo>
                    <a:pt x="220" y="74"/>
                  </a:lnTo>
                  <a:lnTo>
                    <a:pt x="220" y="82"/>
                  </a:lnTo>
                  <a:lnTo>
                    <a:pt x="216" y="86"/>
                  </a:lnTo>
                  <a:lnTo>
                    <a:pt x="216" y="90"/>
                  </a:lnTo>
                  <a:lnTo>
                    <a:pt x="216" y="92"/>
                  </a:lnTo>
                  <a:lnTo>
                    <a:pt x="214" y="92"/>
                  </a:lnTo>
                  <a:lnTo>
                    <a:pt x="214" y="96"/>
                  </a:lnTo>
                  <a:lnTo>
                    <a:pt x="214" y="100"/>
                  </a:lnTo>
                  <a:lnTo>
                    <a:pt x="210" y="100"/>
                  </a:lnTo>
                  <a:lnTo>
                    <a:pt x="206" y="100"/>
                  </a:lnTo>
                  <a:lnTo>
                    <a:pt x="202" y="100"/>
                  </a:lnTo>
                  <a:lnTo>
                    <a:pt x="202" y="104"/>
                  </a:lnTo>
                  <a:lnTo>
                    <a:pt x="198" y="104"/>
                  </a:lnTo>
                  <a:lnTo>
                    <a:pt x="194" y="100"/>
                  </a:lnTo>
                  <a:lnTo>
                    <a:pt x="190" y="100"/>
                  </a:lnTo>
                  <a:lnTo>
                    <a:pt x="190" y="96"/>
                  </a:lnTo>
                  <a:lnTo>
                    <a:pt x="186" y="96"/>
                  </a:lnTo>
                  <a:lnTo>
                    <a:pt x="184" y="96"/>
                  </a:lnTo>
                  <a:lnTo>
                    <a:pt x="180" y="100"/>
                  </a:lnTo>
                  <a:lnTo>
                    <a:pt x="180" y="104"/>
                  </a:lnTo>
                  <a:lnTo>
                    <a:pt x="176" y="104"/>
                  </a:lnTo>
                  <a:lnTo>
                    <a:pt x="176" y="108"/>
                  </a:lnTo>
                  <a:lnTo>
                    <a:pt x="172" y="108"/>
                  </a:lnTo>
                  <a:lnTo>
                    <a:pt x="168" y="108"/>
                  </a:lnTo>
                  <a:lnTo>
                    <a:pt x="164" y="108"/>
                  </a:lnTo>
                  <a:lnTo>
                    <a:pt x="160" y="108"/>
                  </a:lnTo>
                  <a:lnTo>
                    <a:pt x="156" y="108"/>
                  </a:lnTo>
                  <a:lnTo>
                    <a:pt x="156" y="112"/>
                  </a:lnTo>
                  <a:lnTo>
                    <a:pt x="154" y="112"/>
                  </a:lnTo>
                  <a:lnTo>
                    <a:pt x="154" y="108"/>
                  </a:lnTo>
                  <a:lnTo>
                    <a:pt x="150" y="104"/>
                  </a:lnTo>
                  <a:lnTo>
                    <a:pt x="146" y="104"/>
                  </a:lnTo>
                  <a:lnTo>
                    <a:pt x="146" y="100"/>
                  </a:lnTo>
                  <a:lnTo>
                    <a:pt x="142" y="96"/>
                  </a:lnTo>
                  <a:lnTo>
                    <a:pt x="142" y="92"/>
                  </a:lnTo>
                  <a:lnTo>
                    <a:pt x="142" y="90"/>
                  </a:lnTo>
                  <a:lnTo>
                    <a:pt x="142" y="92"/>
                  </a:lnTo>
                  <a:lnTo>
                    <a:pt x="146" y="92"/>
                  </a:lnTo>
                  <a:lnTo>
                    <a:pt x="146" y="96"/>
                  </a:lnTo>
                  <a:lnTo>
                    <a:pt x="150" y="96"/>
                  </a:lnTo>
                  <a:lnTo>
                    <a:pt x="154" y="92"/>
                  </a:lnTo>
                  <a:lnTo>
                    <a:pt x="154" y="96"/>
                  </a:lnTo>
                  <a:lnTo>
                    <a:pt x="156" y="96"/>
                  </a:lnTo>
                  <a:lnTo>
                    <a:pt x="156" y="100"/>
                  </a:lnTo>
                  <a:lnTo>
                    <a:pt x="156" y="96"/>
                  </a:lnTo>
                  <a:lnTo>
                    <a:pt x="160" y="96"/>
                  </a:lnTo>
                  <a:lnTo>
                    <a:pt x="160" y="100"/>
                  </a:lnTo>
                  <a:lnTo>
                    <a:pt x="164" y="100"/>
                  </a:lnTo>
                  <a:lnTo>
                    <a:pt x="168" y="100"/>
                  </a:lnTo>
                  <a:lnTo>
                    <a:pt x="164" y="100"/>
                  </a:lnTo>
                  <a:lnTo>
                    <a:pt x="160" y="100"/>
                  </a:lnTo>
                  <a:lnTo>
                    <a:pt x="160" y="96"/>
                  </a:lnTo>
                  <a:lnTo>
                    <a:pt x="164" y="92"/>
                  </a:lnTo>
                  <a:lnTo>
                    <a:pt x="164" y="90"/>
                  </a:lnTo>
                  <a:lnTo>
                    <a:pt x="168" y="90"/>
                  </a:lnTo>
                  <a:lnTo>
                    <a:pt x="164" y="90"/>
                  </a:lnTo>
                  <a:lnTo>
                    <a:pt x="164" y="86"/>
                  </a:lnTo>
                  <a:lnTo>
                    <a:pt x="164" y="82"/>
                  </a:lnTo>
                  <a:lnTo>
                    <a:pt x="164" y="86"/>
                  </a:lnTo>
                  <a:lnTo>
                    <a:pt x="168" y="86"/>
                  </a:lnTo>
                  <a:lnTo>
                    <a:pt x="168" y="82"/>
                  </a:lnTo>
                  <a:lnTo>
                    <a:pt x="168" y="78"/>
                  </a:lnTo>
                  <a:lnTo>
                    <a:pt x="172" y="78"/>
                  </a:lnTo>
                  <a:lnTo>
                    <a:pt x="172" y="74"/>
                  </a:lnTo>
                  <a:lnTo>
                    <a:pt x="176" y="74"/>
                  </a:lnTo>
                  <a:lnTo>
                    <a:pt x="180" y="74"/>
                  </a:lnTo>
                  <a:lnTo>
                    <a:pt x="184" y="74"/>
                  </a:lnTo>
                  <a:lnTo>
                    <a:pt x="186" y="74"/>
                  </a:lnTo>
                  <a:lnTo>
                    <a:pt x="186" y="70"/>
                  </a:lnTo>
                  <a:lnTo>
                    <a:pt x="190" y="70"/>
                  </a:lnTo>
                  <a:lnTo>
                    <a:pt x="194" y="66"/>
                  </a:lnTo>
                  <a:lnTo>
                    <a:pt x="194" y="64"/>
                  </a:lnTo>
                  <a:lnTo>
                    <a:pt x="198" y="60"/>
                  </a:lnTo>
                  <a:lnTo>
                    <a:pt x="198" y="56"/>
                  </a:lnTo>
                  <a:lnTo>
                    <a:pt x="202" y="56"/>
                  </a:lnTo>
                  <a:lnTo>
                    <a:pt x="202" y="52"/>
                  </a:lnTo>
                  <a:lnTo>
                    <a:pt x="206" y="48"/>
                  </a:lnTo>
                  <a:lnTo>
                    <a:pt x="202" y="48"/>
                  </a:lnTo>
                  <a:lnTo>
                    <a:pt x="202" y="44"/>
                  </a:lnTo>
                  <a:lnTo>
                    <a:pt x="206" y="44"/>
                  </a:lnTo>
                  <a:lnTo>
                    <a:pt x="206" y="44"/>
                  </a:lnTo>
                  <a:lnTo>
                    <a:pt x="206" y="44"/>
                  </a:lnTo>
                  <a:close/>
                  <a:moveTo>
                    <a:pt x="4" y="14"/>
                  </a:moveTo>
                  <a:lnTo>
                    <a:pt x="4" y="18"/>
                  </a:lnTo>
                  <a:lnTo>
                    <a:pt x="0" y="14"/>
                  </a:lnTo>
                  <a:lnTo>
                    <a:pt x="4" y="14"/>
                  </a:lnTo>
                  <a:lnTo>
                    <a:pt x="4" y="14"/>
                  </a:lnTo>
                  <a:lnTo>
                    <a:pt x="4" y="14"/>
                  </a:lnTo>
                  <a:close/>
                  <a:moveTo>
                    <a:pt x="12" y="34"/>
                  </a:moveTo>
                  <a:lnTo>
                    <a:pt x="8" y="34"/>
                  </a:lnTo>
                  <a:lnTo>
                    <a:pt x="8" y="30"/>
                  </a:lnTo>
                  <a:lnTo>
                    <a:pt x="12" y="30"/>
                  </a:lnTo>
                  <a:lnTo>
                    <a:pt x="12" y="34"/>
                  </a:lnTo>
                  <a:lnTo>
                    <a:pt x="12" y="34"/>
                  </a:lnTo>
                  <a:lnTo>
                    <a:pt x="12" y="34"/>
                  </a:lnTo>
                  <a:close/>
                  <a:moveTo>
                    <a:pt x="64" y="74"/>
                  </a:moveTo>
                  <a:lnTo>
                    <a:pt x="64" y="78"/>
                  </a:lnTo>
                  <a:lnTo>
                    <a:pt x="68" y="78"/>
                  </a:lnTo>
                  <a:lnTo>
                    <a:pt x="64" y="78"/>
                  </a:lnTo>
                  <a:lnTo>
                    <a:pt x="64" y="74"/>
                  </a:lnTo>
                  <a:lnTo>
                    <a:pt x="64" y="74"/>
                  </a:lnTo>
                  <a:lnTo>
                    <a:pt x="64" y="7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47" name="Freeform 40"/>
            <p:cNvSpPr>
              <a:spLocks noEditPoints="1"/>
            </p:cNvSpPr>
            <p:nvPr/>
          </p:nvSpPr>
          <p:spPr bwMode="auto">
            <a:xfrm>
              <a:off x="7688361" y="4081988"/>
              <a:ext cx="5024" cy="84993"/>
            </a:xfrm>
            <a:custGeom>
              <a:avLst/>
              <a:gdLst>
                <a:gd name="T0" fmla="*/ 0 w 8"/>
                <a:gd name="T1" fmla="*/ 0 h 130"/>
                <a:gd name="T2" fmla="*/ 0 w 8"/>
                <a:gd name="T3" fmla="*/ 0 h 130"/>
                <a:gd name="T4" fmla="*/ 4 w 8"/>
                <a:gd name="T5" fmla="*/ 6 h 130"/>
                <a:gd name="T6" fmla="*/ 4 w 8"/>
                <a:gd name="T7" fmla="*/ 2 h 130"/>
                <a:gd name="T8" fmla="*/ 4 w 8"/>
                <a:gd name="T9" fmla="*/ 2 h 130"/>
                <a:gd name="T10" fmla="*/ 0 w 8"/>
                <a:gd name="T11" fmla="*/ 10 h 130"/>
                <a:gd name="T12" fmla="*/ 0 w 8"/>
                <a:gd name="T13" fmla="*/ 10 h 130"/>
                <a:gd name="T14" fmla="*/ 0 w 8"/>
                <a:gd name="T15" fmla="*/ 18 h 130"/>
                <a:gd name="T16" fmla="*/ 0 w 8"/>
                <a:gd name="T17" fmla="*/ 18 h 130"/>
                <a:gd name="T18" fmla="*/ 4 w 8"/>
                <a:gd name="T19" fmla="*/ 22 h 130"/>
                <a:gd name="T20" fmla="*/ 8 w 8"/>
                <a:gd name="T21" fmla="*/ 22 h 130"/>
                <a:gd name="T22" fmla="*/ 8 w 8"/>
                <a:gd name="T23" fmla="*/ 30 h 130"/>
                <a:gd name="T24" fmla="*/ 8 w 8"/>
                <a:gd name="T25" fmla="*/ 30 h 130"/>
                <a:gd name="T26" fmla="*/ 8 w 8"/>
                <a:gd name="T27" fmla="*/ 30 h 130"/>
                <a:gd name="T28" fmla="*/ 0 w 8"/>
                <a:gd name="T29" fmla="*/ 36 h 130"/>
                <a:gd name="T30" fmla="*/ 0 w 8"/>
                <a:gd name="T31" fmla="*/ 36 h 130"/>
                <a:gd name="T32" fmla="*/ 0 w 8"/>
                <a:gd name="T33" fmla="*/ 44 h 130"/>
                <a:gd name="T34" fmla="*/ 0 w 8"/>
                <a:gd name="T35" fmla="*/ 44 h 130"/>
                <a:gd name="T36" fmla="*/ 8 w 8"/>
                <a:gd name="T37" fmla="*/ 48 h 130"/>
                <a:gd name="T38" fmla="*/ 8 w 8"/>
                <a:gd name="T39" fmla="*/ 48 h 130"/>
                <a:gd name="T40" fmla="*/ 8 w 8"/>
                <a:gd name="T41" fmla="*/ 48 h 130"/>
                <a:gd name="T42" fmla="*/ 8 w 8"/>
                <a:gd name="T43" fmla="*/ 62 h 130"/>
                <a:gd name="T44" fmla="*/ 8 w 8"/>
                <a:gd name="T45" fmla="*/ 62 h 130"/>
                <a:gd name="T46" fmla="*/ 8 w 8"/>
                <a:gd name="T47" fmla="*/ 62 h 130"/>
                <a:gd name="T48" fmla="*/ 0 w 8"/>
                <a:gd name="T49" fmla="*/ 66 h 130"/>
                <a:gd name="T50" fmla="*/ 0 w 8"/>
                <a:gd name="T51" fmla="*/ 66 h 130"/>
                <a:gd name="T52" fmla="*/ 0 w 8"/>
                <a:gd name="T53" fmla="*/ 66 h 130"/>
                <a:gd name="T54" fmla="*/ 0 w 8"/>
                <a:gd name="T55" fmla="*/ 66 h 130"/>
                <a:gd name="T56" fmla="*/ 0 w 8"/>
                <a:gd name="T57" fmla="*/ 70 h 130"/>
                <a:gd name="T58" fmla="*/ 0 w 8"/>
                <a:gd name="T59" fmla="*/ 70 h 130"/>
                <a:gd name="T60" fmla="*/ 8 w 8"/>
                <a:gd name="T61" fmla="*/ 70 h 130"/>
                <a:gd name="T62" fmla="*/ 8 w 8"/>
                <a:gd name="T63" fmla="*/ 70 h 130"/>
                <a:gd name="T64" fmla="*/ 4 w 8"/>
                <a:gd name="T65" fmla="*/ 78 h 130"/>
                <a:gd name="T66" fmla="*/ 4 w 8"/>
                <a:gd name="T67" fmla="*/ 82 h 130"/>
                <a:gd name="T68" fmla="*/ 4 w 8"/>
                <a:gd name="T69" fmla="*/ 78 h 130"/>
                <a:gd name="T70" fmla="*/ 8 w 8"/>
                <a:gd name="T71" fmla="*/ 88 h 130"/>
                <a:gd name="T72" fmla="*/ 8 w 8"/>
                <a:gd name="T73" fmla="*/ 88 h 130"/>
                <a:gd name="T74" fmla="*/ 8 w 8"/>
                <a:gd name="T75" fmla="*/ 88 h 130"/>
                <a:gd name="T76" fmla="*/ 8 w 8"/>
                <a:gd name="T77" fmla="*/ 114 h 130"/>
                <a:gd name="T78" fmla="*/ 8 w 8"/>
                <a:gd name="T79" fmla="*/ 114 h 130"/>
                <a:gd name="T80" fmla="*/ 0 w 8"/>
                <a:gd name="T81" fmla="*/ 118 h 130"/>
                <a:gd name="T82" fmla="*/ 0 w 8"/>
                <a:gd name="T83" fmla="*/ 114 h 130"/>
                <a:gd name="T84" fmla="*/ 8 w 8"/>
                <a:gd name="T85" fmla="*/ 126 h 130"/>
                <a:gd name="T86" fmla="*/ 8 w 8"/>
                <a:gd name="T87" fmla="*/ 126 h 130"/>
                <a:gd name="T88" fmla="*/ 0 w 8"/>
                <a:gd name="T89" fmla="*/ 130 h 130"/>
                <a:gd name="T90" fmla="*/ 0 w 8"/>
                <a:gd name="T91" fmla="*/ 130 h 130"/>
                <a:gd name="T92" fmla="*/ 0 w 8"/>
                <a:gd name="T93"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 h="130">
                  <a:moveTo>
                    <a:pt x="0" y="0"/>
                  </a:moveTo>
                  <a:lnTo>
                    <a:pt x="0" y="0"/>
                  </a:lnTo>
                  <a:lnTo>
                    <a:pt x="0" y="0"/>
                  </a:lnTo>
                  <a:lnTo>
                    <a:pt x="0" y="0"/>
                  </a:lnTo>
                  <a:lnTo>
                    <a:pt x="0" y="0"/>
                  </a:lnTo>
                  <a:lnTo>
                    <a:pt x="0" y="0"/>
                  </a:lnTo>
                  <a:close/>
                  <a:moveTo>
                    <a:pt x="4" y="2"/>
                  </a:moveTo>
                  <a:lnTo>
                    <a:pt x="4" y="6"/>
                  </a:lnTo>
                  <a:lnTo>
                    <a:pt x="4" y="6"/>
                  </a:lnTo>
                  <a:lnTo>
                    <a:pt x="4" y="6"/>
                  </a:lnTo>
                  <a:lnTo>
                    <a:pt x="4" y="6"/>
                  </a:lnTo>
                  <a:lnTo>
                    <a:pt x="4" y="2"/>
                  </a:lnTo>
                  <a:lnTo>
                    <a:pt x="4" y="2"/>
                  </a:lnTo>
                  <a:lnTo>
                    <a:pt x="4" y="2"/>
                  </a:lnTo>
                  <a:lnTo>
                    <a:pt x="4" y="2"/>
                  </a:lnTo>
                  <a:close/>
                  <a:moveTo>
                    <a:pt x="0" y="10"/>
                  </a:moveTo>
                  <a:lnTo>
                    <a:pt x="0" y="10"/>
                  </a:lnTo>
                  <a:lnTo>
                    <a:pt x="0" y="10"/>
                  </a:lnTo>
                  <a:lnTo>
                    <a:pt x="0" y="10"/>
                  </a:lnTo>
                  <a:lnTo>
                    <a:pt x="0" y="10"/>
                  </a:lnTo>
                  <a:lnTo>
                    <a:pt x="0" y="10"/>
                  </a:lnTo>
                  <a:close/>
                  <a:moveTo>
                    <a:pt x="0" y="18"/>
                  </a:moveTo>
                  <a:lnTo>
                    <a:pt x="0" y="18"/>
                  </a:lnTo>
                  <a:lnTo>
                    <a:pt x="0" y="18"/>
                  </a:lnTo>
                  <a:lnTo>
                    <a:pt x="0" y="18"/>
                  </a:lnTo>
                  <a:lnTo>
                    <a:pt x="0" y="18"/>
                  </a:lnTo>
                  <a:lnTo>
                    <a:pt x="0" y="18"/>
                  </a:lnTo>
                  <a:close/>
                  <a:moveTo>
                    <a:pt x="8" y="22"/>
                  </a:moveTo>
                  <a:lnTo>
                    <a:pt x="8" y="22"/>
                  </a:lnTo>
                  <a:lnTo>
                    <a:pt x="4" y="22"/>
                  </a:lnTo>
                  <a:lnTo>
                    <a:pt x="8" y="22"/>
                  </a:lnTo>
                  <a:lnTo>
                    <a:pt x="8" y="22"/>
                  </a:lnTo>
                  <a:lnTo>
                    <a:pt x="8" y="22"/>
                  </a:lnTo>
                  <a:lnTo>
                    <a:pt x="8" y="22"/>
                  </a:lnTo>
                  <a:close/>
                  <a:moveTo>
                    <a:pt x="8" y="30"/>
                  </a:moveTo>
                  <a:lnTo>
                    <a:pt x="8" y="30"/>
                  </a:lnTo>
                  <a:lnTo>
                    <a:pt x="8" y="30"/>
                  </a:lnTo>
                  <a:lnTo>
                    <a:pt x="8" y="30"/>
                  </a:lnTo>
                  <a:lnTo>
                    <a:pt x="8" y="30"/>
                  </a:lnTo>
                  <a:lnTo>
                    <a:pt x="8" y="30"/>
                  </a:lnTo>
                  <a:lnTo>
                    <a:pt x="8" y="30"/>
                  </a:lnTo>
                  <a:lnTo>
                    <a:pt x="8" y="30"/>
                  </a:lnTo>
                  <a:close/>
                  <a:moveTo>
                    <a:pt x="0" y="36"/>
                  </a:moveTo>
                  <a:lnTo>
                    <a:pt x="0" y="36"/>
                  </a:lnTo>
                  <a:lnTo>
                    <a:pt x="0" y="36"/>
                  </a:lnTo>
                  <a:lnTo>
                    <a:pt x="0" y="36"/>
                  </a:lnTo>
                  <a:lnTo>
                    <a:pt x="0" y="36"/>
                  </a:lnTo>
                  <a:lnTo>
                    <a:pt x="0" y="36"/>
                  </a:lnTo>
                  <a:close/>
                  <a:moveTo>
                    <a:pt x="0" y="44"/>
                  </a:moveTo>
                  <a:lnTo>
                    <a:pt x="0" y="44"/>
                  </a:lnTo>
                  <a:lnTo>
                    <a:pt x="0" y="44"/>
                  </a:lnTo>
                  <a:lnTo>
                    <a:pt x="0" y="44"/>
                  </a:lnTo>
                  <a:lnTo>
                    <a:pt x="0" y="44"/>
                  </a:lnTo>
                  <a:lnTo>
                    <a:pt x="0" y="44"/>
                  </a:lnTo>
                  <a:lnTo>
                    <a:pt x="0" y="44"/>
                  </a:lnTo>
                  <a:lnTo>
                    <a:pt x="0" y="44"/>
                  </a:lnTo>
                  <a:close/>
                  <a:moveTo>
                    <a:pt x="8" y="48"/>
                  </a:moveTo>
                  <a:lnTo>
                    <a:pt x="8" y="48"/>
                  </a:lnTo>
                  <a:lnTo>
                    <a:pt x="8" y="48"/>
                  </a:lnTo>
                  <a:lnTo>
                    <a:pt x="8" y="48"/>
                  </a:lnTo>
                  <a:lnTo>
                    <a:pt x="8" y="48"/>
                  </a:lnTo>
                  <a:lnTo>
                    <a:pt x="8" y="48"/>
                  </a:lnTo>
                  <a:lnTo>
                    <a:pt x="8" y="48"/>
                  </a:lnTo>
                  <a:close/>
                  <a:moveTo>
                    <a:pt x="8" y="62"/>
                  </a:moveTo>
                  <a:lnTo>
                    <a:pt x="8" y="62"/>
                  </a:lnTo>
                  <a:lnTo>
                    <a:pt x="8" y="62"/>
                  </a:lnTo>
                  <a:lnTo>
                    <a:pt x="8" y="62"/>
                  </a:lnTo>
                  <a:lnTo>
                    <a:pt x="8" y="62"/>
                  </a:lnTo>
                  <a:lnTo>
                    <a:pt x="8" y="62"/>
                  </a:lnTo>
                  <a:lnTo>
                    <a:pt x="8" y="62"/>
                  </a:lnTo>
                  <a:lnTo>
                    <a:pt x="8" y="62"/>
                  </a:lnTo>
                  <a:lnTo>
                    <a:pt x="8" y="62"/>
                  </a:lnTo>
                  <a:lnTo>
                    <a:pt x="8" y="62"/>
                  </a:lnTo>
                  <a:lnTo>
                    <a:pt x="8" y="62"/>
                  </a:lnTo>
                  <a:close/>
                  <a:moveTo>
                    <a:pt x="0" y="66"/>
                  </a:moveTo>
                  <a:lnTo>
                    <a:pt x="0" y="66"/>
                  </a:lnTo>
                  <a:lnTo>
                    <a:pt x="0" y="66"/>
                  </a:lnTo>
                  <a:lnTo>
                    <a:pt x="0" y="66"/>
                  </a:lnTo>
                  <a:lnTo>
                    <a:pt x="0" y="66"/>
                  </a:lnTo>
                  <a:lnTo>
                    <a:pt x="0" y="66"/>
                  </a:lnTo>
                  <a:lnTo>
                    <a:pt x="0" y="66"/>
                  </a:lnTo>
                  <a:lnTo>
                    <a:pt x="0" y="66"/>
                  </a:lnTo>
                  <a:lnTo>
                    <a:pt x="0" y="66"/>
                  </a:lnTo>
                  <a:lnTo>
                    <a:pt x="0" y="66"/>
                  </a:lnTo>
                  <a:lnTo>
                    <a:pt x="0" y="66"/>
                  </a:lnTo>
                  <a:lnTo>
                    <a:pt x="0" y="66"/>
                  </a:lnTo>
                  <a:close/>
                  <a:moveTo>
                    <a:pt x="0" y="70"/>
                  </a:moveTo>
                  <a:lnTo>
                    <a:pt x="0" y="70"/>
                  </a:lnTo>
                  <a:lnTo>
                    <a:pt x="0" y="70"/>
                  </a:lnTo>
                  <a:lnTo>
                    <a:pt x="0" y="70"/>
                  </a:lnTo>
                  <a:lnTo>
                    <a:pt x="0" y="70"/>
                  </a:lnTo>
                  <a:lnTo>
                    <a:pt x="0" y="70"/>
                  </a:lnTo>
                  <a:close/>
                  <a:moveTo>
                    <a:pt x="8" y="70"/>
                  </a:moveTo>
                  <a:lnTo>
                    <a:pt x="8" y="70"/>
                  </a:lnTo>
                  <a:lnTo>
                    <a:pt x="8" y="70"/>
                  </a:lnTo>
                  <a:lnTo>
                    <a:pt x="8" y="70"/>
                  </a:lnTo>
                  <a:lnTo>
                    <a:pt x="8" y="70"/>
                  </a:lnTo>
                  <a:lnTo>
                    <a:pt x="8" y="70"/>
                  </a:lnTo>
                  <a:close/>
                  <a:moveTo>
                    <a:pt x="4" y="78"/>
                  </a:moveTo>
                  <a:lnTo>
                    <a:pt x="4" y="78"/>
                  </a:lnTo>
                  <a:lnTo>
                    <a:pt x="4" y="78"/>
                  </a:lnTo>
                  <a:lnTo>
                    <a:pt x="4" y="82"/>
                  </a:lnTo>
                  <a:lnTo>
                    <a:pt x="4" y="78"/>
                  </a:lnTo>
                  <a:lnTo>
                    <a:pt x="4" y="78"/>
                  </a:lnTo>
                  <a:lnTo>
                    <a:pt x="4" y="78"/>
                  </a:lnTo>
                  <a:lnTo>
                    <a:pt x="4" y="78"/>
                  </a:lnTo>
                  <a:close/>
                  <a:moveTo>
                    <a:pt x="8" y="88"/>
                  </a:moveTo>
                  <a:lnTo>
                    <a:pt x="8" y="88"/>
                  </a:lnTo>
                  <a:lnTo>
                    <a:pt x="8" y="88"/>
                  </a:lnTo>
                  <a:lnTo>
                    <a:pt x="8" y="88"/>
                  </a:lnTo>
                  <a:lnTo>
                    <a:pt x="8" y="88"/>
                  </a:lnTo>
                  <a:lnTo>
                    <a:pt x="8" y="88"/>
                  </a:lnTo>
                  <a:lnTo>
                    <a:pt x="8" y="88"/>
                  </a:lnTo>
                  <a:lnTo>
                    <a:pt x="8" y="88"/>
                  </a:lnTo>
                  <a:close/>
                  <a:moveTo>
                    <a:pt x="8" y="114"/>
                  </a:moveTo>
                  <a:lnTo>
                    <a:pt x="8" y="114"/>
                  </a:lnTo>
                  <a:lnTo>
                    <a:pt x="8" y="114"/>
                  </a:lnTo>
                  <a:lnTo>
                    <a:pt x="8" y="114"/>
                  </a:lnTo>
                  <a:lnTo>
                    <a:pt x="8" y="114"/>
                  </a:lnTo>
                  <a:lnTo>
                    <a:pt x="8" y="114"/>
                  </a:lnTo>
                  <a:close/>
                  <a:moveTo>
                    <a:pt x="0" y="114"/>
                  </a:moveTo>
                  <a:lnTo>
                    <a:pt x="0" y="114"/>
                  </a:lnTo>
                  <a:lnTo>
                    <a:pt x="0" y="118"/>
                  </a:lnTo>
                  <a:lnTo>
                    <a:pt x="0" y="114"/>
                  </a:lnTo>
                  <a:lnTo>
                    <a:pt x="0" y="114"/>
                  </a:lnTo>
                  <a:lnTo>
                    <a:pt x="0" y="114"/>
                  </a:lnTo>
                  <a:lnTo>
                    <a:pt x="0" y="114"/>
                  </a:lnTo>
                  <a:close/>
                  <a:moveTo>
                    <a:pt x="8" y="126"/>
                  </a:moveTo>
                  <a:lnTo>
                    <a:pt x="8" y="126"/>
                  </a:lnTo>
                  <a:lnTo>
                    <a:pt x="8" y="126"/>
                  </a:lnTo>
                  <a:lnTo>
                    <a:pt x="8" y="126"/>
                  </a:lnTo>
                  <a:lnTo>
                    <a:pt x="8" y="126"/>
                  </a:lnTo>
                  <a:lnTo>
                    <a:pt x="8" y="126"/>
                  </a:lnTo>
                  <a:lnTo>
                    <a:pt x="8" y="126"/>
                  </a:lnTo>
                  <a:close/>
                  <a:moveTo>
                    <a:pt x="0" y="130"/>
                  </a:moveTo>
                  <a:lnTo>
                    <a:pt x="0" y="130"/>
                  </a:lnTo>
                  <a:lnTo>
                    <a:pt x="0" y="130"/>
                  </a:lnTo>
                  <a:lnTo>
                    <a:pt x="0" y="130"/>
                  </a:lnTo>
                  <a:lnTo>
                    <a:pt x="0" y="130"/>
                  </a:lnTo>
                  <a:lnTo>
                    <a:pt x="0" y="130"/>
                  </a:lnTo>
                  <a:lnTo>
                    <a:pt x="0" y="130"/>
                  </a:lnTo>
                  <a:lnTo>
                    <a:pt x="0" y="130"/>
                  </a:lnTo>
                  <a:lnTo>
                    <a:pt x="0" y="13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48" name="Freeform 41"/>
            <p:cNvSpPr>
              <a:spLocks/>
            </p:cNvSpPr>
            <p:nvPr/>
          </p:nvSpPr>
          <p:spPr bwMode="auto">
            <a:xfrm>
              <a:off x="7818981" y="3535419"/>
              <a:ext cx="286359" cy="138604"/>
            </a:xfrm>
            <a:custGeom>
              <a:avLst/>
              <a:gdLst>
                <a:gd name="T0" fmla="*/ 400 w 456"/>
                <a:gd name="T1" fmla="*/ 134 h 212"/>
                <a:gd name="T2" fmla="*/ 376 w 456"/>
                <a:gd name="T3" fmla="*/ 142 h 212"/>
                <a:gd name="T4" fmla="*/ 358 w 456"/>
                <a:gd name="T5" fmla="*/ 150 h 212"/>
                <a:gd name="T6" fmla="*/ 336 w 456"/>
                <a:gd name="T7" fmla="*/ 154 h 212"/>
                <a:gd name="T8" fmla="*/ 340 w 456"/>
                <a:gd name="T9" fmla="*/ 176 h 212"/>
                <a:gd name="T10" fmla="*/ 324 w 456"/>
                <a:gd name="T11" fmla="*/ 186 h 212"/>
                <a:gd name="T12" fmla="*/ 310 w 456"/>
                <a:gd name="T13" fmla="*/ 198 h 212"/>
                <a:gd name="T14" fmla="*/ 280 w 456"/>
                <a:gd name="T15" fmla="*/ 198 h 212"/>
                <a:gd name="T16" fmla="*/ 254 w 456"/>
                <a:gd name="T17" fmla="*/ 208 h 212"/>
                <a:gd name="T18" fmla="*/ 228 w 456"/>
                <a:gd name="T19" fmla="*/ 208 h 212"/>
                <a:gd name="T20" fmla="*/ 202 w 456"/>
                <a:gd name="T21" fmla="*/ 198 h 212"/>
                <a:gd name="T22" fmla="*/ 180 w 456"/>
                <a:gd name="T23" fmla="*/ 190 h 212"/>
                <a:gd name="T24" fmla="*/ 152 w 456"/>
                <a:gd name="T25" fmla="*/ 194 h 212"/>
                <a:gd name="T26" fmla="*/ 128 w 456"/>
                <a:gd name="T27" fmla="*/ 190 h 212"/>
                <a:gd name="T28" fmla="*/ 112 w 456"/>
                <a:gd name="T29" fmla="*/ 176 h 212"/>
                <a:gd name="T30" fmla="*/ 98 w 456"/>
                <a:gd name="T31" fmla="*/ 160 h 212"/>
                <a:gd name="T32" fmla="*/ 84 w 456"/>
                <a:gd name="T33" fmla="*/ 150 h 212"/>
                <a:gd name="T34" fmla="*/ 60 w 456"/>
                <a:gd name="T35" fmla="*/ 146 h 212"/>
                <a:gd name="T36" fmla="*/ 42 w 456"/>
                <a:gd name="T37" fmla="*/ 134 h 212"/>
                <a:gd name="T38" fmla="*/ 50 w 456"/>
                <a:gd name="T39" fmla="*/ 112 h 212"/>
                <a:gd name="T40" fmla="*/ 38 w 456"/>
                <a:gd name="T41" fmla="*/ 98 h 212"/>
                <a:gd name="T42" fmla="*/ 28 w 456"/>
                <a:gd name="T43" fmla="*/ 86 h 212"/>
                <a:gd name="T44" fmla="*/ 8 w 456"/>
                <a:gd name="T45" fmla="*/ 74 h 212"/>
                <a:gd name="T46" fmla="*/ 4 w 456"/>
                <a:gd name="T47" fmla="*/ 60 h 212"/>
                <a:gd name="T48" fmla="*/ 20 w 456"/>
                <a:gd name="T49" fmla="*/ 52 h 212"/>
                <a:gd name="T50" fmla="*/ 28 w 456"/>
                <a:gd name="T51" fmla="*/ 48 h 212"/>
                <a:gd name="T52" fmla="*/ 42 w 456"/>
                <a:gd name="T53" fmla="*/ 38 h 212"/>
                <a:gd name="T54" fmla="*/ 56 w 456"/>
                <a:gd name="T55" fmla="*/ 30 h 212"/>
                <a:gd name="T56" fmla="*/ 76 w 456"/>
                <a:gd name="T57" fmla="*/ 26 h 212"/>
                <a:gd name="T58" fmla="*/ 94 w 456"/>
                <a:gd name="T59" fmla="*/ 34 h 212"/>
                <a:gd name="T60" fmla="*/ 110 w 456"/>
                <a:gd name="T61" fmla="*/ 44 h 212"/>
                <a:gd name="T62" fmla="*/ 136 w 456"/>
                <a:gd name="T63" fmla="*/ 48 h 212"/>
                <a:gd name="T64" fmla="*/ 150 w 456"/>
                <a:gd name="T65" fmla="*/ 38 h 212"/>
                <a:gd name="T66" fmla="*/ 146 w 456"/>
                <a:gd name="T67" fmla="*/ 12 h 212"/>
                <a:gd name="T68" fmla="*/ 156 w 456"/>
                <a:gd name="T69" fmla="*/ 4 h 212"/>
                <a:gd name="T70" fmla="*/ 176 w 456"/>
                <a:gd name="T71" fmla="*/ 8 h 212"/>
                <a:gd name="T72" fmla="*/ 198 w 456"/>
                <a:gd name="T73" fmla="*/ 12 h 212"/>
                <a:gd name="T74" fmla="*/ 206 w 456"/>
                <a:gd name="T75" fmla="*/ 30 h 212"/>
                <a:gd name="T76" fmla="*/ 220 w 456"/>
                <a:gd name="T77" fmla="*/ 42 h 212"/>
                <a:gd name="T78" fmla="*/ 242 w 456"/>
                <a:gd name="T79" fmla="*/ 34 h 212"/>
                <a:gd name="T80" fmla="*/ 262 w 456"/>
                <a:gd name="T81" fmla="*/ 38 h 212"/>
                <a:gd name="T82" fmla="*/ 288 w 456"/>
                <a:gd name="T83" fmla="*/ 44 h 212"/>
                <a:gd name="T84" fmla="*/ 306 w 456"/>
                <a:gd name="T85" fmla="*/ 56 h 212"/>
                <a:gd name="T86" fmla="*/ 332 w 456"/>
                <a:gd name="T87" fmla="*/ 60 h 212"/>
                <a:gd name="T88" fmla="*/ 354 w 456"/>
                <a:gd name="T89" fmla="*/ 52 h 212"/>
                <a:gd name="T90" fmla="*/ 370 w 456"/>
                <a:gd name="T91" fmla="*/ 42 h 212"/>
                <a:gd name="T92" fmla="*/ 388 w 456"/>
                <a:gd name="T93" fmla="*/ 42 h 212"/>
                <a:gd name="T94" fmla="*/ 410 w 456"/>
                <a:gd name="T95" fmla="*/ 44 h 212"/>
                <a:gd name="T96" fmla="*/ 400 w 456"/>
                <a:gd name="T97" fmla="*/ 68 h 212"/>
                <a:gd name="T98" fmla="*/ 396 w 456"/>
                <a:gd name="T99" fmla="*/ 86 h 212"/>
                <a:gd name="T100" fmla="*/ 414 w 456"/>
                <a:gd name="T101" fmla="*/ 90 h 212"/>
                <a:gd name="T102" fmla="*/ 436 w 456"/>
                <a:gd name="T103" fmla="*/ 86 h 212"/>
                <a:gd name="T104" fmla="*/ 456 w 456"/>
                <a:gd name="T105" fmla="*/ 104 h 212"/>
                <a:gd name="T106" fmla="*/ 440 w 456"/>
                <a:gd name="T107" fmla="*/ 108 h 212"/>
                <a:gd name="T108" fmla="*/ 422 w 456"/>
                <a:gd name="T109" fmla="*/ 116 h 212"/>
                <a:gd name="T110" fmla="*/ 410 w 456"/>
                <a:gd name="T111" fmla="*/ 12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212">
                  <a:moveTo>
                    <a:pt x="410" y="120"/>
                  </a:moveTo>
                  <a:lnTo>
                    <a:pt x="406" y="120"/>
                  </a:lnTo>
                  <a:lnTo>
                    <a:pt x="406" y="124"/>
                  </a:lnTo>
                  <a:lnTo>
                    <a:pt x="402" y="128"/>
                  </a:lnTo>
                  <a:lnTo>
                    <a:pt x="402" y="130"/>
                  </a:lnTo>
                  <a:lnTo>
                    <a:pt x="400" y="130"/>
                  </a:lnTo>
                  <a:lnTo>
                    <a:pt x="400" y="134"/>
                  </a:lnTo>
                  <a:lnTo>
                    <a:pt x="396" y="134"/>
                  </a:lnTo>
                  <a:lnTo>
                    <a:pt x="396" y="138"/>
                  </a:lnTo>
                  <a:lnTo>
                    <a:pt x="392" y="138"/>
                  </a:lnTo>
                  <a:lnTo>
                    <a:pt x="388" y="138"/>
                  </a:lnTo>
                  <a:lnTo>
                    <a:pt x="384" y="138"/>
                  </a:lnTo>
                  <a:lnTo>
                    <a:pt x="380" y="138"/>
                  </a:lnTo>
                  <a:lnTo>
                    <a:pt x="376" y="142"/>
                  </a:lnTo>
                  <a:lnTo>
                    <a:pt x="376" y="146"/>
                  </a:lnTo>
                  <a:lnTo>
                    <a:pt x="374" y="146"/>
                  </a:lnTo>
                  <a:lnTo>
                    <a:pt x="370" y="146"/>
                  </a:lnTo>
                  <a:lnTo>
                    <a:pt x="370" y="150"/>
                  </a:lnTo>
                  <a:lnTo>
                    <a:pt x="366" y="150"/>
                  </a:lnTo>
                  <a:lnTo>
                    <a:pt x="362" y="150"/>
                  </a:lnTo>
                  <a:lnTo>
                    <a:pt x="358" y="150"/>
                  </a:lnTo>
                  <a:lnTo>
                    <a:pt x="354" y="150"/>
                  </a:lnTo>
                  <a:lnTo>
                    <a:pt x="350" y="146"/>
                  </a:lnTo>
                  <a:lnTo>
                    <a:pt x="346" y="146"/>
                  </a:lnTo>
                  <a:lnTo>
                    <a:pt x="344" y="146"/>
                  </a:lnTo>
                  <a:lnTo>
                    <a:pt x="340" y="146"/>
                  </a:lnTo>
                  <a:lnTo>
                    <a:pt x="340" y="150"/>
                  </a:lnTo>
                  <a:lnTo>
                    <a:pt x="336" y="154"/>
                  </a:lnTo>
                  <a:lnTo>
                    <a:pt x="336" y="158"/>
                  </a:lnTo>
                  <a:lnTo>
                    <a:pt x="336" y="160"/>
                  </a:lnTo>
                  <a:lnTo>
                    <a:pt x="340" y="164"/>
                  </a:lnTo>
                  <a:lnTo>
                    <a:pt x="344" y="168"/>
                  </a:lnTo>
                  <a:lnTo>
                    <a:pt x="344" y="172"/>
                  </a:lnTo>
                  <a:lnTo>
                    <a:pt x="340" y="172"/>
                  </a:lnTo>
                  <a:lnTo>
                    <a:pt x="340" y="176"/>
                  </a:lnTo>
                  <a:lnTo>
                    <a:pt x="336" y="176"/>
                  </a:lnTo>
                  <a:lnTo>
                    <a:pt x="332" y="176"/>
                  </a:lnTo>
                  <a:lnTo>
                    <a:pt x="332" y="180"/>
                  </a:lnTo>
                  <a:lnTo>
                    <a:pt x="328" y="180"/>
                  </a:lnTo>
                  <a:lnTo>
                    <a:pt x="328" y="184"/>
                  </a:lnTo>
                  <a:lnTo>
                    <a:pt x="324" y="184"/>
                  </a:lnTo>
                  <a:lnTo>
                    <a:pt x="324" y="186"/>
                  </a:lnTo>
                  <a:lnTo>
                    <a:pt x="320" y="186"/>
                  </a:lnTo>
                  <a:lnTo>
                    <a:pt x="320" y="190"/>
                  </a:lnTo>
                  <a:lnTo>
                    <a:pt x="318" y="190"/>
                  </a:lnTo>
                  <a:lnTo>
                    <a:pt x="318" y="194"/>
                  </a:lnTo>
                  <a:lnTo>
                    <a:pt x="314" y="194"/>
                  </a:lnTo>
                  <a:lnTo>
                    <a:pt x="310" y="194"/>
                  </a:lnTo>
                  <a:lnTo>
                    <a:pt x="310" y="198"/>
                  </a:lnTo>
                  <a:lnTo>
                    <a:pt x="306" y="198"/>
                  </a:lnTo>
                  <a:lnTo>
                    <a:pt x="302" y="198"/>
                  </a:lnTo>
                  <a:lnTo>
                    <a:pt x="298" y="198"/>
                  </a:lnTo>
                  <a:lnTo>
                    <a:pt x="294" y="198"/>
                  </a:lnTo>
                  <a:lnTo>
                    <a:pt x="290" y="198"/>
                  </a:lnTo>
                  <a:lnTo>
                    <a:pt x="284" y="198"/>
                  </a:lnTo>
                  <a:lnTo>
                    <a:pt x="280" y="198"/>
                  </a:lnTo>
                  <a:lnTo>
                    <a:pt x="276" y="198"/>
                  </a:lnTo>
                  <a:lnTo>
                    <a:pt x="272" y="198"/>
                  </a:lnTo>
                  <a:lnTo>
                    <a:pt x="268" y="198"/>
                  </a:lnTo>
                  <a:lnTo>
                    <a:pt x="264" y="200"/>
                  </a:lnTo>
                  <a:lnTo>
                    <a:pt x="262" y="204"/>
                  </a:lnTo>
                  <a:lnTo>
                    <a:pt x="258" y="204"/>
                  </a:lnTo>
                  <a:lnTo>
                    <a:pt x="254" y="208"/>
                  </a:lnTo>
                  <a:lnTo>
                    <a:pt x="250" y="208"/>
                  </a:lnTo>
                  <a:lnTo>
                    <a:pt x="246" y="208"/>
                  </a:lnTo>
                  <a:lnTo>
                    <a:pt x="242" y="212"/>
                  </a:lnTo>
                  <a:lnTo>
                    <a:pt x="238" y="212"/>
                  </a:lnTo>
                  <a:lnTo>
                    <a:pt x="238" y="208"/>
                  </a:lnTo>
                  <a:lnTo>
                    <a:pt x="232" y="208"/>
                  </a:lnTo>
                  <a:lnTo>
                    <a:pt x="228" y="208"/>
                  </a:lnTo>
                  <a:lnTo>
                    <a:pt x="220" y="208"/>
                  </a:lnTo>
                  <a:lnTo>
                    <a:pt x="220" y="204"/>
                  </a:lnTo>
                  <a:lnTo>
                    <a:pt x="216" y="204"/>
                  </a:lnTo>
                  <a:lnTo>
                    <a:pt x="212" y="200"/>
                  </a:lnTo>
                  <a:lnTo>
                    <a:pt x="208" y="200"/>
                  </a:lnTo>
                  <a:lnTo>
                    <a:pt x="202" y="200"/>
                  </a:lnTo>
                  <a:lnTo>
                    <a:pt x="202" y="198"/>
                  </a:lnTo>
                  <a:lnTo>
                    <a:pt x="198" y="194"/>
                  </a:lnTo>
                  <a:lnTo>
                    <a:pt x="194" y="194"/>
                  </a:lnTo>
                  <a:lnTo>
                    <a:pt x="190" y="194"/>
                  </a:lnTo>
                  <a:lnTo>
                    <a:pt x="186" y="194"/>
                  </a:lnTo>
                  <a:lnTo>
                    <a:pt x="186" y="190"/>
                  </a:lnTo>
                  <a:lnTo>
                    <a:pt x="182" y="190"/>
                  </a:lnTo>
                  <a:lnTo>
                    <a:pt x="180" y="190"/>
                  </a:lnTo>
                  <a:lnTo>
                    <a:pt x="176" y="194"/>
                  </a:lnTo>
                  <a:lnTo>
                    <a:pt x="172" y="194"/>
                  </a:lnTo>
                  <a:lnTo>
                    <a:pt x="168" y="194"/>
                  </a:lnTo>
                  <a:lnTo>
                    <a:pt x="164" y="194"/>
                  </a:lnTo>
                  <a:lnTo>
                    <a:pt x="160" y="194"/>
                  </a:lnTo>
                  <a:lnTo>
                    <a:pt x="156" y="194"/>
                  </a:lnTo>
                  <a:lnTo>
                    <a:pt x="152" y="194"/>
                  </a:lnTo>
                  <a:lnTo>
                    <a:pt x="150" y="194"/>
                  </a:lnTo>
                  <a:lnTo>
                    <a:pt x="146" y="190"/>
                  </a:lnTo>
                  <a:lnTo>
                    <a:pt x="142" y="190"/>
                  </a:lnTo>
                  <a:lnTo>
                    <a:pt x="138" y="190"/>
                  </a:lnTo>
                  <a:lnTo>
                    <a:pt x="136" y="190"/>
                  </a:lnTo>
                  <a:lnTo>
                    <a:pt x="132" y="190"/>
                  </a:lnTo>
                  <a:lnTo>
                    <a:pt x="128" y="190"/>
                  </a:lnTo>
                  <a:lnTo>
                    <a:pt x="124" y="190"/>
                  </a:lnTo>
                  <a:lnTo>
                    <a:pt x="124" y="186"/>
                  </a:lnTo>
                  <a:lnTo>
                    <a:pt x="120" y="184"/>
                  </a:lnTo>
                  <a:lnTo>
                    <a:pt x="116" y="184"/>
                  </a:lnTo>
                  <a:lnTo>
                    <a:pt x="116" y="180"/>
                  </a:lnTo>
                  <a:lnTo>
                    <a:pt x="116" y="176"/>
                  </a:lnTo>
                  <a:lnTo>
                    <a:pt x="112" y="176"/>
                  </a:lnTo>
                  <a:lnTo>
                    <a:pt x="112" y="172"/>
                  </a:lnTo>
                  <a:lnTo>
                    <a:pt x="112" y="168"/>
                  </a:lnTo>
                  <a:lnTo>
                    <a:pt x="112" y="164"/>
                  </a:lnTo>
                  <a:lnTo>
                    <a:pt x="110" y="164"/>
                  </a:lnTo>
                  <a:lnTo>
                    <a:pt x="110" y="160"/>
                  </a:lnTo>
                  <a:lnTo>
                    <a:pt x="106" y="160"/>
                  </a:lnTo>
                  <a:lnTo>
                    <a:pt x="98" y="160"/>
                  </a:lnTo>
                  <a:lnTo>
                    <a:pt x="98" y="158"/>
                  </a:lnTo>
                  <a:lnTo>
                    <a:pt x="94" y="158"/>
                  </a:lnTo>
                  <a:lnTo>
                    <a:pt x="94" y="154"/>
                  </a:lnTo>
                  <a:lnTo>
                    <a:pt x="90" y="154"/>
                  </a:lnTo>
                  <a:lnTo>
                    <a:pt x="90" y="150"/>
                  </a:lnTo>
                  <a:lnTo>
                    <a:pt x="86" y="150"/>
                  </a:lnTo>
                  <a:lnTo>
                    <a:pt x="84" y="150"/>
                  </a:lnTo>
                  <a:lnTo>
                    <a:pt x="84" y="146"/>
                  </a:lnTo>
                  <a:lnTo>
                    <a:pt x="80" y="146"/>
                  </a:lnTo>
                  <a:lnTo>
                    <a:pt x="76" y="146"/>
                  </a:lnTo>
                  <a:lnTo>
                    <a:pt x="72" y="146"/>
                  </a:lnTo>
                  <a:lnTo>
                    <a:pt x="68" y="146"/>
                  </a:lnTo>
                  <a:lnTo>
                    <a:pt x="64" y="146"/>
                  </a:lnTo>
                  <a:lnTo>
                    <a:pt x="60" y="146"/>
                  </a:lnTo>
                  <a:lnTo>
                    <a:pt x="54" y="146"/>
                  </a:lnTo>
                  <a:lnTo>
                    <a:pt x="54" y="142"/>
                  </a:lnTo>
                  <a:lnTo>
                    <a:pt x="50" y="142"/>
                  </a:lnTo>
                  <a:lnTo>
                    <a:pt x="46" y="142"/>
                  </a:lnTo>
                  <a:lnTo>
                    <a:pt x="46" y="138"/>
                  </a:lnTo>
                  <a:lnTo>
                    <a:pt x="42" y="138"/>
                  </a:lnTo>
                  <a:lnTo>
                    <a:pt x="42" y="134"/>
                  </a:lnTo>
                  <a:lnTo>
                    <a:pt x="42" y="130"/>
                  </a:lnTo>
                  <a:lnTo>
                    <a:pt x="46" y="128"/>
                  </a:lnTo>
                  <a:lnTo>
                    <a:pt x="46" y="124"/>
                  </a:lnTo>
                  <a:lnTo>
                    <a:pt x="46" y="120"/>
                  </a:lnTo>
                  <a:lnTo>
                    <a:pt x="50" y="116"/>
                  </a:lnTo>
                  <a:lnTo>
                    <a:pt x="46" y="112"/>
                  </a:lnTo>
                  <a:lnTo>
                    <a:pt x="50" y="112"/>
                  </a:lnTo>
                  <a:lnTo>
                    <a:pt x="46" y="112"/>
                  </a:lnTo>
                  <a:lnTo>
                    <a:pt x="46" y="108"/>
                  </a:lnTo>
                  <a:lnTo>
                    <a:pt x="46" y="104"/>
                  </a:lnTo>
                  <a:lnTo>
                    <a:pt x="42" y="104"/>
                  </a:lnTo>
                  <a:lnTo>
                    <a:pt x="42" y="100"/>
                  </a:lnTo>
                  <a:lnTo>
                    <a:pt x="38" y="100"/>
                  </a:lnTo>
                  <a:lnTo>
                    <a:pt x="38" y="98"/>
                  </a:lnTo>
                  <a:lnTo>
                    <a:pt x="38" y="94"/>
                  </a:lnTo>
                  <a:lnTo>
                    <a:pt x="38" y="90"/>
                  </a:lnTo>
                  <a:lnTo>
                    <a:pt x="34" y="90"/>
                  </a:lnTo>
                  <a:lnTo>
                    <a:pt x="34" y="86"/>
                  </a:lnTo>
                  <a:lnTo>
                    <a:pt x="30" y="86"/>
                  </a:lnTo>
                  <a:lnTo>
                    <a:pt x="30" y="90"/>
                  </a:lnTo>
                  <a:lnTo>
                    <a:pt x="28" y="86"/>
                  </a:lnTo>
                  <a:lnTo>
                    <a:pt x="24" y="86"/>
                  </a:lnTo>
                  <a:lnTo>
                    <a:pt x="20" y="86"/>
                  </a:lnTo>
                  <a:lnTo>
                    <a:pt x="20" y="82"/>
                  </a:lnTo>
                  <a:lnTo>
                    <a:pt x="16" y="82"/>
                  </a:lnTo>
                  <a:lnTo>
                    <a:pt x="12" y="82"/>
                  </a:lnTo>
                  <a:lnTo>
                    <a:pt x="12" y="78"/>
                  </a:lnTo>
                  <a:lnTo>
                    <a:pt x="8" y="74"/>
                  </a:lnTo>
                  <a:lnTo>
                    <a:pt x="4" y="74"/>
                  </a:lnTo>
                  <a:lnTo>
                    <a:pt x="4" y="72"/>
                  </a:lnTo>
                  <a:lnTo>
                    <a:pt x="0" y="68"/>
                  </a:lnTo>
                  <a:lnTo>
                    <a:pt x="4" y="64"/>
                  </a:lnTo>
                  <a:lnTo>
                    <a:pt x="0" y="64"/>
                  </a:lnTo>
                  <a:lnTo>
                    <a:pt x="0" y="60"/>
                  </a:lnTo>
                  <a:lnTo>
                    <a:pt x="4" y="60"/>
                  </a:lnTo>
                  <a:lnTo>
                    <a:pt x="8" y="60"/>
                  </a:lnTo>
                  <a:lnTo>
                    <a:pt x="4" y="56"/>
                  </a:lnTo>
                  <a:lnTo>
                    <a:pt x="8" y="56"/>
                  </a:lnTo>
                  <a:lnTo>
                    <a:pt x="12" y="56"/>
                  </a:lnTo>
                  <a:lnTo>
                    <a:pt x="16" y="56"/>
                  </a:lnTo>
                  <a:lnTo>
                    <a:pt x="16" y="52"/>
                  </a:lnTo>
                  <a:lnTo>
                    <a:pt x="20" y="52"/>
                  </a:lnTo>
                  <a:lnTo>
                    <a:pt x="20" y="56"/>
                  </a:lnTo>
                  <a:lnTo>
                    <a:pt x="20" y="52"/>
                  </a:lnTo>
                  <a:lnTo>
                    <a:pt x="24" y="52"/>
                  </a:lnTo>
                  <a:lnTo>
                    <a:pt x="28" y="52"/>
                  </a:lnTo>
                  <a:lnTo>
                    <a:pt x="28" y="48"/>
                  </a:lnTo>
                  <a:lnTo>
                    <a:pt x="30" y="48"/>
                  </a:lnTo>
                  <a:lnTo>
                    <a:pt x="28" y="48"/>
                  </a:lnTo>
                  <a:lnTo>
                    <a:pt x="28" y="44"/>
                  </a:lnTo>
                  <a:lnTo>
                    <a:pt x="30" y="44"/>
                  </a:lnTo>
                  <a:lnTo>
                    <a:pt x="34" y="44"/>
                  </a:lnTo>
                  <a:lnTo>
                    <a:pt x="34" y="42"/>
                  </a:lnTo>
                  <a:lnTo>
                    <a:pt x="38" y="42"/>
                  </a:lnTo>
                  <a:lnTo>
                    <a:pt x="38" y="38"/>
                  </a:lnTo>
                  <a:lnTo>
                    <a:pt x="42" y="38"/>
                  </a:lnTo>
                  <a:lnTo>
                    <a:pt x="42" y="42"/>
                  </a:lnTo>
                  <a:lnTo>
                    <a:pt x="42" y="38"/>
                  </a:lnTo>
                  <a:lnTo>
                    <a:pt x="46" y="38"/>
                  </a:lnTo>
                  <a:lnTo>
                    <a:pt x="46" y="34"/>
                  </a:lnTo>
                  <a:lnTo>
                    <a:pt x="50" y="34"/>
                  </a:lnTo>
                  <a:lnTo>
                    <a:pt x="54" y="34"/>
                  </a:lnTo>
                  <a:lnTo>
                    <a:pt x="56" y="30"/>
                  </a:lnTo>
                  <a:lnTo>
                    <a:pt x="60" y="30"/>
                  </a:lnTo>
                  <a:lnTo>
                    <a:pt x="64" y="30"/>
                  </a:lnTo>
                  <a:lnTo>
                    <a:pt x="64" y="26"/>
                  </a:lnTo>
                  <a:lnTo>
                    <a:pt x="68" y="26"/>
                  </a:lnTo>
                  <a:lnTo>
                    <a:pt x="72" y="30"/>
                  </a:lnTo>
                  <a:lnTo>
                    <a:pt x="72" y="26"/>
                  </a:lnTo>
                  <a:lnTo>
                    <a:pt x="76" y="26"/>
                  </a:lnTo>
                  <a:lnTo>
                    <a:pt x="76" y="30"/>
                  </a:lnTo>
                  <a:lnTo>
                    <a:pt x="80" y="30"/>
                  </a:lnTo>
                  <a:lnTo>
                    <a:pt x="84" y="30"/>
                  </a:lnTo>
                  <a:lnTo>
                    <a:pt x="86" y="30"/>
                  </a:lnTo>
                  <a:lnTo>
                    <a:pt x="90" y="30"/>
                  </a:lnTo>
                  <a:lnTo>
                    <a:pt x="94" y="30"/>
                  </a:lnTo>
                  <a:lnTo>
                    <a:pt x="94" y="34"/>
                  </a:lnTo>
                  <a:lnTo>
                    <a:pt x="94" y="38"/>
                  </a:lnTo>
                  <a:lnTo>
                    <a:pt x="94" y="42"/>
                  </a:lnTo>
                  <a:lnTo>
                    <a:pt x="98" y="42"/>
                  </a:lnTo>
                  <a:lnTo>
                    <a:pt x="98" y="44"/>
                  </a:lnTo>
                  <a:lnTo>
                    <a:pt x="102" y="42"/>
                  </a:lnTo>
                  <a:lnTo>
                    <a:pt x="106" y="44"/>
                  </a:lnTo>
                  <a:lnTo>
                    <a:pt x="110" y="44"/>
                  </a:lnTo>
                  <a:lnTo>
                    <a:pt x="112" y="44"/>
                  </a:lnTo>
                  <a:lnTo>
                    <a:pt x="116" y="44"/>
                  </a:lnTo>
                  <a:lnTo>
                    <a:pt x="120" y="44"/>
                  </a:lnTo>
                  <a:lnTo>
                    <a:pt x="124" y="44"/>
                  </a:lnTo>
                  <a:lnTo>
                    <a:pt x="128" y="44"/>
                  </a:lnTo>
                  <a:lnTo>
                    <a:pt x="132" y="44"/>
                  </a:lnTo>
                  <a:lnTo>
                    <a:pt x="136" y="48"/>
                  </a:lnTo>
                  <a:lnTo>
                    <a:pt x="138" y="48"/>
                  </a:lnTo>
                  <a:lnTo>
                    <a:pt x="138" y="44"/>
                  </a:lnTo>
                  <a:lnTo>
                    <a:pt x="142" y="44"/>
                  </a:lnTo>
                  <a:lnTo>
                    <a:pt x="146" y="44"/>
                  </a:lnTo>
                  <a:lnTo>
                    <a:pt x="146" y="42"/>
                  </a:lnTo>
                  <a:lnTo>
                    <a:pt x="150" y="42"/>
                  </a:lnTo>
                  <a:lnTo>
                    <a:pt x="150" y="38"/>
                  </a:lnTo>
                  <a:lnTo>
                    <a:pt x="150" y="34"/>
                  </a:lnTo>
                  <a:lnTo>
                    <a:pt x="146" y="30"/>
                  </a:lnTo>
                  <a:lnTo>
                    <a:pt x="146" y="26"/>
                  </a:lnTo>
                  <a:lnTo>
                    <a:pt x="142" y="22"/>
                  </a:lnTo>
                  <a:lnTo>
                    <a:pt x="146" y="18"/>
                  </a:lnTo>
                  <a:lnTo>
                    <a:pt x="146" y="14"/>
                  </a:lnTo>
                  <a:lnTo>
                    <a:pt x="146" y="12"/>
                  </a:lnTo>
                  <a:lnTo>
                    <a:pt x="150" y="12"/>
                  </a:lnTo>
                  <a:lnTo>
                    <a:pt x="150" y="14"/>
                  </a:lnTo>
                  <a:lnTo>
                    <a:pt x="150" y="12"/>
                  </a:lnTo>
                  <a:lnTo>
                    <a:pt x="150" y="8"/>
                  </a:lnTo>
                  <a:lnTo>
                    <a:pt x="152" y="8"/>
                  </a:lnTo>
                  <a:lnTo>
                    <a:pt x="156" y="8"/>
                  </a:lnTo>
                  <a:lnTo>
                    <a:pt x="156" y="4"/>
                  </a:lnTo>
                  <a:lnTo>
                    <a:pt x="156" y="0"/>
                  </a:lnTo>
                  <a:lnTo>
                    <a:pt x="160" y="0"/>
                  </a:lnTo>
                  <a:lnTo>
                    <a:pt x="164" y="4"/>
                  </a:lnTo>
                  <a:lnTo>
                    <a:pt x="168" y="4"/>
                  </a:lnTo>
                  <a:lnTo>
                    <a:pt x="172" y="4"/>
                  </a:lnTo>
                  <a:lnTo>
                    <a:pt x="172" y="8"/>
                  </a:lnTo>
                  <a:lnTo>
                    <a:pt x="176" y="8"/>
                  </a:lnTo>
                  <a:lnTo>
                    <a:pt x="180" y="8"/>
                  </a:lnTo>
                  <a:lnTo>
                    <a:pt x="182" y="8"/>
                  </a:lnTo>
                  <a:lnTo>
                    <a:pt x="186" y="12"/>
                  </a:lnTo>
                  <a:lnTo>
                    <a:pt x="190" y="12"/>
                  </a:lnTo>
                  <a:lnTo>
                    <a:pt x="194" y="14"/>
                  </a:lnTo>
                  <a:lnTo>
                    <a:pt x="194" y="12"/>
                  </a:lnTo>
                  <a:lnTo>
                    <a:pt x="198" y="12"/>
                  </a:lnTo>
                  <a:lnTo>
                    <a:pt x="198" y="14"/>
                  </a:lnTo>
                  <a:lnTo>
                    <a:pt x="202" y="14"/>
                  </a:lnTo>
                  <a:lnTo>
                    <a:pt x="206" y="14"/>
                  </a:lnTo>
                  <a:lnTo>
                    <a:pt x="206" y="18"/>
                  </a:lnTo>
                  <a:lnTo>
                    <a:pt x="206" y="22"/>
                  </a:lnTo>
                  <a:lnTo>
                    <a:pt x="206" y="26"/>
                  </a:lnTo>
                  <a:lnTo>
                    <a:pt x="206" y="30"/>
                  </a:lnTo>
                  <a:lnTo>
                    <a:pt x="206" y="34"/>
                  </a:lnTo>
                  <a:lnTo>
                    <a:pt x="208" y="34"/>
                  </a:lnTo>
                  <a:lnTo>
                    <a:pt x="212" y="34"/>
                  </a:lnTo>
                  <a:lnTo>
                    <a:pt x="212" y="38"/>
                  </a:lnTo>
                  <a:lnTo>
                    <a:pt x="216" y="38"/>
                  </a:lnTo>
                  <a:lnTo>
                    <a:pt x="220" y="38"/>
                  </a:lnTo>
                  <a:lnTo>
                    <a:pt x="220" y="42"/>
                  </a:lnTo>
                  <a:lnTo>
                    <a:pt x="224" y="42"/>
                  </a:lnTo>
                  <a:lnTo>
                    <a:pt x="228" y="42"/>
                  </a:lnTo>
                  <a:lnTo>
                    <a:pt x="232" y="42"/>
                  </a:lnTo>
                  <a:lnTo>
                    <a:pt x="236" y="42"/>
                  </a:lnTo>
                  <a:lnTo>
                    <a:pt x="236" y="38"/>
                  </a:lnTo>
                  <a:lnTo>
                    <a:pt x="238" y="38"/>
                  </a:lnTo>
                  <a:lnTo>
                    <a:pt x="242" y="34"/>
                  </a:lnTo>
                  <a:lnTo>
                    <a:pt x="246" y="38"/>
                  </a:lnTo>
                  <a:lnTo>
                    <a:pt x="246" y="34"/>
                  </a:lnTo>
                  <a:lnTo>
                    <a:pt x="250" y="34"/>
                  </a:lnTo>
                  <a:lnTo>
                    <a:pt x="254" y="34"/>
                  </a:lnTo>
                  <a:lnTo>
                    <a:pt x="258" y="34"/>
                  </a:lnTo>
                  <a:lnTo>
                    <a:pt x="258" y="38"/>
                  </a:lnTo>
                  <a:lnTo>
                    <a:pt x="262" y="38"/>
                  </a:lnTo>
                  <a:lnTo>
                    <a:pt x="264" y="38"/>
                  </a:lnTo>
                  <a:lnTo>
                    <a:pt x="268" y="38"/>
                  </a:lnTo>
                  <a:lnTo>
                    <a:pt x="272" y="42"/>
                  </a:lnTo>
                  <a:lnTo>
                    <a:pt x="276" y="44"/>
                  </a:lnTo>
                  <a:lnTo>
                    <a:pt x="280" y="44"/>
                  </a:lnTo>
                  <a:lnTo>
                    <a:pt x="284" y="44"/>
                  </a:lnTo>
                  <a:lnTo>
                    <a:pt x="288" y="44"/>
                  </a:lnTo>
                  <a:lnTo>
                    <a:pt x="288" y="48"/>
                  </a:lnTo>
                  <a:lnTo>
                    <a:pt x="288" y="52"/>
                  </a:lnTo>
                  <a:lnTo>
                    <a:pt x="290" y="56"/>
                  </a:lnTo>
                  <a:lnTo>
                    <a:pt x="294" y="56"/>
                  </a:lnTo>
                  <a:lnTo>
                    <a:pt x="298" y="56"/>
                  </a:lnTo>
                  <a:lnTo>
                    <a:pt x="302" y="56"/>
                  </a:lnTo>
                  <a:lnTo>
                    <a:pt x="306" y="56"/>
                  </a:lnTo>
                  <a:lnTo>
                    <a:pt x="310" y="60"/>
                  </a:lnTo>
                  <a:lnTo>
                    <a:pt x="314" y="60"/>
                  </a:lnTo>
                  <a:lnTo>
                    <a:pt x="318" y="60"/>
                  </a:lnTo>
                  <a:lnTo>
                    <a:pt x="320" y="60"/>
                  </a:lnTo>
                  <a:lnTo>
                    <a:pt x="324" y="60"/>
                  </a:lnTo>
                  <a:lnTo>
                    <a:pt x="328" y="60"/>
                  </a:lnTo>
                  <a:lnTo>
                    <a:pt x="332" y="60"/>
                  </a:lnTo>
                  <a:lnTo>
                    <a:pt x="332" y="56"/>
                  </a:lnTo>
                  <a:lnTo>
                    <a:pt x="336" y="56"/>
                  </a:lnTo>
                  <a:lnTo>
                    <a:pt x="340" y="56"/>
                  </a:lnTo>
                  <a:lnTo>
                    <a:pt x="344" y="56"/>
                  </a:lnTo>
                  <a:lnTo>
                    <a:pt x="346" y="56"/>
                  </a:lnTo>
                  <a:lnTo>
                    <a:pt x="350" y="52"/>
                  </a:lnTo>
                  <a:lnTo>
                    <a:pt x="354" y="52"/>
                  </a:lnTo>
                  <a:lnTo>
                    <a:pt x="354" y="56"/>
                  </a:lnTo>
                  <a:lnTo>
                    <a:pt x="354" y="52"/>
                  </a:lnTo>
                  <a:lnTo>
                    <a:pt x="358" y="52"/>
                  </a:lnTo>
                  <a:lnTo>
                    <a:pt x="362" y="48"/>
                  </a:lnTo>
                  <a:lnTo>
                    <a:pt x="362" y="44"/>
                  </a:lnTo>
                  <a:lnTo>
                    <a:pt x="366" y="44"/>
                  </a:lnTo>
                  <a:lnTo>
                    <a:pt x="370" y="42"/>
                  </a:lnTo>
                  <a:lnTo>
                    <a:pt x="374" y="42"/>
                  </a:lnTo>
                  <a:lnTo>
                    <a:pt x="374" y="38"/>
                  </a:lnTo>
                  <a:lnTo>
                    <a:pt x="376" y="38"/>
                  </a:lnTo>
                  <a:lnTo>
                    <a:pt x="380" y="38"/>
                  </a:lnTo>
                  <a:lnTo>
                    <a:pt x="384" y="38"/>
                  </a:lnTo>
                  <a:lnTo>
                    <a:pt x="384" y="42"/>
                  </a:lnTo>
                  <a:lnTo>
                    <a:pt x="388" y="42"/>
                  </a:lnTo>
                  <a:lnTo>
                    <a:pt x="388" y="44"/>
                  </a:lnTo>
                  <a:lnTo>
                    <a:pt x="392" y="44"/>
                  </a:lnTo>
                  <a:lnTo>
                    <a:pt x="396" y="44"/>
                  </a:lnTo>
                  <a:lnTo>
                    <a:pt x="400" y="44"/>
                  </a:lnTo>
                  <a:lnTo>
                    <a:pt x="402" y="44"/>
                  </a:lnTo>
                  <a:lnTo>
                    <a:pt x="406" y="44"/>
                  </a:lnTo>
                  <a:lnTo>
                    <a:pt x="410" y="44"/>
                  </a:lnTo>
                  <a:lnTo>
                    <a:pt x="410" y="48"/>
                  </a:lnTo>
                  <a:lnTo>
                    <a:pt x="406" y="52"/>
                  </a:lnTo>
                  <a:lnTo>
                    <a:pt x="406" y="56"/>
                  </a:lnTo>
                  <a:lnTo>
                    <a:pt x="406" y="60"/>
                  </a:lnTo>
                  <a:lnTo>
                    <a:pt x="402" y="60"/>
                  </a:lnTo>
                  <a:lnTo>
                    <a:pt x="402" y="64"/>
                  </a:lnTo>
                  <a:lnTo>
                    <a:pt x="400" y="68"/>
                  </a:lnTo>
                  <a:lnTo>
                    <a:pt x="402" y="68"/>
                  </a:lnTo>
                  <a:lnTo>
                    <a:pt x="400" y="72"/>
                  </a:lnTo>
                  <a:lnTo>
                    <a:pt x="396" y="74"/>
                  </a:lnTo>
                  <a:lnTo>
                    <a:pt x="400" y="78"/>
                  </a:lnTo>
                  <a:lnTo>
                    <a:pt x="396" y="82"/>
                  </a:lnTo>
                  <a:lnTo>
                    <a:pt x="392" y="82"/>
                  </a:lnTo>
                  <a:lnTo>
                    <a:pt x="396" y="86"/>
                  </a:lnTo>
                  <a:lnTo>
                    <a:pt x="400" y="90"/>
                  </a:lnTo>
                  <a:lnTo>
                    <a:pt x="402" y="90"/>
                  </a:lnTo>
                  <a:lnTo>
                    <a:pt x="402" y="86"/>
                  </a:lnTo>
                  <a:lnTo>
                    <a:pt x="406" y="90"/>
                  </a:lnTo>
                  <a:lnTo>
                    <a:pt x="410" y="86"/>
                  </a:lnTo>
                  <a:lnTo>
                    <a:pt x="414" y="86"/>
                  </a:lnTo>
                  <a:lnTo>
                    <a:pt x="414" y="90"/>
                  </a:lnTo>
                  <a:lnTo>
                    <a:pt x="418" y="94"/>
                  </a:lnTo>
                  <a:lnTo>
                    <a:pt x="422" y="90"/>
                  </a:lnTo>
                  <a:lnTo>
                    <a:pt x="422" y="86"/>
                  </a:lnTo>
                  <a:lnTo>
                    <a:pt x="426" y="86"/>
                  </a:lnTo>
                  <a:lnTo>
                    <a:pt x="428" y="86"/>
                  </a:lnTo>
                  <a:lnTo>
                    <a:pt x="432" y="86"/>
                  </a:lnTo>
                  <a:lnTo>
                    <a:pt x="436" y="86"/>
                  </a:lnTo>
                  <a:lnTo>
                    <a:pt x="440" y="90"/>
                  </a:lnTo>
                  <a:lnTo>
                    <a:pt x="444" y="94"/>
                  </a:lnTo>
                  <a:lnTo>
                    <a:pt x="448" y="94"/>
                  </a:lnTo>
                  <a:lnTo>
                    <a:pt x="448" y="98"/>
                  </a:lnTo>
                  <a:lnTo>
                    <a:pt x="448" y="100"/>
                  </a:lnTo>
                  <a:lnTo>
                    <a:pt x="452" y="100"/>
                  </a:lnTo>
                  <a:lnTo>
                    <a:pt x="456" y="104"/>
                  </a:lnTo>
                  <a:lnTo>
                    <a:pt x="456" y="108"/>
                  </a:lnTo>
                  <a:lnTo>
                    <a:pt x="456" y="112"/>
                  </a:lnTo>
                  <a:lnTo>
                    <a:pt x="452" y="112"/>
                  </a:lnTo>
                  <a:lnTo>
                    <a:pt x="448" y="112"/>
                  </a:lnTo>
                  <a:lnTo>
                    <a:pt x="444" y="112"/>
                  </a:lnTo>
                  <a:lnTo>
                    <a:pt x="440" y="112"/>
                  </a:lnTo>
                  <a:lnTo>
                    <a:pt x="440" y="108"/>
                  </a:lnTo>
                  <a:lnTo>
                    <a:pt x="440" y="112"/>
                  </a:lnTo>
                  <a:lnTo>
                    <a:pt x="436" y="112"/>
                  </a:lnTo>
                  <a:lnTo>
                    <a:pt x="432" y="112"/>
                  </a:lnTo>
                  <a:lnTo>
                    <a:pt x="428" y="112"/>
                  </a:lnTo>
                  <a:lnTo>
                    <a:pt x="426" y="112"/>
                  </a:lnTo>
                  <a:lnTo>
                    <a:pt x="426" y="116"/>
                  </a:lnTo>
                  <a:lnTo>
                    <a:pt x="422" y="116"/>
                  </a:lnTo>
                  <a:lnTo>
                    <a:pt x="422" y="112"/>
                  </a:lnTo>
                  <a:lnTo>
                    <a:pt x="422" y="116"/>
                  </a:lnTo>
                  <a:lnTo>
                    <a:pt x="418" y="116"/>
                  </a:lnTo>
                  <a:lnTo>
                    <a:pt x="418" y="120"/>
                  </a:lnTo>
                  <a:lnTo>
                    <a:pt x="414" y="120"/>
                  </a:lnTo>
                  <a:lnTo>
                    <a:pt x="410" y="120"/>
                  </a:lnTo>
                  <a:lnTo>
                    <a:pt x="410" y="120"/>
                  </a:lnTo>
                  <a:lnTo>
                    <a:pt x="410" y="12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49" name="Freeform 42"/>
            <p:cNvSpPr>
              <a:spLocks noEditPoints="1"/>
            </p:cNvSpPr>
            <p:nvPr/>
          </p:nvSpPr>
          <p:spPr bwMode="auto">
            <a:xfrm>
              <a:off x="7859172" y="3834855"/>
              <a:ext cx="79126" cy="214444"/>
            </a:xfrm>
            <a:custGeom>
              <a:avLst/>
              <a:gdLst>
                <a:gd name="T0" fmla="*/ 88 w 126"/>
                <a:gd name="T1" fmla="*/ 314 h 328"/>
                <a:gd name="T2" fmla="*/ 88 w 126"/>
                <a:gd name="T3" fmla="*/ 294 h 328"/>
                <a:gd name="T4" fmla="*/ 88 w 126"/>
                <a:gd name="T5" fmla="*/ 280 h 328"/>
                <a:gd name="T6" fmla="*/ 86 w 126"/>
                <a:gd name="T7" fmla="*/ 262 h 328"/>
                <a:gd name="T8" fmla="*/ 78 w 126"/>
                <a:gd name="T9" fmla="*/ 242 h 328"/>
                <a:gd name="T10" fmla="*/ 78 w 126"/>
                <a:gd name="T11" fmla="*/ 220 h 328"/>
                <a:gd name="T12" fmla="*/ 72 w 126"/>
                <a:gd name="T13" fmla="*/ 202 h 328"/>
                <a:gd name="T14" fmla="*/ 64 w 126"/>
                <a:gd name="T15" fmla="*/ 208 h 328"/>
                <a:gd name="T16" fmla="*/ 56 w 126"/>
                <a:gd name="T17" fmla="*/ 216 h 328"/>
                <a:gd name="T18" fmla="*/ 42 w 126"/>
                <a:gd name="T19" fmla="*/ 224 h 328"/>
                <a:gd name="T20" fmla="*/ 38 w 126"/>
                <a:gd name="T21" fmla="*/ 228 h 328"/>
                <a:gd name="T22" fmla="*/ 34 w 126"/>
                <a:gd name="T23" fmla="*/ 220 h 328"/>
                <a:gd name="T24" fmla="*/ 30 w 126"/>
                <a:gd name="T25" fmla="*/ 208 h 328"/>
                <a:gd name="T26" fmla="*/ 30 w 126"/>
                <a:gd name="T27" fmla="*/ 182 h 328"/>
                <a:gd name="T28" fmla="*/ 22 w 126"/>
                <a:gd name="T29" fmla="*/ 164 h 328"/>
                <a:gd name="T30" fmla="*/ 18 w 126"/>
                <a:gd name="T31" fmla="*/ 152 h 328"/>
                <a:gd name="T32" fmla="*/ 12 w 126"/>
                <a:gd name="T33" fmla="*/ 152 h 328"/>
                <a:gd name="T34" fmla="*/ 12 w 126"/>
                <a:gd name="T35" fmla="*/ 146 h 328"/>
                <a:gd name="T36" fmla="*/ 8 w 126"/>
                <a:gd name="T37" fmla="*/ 146 h 328"/>
                <a:gd name="T38" fmla="*/ 4 w 126"/>
                <a:gd name="T39" fmla="*/ 128 h 328"/>
                <a:gd name="T40" fmla="*/ 12 w 126"/>
                <a:gd name="T41" fmla="*/ 116 h 328"/>
                <a:gd name="T42" fmla="*/ 12 w 126"/>
                <a:gd name="T43" fmla="*/ 102 h 328"/>
                <a:gd name="T44" fmla="*/ 16 w 126"/>
                <a:gd name="T45" fmla="*/ 82 h 328"/>
                <a:gd name="T46" fmla="*/ 30 w 126"/>
                <a:gd name="T47" fmla="*/ 80 h 328"/>
                <a:gd name="T48" fmla="*/ 38 w 126"/>
                <a:gd name="T49" fmla="*/ 54 h 328"/>
                <a:gd name="T50" fmla="*/ 46 w 126"/>
                <a:gd name="T51" fmla="*/ 30 h 328"/>
                <a:gd name="T52" fmla="*/ 72 w 126"/>
                <a:gd name="T53" fmla="*/ 26 h 328"/>
                <a:gd name="T54" fmla="*/ 72 w 126"/>
                <a:gd name="T55" fmla="*/ 4 h 328"/>
                <a:gd name="T56" fmla="*/ 86 w 126"/>
                <a:gd name="T57" fmla="*/ 12 h 328"/>
                <a:gd name="T58" fmla="*/ 92 w 126"/>
                <a:gd name="T59" fmla="*/ 26 h 328"/>
                <a:gd name="T60" fmla="*/ 92 w 126"/>
                <a:gd name="T61" fmla="*/ 50 h 328"/>
                <a:gd name="T62" fmla="*/ 78 w 126"/>
                <a:gd name="T63" fmla="*/ 68 h 328"/>
                <a:gd name="T64" fmla="*/ 78 w 126"/>
                <a:gd name="T65" fmla="*/ 82 h 328"/>
                <a:gd name="T66" fmla="*/ 92 w 126"/>
                <a:gd name="T67" fmla="*/ 82 h 328"/>
                <a:gd name="T68" fmla="*/ 104 w 126"/>
                <a:gd name="T69" fmla="*/ 98 h 328"/>
                <a:gd name="T70" fmla="*/ 104 w 126"/>
                <a:gd name="T71" fmla="*/ 116 h 328"/>
                <a:gd name="T72" fmla="*/ 122 w 126"/>
                <a:gd name="T73" fmla="*/ 124 h 328"/>
                <a:gd name="T74" fmla="*/ 114 w 126"/>
                <a:gd name="T75" fmla="*/ 138 h 328"/>
                <a:gd name="T76" fmla="*/ 104 w 126"/>
                <a:gd name="T77" fmla="*/ 150 h 328"/>
                <a:gd name="T78" fmla="*/ 88 w 126"/>
                <a:gd name="T79" fmla="*/ 156 h 328"/>
                <a:gd name="T80" fmla="*/ 78 w 126"/>
                <a:gd name="T81" fmla="*/ 176 h 328"/>
                <a:gd name="T82" fmla="*/ 78 w 126"/>
                <a:gd name="T83" fmla="*/ 186 h 328"/>
                <a:gd name="T84" fmla="*/ 88 w 126"/>
                <a:gd name="T85" fmla="*/ 206 h 328"/>
                <a:gd name="T86" fmla="*/ 88 w 126"/>
                <a:gd name="T87" fmla="*/ 228 h 328"/>
                <a:gd name="T88" fmla="*/ 88 w 126"/>
                <a:gd name="T89" fmla="*/ 250 h 328"/>
                <a:gd name="T90" fmla="*/ 100 w 126"/>
                <a:gd name="T91" fmla="*/ 268 h 328"/>
                <a:gd name="T92" fmla="*/ 104 w 126"/>
                <a:gd name="T93" fmla="*/ 294 h 328"/>
                <a:gd name="T94" fmla="*/ 92 w 126"/>
                <a:gd name="T95" fmla="*/ 314 h 328"/>
                <a:gd name="T96" fmla="*/ 22 w 126"/>
                <a:gd name="T97" fmla="*/ 164 h 328"/>
                <a:gd name="T98" fmla="*/ 8 w 126"/>
                <a:gd name="T99" fmla="*/ 146 h 328"/>
                <a:gd name="T100" fmla="*/ 26 w 126"/>
                <a:gd name="T101" fmla="*/ 164 h 328"/>
                <a:gd name="T102" fmla="*/ 74 w 126"/>
                <a:gd name="T103" fmla="*/ 212 h 328"/>
                <a:gd name="T104" fmla="*/ 34 w 126"/>
                <a:gd name="T105" fmla="*/ 224 h 328"/>
                <a:gd name="T106" fmla="*/ 82 w 126"/>
                <a:gd name="T107" fmla="*/ 290 h 328"/>
                <a:gd name="T108" fmla="*/ 86 w 126"/>
                <a:gd name="T109" fmla="*/ 328 h 328"/>
                <a:gd name="T110" fmla="*/ 86 w 126"/>
                <a:gd name="T111" fmla="*/ 288 h 328"/>
                <a:gd name="T112" fmla="*/ 82 w 126"/>
                <a:gd name="T113" fmla="*/ 284 h 328"/>
                <a:gd name="T114" fmla="*/ 88 w 126"/>
                <a:gd name="T115" fmla="*/ 290 h 328"/>
                <a:gd name="T116" fmla="*/ 86 w 126"/>
                <a:gd name="T117" fmla="*/ 302 h 328"/>
                <a:gd name="T118" fmla="*/ 82 w 126"/>
                <a:gd name="T119" fmla="*/ 31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 h="328">
                  <a:moveTo>
                    <a:pt x="92" y="314"/>
                  </a:moveTo>
                  <a:lnTo>
                    <a:pt x="92" y="318"/>
                  </a:lnTo>
                  <a:lnTo>
                    <a:pt x="92" y="320"/>
                  </a:lnTo>
                  <a:lnTo>
                    <a:pt x="88" y="324"/>
                  </a:lnTo>
                  <a:lnTo>
                    <a:pt x="88" y="328"/>
                  </a:lnTo>
                  <a:lnTo>
                    <a:pt x="88" y="324"/>
                  </a:lnTo>
                  <a:lnTo>
                    <a:pt x="88" y="320"/>
                  </a:lnTo>
                  <a:lnTo>
                    <a:pt x="88" y="314"/>
                  </a:lnTo>
                  <a:lnTo>
                    <a:pt x="92" y="310"/>
                  </a:lnTo>
                  <a:lnTo>
                    <a:pt x="92" y="306"/>
                  </a:lnTo>
                  <a:lnTo>
                    <a:pt x="92" y="302"/>
                  </a:lnTo>
                  <a:lnTo>
                    <a:pt x="92" y="298"/>
                  </a:lnTo>
                  <a:lnTo>
                    <a:pt x="92" y="294"/>
                  </a:lnTo>
                  <a:lnTo>
                    <a:pt x="92" y="298"/>
                  </a:lnTo>
                  <a:lnTo>
                    <a:pt x="88" y="298"/>
                  </a:lnTo>
                  <a:lnTo>
                    <a:pt x="88" y="294"/>
                  </a:lnTo>
                  <a:lnTo>
                    <a:pt x="92" y="290"/>
                  </a:lnTo>
                  <a:lnTo>
                    <a:pt x="88" y="290"/>
                  </a:lnTo>
                  <a:lnTo>
                    <a:pt x="92" y="288"/>
                  </a:lnTo>
                  <a:lnTo>
                    <a:pt x="88" y="288"/>
                  </a:lnTo>
                  <a:lnTo>
                    <a:pt x="92" y="288"/>
                  </a:lnTo>
                  <a:lnTo>
                    <a:pt x="88" y="288"/>
                  </a:lnTo>
                  <a:lnTo>
                    <a:pt x="88" y="284"/>
                  </a:lnTo>
                  <a:lnTo>
                    <a:pt x="88" y="280"/>
                  </a:lnTo>
                  <a:lnTo>
                    <a:pt x="88" y="276"/>
                  </a:lnTo>
                  <a:lnTo>
                    <a:pt x="88" y="272"/>
                  </a:lnTo>
                  <a:lnTo>
                    <a:pt x="88" y="268"/>
                  </a:lnTo>
                  <a:lnTo>
                    <a:pt x="88" y="264"/>
                  </a:lnTo>
                  <a:lnTo>
                    <a:pt x="86" y="264"/>
                  </a:lnTo>
                  <a:lnTo>
                    <a:pt x="86" y="262"/>
                  </a:lnTo>
                  <a:lnTo>
                    <a:pt x="86" y="258"/>
                  </a:lnTo>
                  <a:lnTo>
                    <a:pt x="86" y="262"/>
                  </a:lnTo>
                  <a:lnTo>
                    <a:pt x="86" y="264"/>
                  </a:lnTo>
                  <a:lnTo>
                    <a:pt x="82" y="264"/>
                  </a:lnTo>
                  <a:lnTo>
                    <a:pt x="82" y="262"/>
                  </a:lnTo>
                  <a:lnTo>
                    <a:pt x="82" y="258"/>
                  </a:lnTo>
                  <a:lnTo>
                    <a:pt x="82" y="254"/>
                  </a:lnTo>
                  <a:lnTo>
                    <a:pt x="82" y="250"/>
                  </a:lnTo>
                  <a:lnTo>
                    <a:pt x="78" y="246"/>
                  </a:lnTo>
                  <a:lnTo>
                    <a:pt x="78" y="242"/>
                  </a:lnTo>
                  <a:lnTo>
                    <a:pt x="78" y="238"/>
                  </a:lnTo>
                  <a:lnTo>
                    <a:pt x="78" y="234"/>
                  </a:lnTo>
                  <a:lnTo>
                    <a:pt x="78" y="232"/>
                  </a:lnTo>
                  <a:lnTo>
                    <a:pt x="78" y="228"/>
                  </a:lnTo>
                  <a:lnTo>
                    <a:pt x="78" y="224"/>
                  </a:lnTo>
                  <a:lnTo>
                    <a:pt x="74" y="224"/>
                  </a:lnTo>
                  <a:lnTo>
                    <a:pt x="74" y="220"/>
                  </a:lnTo>
                  <a:lnTo>
                    <a:pt x="78" y="220"/>
                  </a:lnTo>
                  <a:lnTo>
                    <a:pt x="78" y="216"/>
                  </a:lnTo>
                  <a:lnTo>
                    <a:pt x="74" y="216"/>
                  </a:lnTo>
                  <a:lnTo>
                    <a:pt x="78" y="212"/>
                  </a:lnTo>
                  <a:lnTo>
                    <a:pt x="74" y="212"/>
                  </a:lnTo>
                  <a:lnTo>
                    <a:pt x="72" y="212"/>
                  </a:lnTo>
                  <a:lnTo>
                    <a:pt x="72" y="208"/>
                  </a:lnTo>
                  <a:lnTo>
                    <a:pt x="72" y="206"/>
                  </a:lnTo>
                  <a:lnTo>
                    <a:pt x="72" y="202"/>
                  </a:lnTo>
                  <a:lnTo>
                    <a:pt x="68" y="202"/>
                  </a:lnTo>
                  <a:lnTo>
                    <a:pt x="68" y="198"/>
                  </a:lnTo>
                  <a:lnTo>
                    <a:pt x="68" y="202"/>
                  </a:lnTo>
                  <a:lnTo>
                    <a:pt x="68" y="206"/>
                  </a:lnTo>
                  <a:lnTo>
                    <a:pt x="64" y="206"/>
                  </a:lnTo>
                  <a:lnTo>
                    <a:pt x="64" y="208"/>
                  </a:lnTo>
                  <a:lnTo>
                    <a:pt x="68" y="208"/>
                  </a:lnTo>
                  <a:lnTo>
                    <a:pt x="64" y="208"/>
                  </a:lnTo>
                  <a:lnTo>
                    <a:pt x="64" y="212"/>
                  </a:lnTo>
                  <a:lnTo>
                    <a:pt x="60" y="212"/>
                  </a:lnTo>
                  <a:lnTo>
                    <a:pt x="56" y="212"/>
                  </a:lnTo>
                  <a:lnTo>
                    <a:pt x="56" y="208"/>
                  </a:lnTo>
                  <a:lnTo>
                    <a:pt x="56" y="212"/>
                  </a:lnTo>
                  <a:lnTo>
                    <a:pt x="56" y="216"/>
                  </a:lnTo>
                  <a:lnTo>
                    <a:pt x="52" y="216"/>
                  </a:lnTo>
                  <a:lnTo>
                    <a:pt x="56" y="216"/>
                  </a:lnTo>
                  <a:lnTo>
                    <a:pt x="52" y="220"/>
                  </a:lnTo>
                  <a:lnTo>
                    <a:pt x="48" y="220"/>
                  </a:lnTo>
                  <a:lnTo>
                    <a:pt x="48" y="224"/>
                  </a:lnTo>
                  <a:lnTo>
                    <a:pt x="46" y="228"/>
                  </a:lnTo>
                  <a:lnTo>
                    <a:pt x="46" y="224"/>
                  </a:lnTo>
                  <a:lnTo>
                    <a:pt x="46" y="220"/>
                  </a:lnTo>
                  <a:lnTo>
                    <a:pt x="46" y="224"/>
                  </a:lnTo>
                  <a:lnTo>
                    <a:pt x="42" y="224"/>
                  </a:lnTo>
                  <a:lnTo>
                    <a:pt x="46" y="224"/>
                  </a:lnTo>
                  <a:lnTo>
                    <a:pt x="42" y="224"/>
                  </a:lnTo>
                  <a:lnTo>
                    <a:pt x="42" y="228"/>
                  </a:lnTo>
                  <a:lnTo>
                    <a:pt x="42" y="224"/>
                  </a:lnTo>
                  <a:lnTo>
                    <a:pt x="42" y="220"/>
                  </a:lnTo>
                  <a:lnTo>
                    <a:pt x="42" y="224"/>
                  </a:lnTo>
                  <a:lnTo>
                    <a:pt x="42" y="228"/>
                  </a:lnTo>
                  <a:lnTo>
                    <a:pt x="38" y="228"/>
                  </a:lnTo>
                  <a:lnTo>
                    <a:pt x="38" y="224"/>
                  </a:lnTo>
                  <a:lnTo>
                    <a:pt x="38" y="220"/>
                  </a:lnTo>
                  <a:lnTo>
                    <a:pt x="38" y="224"/>
                  </a:lnTo>
                  <a:lnTo>
                    <a:pt x="34" y="224"/>
                  </a:lnTo>
                  <a:lnTo>
                    <a:pt x="38" y="220"/>
                  </a:lnTo>
                  <a:lnTo>
                    <a:pt x="34" y="220"/>
                  </a:lnTo>
                  <a:lnTo>
                    <a:pt x="34" y="224"/>
                  </a:lnTo>
                  <a:lnTo>
                    <a:pt x="34" y="220"/>
                  </a:lnTo>
                  <a:lnTo>
                    <a:pt x="34" y="216"/>
                  </a:lnTo>
                  <a:lnTo>
                    <a:pt x="34" y="220"/>
                  </a:lnTo>
                  <a:lnTo>
                    <a:pt x="30" y="220"/>
                  </a:lnTo>
                  <a:lnTo>
                    <a:pt x="30" y="224"/>
                  </a:lnTo>
                  <a:lnTo>
                    <a:pt x="26" y="224"/>
                  </a:lnTo>
                  <a:lnTo>
                    <a:pt x="30" y="216"/>
                  </a:lnTo>
                  <a:lnTo>
                    <a:pt x="30" y="212"/>
                  </a:lnTo>
                  <a:lnTo>
                    <a:pt x="30" y="208"/>
                  </a:lnTo>
                  <a:lnTo>
                    <a:pt x="30" y="206"/>
                  </a:lnTo>
                  <a:lnTo>
                    <a:pt x="34" y="202"/>
                  </a:lnTo>
                  <a:lnTo>
                    <a:pt x="34" y="198"/>
                  </a:lnTo>
                  <a:lnTo>
                    <a:pt x="34" y="194"/>
                  </a:lnTo>
                  <a:lnTo>
                    <a:pt x="34" y="190"/>
                  </a:lnTo>
                  <a:lnTo>
                    <a:pt x="30" y="186"/>
                  </a:lnTo>
                  <a:lnTo>
                    <a:pt x="34" y="186"/>
                  </a:lnTo>
                  <a:lnTo>
                    <a:pt x="30" y="182"/>
                  </a:lnTo>
                  <a:lnTo>
                    <a:pt x="30" y="180"/>
                  </a:lnTo>
                  <a:lnTo>
                    <a:pt x="30" y="176"/>
                  </a:lnTo>
                  <a:lnTo>
                    <a:pt x="26" y="172"/>
                  </a:lnTo>
                  <a:lnTo>
                    <a:pt x="26" y="176"/>
                  </a:lnTo>
                  <a:lnTo>
                    <a:pt x="26" y="172"/>
                  </a:lnTo>
                  <a:lnTo>
                    <a:pt x="26" y="168"/>
                  </a:lnTo>
                  <a:lnTo>
                    <a:pt x="22" y="168"/>
                  </a:lnTo>
                  <a:lnTo>
                    <a:pt x="22" y="164"/>
                  </a:lnTo>
                  <a:lnTo>
                    <a:pt x="26" y="164"/>
                  </a:lnTo>
                  <a:lnTo>
                    <a:pt x="22" y="160"/>
                  </a:lnTo>
                  <a:lnTo>
                    <a:pt x="22" y="156"/>
                  </a:lnTo>
                  <a:lnTo>
                    <a:pt x="18" y="156"/>
                  </a:lnTo>
                  <a:lnTo>
                    <a:pt x="22" y="152"/>
                  </a:lnTo>
                  <a:lnTo>
                    <a:pt x="22" y="156"/>
                  </a:lnTo>
                  <a:lnTo>
                    <a:pt x="22" y="152"/>
                  </a:lnTo>
                  <a:lnTo>
                    <a:pt x="18" y="152"/>
                  </a:lnTo>
                  <a:lnTo>
                    <a:pt x="18" y="156"/>
                  </a:lnTo>
                  <a:lnTo>
                    <a:pt x="18" y="152"/>
                  </a:lnTo>
                  <a:lnTo>
                    <a:pt x="16" y="152"/>
                  </a:lnTo>
                  <a:lnTo>
                    <a:pt x="12" y="152"/>
                  </a:lnTo>
                  <a:lnTo>
                    <a:pt x="16" y="152"/>
                  </a:lnTo>
                  <a:lnTo>
                    <a:pt x="16" y="156"/>
                  </a:lnTo>
                  <a:lnTo>
                    <a:pt x="16" y="152"/>
                  </a:lnTo>
                  <a:lnTo>
                    <a:pt x="12" y="152"/>
                  </a:lnTo>
                  <a:lnTo>
                    <a:pt x="12" y="156"/>
                  </a:lnTo>
                  <a:lnTo>
                    <a:pt x="16" y="156"/>
                  </a:lnTo>
                  <a:lnTo>
                    <a:pt x="12" y="156"/>
                  </a:lnTo>
                  <a:lnTo>
                    <a:pt x="12" y="152"/>
                  </a:lnTo>
                  <a:lnTo>
                    <a:pt x="12" y="150"/>
                  </a:lnTo>
                  <a:lnTo>
                    <a:pt x="12" y="146"/>
                  </a:lnTo>
                  <a:lnTo>
                    <a:pt x="12" y="142"/>
                  </a:lnTo>
                  <a:lnTo>
                    <a:pt x="12" y="146"/>
                  </a:lnTo>
                  <a:lnTo>
                    <a:pt x="12" y="150"/>
                  </a:lnTo>
                  <a:lnTo>
                    <a:pt x="8" y="150"/>
                  </a:lnTo>
                  <a:lnTo>
                    <a:pt x="12" y="146"/>
                  </a:lnTo>
                  <a:lnTo>
                    <a:pt x="8" y="146"/>
                  </a:lnTo>
                  <a:lnTo>
                    <a:pt x="8" y="142"/>
                  </a:lnTo>
                  <a:lnTo>
                    <a:pt x="8" y="146"/>
                  </a:lnTo>
                  <a:lnTo>
                    <a:pt x="8" y="150"/>
                  </a:lnTo>
                  <a:lnTo>
                    <a:pt x="8" y="146"/>
                  </a:lnTo>
                  <a:lnTo>
                    <a:pt x="4" y="146"/>
                  </a:lnTo>
                  <a:lnTo>
                    <a:pt x="4" y="142"/>
                  </a:lnTo>
                  <a:lnTo>
                    <a:pt x="4" y="138"/>
                  </a:lnTo>
                  <a:lnTo>
                    <a:pt x="0" y="138"/>
                  </a:lnTo>
                  <a:lnTo>
                    <a:pt x="0" y="136"/>
                  </a:lnTo>
                  <a:lnTo>
                    <a:pt x="0" y="132"/>
                  </a:lnTo>
                  <a:lnTo>
                    <a:pt x="0" y="128"/>
                  </a:lnTo>
                  <a:lnTo>
                    <a:pt x="4" y="128"/>
                  </a:lnTo>
                  <a:lnTo>
                    <a:pt x="4" y="132"/>
                  </a:lnTo>
                  <a:lnTo>
                    <a:pt x="8" y="132"/>
                  </a:lnTo>
                  <a:lnTo>
                    <a:pt x="8" y="128"/>
                  </a:lnTo>
                  <a:lnTo>
                    <a:pt x="4" y="128"/>
                  </a:lnTo>
                  <a:lnTo>
                    <a:pt x="4" y="124"/>
                  </a:lnTo>
                  <a:lnTo>
                    <a:pt x="4" y="120"/>
                  </a:lnTo>
                  <a:lnTo>
                    <a:pt x="8" y="116"/>
                  </a:lnTo>
                  <a:lnTo>
                    <a:pt x="12" y="116"/>
                  </a:lnTo>
                  <a:lnTo>
                    <a:pt x="12" y="112"/>
                  </a:lnTo>
                  <a:lnTo>
                    <a:pt x="12" y="116"/>
                  </a:lnTo>
                  <a:lnTo>
                    <a:pt x="16" y="116"/>
                  </a:lnTo>
                  <a:lnTo>
                    <a:pt x="16" y="112"/>
                  </a:lnTo>
                  <a:lnTo>
                    <a:pt x="16" y="110"/>
                  </a:lnTo>
                  <a:lnTo>
                    <a:pt x="12" y="110"/>
                  </a:lnTo>
                  <a:lnTo>
                    <a:pt x="12" y="106"/>
                  </a:lnTo>
                  <a:lnTo>
                    <a:pt x="12" y="102"/>
                  </a:lnTo>
                  <a:lnTo>
                    <a:pt x="12" y="98"/>
                  </a:lnTo>
                  <a:lnTo>
                    <a:pt x="16" y="98"/>
                  </a:lnTo>
                  <a:lnTo>
                    <a:pt x="16" y="102"/>
                  </a:lnTo>
                  <a:lnTo>
                    <a:pt x="16" y="98"/>
                  </a:lnTo>
                  <a:lnTo>
                    <a:pt x="16" y="94"/>
                  </a:lnTo>
                  <a:lnTo>
                    <a:pt x="18" y="90"/>
                  </a:lnTo>
                  <a:lnTo>
                    <a:pt x="16" y="86"/>
                  </a:lnTo>
                  <a:lnTo>
                    <a:pt x="16" y="82"/>
                  </a:lnTo>
                  <a:lnTo>
                    <a:pt x="16" y="80"/>
                  </a:lnTo>
                  <a:lnTo>
                    <a:pt x="16" y="82"/>
                  </a:lnTo>
                  <a:lnTo>
                    <a:pt x="18" y="82"/>
                  </a:lnTo>
                  <a:lnTo>
                    <a:pt x="22" y="82"/>
                  </a:lnTo>
                  <a:lnTo>
                    <a:pt x="26" y="82"/>
                  </a:lnTo>
                  <a:lnTo>
                    <a:pt x="26" y="86"/>
                  </a:lnTo>
                  <a:lnTo>
                    <a:pt x="30" y="82"/>
                  </a:lnTo>
                  <a:lnTo>
                    <a:pt x="30" y="80"/>
                  </a:lnTo>
                  <a:lnTo>
                    <a:pt x="30" y="76"/>
                  </a:lnTo>
                  <a:lnTo>
                    <a:pt x="34" y="72"/>
                  </a:lnTo>
                  <a:lnTo>
                    <a:pt x="34" y="68"/>
                  </a:lnTo>
                  <a:lnTo>
                    <a:pt x="38" y="64"/>
                  </a:lnTo>
                  <a:lnTo>
                    <a:pt x="34" y="60"/>
                  </a:lnTo>
                  <a:lnTo>
                    <a:pt x="34" y="56"/>
                  </a:lnTo>
                  <a:lnTo>
                    <a:pt x="38" y="56"/>
                  </a:lnTo>
                  <a:lnTo>
                    <a:pt x="38" y="54"/>
                  </a:lnTo>
                  <a:lnTo>
                    <a:pt x="42" y="54"/>
                  </a:lnTo>
                  <a:lnTo>
                    <a:pt x="42" y="50"/>
                  </a:lnTo>
                  <a:lnTo>
                    <a:pt x="42" y="46"/>
                  </a:lnTo>
                  <a:lnTo>
                    <a:pt x="42" y="42"/>
                  </a:lnTo>
                  <a:lnTo>
                    <a:pt x="42" y="38"/>
                  </a:lnTo>
                  <a:lnTo>
                    <a:pt x="42" y="34"/>
                  </a:lnTo>
                  <a:lnTo>
                    <a:pt x="46" y="34"/>
                  </a:lnTo>
                  <a:lnTo>
                    <a:pt x="46" y="30"/>
                  </a:lnTo>
                  <a:lnTo>
                    <a:pt x="48" y="30"/>
                  </a:lnTo>
                  <a:lnTo>
                    <a:pt x="52" y="26"/>
                  </a:lnTo>
                  <a:lnTo>
                    <a:pt x="56" y="24"/>
                  </a:lnTo>
                  <a:lnTo>
                    <a:pt x="60" y="24"/>
                  </a:lnTo>
                  <a:lnTo>
                    <a:pt x="64" y="24"/>
                  </a:lnTo>
                  <a:lnTo>
                    <a:pt x="68" y="24"/>
                  </a:lnTo>
                  <a:lnTo>
                    <a:pt x="68" y="26"/>
                  </a:lnTo>
                  <a:lnTo>
                    <a:pt x="72" y="26"/>
                  </a:lnTo>
                  <a:lnTo>
                    <a:pt x="68" y="24"/>
                  </a:lnTo>
                  <a:lnTo>
                    <a:pt x="68" y="20"/>
                  </a:lnTo>
                  <a:lnTo>
                    <a:pt x="68" y="16"/>
                  </a:lnTo>
                  <a:lnTo>
                    <a:pt x="72" y="16"/>
                  </a:lnTo>
                  <a:lnTo>
                    <a:pt x="72" y="12"/>
                  </a:lnTo>
                  <a:lnTo>
                    <a:pt x="74" y="12"/>
                  </a:lnTo>
                  <a:lnTo>
                    <a:pt x="72" y="8"/>
                  </a:lnTo>
                  <a:lnTo>
                    <a:pt x="72" y="4"/>
                  </a:lnTo>
                  <a:lnTo>
                    <a:pt x="74" y="4"/>
                  </a:lnTo>
                  <a:lnTo>
                    <a:pt x="74" y="0"/>
                  </a:lnTo>
                  <a:lnTo>
                    <a:pt x="78" y="0"/>
                  </a:lnTo>
                  <a:lnTo>
                    <a:pt x="78" y="4"/>
                  </a:lnTo>
                  <a:lnTo>
                    <a:pt x="82" y="4"/>
                  </a:lnTo>
                  <a:lnTo>
                    <a:pt x="82" y="8"/>
                  </a:lnTo>
                  <a:lnTo>
                    <a:pt x="82" y="12"/>
                  </a:lnTo>
                  <a:lnTo>
                    <a:pt x="86" y="12"/>
                  </a:lnTo>
                  <a:lnTo>
                    <a:pt x="86" y="16"/>
                  </a:lnTo>
                  <a:lnTo>
                    <a:pt x="86" y="20"/>
                  </a:lnTo>
                  <a:lnTo>
                    <a:pt x="88" y="20"/>
                  </a:lnTo>
                  <a:lnTo>
                    <a:pt x="88" y="16"/>
                  </a:lnTo>
                  <a:lnTo>
                    <a:pt x="88" y="20"/>
                  </a:lnTo>
                  <a:lnTo>
                    <a:pt x="92" y="20"/>
                  </a:lnTo>
                  <a:lnTo>
                    <a:pt x="92" y="24"/>
                  </a:lnTo>
                  <a:lnTo>
                    <a:pt x="92" y="26"/>
                  </a:lnTo>
                  <a:lnTo>
                    <a:pt x="92" y="30"/>
                  </a:lnTo>
                  <a:lnTo>
                    <a:pt x="92" y="34"/>
                  </a:lnTo>
                  <a:lnTo>
                    <a:pt x="92" y="38"/>
                  </a:lnTo>
                  <a:lnTo>
                    <a:pt x="92" y="42"/>
                  </a:lnTo>
                  <a:lnTo>
                    <a:pt x="92" y="46"/>
                  </a:lnTo>
                  <a:lnTo>
                    <a:pt x="88" y="46"/>
                  </a:lnTo>
                  <a:lnTo>
                    <a:pt x="88" y="50"/>
                  </a:lnTo>
                  <a:lnTo>
                    <a:pt x="92" y="50"/>
                  </a:lnTo>
                  <a:lnTo>
                    <a:pt x="88" y="50"/>
                  </a:lnTo>
                  <a:lnTo>
                    <a:pt x="88" y="54"/>
                  </a:lnTo>
                  <a:lnTo>
                    <a:pt x="86" y="54"/>
                  </a:lnTo>
                  <a:lnTo>
                    <a:pt x="82" y="56"/>
                  </a:lnTo>
                  <a:lnTo>
                    <a:pt x="82" y="60"/>
                  </a:lnTo>
                  <a:lnTo>
                    <a:pt x="78" y="60"/>
                  </a:lnTo>
                  <a:lnTo>
                    <a:pt x="78" y="64"/>
                  </a:lnTo>
                  <a:lnTo>
                    <a:pt x="78" y="68"/>
                  </a:lnTo>
                  <a:lnTo>
                    <a:pt x="74" y="68"/>
                  </a:lnTo>
                  <a:lnTo>
                    <a:pt x="74" y="72"/>
                  </a:lnTo>
                  <a:lnTo>
                    <a:pt x="74" y="76"/>
                  </a:lnTo>
                  <a:lnTo>
                    <a:pt x="78" y="76"/>
                  </a:lnTo>
                  <a:lnTo>
                    <a:pt x="78" y="80"/>
                  </a:lnTo>
                  <a:lnTo>
                    <a:pt x="78" y="82"/>
                  </a:lnTo>
                  <a:lnTo>
                    <a:pt x="74" y="82"/>
                  </a:lnTo>
                  <a:lnTo>
                    <a:pt x="78" y="82"/>
                  </a:lnTo>
                  <a:lnTo>
                    <a:pt x="78" y="86"/>
                  </a:lnTo>
                  <a:lnTo>
                    <a:pt x="78" y="82"/>
                  </a:lnTo>
                  <a:lnTo>
                    <a:pt x="82" y="82"/>
                  </a:lnTo>
                  <a:lnTo>
                    <a:pt x="82" y="80"/>
                  </a:lnTo>
                  <a:lnTo>
                    <a:pt x="86" y="80"/>
                  </a:lnTo>
                  <a:lnTo>
                    <a:pt x="88" y="80"/>
                  </a:lnTo>
                  <a:lnTo>
                    <a:pt x="92" y="80"/>
                  </a:lnTo>
                  <a:lnTo>
                    <a:pt x="92" y="82"/>
                  </a:lnTo>
                  <a:lnTo>
                    <a:pt x="88" y="82"/>
                  </a:lnTo>
                  <a:lnTo>
                    <a:pt x="92" y="86"/>
                  </a:lnTo>
                  <a:lnTo>
                    <a:pt x="92" y="90"/>
                  </a:lnTo>
                  <a:lnTo>
                    <a:pt x="92" y="94"/>
                  </a:lnTo>
                  <a:lnTo>
                    <a:pt x="92" y="98"/>
                  </a:lnTo>
                  <a:lnTo>
                    <a:pt x="96" y="98"/>
                  </a:lnTo>
                  <a:lnTo>
                    <a:pt x="100" y="98"/>
                  </a:lnTo>
                  <a:lnTo>
                    <a:pt x="104" y="98"/>
                  </a:lnTo>
                  <a:lnTo>
                    <a:pt x="104" y="102"/>
                  </a:lnTo>
                  <a:lnTo>
                    <a:pt x="100" y="102"/>
                  </a:lnTo>
                  <a:lnTo>
                    <a:pt x="100" y="106"/>
                  </a:lnTo>
                  <a:lnTo>
                    <a:pt x="100" y="110"/>
                  </a:lnTo>
                  <a:lnTo>
                    <a:pt x="100" y="112"/>
                  </a:lnTo>
                  <a:lnTo>
                    <a:pt x="96" y="116"/>
                  </a:lnTo>
                  <a:lnTo>
                    <a:pt x="100" y="116"/>
                  </a:lnTo>
                  <a:lnTo>
                    <a:pt x="104" y="116"/>
                  </a:lnTo>
                  <a:lnTo>
                    <a:pt x="108" y="116"/>
                  </a:lnTo>
                  <a:lnTo>
                    <a:pt x="108" y="120"/>
                  </a:lnTo>
                  <a:lnTo>
                    <a:pt x="108" y="124"/>
                  </a:lnTo>
                  <a:lnTo>
                    <a:pt x="112" y="124"/>
                  </a:lnTo>
                  <a:lnTo>
                    <a:pt x="112" y="128"/>
                  </a:lnTo>
                  <a:lnTo>
                    <a:pt x="114" y="128"/>
                  </a:lnTo>
                  <a:lnTo>
                    <a:pt x="118" y="128"/>
                  </a:lnTo>
                  <a:lnTo>
                    <a:pt x="122" y="124"/>
                  </a:lnTo>
                  <a:lnTo>
                    <a:pt x="126" y="124"/>
                  </a:lnTo>
                  <a:lnTo>
                    <a:pt x="126" y="128"/>
                  </a:lnTo>
                  <a:lnTo>
                    <a:pt x="122" y="128"/>
                  </a:lnTo>
                  <a:lnTo>
                    <a:pt x="122" y="132"/>
                  </a:lnTo>
                  <a:lnTo>
                    <a:pt x="118" y="132"/>
                  </a:lnTo>
                  <a:lnTo>
                    <a:pt x="118" y="136"/>
                  </a:lnTo>
                  <a:lnTo>
                    <a:pt x="114" y="136"/>
                  </a:lnTo>
                  <a:lnTo>
                    <a:pt x="114" y="138"/>
                  </a:lnTo>
                  <a:lnTo>
                    <a:pt x="118" y="138"/>
                  </a:lnTo>
                  <a:lnTo>
                    <a:pt x="114" y="138"/>
                  </a:lnTo>
                  <a:lnTo>
                    <a:pt x="112" y="138"/>
                  </a:lnTo>
                  <a:lnTo>
                    <a:pt x="112" y="142"/>
                  </a:lnTo>
                  <a:lnTo>
                    <a:pt x="112" y="146"/>
                  </a:lnTo>
                  <a:lnTo>
                    <a:pt x="108" y="146"/>
                  </a:lnTo>
                  <a:lnTo>
                    <a:pt x="104" y="146"/>
                  </a:lnTo>
                  <a:lnTo>
                    <a:pt x="104" y="150"/>
                  </a:lnTo>
                  <a:lnTo>
                    <a:pt x="100" y="150"/>
                  </a:lnTo>
                  <a:lnTo>
                    <a:pt x="100" y="152"/>
                  </a:lnTo>
                  <a:lnTo>
                    <a:pt x="100" y="150"/>
                  </a:lnTo>
                  <a:lnTo>
                    <a:pt x="96" y="150"/>
                  </a:lnTo>
                  <a:lnTo>
                    <a:pt x="96" y="152"/>
                  </a:lnTo>
                  <a:lnTo>
                    <a:pt x="96" y="156"/>
                  </a:lnTo>
                  <a:lnTo>
                    <a:pt x="92" y="156"/>
                  </a:lnTo>
                  <a:lnTo>
                    <a:pt x="88" y="156"/>
                  </a:lnTo>
                  <a:lnTo>
                    <a:pt x="86" y="156"/>
                  </a:lnTo>
                  <a:lnTo>
                    <a:pt x="82" y="156"/>
                  </a:lnTo>
                  <a:lnTo>
                    <a:pt x="82" y="160"/>
                  </a:lnTo>
                  <a:lnTo>
                    <a:pt x="78" y="160"/>
                  </a:lnTo>
                  <a:lnTo>
                    <a:pt x="78" y="164"/>
                  </a:lnTo>
                  <a:lnTo>
                    <a:pt x="78" y="168"/>
                  </a:lnTo>
                  <a:lnTo>
                    <a:pt x="78" y="172"/>
                  </a:lnTo>
                  <a:lnTo>
                    <a:pt x="78" y="176"/>
                  </a:lnTo>
                  <a:lnTo>
                    <a:pt x="78" y="180"/>
                  </a:lnTo>
                  <a:lnTo>
                    <a:pt x="74" y="180"/>
                  </a:lnTo>
                  <a:lnTo>
                    <a:pt x="72" y="180"/>
                  </a:lnTo>
                  <a:lnTo>
                    <a:pt x="74" y="180"/>
                  </a:lnTo>
                  <a:lnTo>
                    <a:pt x="74" y="182"/>
                  </a:lnTo>
                  <a:lnTo>
                    <a:pt x="78" y="182"/>
                  </a:lnTo>
                  <a:lnTo>
                    <a:pt x="74" y="182"/>
                  </a:lnTo>
                  <a:lnTo>
                    <a:pt x="78" y="186"/>
                  </a:lnTo>
                  <a:lnTo>
                    <a:pt x="78" y="190"/>
                  </a:lnTo>
                  <a:lnTo>
                    <a:pt x="78" y="194"/>
                  </a:lnTo>
                  <a:lnTo>
                    <a:pt x="82" y="194"/>
                  </a:lnTo>
                  <a:lnTo>
                    <a:pt x="82" y="198"/>
                  </a:lnTo>
                  <a:lnTo>
                    <a:pt x="82" y="202"/>
                  </a:lnTo>
                  <a:lnTo>
                    <a:pt x="86" y="202"/>
                  </a:lnTo>
                  <a:lnTo>
                    <a:pt x="86" y="206"/>
                  </a:lnTo>
                  <a:lnTo>
                    <a:pt x="88" y="206"/>
                  </a:lnTo>
                  <a:lnTo>
                    <a:pt x="88" y="208"/>
                  </a:lnTo>
                  <a:lnTo>
                    <a:pt x="88" y="212"/>
                  </a:lnTo>
                  <a:lnTo>
                    <a:pt x="88" y="216"/>
                  </a:lnTo>
                  <a:lnTo>
                    <a:pt x="92" y="216"/>
                  </a:lnTo>
                  <a:lnTo>
                    <a:pt x="92" y="220"/>
                  </a:lnTo>
                  <a:lnTo>
                    <a:pt x="88" y="220"/>
                  </a:lnTo>
                  <a:lnTo>
                    <a:pt x="88" y="224"/>
                  </a:lnTo>
                  <a:lnTo>
                    <a:pt x="88" y="228"/>
                  </a:lnTo>
                  <a:lnTo>
                    <a:pt x="88" y="232"/>
                  </a:lnTo>
                  <a:lnTo>
                    <a:pt x="88" y="234"/>
                  </a:lnTo>
                  <a:lnTo>
                    <a:pt x="86" y="234"/>
                  </a:lnTo>
                  <a:lnTo>
                    <a:pt x="86" y="238"/>
                  </a:lnTo>
                  <a:lnTo>
                    <a:pt x="86" y="242"/>
                  </a:lnTo>
                  <a:lnTo>
                    <a:pt x="86" y="246"/>
                  </a:lnTo>
                  <a:lnTo>
                    <a:pt x="88" y="246"/>
                  </a:lnTo>
                  <a:lnTo>
                    <a:pt x="88" y="250"/>
                  </a:lnTo>
                  <a:lnTo>
                    <a:pt x="88" y="254"/>
                  </a:lnTo>
                  <a:lnTo>
                    <a:pt x="92" y="254"/>
                  </a:lnTo>
                  <a:lnTo>
                    <a:pt x="92" y="258"/>
                  </a:lnTo>
                  <a:lnTo>
                    <a:pt x="96" y="258"/>
                  </a:lnTo>
                  <a:lnTo>
                    <a:pt x="96" y="262"/>
                  </a:lnTo>
                  <a:lnTo>
                    <a:pt x="96" y="264"/>
                  </a:lnTo>
                  <a:lnTo>
                    <a:pt x="96" y="268"/>
                  </a:lnTo>
                  <a:lnTo>
                    <a:pt x="100" y="268"/>
                  </a:lnTo>
                  <a:lnTo>
                    <a:pt x="100" y="272"/>
                  </a:lnTo>
                  <a:lnTo>
                    <a:pt x="96" y="272"/>
                  </a:lnTo>
                  <a:lnTo>
                    <a:pt x="100" y="280"/>
                  </a:lnTo>
                  <a:lnTo>
                    <a:pt x="100" y="284"/>
                  </a:lnTo>
                  <a:lnTo>
                    <a:pt x="100" y="288"/>
                  </a:lnTo>
                  <a:lnTo>
                    <a:pt x="104" y="288"/>
                  </a:lnTo>
                  <a:lnTo>
                    <a:pt x="104" y="290"/>
                  </a:lnTo>
                  <a:lnTo>
                    <a:pt x="104" y="294"/>
                  </a:lnTo>
                  <a:lnTo>
                    <a:pt x="104" y="298"/>
                  </a:lnTo>
                  <a:lnTo>
                    <a:pt x="100" y="298"/>
                  </a:lnTo>
                  <a:lnTo>
                    <a:pt x="100" y="302"/>
                  </a:lnTo>
                  <a:lnTo>
                    <a:pt x="100" y="306"/>
                  </a:lnTo>
                  <a:lnTo>
                    <a:pt x="96" y="310"/>
                  </a:lnTo>
                  <a:lnTo>
                    <a:pt x="92" y="314"/>
                  </a:lnTo>
                  <a:lnTo>
                    <a:pt x="92" y="314"/>
                  </a:lnTo>
                  <a:lnTo>
                    <a:pt x="92" y="314"/>
                  </a:lnTo>
                  <a:close/>
                  <a:moveTo>
                    <a:pt x="22" y="164"/>
                  </a:moveTo>
                  <a:lnTo>
                    <a:pt x="22" y="168"/>
                  </a:lnTo>
                  <a:lnTo>
                    <a:pt x="26" y="168"/>
                  </a:lnTo>
                  <a:lnTo>
                    <a:pt x="26" y="172"/>
                  </a:lnTo>
                  <a:lnTo>
                    <a:pt x="22" y="172"/>
                  </a:lnTo>
                  <a:lnTo>
                    <a:pt x="18" y="168"/>
                  </a:lnTo>
                  <a:lnTo>
                    <a:pt x="18" y="164"/>
                  </a:lnTo>
                  <a:lnTo>
                    <a:pt x="22" y="164"/>
                  </a:lnTo>
                  <a:lnTo>
                    <a:pt x="22" y="168"/>
                  </a:lnTo>
                  <a:lnTo>
                    <a:pt x="22" y="164"/>
                  </a:lnTo>
                  <a:lnTo>
                    <a:pt x="22" y="164"/>
                  </a:lnTo>
                  <a:lnTo>
                    <a:pt x="22" y="164"/>
                  </a:lnTo>
                  <a:close/>
                  <a:moveTo>
                    <a:pt x="8" y="146"/>
                  </a:moveTo>
                  <a:lnTo>
                    <a:pt x="8" y="150"/>
                  </a:lnTo>
                  <a:lnTo>
                    <a:pt x="8" y="146"/>
                  </a:lnTo>
                  <a:lnTo>
                    <a:pt x="8" y="146"/>
                  </a:lnTo>
                  <a:lnTo>
                    <a:pt x="8" y="146"/>
                  </a:lnTo>
                  <a:close/>
                  <a:moveTo>
                    <a:pt x="18" y="152"/>
                  </a:moveTo>
                  <a:lnTo>
                    <a:pt x="18" y="156"/>
                  </a:lnTo>
                  <a:lnTo>
                    <a:pt x="16" y="152"/>
                  </a:lnTo>
                  <a:lnTo>
                    <a:pt x="18" y="152"/>
                  </a:lnTo>
                  <a:lnTo>
                    <a:pt x="18" y="152"/>
                  </a:lnTo>
                  <a:lnTo>
                    <a:pt x="18" y="152"/>
                  </a:lnTo>
                  <a:close/>
                  <a:moveTo>
                    <a:pt x="26" y="164"/>
                  </a:moveTo>
                  <a:lnTo>
                    <a:pt x="22" y="164"/>
                  </a:lnTo>
                  <a:lnTo>
                    <a:pt x="18" y="164"/>
                  </a:lnTo>
                  <a:lnTo>
                    <a:pt x="18" y="160"/>
                  </a:lnTo>
                  <a:lnTo>
                    <a:pt x="22" y="160"/>
                  </a:lnTo>
                  <a:lnTo>
                    <a:pt x="26" y="164"/>
                  </a:lnTo>
                  <a:lnTo>
                    <a:pt x="26" y="164"/>
                  </a:lnTo>
                  <a:lnTo>
                    <a:pt x="26" y="164"/>
                  </a:lnTo>
                  <a:close/>
                  <a:moveTo>
                    <a:pt x="74" y="212"/>
                  </a:moveTo>
                  <a:lnTo>
                    <a:pt x="74" y="216"/>
                  </a:lnTo>
                  <a:lnTo>
                    <a:pt x="74" y="220"/>
                  </a:lnTo>
                  <a:lnTo>
                    <a:pt x="74" y="216"/>
                  </a:lnTo>
                  <a:lnTo>
                    <a:pt x="74" y="212"/>
                  </a:lnTo>
                  <a:lnTo>
                    <a:pt x="74" y="212"/>
                  </a:lnTo>
                  <a:lnTo>
                    <a:pt x="74" y="212"/>
                  </a:lnTo>
                  <a:close/>
                  <a:moveTo>
                    <a:pt x="34" y="220"/>
                  </a:moveTo>
                  <a:lnTo>
                    <a:pt x="34" y="224"/>
                  </a:lnTo>
                  <a:lnTo>
                    <a:pt x="30" y="224"/>
                  </a:lnTo>
                  <a:lnTo>
                    <a:pt x="34" y="220"/>
                  </a:lnTo>
                  <a:lnTo>
                    <a:pt x="34" y="220"/>
                  </a:lnTo>
                  <a:lnTo>
                    <a:pt x="34" y="220"/>
                  </a:lnTo>
                  <a:close/>
                  <a:moveTo>
                    <a:pt x="82" y="290"/>
                  </a:moveTo>
                  <a:lnTo>
                    <a:pt x="82" y="288"/>
                  </a:lnTo>
                  <a:lnTo>
                    <a:pt x="82" y="290"/>
                  </a:lnTo>
                  <a:lnTo>
                    <a:pt x="82" y="290"/>
                  </a:lnTo>
                  <a:lnTo>
                    <a:pt x="82" y="290"/>
                  </a:lnTo>
                  <a:close/>
                  <a:moveTo>
                    <a:pt x="86" y="328"/>
                  </a:moveTo>
                  <a:lnTo>
                    <a:pt x="82" y="328"/>
                  </a:lnTo>
                  <a:lnTo>
                    <a:pt x="86" y="328"/>
                  </a:lnTo>
                  <a:lnTo>
                    <a:pt x="86" y="324"/>
                  </a:lnTo>
                  <a:lnTo>
                    <a:pt x="86" y="328"/>
                  </a:lnTo>
                  <a:lnTo>
                    <a:pt x="86" y="328"/>
                  </a:lnTo>
                  <a:lnTo>
                    <a:pt x="86" y="328"/>
                  </a:lnTo>
                  <a:close/>
                  <a:moveTo>
                    <a:pt x="18" y="172"/>
                  </a:moveTo>
                  <a:lnTo>
                    <a:pt x="22" y="172"/>
                  </a:lnTo>
                  <a:lnTo>
                    <a:pt x="22" y="176"/>
                  </a:lnTo>
                  <a:lnTo>
                    <a:pt x="18" y="176"/>
                  </a:lnTo>
                  <a:lnTo>
                    <a:pt x="18" y="172"/>
                  </a:lnTo>
                  <a:lnTo>
                    <a:pt x="18" y="172"/>
                  </a:lnTo>
                  <a:lnTo>
                    <a:pt x="18" y="172"/>
                  </a:lnTo>
                  <a:close/>
                  <a:moveTo>
                    <a:pt x="86" y="288"/>
                  </a:moveTo>
                  <a:lnTo>
                    <a:pt x="86" y="284"/>
                  </a:lnTo>
                  <a:lnTo>
                    <a:pt x="86" y="280"/>
                  </a:lnTo>
                  <a:lnTo>
                    <a:pt x="88" y="284"/>
                  </a:lnTo>
                  <a:lnTo>
                    <a:pt x="86" y="288"/>
                  </a:lnTo>
                  <a:lnTo>
                    <a:pt x="86" y="288"/>
                  </a:lnTo>
                  <a:lnTo>
                    <a:pt x="86" y="288"/>
                  </a:lnTo>
                  <a:close/>
                  <a:moveTo>
                    <a:pt x="82" y="288"/>
                  </a:moveTo>
                  <a:lnTo>
                    <a:pt x="82" y="284"/>
                  </a:lnTo>
                  <a:lnTo>
                    <a:pt x="82" y="288"/>
                  </a:lnTo>
                  <a:lnTo>
                    <a:pt x="82" y="288"/>
                  </a:lnTo>
                  <a:lnTo>
                    <a:pt x="82" y="288"/>
                  </a:lnTo>
                  <a:close/>
                  <a:moveTo>
                    <a:pt x="88" y="290"/>
                  </a:moveTo>
                  <a:lnTo>
                    <a:pt x="88" y="294"/>
                  </a:lnTo>
                  <a:lnTo>
                    <a:pt x="88" y="290"/>
                  </a:lnTo>
                  <a:lnTo>
                    <a:pt x="88" y="290"/>
                  </a:lnTo>
                  <a:lnTo>
                    <a:pt x="88" y="290"/>
                  </a:lnTo>
                  <a:close/>
                  <a:moveTo>
                    <a:pt x="86" y="298"/>
                  </a:moveTo>
                  <a:lnTo>
                    <a:pt x="86" y="294"/>
                  </a:lnTo>
                  <a:lnTo>
                    <a:pt x="88" y="294"/>
                  </a:lnTo>
                  <a:lnTo>
                    <a:pt x="88" y="298"/>
                  </a:lnTo>
                  <a:lnTo>
                    <a:pt x="86" y="298"/>
                  </a:lnTo>
                  <a:lnTo>
                    <a:pt x="86" y="298"/>
                  </a:lnTo>
                  <a:lnTo>
                    <a:pt x="86" y="298"/>
                  </a:lnTo>
                  <a:close/>
                  <a:moveTo>
                    <a:pt x="86" y="302"/>
                  </a:moveTo>
                  <a:lnTo>
                    <a:pt x="86" y="298"/>
                  </a:lnTo>
                  <a:lnTo>
                    <a:pt x="86" y="294"/>
                  </a:lnTo>
                  <a:lnTo>
                    <a:pt x="86" y="298"/>
                  </a:lnTo>
                  <a:lnTo>
                    <a:pt x="86" y="302"/>
                  </a:lnTo>
                  <a:lnTo>
                    <a:pt x="86" y="302"/>
                  </a:lnTo>
                  <a:lnTo>
                    <a:pt x="86" y="302"/>
                  </a:lnTo>
                  <a:close/>
                  <a:moveTo>
                    <a:pt x="86" y="314"/>
                  </a:moveTo>
                  <a:lnTo>
                    <a:pt x="82" y="310"/>
                  </a:lnTo>
                  <a:lnTo>
                    <a:pt x="82" y="314"/>
                  </a:lnTo>
                  <a:lnTo>
                    <a:pt x="82" y="310"/>
                  </a:lnTo>
                  <a:lnTo>
                    <a:pt x="86" y="310"/>
                  </a:lnTo>
                  <a:lnTo>
                    <a:pt x="86" y="314"/>
                  </a:lnTo>
                  <a:lnTo>
                    <a:pt x="86" y="314"/>
                  </a:lnTo>
                  <a:lnTo>
                    <a:pt x="86" y="31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50" name="Freeform 43"/>
            <p:cNvSpPr>
              <a:spLocks/>
            </p:cNvSpPr>
            <p:nvPr/>
          </p:nvSpPr>
          <p:spPr bwMode="auto">
            <a:xfrm>
              <a:off x="7751159" y="3813934"/>
              <a:ext cx="72846" cy="48381"/>
            </a:xfrm>
            <a:custGeom>
              <a:avLst/>
              <a:gdLst>
                <a:gd name="T0" fmla="*/ 34 w 116"/>
                <a:gd name="T1" fmla="*/ 48 h 74"/>
                <a:gd name="T2" fmla="*/ 30 w 116"/>
                <a:gd name="T3" fmla="*/ 44 h 74"/>
                <a:gd name="T4" fmla="*/ 26 w 116"/>
                <a:gd name="T5" fmla="*/ 44 h 74"/>
                <a:gd name="T6" fmla="*/ 20 w 116"/>
                <a:gd name="T7" fmla="*/ 40 h 74"/>
                <a:gd name="T8" fmla="*/ 16 w 116"/>
                <a:gd name="T9" fmla="*/ 36 h 74"/>
                <a:gd name="T10" fmla="*/ 8 w 116"/>
                <a:gd name="T11" fmla="*/ 30 h 74"/>
                <a:gd name="T12" fmla="*/ 4 w 116"/>
                <a:gd name="T13" fmla="*/ 30 h 74"/>
                <a:gd name="T14" fmla="*/ 0 w 116"/>
                <a:gd name="T15" fmla="*/ 22 h 74"/>
                <a:gd name="T16" fmla="*/ 0 w 116"/>
                <a:gd name="T17" fmla="*/ 18 h 74"/>
                <a:gd name="T18" fmla="*/ 4 w 116"/>
                <a:gd name="T19" fmla="*/ 14 h 74"/>
                <a:gd name="T20" fmla="*/ 8 w 116"/>
                <a:gd name="T21" fmla="*/ 10 h 74"/>
                <a:gd name="T22" fmla="*/ 8 w 116"/>
                <a:gd name="T23" fmla="*/ 6 h 74"/>
                <a:gd name="T24" fmla="*/ 16 w 116"/>
                <a:gd name="T25" fmla="*/ 4 h 74"/>
                <a:gd name="T26" fmla="*/ 16 w 116"/>
                <a:gd name="T27" fmla="*/ 6 h 74"/>
                <a:gd name="T28" fmla="*/ 20 w 116"/>
                <a:gd name="T29" fmla="*/ 0 h 74"/>
                <a:gd name="T30" fmla="*/ 20 w 116"/>
                <a:gd name="T31" fmla="*/ 0 h 74"/>
                <a:gd name="T32" fmla="*/ 26 w 116"/>
                <a:gd name="T33" fmla="*/ 0 h 74"/>
                <a:gd name="T34" fmla="*/ 34 w 116"/>
                <a:gd name="T35" fmla="*/ 6 h 74"/>
                <a:gd name="T36" fmla="*/ 42 w 116"/>
                <a:gd name="T37" fmla="*/ 10 h 74"/>
                <a:gd name="T38" fmla="*/ 46 w 116"/>
                <a:gd name="T39" fmla="*/ 14 h 74"/>
                <a:gd name="T40" fmla="*/ 48 w 116"/>
                <a:gd name="T41" fmla="*/ 22 h 74"/>
                <a:gd name="T42" fmla="*/ 52 w 116"/>
                <a:gd name="T43" fmla="*/ 22 h 74"/>
                <a:gd name="T44" fmla="*/ 56 w 116"/>
                <a:gd name="T45" fmla="*/ 22 h 74"/>
                <a:gd name="T46" fmla="*/ 60 w 116"/>
                <a:gd name="T47" fmla="*/ 26 h 74"/>
                <a:gd name="T48" fmla="*/ 64 w 116"/>
                <a:gd name="T49" fmla="*/ 30 h 74"/>
                <a:gd name="T50" fmla="*/ 68 w 116"/>
                <a:gd name="T51" fmla="*/ 32 h 74"/>
                <a:gd name="T52" fmla="*/ 72 w 116"/>
                <a:gd name="T53" fmla="*/ 32 h 74"/>
                <a:gd name="T54" fmla="*/ 72 w 116"/>
                <a:gd name="T55" fmla="*/ 36 h 74"/>
                <a:gd name="T56" fmla="*/ 74 w 116"/>
                <a:gd name="T57" fmla="*/ 36 h 74"/>
                <a:gd name="T58" fmla="*/ 82 w 116"/>
                <a:gd name="T59" fmla="*/ 40 h 74"/>
                <a:gd name="T60" fmla="*/ 82 w 116"/>
                <a:gd name="T61" fmla="*/ 44 h 74"/>
                <a:gd name="T62" fmla="*/ 86 w 116"/>
                <a:gd name="T63" fmla="*/ 40 h 74"/>
                <a:gd name="T64" fmla="*/ 90 w 116"/>
                <a:gd name="T65" fmla="*/ 44 h 74"/>
                <a:gd name="T66" fmla="*/ 94 w 116"/>
                <a:gd name="T67" fmla="*/ 40 h 74"/>
                <a:gd name="T68" fmla="*/ 98 w 116"/>
                <a:gd name="T69" fmla="*/ 44 h 74"/>
                <a:gd name="T70" fmla="*/ 100 w 116"/>
                <a:gd name="T71" fmla="*/ 44 h 74"/>
                <a:gd name="T72" fmla="*/ 108 w 116"/>
                <a:gd name="T73" fmla="*/ 48 h 74"/>
                <a:gd name="T74" fmla="*/ 108 w 116"/>
                <a:gd name="T75" fmla="*/ 44 h 74"/>
                <a:gd name="T76" fmla="*/ 112 w 116"/>
                <a:gd name="T77" fmla="*/ 44 h 74"/>
                <a:gd name="T78" fmla="*/ 116 w 116"/>
                <a:gd name="T79" fmla="*/ 48 h 74"/>
                <a:gd name="T80" fmla="*/ 112 w 116"/>
                <a:gd name="T81" fmla="*/ 56 h 74"/>
                <a:gd name="T82" fmla="*/ 112 w 116"/>
                <a:gd name="T83" fmla="*/ 62 h 74"/>
                <a:gd name="T84" fmla="*/ 112 w 116"/>
                <a:gd name="T85" fmla="*/ 70 h 74"/>
                <a:gd name="T86" fmla="*/ 112 w 116"/>
                <a:gd name="T87" fmla="*/ 70 h 74"/>
                <a:gd name="T88" fmla="*/ 108 w 116"/>
                <a:gd name="T89" fmla="*/ 70 h 74"/>
                <a:gd name="T90" fmla="*/ 104 w 116"/>
                <a:gd name="T91" fmla="*/ 70 h 74"/>
                <a:gd name="T92" fmla="*/ 98 w 116"/>
                <a:gd name="T93" fmla="*/ 70 h 74"/>
                <a:gd name="T94" fmla="*/ 90 w 116"/>
                <a:gd name="T95" fmla="*/ 70 h 74"/>
                <a:gd name="T96" fmla="*/ 86 w 116"/>
                <a:gd name="T97" fmla="*/ 66 h 74"/>
                <a:gd name="T98" fmla="*/ 78 w 116"/>
                <a:gd name="T99" fmla="*/ 66 h 74"/>
                <a:gd name="T100" fmla="*/ 78 w 116"/>
                <a:gd name="T101" fmla="*/ 62 h 74"/>
                <a:gd name="T102" fmla="*/ 74 w 116"/>
                <a:gd name="T103" fmla="*/ 66 h 74"/>
                <a:gd name="T104" fmla="*/ 68 w 116"/>
                <a:gd name="T105" fmla="*/ 60 h 74"/>
                <a:gd name="T106" fmla="*/ 64 w 116"/>
                <a:gd name="T107" fmla="*/ 60 h 74"/>
                <a:gd name="T108" fmla="*/ 64 w 116"/>
                <a:gd name="T109" fmla="*/ 56 h 74"/>
                <a:gd name="T110" fmla="*/ 56 w 116"/>
                <a:gd name="T111" fmla="*/ 52 h 74"/>
                <a:gd name="T112" fmla="*/ 52 w 116"/>
                <a:gd name="T113" fmla="*/ 56 h 74"/>
                <a:gd name="T114" fmla="*/ 48 w 116"/>
                <a:gd name="T115" fmla="*/ 52 h 74"/>
                <a:gd name="T116" fmla="*/ 46 w 116"/>
                <a:gd name="T117" fmla="*/ 56 h 74"/>
                <a:gd name="T118" fmla="*/ 46 w 116"/>
                <a:gd name="T119" fmla="*/ 52 h 74"/>
                <a:gd name="T120" fmla="*/ 38 w 116"/>
                <a:gd name="T121" fmla="*/ 52 h 74"/>
                <a:gd name="T122" fmla="*/ 38 w 116"/>
                <a:gd name="T123" fmla="*/ 4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 h="74">
                  <a:moveTo>
                    <a:pt x="38" y="48"/>
                  </a:moveTo>
                  <a:lnTo>
                    <a:pt x="38" y="48"/>
                  </a:lnTo>
                  <a:lnTo>
                    <a:pt x="38" y="48"/>
                  </a:lnTo>
                  <a:lnTo>
                    <a:pt x="34" y="48"/>
                  </a:lnTo>
                  <a:lnTo>
                    <a:pt x="34" y="48"/>
                  </a:lnTo>
                  <a:lnTo>
                    <a:pt x="34" y="48"/>
                  </a:lnTo>
                  <a:lnTo>
                    <a:pt x="34" y="48"/>
                  </a:lnTo>
                  <a:lnTo>
                    <a:pt x="34" y="48"/>
                  </a:lnTo>
                  <a:lnTo>
                    <a:pt x="34" y="48"/>
                  </a:lnTo>
                  <a:lnTo>
                    <a:pt x="30" y="48"/>
                  </a:lnTo>
                  <a:lnTo>
                    <a:pt x="30" y="48"/>
                  </a:lnTo>
                  <a:lnTo>
                    <a:pt x="30" y="44"/>
                  </a:lnTo>
                  <a:lnTo>
                    <a:pt x="26" y="44"/>
                  </a:lnTo>
                  <a:lnTo>
                    <a:pt x="26" y="44"/>
                  </a:lnTo>
                  <a:lnTo>
                    <a:pt x="26" y="44"/>
                  </a:lnTo>
                  <a:lnTo>
                    <a:pt x="26" y="44"/>
                  </a:lnTo>
                  <a:lnTo>
                    <a:pt x="26" y="44"/>
                  </a:lnTo>
                  <a:lnTo>
                    <a:pt x="26" y="44"/>
                  </a:lnTo>
                  <a:lnTo>
                    <a:pt x="22" y="44"/>
                  </a:lnTo>
                  <a:lnTo>
                    <a:pt x="22" y="44"/>
                  </a:lnTo>
                  <a:lnTo>
                    <a:pt x="22" y="44"/>
                  </a:lnTo>
                  <a:lnTo>
                    <a:pt x="20" y="40"/>
                  </a:lnTo>
                  <a:lnTo>
                    <a:pt x="20" y="40"/>
                  </a:lnTo>
                  <a:lnTo>
                    <a:pt x="20" y="40"/>
                  </a:lnTo>
                  <a:lnTo>
                    <a:pt x="16" y="36"/>
                  </a:lnTo>
                  <a:lnTo>
                    <a:pt x="16" y="36"/>
                  </a:lnTo>
                  <a:lnTo>
                    <a:pt x="16" y="36"/>
                  </a:lnTo>
                  <a:lnTo>
                    <a:pt x="16" y="36"/>
                  </a:lnTo>
                  <a:lnTo>
                    <a:pt x="16" y="36"/>
                  </a:lnTo>
                  <a:lnTo>
                    <a:pt x="16" y="36"/>
                  </a:lnTo>
                  <a:lnTo>
                    <a:pt x="16" y="36"/>
                  </a:lnTo>
                  <a:lnTo>
                    <a:pt x="12" y="32"/>
                  </a:lnTo>
                  <a:lnTo>
                    <a:pt x="8" y="32"/>
                  </a:lnTo>
                  <a:lnTo>
                    <a:pt x="8" y="30"/>
                  </a:lnTo>
                  <a:lnTo>
                    <a:pt x="8" y="30"/>
                  </a:lnTo>
                  <a:lnTo>
                    <a:pt x="8" y="30"/>
                  </a:lnTo>
                  <a:lnTo>
                    <a:pt x="8" y="30"/>
                  </a:lnTo>
                  <a:lnTo>
                    <a:pt x="8" y="32"/>
                  </a:lnTo>
                  <a:lnTo>
                    <a:pt x="4" y="32"/>
                  </a:lnTo>
                  <a:lnTo>
                    <a:pt x="4" y="32"/>
                  </a:lnTo>
                  <a:lnTo>
                    <a:pt x="4" y="30"/>
                  </a:lnTo>
                  <a:lnTo>
                    <a:pt x="4" y="30"/>
                  </a:lnTo>
                  <a:lnTo>
                    <a:pt x="0" y="30"/>
                  </a:lnTo>
                  <a:lnTo>
                    <a:pt x="0" y="30"/>
                  </a:lnTo>
                  <a:lnTo>
                    <a:pt x="0" y="26"/>
                  </a:lnTo>
                  <a:lnTo>
                    <a:pt x="0" y="26"/>
                  </a:lnTo>
                  <a:lnTo>
                    <a:pt x="0" y="26"/>
                  </a:lnTo>
                  <a:lnTo>
                    <a:pt x="0" y="22"/>
                  </a:lnTo>
                  <a:lnTo>
                    <a:pt x="4" y="22"/>
                  </a:lnTo>
                  <a:lnTo>
                    <a:pt x="4" y="22"/>
                  </a:lnTo>
                  <a:lnTo>
                    <a:pt x="4" y="18"/>
                  </a:lnTo>
                  <a:lnTo>
                    <a:pt x="4" y="18"/>
                  </a:lnTo>
                  <a:lnTo>
                    <a:pt x="4" y="18"/>
                  </a:lnTo>
                  <a:lnTo>
                    <a:pt x="0" y="18"/>
                  </a:lnTo>
                  <a:lnTo>
                    <a:pt x="4" y="14"/>
                  </a:lnTo>
                  <a:lnTo>
                    <a:pt x="4" y="14"/>
                  </a:lnTo>
                  <a:lnTo>
                    <a:pt x="4" y="14"/>
                  </a:lnTo>
                  <a:lnTo>
                    <a:pt x="4" y="14"/>
                  </a:lnTo>
                  <a:lnTo>
                    <a:pt x="4" y="14"/>
                  </a:lnTo>
                  <a:lnTo>
                    <a:pt x="4" y="14"/>
                  </a:lnTo>
                  <a:lnTo>
                    <a:pt x="4" y="10"/>
                  </a:lnTo>
                  <a:lnTo>
                    <a:pt x="4" y="10"/>
                  </a:lnTo>
                  <a:lnTo>
                    <a:pt x="4" y="10"/>
                  </a:lnTo>
                  <a:lnTo>
                    <a:pt x="4" y="10"/>
                  </a:lnTo>
                  <a:lnTo>
                    <a:pt x="4" y="10"/>
                  </a:lnTo>
                  <a:lnTo>
                    <a:pt x="8" y="10"/>
                  </a:lnTo>
                  <a:lnTo>
                    <a:pt x="8" y="6"/>
                  </a:lnTo>
                  <a:lnTo>
                    <a:pt x="8" y="6"/>
                  </a:lnTo>
                  <a:lnTo>
                    <a:pt x="8" y="6"/>
                  </a:lnTo>
                  <a:lnTo>
                    <a:pt x="8" y="6"/>
                  </a:lnTo>
                  <a:lnTo>
                    <a:pt x="8" y="6"/>
                  </a:lnTo>
                  <a:lnTo>
                    <a:pt x="8" y="6"/>
                  </a:lnTo>
                  <a:lnTo>
                    <a:pt x="12" y="4"/>
                  </a:lnTo>
                  <a:lnTo>
                    <a:pt x="12" y="4"/>
                  </a:lnTo>
                  <a:lnTo>
                    <a:pt x="12" y="4"/>
                  </a:lnTo>
                  <a:lnTo>
                    <a:pt x="16" y="4"/>
                  </a:lnTo>
                  <a:lnTo>
                    <a:pt x="16" y="4"/>
                  </a:lnTo>
                  <a:lnTo>
                    <a:pt x="16" y="4"/>
                  </a:lnTo>
                  <a:lnTo>
                    <a:pt x="16" y="6"/>
                  </a:lnTo>
                  <a:lnTo>
                    <a:pt x="16" y="6"/>
                  </a:lnTo>
                  <a:lnTo>
                    <a:pt x="16" y="6"/>
                  </a:lnTo>
                  <a:lnTo>
                    <a:pt x="16" y="6"/>
                  </a:lnTo>
                  <a:lnTo>
                    <a:pt x="16" y="6"/>
                  </a:lnTo>
                  <a:lnTo>
                    <a:pt x="16" y="6"/>
                  </a:lnTo>
                  <a:lnTo>
                    <a:pt x="16" y="6"/>
                  </a:lnTo>
                  <a:lnTo>
                    <a:pt x="20" y="4"/>
                  </a:lnTo>
                  <a:lnTo>
                    <a:pt x="20" y="4"/>
                  </a:lnTo>
                  <a:lnTo>
                    <a:pt x="20" y="4"/>
                  </a:lnTo>
                  <a:lnTo>
                    <a:pt x="20" y="0"/>
                  </a:lnTo>
                  <a:lnTo>
                    <a:pt x="20" y="0"/>
                  </a:lnTo>
                  <a:lnTo>
                    <a:pt x="20" y="0"/>
                  </a:lnTo>
                  <a:lnTo>
                    <a:pt x="20" y="0"/>
                  </a:lnTo>
                  <a:lnTo>
                    <a:pt x="20" y="0"/>
                  </a:lnTo>
                  <a:lnTo>
                    <a:pt x="20" y="0"/>
                  </a:lnTo>
                  <a:lnTo>
                    <a:pt x="20" y="0"/>
                  </a:lnTo>
                  <a:lnTo>
                    <a:pt x="20" y="0"/>
                  </a:lnTo>
                  <a:lnTo>
                    <a:pt x="22" y="0"/>
                  </a:lnTo>
                  <a:lnTo>
                    <a:pt x="22" y="0"/>
                  </a:lnTo>
                  <a:lnTo>
                    <a:pt x="22" y="0"/>
                  </a:lnTo>
                  <a:lnTo>
                    <a:pt x="22" y="0"/>
                  </a:lnTo>
                  <a:lnTo>
                    <a:pt x="22" y="0"/>
                  </a:lnTo>
                  <a:lnTo>
                    <a:pt x="26" y="0"/>
                  </a:lnTo>
                  <a:lnTo>
                    <a:pt x="26" y="0"/>
                  </a:lnTo>
                  <a:lnTo>
                    <a:pt x="30" y="0"/>
                  </a:lnTo>
                  <a:lnTo>
                    <a:pt x="30" y="4"/>
                  </a:lnTo>
                  <a:lnTo>
                    <a:pt x="30" y="6"/>
                  </a:lnTo>
                  <a:lnTo>
                    <a:pt x="30" y="4"/>
                  </a:lnTo>
                  <a:lnTo>
                    <a:pt x="34" y="6"/>
                  </a:lnTo>
                  <a:lnTo>
                    <a:pt x="34" y="6"/>
                  </a:lnTo>
                  <a:lnTo>
                    <a:pt x="38" y="10"/>
                  </a:lnTo>
                  <a:lnTo>
                    <a:pt x="38" y="10"/>
                  </a:lnTo>
                  <a:lnTo>
                    <a:pt x="38" y="10"/>
                  </a:lnTo>
                  <a:lnTo>
                    <a:pt x="42" y="10"/>
                  </a:lnTo>
                  <a:lnTo>
                    <a:pt x="42" y="10"/>
                  </a:lnTo>
                  <a:lnTo>
                    <a:pt x="42" y="14"/>
                  </a:lnTo>
                  <a:lnTo>
                    <a:pt x="42" y="14"/>
                  </a:lnTo>
                  <a:lnTo>
                    <a:pt x="42" y="14"/>
                  </a:lnTo>
                  <a:lnTo>
                    <a:pt x="46" y="14"/>
                  </a:lnTo>
                  <a:lnTo>
                    <a:pt x="46" y="14"/>
                  </a:lnTo>
                  <a:lnTo>
                    <a:pt x="46" y="14"/>
                  </a:lnTo>
                  <a:lnTo>
                    <a:pt x="46" y="14"/>
                  </a:lnTo>
                  <a:lnTo>
                    <a:pt x="46" y="14"/>
                  </a:lnTo>
                  <a:lnTo>
                    <a:pt x="46" y="18"/>
                  </a:lnTo>
                  <a:lnTo>
                    <a:pt x="46" y="18"/>
                  </a:lnTo>
                  <a:lnTo>
                    <a:pt x="48" y="18"/>
                  </a:lnTo>
                  <a:lnTo>
                    <a:pt x="48" y="22"/>
                  </a:lnTo>
                  <a:lnTo>
                    <a:pt x="48" y="22"/>
                  </a:lnTo>
                  <a:lnTo>
                    <a:pt x="48" y="22"/>
                  </a:lnTo>
                  <a:lnTo>
                    <a:pt x="48" y="22"/>
                  </a:lnTo>
                  <a:lnTo>
                    <a:pt x="52" y="22"/>
                  </a:lnTo>
                  <a:lnTo>
                    <a:pt x="52" y="22"/>
                  </a:lnTo>
                  <a:lnTo>
                    <a:pt x="52" y="22"/>
                  </a:lnTo>
                  <a:lnTo>
                    <a:pt x="52" y="22"/>
                  </a:lnTo>
                  <a:lnTo>
                    <a:pt x="52" y="22"/>
                  </a:lnTo>
                  <a:lnTo>
                    <a:pt x="52" y="18"/>
                  </a:lnTo>
                  <a:lnTo>
                    <a:pt x="56" y="18"/>
                  </a:lnTo>
                  <a:lnTo>
                    <a:pt x="56" y="18"/>
                  </a:lnTo>
                  <a:lnTo>
                    <a:pt x="56" y="22"/>
                  </a:lnTo>
                  <a:lnTo>
                    <a:pt x="56" y="22"/>
                  </a:lnTo>
                  <a:lnTo>
                    <a:pt x="56" y="22"/>
                  </a:lnTo>
                  <a:lnTo>
                    <a:pt x="56" y="22"/>
                  </a:lnTo>
                  <a:lnTo>
                    <a:pt x="60" y="22"/>
                  </a:lnTo>
                  <a:lnTo>
                    <a:pt x="60" y="26"/>
                  </a:lnTo>
                  <a:lnTo>
                    <a:pt x="60" y="26"/>
                  </a:lnTo>
                  <a:lnTo>
                    <a:pt x="60" y="26"/>
                  </a:lnTo>
                  <a:lnTo>
                    <a:pt x="60" y="26"/>
                  </a:lnTo>
                  <a:lnTo>
                    <a:pt x="60" y="26"/>
                  </a:lnTo>
                  <a:lnTo>
                    <a:pt x="60" y="26"/>
                  </a:lnTo>
                  <a:lnTo>
                    <a:pt x="60" y="30"/>
                  </a:lnTo>
                  <a:lnTo>
                    <a:pt x="64" y="30"/>
                  </a:lnTo>
                  <a:lnTo>
                    <a:pt x="64" y="30"/>
                  </a:lnTo>
                  <a:lnTo>
                    <a:pt x="64" y="30"/>
                  </a:lnTo>
                  <a:lnTo>
                    <a:pt x="64" y="30"/>
                  </a:lnTo>
                  <a:lnTo>
                    <a:pt x="64" y="30"/>
                  </a:lnTo>
                  <a:lnTo>
                    <a:pt x="64" y="32"/>
                  </a:lnTo>
                  <a:lnTo>
                    <a:pt x="68" y="32"/>
                  </a:lnTo>
                  <a:lnTo>
                    <a:pt x="68" y="32"/>
                  </a:lnTo>
                  <a:lnTo>
                    <a:pt x="68" y="32"/>
                  </a:lnTo>
                  <a:lnTo>
                    <a:pt x="72" y="32"/>
                  </a:lnTo>
                  <a:lnTo>
                    <a:pt x="72" y="32"/>
                  </a:lnTo>
                  <a:lnTo>
                    <a:pt x="72" y="30"/>
                  </a:lnTo>
                  <a:lnTo>
                    <a:pt x="72" y="32"/>
                  </a:lnTo>
                  <a:lnTo>
                    <a:pt x="72" y="32"/>
                  </a:lnTo>
                  <a:lnTo>
                    <a:pt x="72" y="32"/>
                  </a:lnTo>
                  <a:lnTo>
                    <a:pt x="72" y="32"/>
                  </a:lnTo>
                  <a:lnTo>
                    <a:pt x="72" y="36"/>
                  </a:lnTo>
                  <a:lnTo>
                    <a:pt x="72" y="36"/>
                  </a:lnTo>
                  <a:lnTo>
                    <a:pt x="72" y="36"/>
                  </a:lnTo>
                  <a:lnTo>
                    <a:pt x="72" y="36"/>
                  </a:lnTo>
                  <a:lnTo>
                    <a:pt x="72" y="36"/>
                  </a:lnTo>
                  <a:lnTo>
                    <a:pt x="74" y="36"/>
                  </a:lnTo>
                  <a:lnTo>
                    <a:pt x="74" y="36"/>
                  </a:lnTo>
                  <a:lnTo>
                    <a:pt x="74" y="36"/>
                  </a:lnTo>
                  <a:lnTo>
                    <a:pt x="74" y="36"/>
                  </a:lnTo>
                  <a:lnTo>
                    <a:pt x="74" y="36"/>
                  </a:lnTo>
                  <a:lnTo>
                    <a:pt x="74" y="36"/>
                  </a:lnTo>
                  <a:lnTo>
                    <a:pt x="78" y="36"/>
                  </a:lnTo>
                  <a:lnTo>
                    <a:pt x="78" y="36"/>
                  </a:lnTo>
                  <a:lnTo>
                    <a:pt x="78" y="36"/>
                  </a:lnTo>
                  <a:lnTo>
                    <a:pt x="82" y="40"/>
                  </a:lnTo>
                  <a:lnTo>
                    <a:pt x="82" y="40"/>
                  </a:lnTo>
                  <a:lnTo>
                    <a:pt x="82" y="40"/>
                  </a:lnTo>
                  <a:lnTo>
                    <a:pt x="82" y="40"/>
                  </a:lnTo>
                  <a:lnTo>
                    <a:pt x="82" y="40"/>
                  </a:lnTo>
                  <a:lnTo>
                    <a:pt x="82" y="44"/>
                  </a:lnTo>
                  <a:lnTo>
                    <a:pt x="82" y="44"/>
                  </a:lnTo>
                  <a:lnTo>
                    <a:pt x="82" y="44"/>
                  </a:lnTo>
                  <a:lnTo>
                    <a:pt x="86" y="44"/>
                  </a:lnTo>
                  <a:lnTo>
                    <a:pt x="86" y="44"/>
                  </a:lnTo>
                  <a:lnTo>
                    <a:pt x="86" y="44"/>
                  </a:lnTo>
                  <a:lnTo>
                    <a:pt x="86" y="44"/>
                  </a:lnTo>
                  <a:lnTo>
                    <a:pt x="86" y="40"/>
                  </a:lnTo>
                  <a:lnTo>
                    <a:pt x="86" y="40"/>
                  </a:lnTo>
                  <a:lnTo>
                    <a:pt x="86" y="40"/>
                  </a:lnTo>
                  <a:lnTo>
                    <a:pt x="86" y="40"/>
                  </a:lnTo>
                  <a:lnTo>
                    <a:pt x="86" y="40"/>
                  </a:lnTo>
                  <a:lnTo>
                    <a:pt x="86" y="44"/>
                  </a:lnTo>
                  <a:lnTo>
                    <a:pt x="90" y="44"/>
                  </a:lnTo>
                  <a:lnTo>
                    <a:pt x="90" y="44"/>
                  </a:lnTo>
                  <a:lnTo>
                    <a:pt x="90" y="44"/>
                  </a:lnTo>
                  <a:lnTo>
                    <a:pt x="90" y="44"/>
                  </a:lnTo>
                  <a:lnTo>
                    <a:pt x="90" y="44"/>
                  </a:lnTo>
                  <a:lnTo>
                    <a:pt x="94" y="40"/>
                  </a:lnTo>
                  <a:lnTo>
                    <a:pt x="94" y="40"/>
                  </a:lnTo>
                  <a:lnTo>
                    <a:pt x="94" y="40"/>
                  </a:lnTo>
                  <a:lnTo>
                    <a:pt x="94" y="40"/>
                  </a:lnTo>
                  <a:lnTo>
                    <a:pt x="94" y="40"/>
                  </a:lnTo>
                  <a:lnTo>
                    <a:pt x="94" y="40"/>
                  </a:lnTo>
                  <a:lnTo>
                    <a:pt x="94" y="40"/>
                  </a:lnTo>
                  <a:lnTo>
                    <a:pt x="98" y="44"/>
                  </a:lnTo>
                  <a:lnTo>
                    <a:pt x="98" y="44"/>
                  </a:lnTo>
                  <a:lnTo>
                    <a:pt x="98" y="44"/>
                  </a:lnTo>
                  <a:lnTo>
                    <a:pt x="98" y="44"/>
                  </a:lnTo>
                  <a:lnTo>
                    <a:pt x="100" y="44"/>
                  </a:lnTo>
                  <a:lnTo>
                    <a:pt x="100" y="44"/>
                  </a:lnTo>
                  <a:lnTo>
                    <a:pt x="100" y="44"/>
                  </a:lnTo>
                  <a:lnTo>
                    <a:pt x="100" y="48"/>
                  </a:lnTo>
                  <a:lnTo>
                    <a:pt x="100" y="44"/>
                  </a:lnTo>
                  <a:lnTo>
                    <a:pt x="104" y="44"/>
                  </a:lnTo>
                  <a:lnTo>
                    <a:pt x="104" y="44"/>
                  </a:lnTo>
                  <a:lnTo>
                    <a:pt x="104" y="48"/>
                  </a:lnTo>
                  <a:lnTo>
                    <a:pt x="108" y="48"/>
                  </a:lnTo>
                  <a:lnTo>
                    <a:pt x="108" y="44"/>
                  </a:lnTo>
                  <a:lnTo>
                    <a:pt x="108" y="48"/>
                  </a:lnTo>
                  <a:lnTo>
                    <a:pt x="108" y="48"/>
                  </a:lnTo>
                  <a:lnTo>
                    <a:pt x="108" y="44"/>
                  </a:lnTo>
                  <a:lnTo>
                    <a:pt x="108" y="44"/>
                  </a:lnTo>
                  <a:lnTo>
                    <a:pt x="108" y="44"/>
                  </a:lnTo>
                  <a:lnTo>
                    <a:pt x="108" y="44"/>
                  </a:lnTo>
                  <a:lnTo>
                    <a:pt x="108" y="44"/>
                  </a:lnTo>
                  <a:lnTo>
                    <a:pt x="112" y="44"/>
                  </a:lnTo>
                  <a:lnTo>
                    <a:pt x="112" y="44"/>
                  </a:lnTo>
                  <a:lnTo>
                    <a:pt x="112" y="44"/>
                  </a:lnTo>
                  <a:lnTo>
                    <a:pt x="112" y="44"/>
                  </a:lnTo>
                  <a:lnTo>
                    <a:pt x="112" y="44"/>
                  </a:lnTo>
                  <a:lnTo>
                    <a:pt x="112" y="44"/>
                  </a:lnTo>
                  <a:lnTo>
                    <a:pt x="116" y="44"/>
                  </a:lnTo>
                  <a:lnTo>
                    <a:pt x="116" y="44"/>
                  </a:lnTo>
                  <a:lnTo>
                    <a:pt x="116" y="48"/>
                  </a:lnTo>
                  <a:lnTo>
                    <a:pt x="116" y="48"/>
                  </a:lnTo>
                  <a:lnTo>
                    <a:pt x="112" y="52"/>
                  </a:lnTo>
                  <a:lnTo>
                    <a:pt x="112" y="52"/>
                  </a:lnTo>
                  <a:lnTo>
                    <a:pt x="112" y="52"/>
                  </a:lnTo>
                  <a:lnTo>
                    <a:pt x="112" y="52"/>
                  </a:lnTo>
                  <a:lnTo>
                    <a:pt x="112" y="56"/>
                  </a:lnTo>
                  <a:lnTo>
                    <a:pt x="112" y="56"/>
                  </a:lnTo>
                  <a:lnTo>
                    <a:pt x="112" y="60"/>
                  </a:lnTo>
                  <a:lnTo>
                    <a:pt x="112" y="60"/>
                  </a:lnTo>
                  <a:lnTo>
                    <a:pt x="112" y="60"/>
                  </a:lnTo>
                  <a:lnTo>
                    <a:pt x="112" y="60"/>
                  </a:lnTo>
                  <a:lnTo>
                    <a:pt x="112" y="60"/>
                  </a:lnTo>
                  <a:lnTo>
                    <a:pt x="112" y="62"/>
                  </a:lnTo>
                  <a:lnTo>
                    <a:pt x="116" y="62"/>
                  </a:lnTo>
                  <a:lnTo>
                    <a:pt x="116" y="66"/>
                  </a:lnTo>
                  <a:lnTo>
                    <a:pt x="116" y="66"/>
                  </a:lnTo>
                  <a:lnTo>
                    <a:pt x="116" y="66"/>
                  </a:lnTo>
                  <a:lnTo>
                    <a:pt x="116" y="66"/>
                  </a:lnTo>
                  <a:lnTo>
                    <a:pt x="112" y="70"/>
                  </a:lnTo>
                  <a:lnTo>
                    <a:pt x="112" y="70"/>
                  </a:lnTo>
                  <a:lnTo>
                    <a:pt x="112" y="70"/>
                  </a:lnTo>
                  <a:lnTo>
                    <a:pt x="112" y="70"/>
                  </a:lnTo>
                  <a:lnTo>
                    <a:pt x="112" y="74"/>
                  </a:lnTo>
                  <a:lnTo>
                    <a:pt x="112" y="70"/>
                  </a:lnTo>
                  <a:lnTo>
                    <a:pt x="112" y="70"/>
                  </a:lnTo>
                  <a:lnTo>
                    <a:pt x="112" y="70"/>
                  </a:lnTo>
                  <a:lnTo>
                    <a:pt x="112" y="70"/>
                  </a:lnTo>
                  <a:lnTo>
                    <a:pt x="108" y="70"/>
                  </a:lnTo>
                  <a:lnTo>
                    <a:pt x="108" y="70"/>
                  </a:lnTo>
                  <a:lnTo>
                    <a:pt x="108" y="70"/>
                  </a:lnTo>
                  <a:lnTo>
                    <a:pt x="108" y="70"/>
                  </a:lnTo>
                  <a:lnTo>
                    <a:pt x="104" y="70"/>
                  </a:lnTo>
                  <a:lnTo>
                    <a:pt x="104" y="70"/>
                  </a:lnTo>
                  <a:lnTo>
                    <a:pt x="104" y="70"/>
                  </a:lnTo>
                  <a:lnTo>
                    <a:pt x="104" y="70"/>
                  </a:lnTo>
                  <a:lnTo>
                    <a:pt x="104" y="70"/>
                  </a:lnTo>
                  <a:lnTo>
                    <a:pt x="104" y="70"/>
                  </a:lnTo>
                  <a:lnTo>
                    <a:pt x="100" y="74"/>
                  </a:lnTo>
                  <a:lnTo>
                    <a:pt x="100" y="70"/>
                  </a:lnTo>
                  <a:lnTo>
                    <a:pt x="98" y="70"/>
                  </a:lnTo>
                  <a:lnTo>
                    <a:pt x="98" y="70"/>
                  </a:lnTo>
                  <a:lnTo>
                    <a:pt x="98" y="70"/>
                  </a:lnTo>
                  <a:lnTo>
                    <a:pt x="98" y="70"/>
                  </a:lnTo>
                  <a:lnTo>
                    <a:pt x="98" y="70"/>
                  </a:lnTo>
                  <a:lnTo>
                    <a:pt x="98" y="70"/>
                  </a:lnTo>
                  <a:lnTo>
                    <a:pt x="94" y="70"/>
                  </a:lnTo>
                  <a:lnTo>
                    <a:pt x="94" y="70"/>
                  </a:lnTo>
                  <a:lnTo>
                    <a:pt x="94" y="70"/>
                  </a:lnTo>
                  <a:lnTo>
                    <a:pt x="90" y="70"/>
                  </a:lnTo>
                  <a:lnTo>
                    <a:pt x="90" y="66"/>
                  </a:lnTo>
                  <a:lnTo>
                    <a:pt x="86" y="66"/>
                  </a:lnTo>
                  <a:lnTo>
                    <a:pt x="86" y="66"/>
                  </a:lnTo>
                  <a:lnTo>
                    <a:pt x="86" y="66"/>
                  </a:lnTo>
                  <a:lnTo>
                    <a:pt x="86" y="66"/>
                  </a:lnTo>
                  <a:lnTo>
                    <a:pt x="86" y="66"/>
                  </a:lnTo>
                  <a:lnTo>
                    <a:pt x="86" y="66"/>
                  </a:lnTo>
                  <a:lnTo>
                    <a:pt x="82" y="66"/>
                  </a:lnTo>
                  <a:lnTo>
                    <a:pt x="82" y="66"/>
                  </a:lnTo>
                  <a:lnTo>
                    <a:pt x="82" y="66"/>
                  </a:lnTo>
                  <a:lnTo>
                    <a:pt x="82" y="70"/>
                  </a:lnTo>
                  <a:lnTo>
                    <a:pt x="78" y="66"/>
                  </a:lnTo>
                  <a:lnTo>
                    <a:pt x="78" y="66"/>
                  </a:lnTo>
                  <a:lnTo>
                    <a:pt x="78" y="66"/>
                  </a:lnTo>
                  <a:lnTo>
                    <a:pt x="78" y="66"/>
                  </a:lnTo>
                  <a:lnTo>
                    <a:pt x="78" y="66"/>
                  </a:lnTo>
                  <a:lnTo>
                    <a:pt x="78" y="62"/>
                  </a:lnTo>
                  <a:lnTo>
                    <a:pt x="78" y="62"/>
                  </a:lnTo>
                  <a:lnTo>
                    <a:pt x="78" y="62"/>
                  </a:lnTo>
                  <a:lnTo>
                    <a:pt x="78" y="62"/>
                  </a:lnTo>
                  <a:lnTo>
                    <a:pt x="74" y="62"/>
                  </a:lnTo>
                  <a:lnTo>
                    <a:pt x="74" y="66"/>
                  </a:lnTo>
                  <a:lnTo>
                    <a:pt x="74" y="66"/>
                  </a:lnTo>
                  <a:lnTo>
                    <a:pt x="74" y="66"/>
                  </a:lnTo>
                  <a:lnTo>
                    <a:pt x="74" y="66"/>
                  </a:lnTo>
                  <a:lnTo>
                    <a:pt x="72" y="66"/>
                  </a:lnTo>
                  <a:lnTo>
                    <a:pt x="72" y="66"/>
                  </a:lnTo>
                  <a:lnTo>
                    <a:pt x="72" y="62"/>
                  </a:lnTo>
                  <a:lnTo>
                    <a:pt x="68" y="62"/>
                  </a:lnTo>
                  <a:lnTo>
                    <a:pt x="68" y="60"/>
                  </a:lnTo>
                  <a:lnTo>
                    <a:pt x="68" y="60"/>
                  </a:lnTo>
                  <a:lnTo>
                    <a:pt x="68" y="60"/>
                  </a:lnTo>
                  <a:lnTo>
                    <a:pt x="68" y="60"/>
                  </a:lnTo>
                  <a:lnTo>
                    <a:pt x="64" y="60"/>
                  </a:lnTo>
                  <a:lnTo>
                    <a:pt x="64" y="60"/>
                  </a:lnTo>
                  <a:lnTo>
                    <a:pt x="64" y="60"/>
                  </a:lnTo>
                  <a:lnTo>
                    <a:pt x="64" y="60"/>
                  </a:lnTo>
                  <a:lnTo>
                    <a:pt x="64" y="60"/>
                  </a:lnTo>
                  <a:lnTo>
                    <a:pt x="64" y="56"/>
                  </a:lnTo>
                  <a:lnTo>
                    <a:pt x="64" y="56"/>
                  </a:lnTo>
                  <a:lnTo>
                    <a:pt x="64" y="56"/>
                  </a:lnTo>
                  <a:lnTo>
                    <a:pt x="64" y="56"/>
                  </a:lnTo>
                  <a:lnTo>
                    <a:pt x="64" y="56"/>
                  </a:lnTo>
                  <a:lnTo>
                    <a:pt x="64" y="56"/>
                  </a:lnTo>
                  <a:lnTo>
                    <a:pt x="60" y="56"/>
                  </a:lnTo>
                  <a:lnTo>
                    <a:pt x="60" y="56"/>
                  </a:lnTo>
                  <a:lnTo>
                    <a:pt x="60" y="56"/>
                  </a:lnTo>
                  <a:lnTo>
                    <a:pt x="56" y="52"/>
                  </a:lnTo>
                  <a:lnTo>
                    <a:pt x="56" y="52"/>
                  </a:lnTo>
                  <a:lnTo>
                    <a:pt x="56" y="52"/>
                  </a:lnTo>
                  <a:lnTo>
                    <a:pt x="56" y="52"/>
                  </a:lnTo>
                  <a:lnTo>
                    <a:pt x="52" y="52"/>
                  </a:lnTo>
                  <a:lnTo>
                    <a:pt x="52" y="52"/>
                  </a:lnTo>
                  <a:lnTo>
                    <a:pt x="52" y="56"/>
                  </a:lnTo>
                  <a:lnTo>
                    <a:pt x="52" y="56"/>
                  </a:lnTo>
                  <a:lnTo>
                    <a:pt x="52" y="56"/>
                  </a:lnTo>
                  <a:lnTo>
                    <a:pt x="52" y="56"/>
                  </a:lnTo>
                  <a:lnTo>
                    <a:pt x="52" y="56"/>
                  </a:lnTo>
                  <a:lnTo>
                    <a:pt x="52" y="52"/>
                  </a:lnTo>
                  <a:lnTo>
                    <a:pt x="48" y="52"/>
                  </a:lnTo>
                  <a:lnTo>
                    <a:pt x="48" y="52"/>
                  </a:lnTo>
                  <a:lnTo>
                    <a:pt x="48" y="52"/>
                  </a:lnTo>
                  <a:lnTo>
                    <a:pt x="48" y="52"/>
                  </a:lnTo>
                  <a:lnTo>
                    <a:pt x="46" y="52"/>
                  </a:lnTo>
                  <a:lnTo>
                    <a:pt x="46" y="56"/>
                  </a:lnTo>
                  <a:lnTo>
                    <a:pt x="46" y="56"/>
                  </a:lnTo>
                  <a:lnTo>
                    <a:pt x="46" y="56"/>
                  </a:lnTo>
                  <a:lnTo>
                    <a:pt x="46" y="56"/>
                  </a:lnTo>
                  <a:lnTo>
                    <a:pt x="46" y="56"/>
                  </a:lnTo>
                  <a:lnTo>
                    <a:pt x="46" y="56"/>
                  </a:lnTo>
                  <a:lnTo>
                    <a:pt x="46" y="56"/>
                  </a:lnTo>
                  <a:lnTo>
                    <a:pt x="46" y="52"/>
                  </a:lnTo>
                  <a:lnTo>
                    <a:pt x="42" y="52"/>
                  </a:lnTo>
                  <a:lnTo>
                    <a:pt x="42" y="52"/>
                  </a:lnTo>
                  <a:lnTo>
                    <a:pt x="42" y="52"/>
                  </a:lnTo>
                  <a:lnTo>
                    <a:pt x="42" y="52"/>
                  </a:lnTo>
                  <a:lnTo>
                    <a:pt x="38" y="52"/>
                  </a:lnTo>
                  <a:lnTo>
                    <a:pt x="38" y="52"/>
                  </a:lnTo>
                  <a:lnTo>
                    <a:pt x="38" y="52"/>
                  </a:lnTo>
                  <a:lnTo>
                    <a:pt x="38" y="48"/>
                  </a:lnTo>
                  <a:lnTo>
                    <a:pt x="38" y="48"/>
                  </a:lnTo>
                  <a:lnTo>
                    <a:pt x="38" y="48"/>
                  </a:lnTo>
                  <a:lnTo>
                    <a:pt x="38" y="48"/>
                  </a:lnTo>
                  <a:lnTo>
                    <a:pt x="38" y="4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51" name="Freeform 44"/>
            <p:cNvSpPr>
              <a:spLocks/>
            </p:cNvSpPr>
            <p:nvPr/>
          </p:nvSpPr>
          <p:spPr bwMode="auto">
            <a:xfrm>
              <a:off x="8144275" y="3658331"/>
              <a:ext cx="56518" cy="65379"/>
            </a:xfrm>
            <a:custGeom>
              <a:avLst/>
              <a:gdLst>
                <a:gd name="T0" fmla="*/ 46 w 90"/>
                <a:gd name="T1" fmla="*/ 72 h 100"/>
                <a:gd name="T2" fmla="*/ 52 w 90"/>
                <a:gd name="T3" fmla="*/ 76 h 100"/>
                <a:gd name="T4" fmla="*/ 56 w 90"/>
                <a:gd name="T5" fmla="*/ 80 h 100"/>
                <a:gd name="T6" fmla="*/ 56 w 90"/>
                <a:gd name="T7" fmla="*/ 84 h 100"/>
                <a:gd name="T8" fmla="*/ 56 w 90"/>
                <a:gd name="T9" fmla="*/ 88 h 100"/>
                <a:gd name="T10" fmla="*/ 52 w 90"/>
                <a:gd name="T11" fmla="*/ 88 h 100"/>
                <a:gd name="T12" fmla="*/ 42 w 90"/>
                <a:gd name="T13" fmla="*/ 88 h 100"/>
                <a:gd name="T14" fmla="*/ 38 w 90"/>
                <a:gd name="T15" fmla="*/ 92 h 100"/>
                <a:gd name="T16" fmla="*/ 34 w 90"/>
                <a:gd name="T17" fmla="*/ 100 h 100"/>
                <a:gd name="T18" fmla="*/ 26 w 90"/>
                <a:gd name="T19" fmla="*/ 96 h 100"/>
                <a:gd name="T20" fmla="*/ 22 w 90"/>
                <a:gd name="T21" fmla="*/ 100 h 100"/>
                <a:gd name="T22" fmla="*/ 20 w 90"/>
                <a:gd name="T23" fmla="*/ 96 h 100"/>
                <a:gd name="T24" fmla="*/ 20 w 90"/>
                <a:gd name="T25" fmla="*/ 96 h 100"/>
                <a:gd name="T26" fmla="*/ 16 w 90"/>
                <a:gd name="T27" fmla="*/ 100 h 100"/>
                <a:gd name="T28" fmla="*/ 16 w 90"/>
                <a:gd name="T29" fmla="*/ 96 h 100"/>
                <a:gd name="T30" fmla="*/ 12 w 90"/>
                <a:gd name="T31" fmla="*/ 96 h 100"/>
                <a:gd name="T32" fmla="*/ 12 w 90"/>
                <a:gd name="T33" fmla="*/ 96 h 100"/>
                <a:gd name="T34" fmla="*/ 12 w 90"/>
                <a:gd name="T35" fmla="*/ 92 h 100"/>
                <a:gd name="T36" fmla="*/ 4 w 90"/>
                <a:gd name="T37" fmla="*/ 92 h 100"/>
                <a:gd name="T38" fmla="*/ 8 w 90"/>
                <a:gd name="T39" fmla="*/ 84 h 100"/>
                <a:gd name="T40" fmla="*/ 16 w 90"/>
                <a:gd name="T41" fmla="*/ 80 h 100"/>
                <a:gd name="T42" fmla="*/ 20 w 90"/>
                <a:gd name="T43" fmla="*/ 84 h 100"/>
                <a:gd name="T44" fmla="*/ 12 w 90"/>
                <a:gd name="T45" fmla="*/ 80 h 100"/>
                <a:gd name="T46" fmla="*/ 12 w 90"/>
                <a:gd name="T47" fmla="*/ 72 h 100"/>
                <a:gd name="T48" fmla="*/ 16 w 90"/>
                <a:gd name="T49" fmla="*/ 70 h 100"/>
                <a:gd name="T50" fmla="*/ 16 w 90"/>
                <a:gd name="T51" fmla="*/ 66 h 100"/>
                <a:gd name="T52" fmla="*/ 4 w 90"/>
                <a:gd name="T53" fmla="*/ 62 h 100"/>
                <a:gd name="T54" fmla="*/ 4 w 90"/>
                <a:gd name="T55" fmla="*/ 58 h 100"/>
                <a:gd name="T56" fmla="*/ 0 w 90"/>
                <a:gd name="T57" fmla="*/ 54 h 100"/>
                <a:gd name="T58" fmla="*/ 4 w 90"/>
                <a:gd name="T59" fmla="*/ 50 h 100"/>
                <a:gd name="T60" fmla="*/ 12 w 90"/>
                <a:gd name="T61" fmla="*/ 44 h 100"/>
                <a:gd name="T62" fmla="*/ 20 w 90"/>
                <a:gd name="T63" fmla="*/ 44 h 100"/>
                <a:gd name="T64" fmla="*/ 26 w 90"/>
                <a:gd name="T65" fmla="*/ 32 h 100"/>
                <a:gd name="T66" fmla="*/ 30 w 90"/>
                <a:gd name="T67" fmla="*/ 28 h 100"/>
                <a:gd name="T68" fmla="*/ 34 w 90"/>
                <a:gd name="T69" fmla="*/ 24 h 100"/>
                <a:gd name="T70" fmla="*/ 38 w 90"/>
                <a:gd name="T71" fmla="*/ 24 h 100"/>
                <a:gd name="T72" fmla="*/ 48 w 90"/>
                <a:gd name="T73" fmla="*/ 28 h 100"/>
                <a:gd name="T74" fmla="*/ 52 w 90"/>
                <a:gd name="T75" fmla="*/ 28 h 100"/>
                <a:gd name="T76" fmla="*/ 56 w 90"/>
                <a:gd name="T77" fmla="*/ 24 h 100"/>
                <a:gd name="T78" fmla="*/ 56 w 90"/>
                <a:gd name="T79" fmla="*/ 16 h 100"/>
                <a:gd name="T80" fmla="*/ 60 w 90"/>
                <a:gd name="T81" fmla="*/ 16 h 100"/>
                <a:gd name="T82" fmla="*/ 68 w 90"/>
                <a:gd name="T83" fmla="*/ 16 h 100"/>
                <a:gd name="T84" fmla="*/ 72 w 90"/>
                <a:gd name="T85" fmla="*/ 10 h 100"/>
                <a:gd name="T86" fmla="*/ 74 w 90"/>
                <a:gd name="T87" fmla="*/ 6 h 100"/>
                <a:gd name="T88" fmla="*/ 78 w 90"/>
                <a:gd name="T89" fmla="*/ 0 h 100"/>
                <a:gd name="T90" fmla="*/ 82 w 90"/>
                <a:gd name="T91" fmla="*/ 2 h 100"/>
                <a:gd name="T92" fmla="*/ 90 w 90"/>
                <a:gd name="T93" fmla="*/ 10 h 100"/>
                <a:gd name="T94" fmla="*/ 90 w 90"/>
                <a:gd name="T95" fmla="*/ 14 h 100"/>
                <a:gd name="T96" fmla="*/ 82 w 90"/>
                <a:gd name="T97" fmla="*/ 16 h 100"/>
                <a:gd name="T98" fmla="*/ 74 w 90"/>
                <a:gd name="T99" fmla="*/ 24 h 100"/>
                <a:gd name="T100" fmla="*/ 74 w 90"/>
                <a:gd name="T101" fmla="*/ 28 h 100"/>
                <a:gd name="T102" fmla="*/ 74 w 90"/>
                <a:gd name="T103" fmla="*/ 36 h 100"/>
                <a:gd name="T104" fmla="*/ 74 w 90"/>
                <a:gd name="T105" fmla="*/ 40 h 100"/>
                <a:gd name="T106" fmla="*/ 68 w 90"/>
                <a:gd name="T107" fmla="*/ 46 h 100"/>
                <a:gd name="T108" fmla="*/ 64 w 90"/>
                <a:gd name="T109" fmla="*/ 46 h 100"/>
                <a:gd name="T110" fmla="*/ 52 w 90"/>
                <a:gd name="T111" fmla="*/ 54 h 100"/>
                <a:gd name="T112" fmla="*/ 48 w 90"/>
                <a:gd name="T113" fmla="*/ 58 h 100"/>
                <a:gd name="T114" fmla="*/ 46 w 90"/>
                <a:gd name="T115" fmla="*/ 66 h 100"/>
                <a:gd name="T116" fmla="*/ 46 w 90"/>
                <a:gd name="T117"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100">
                  <a:moveTo>
                    <a:pt x="46" y="70"/>
                  </a:moveTo>
                  <a:lnTo>
                    <a:pt x="46" y="70"/>
                  </a:lnTo>
                  <a:lnTo>
                    <a:pt x="42" y="70"/>
                  </a:lnTo>
                  <a:lnTo>
                    <a:pt x="42" y="70"/>
                  </a:lnTo>
                  <a:lnTo>
                    <a:pt x="42" y="72"/>
                  </a:lnTo>
                  <a:lnTo>
                    <a:pt x="46" y="72"/>
                  </a:lnTo>
                  <a:lnTo>
                    <a:pt x="46" y="72"/>
                  </a:lnTo>
                  <a:lnTo>
                    <a:pt x="46" y="72"/>
                  </a:lnTo>
                  <a:lnTo>
                    <a:pt x="48" y="72"/>
                  </a:lnTo>
                  <a:lnTo>
                    <a:pt x="48" y="72"/>
                  </a:lnTo>
                  <a:lnTo>
                    <a:pt x="48" y="76"/>
                  </a:lnTo>
                  <a:lnTo>
                    <a:pt x="48" y="76"/>
                  </a:lnTo>
                  <a:lnTo>
                    <a:pt x="52" y="76"/>
                  </a:lnTo>
                  <a:lnTo>
                    <a:pt x="52" y="76"/>
                  </a:lnTo>
                  <a:lnTo>
                    <a:pt x="52" y="76"/>
                  </a:lnTo>
                  <a:lnTo>
                    <a:pt x="52" y="76"/>
                  </a:lnTo>
                  <a:lnTo>
                    <a:pt x="52" y="80"/>
                  </a:lnTo>
                  <a:lnTo>
                    <a:pt x="52" y="80"/>
                  </a:lnTo>
                  <a:lnTo>
                    <a:pt x="56" y="80"/>
                  </a:lnTo>
                  <a:lnTo>
                    <a:pt x="56" y="80"/>
                  </a:lnTo>
                  <a:lnTo>
                    <a:pt x="56" y="80"/>
                  </a:lnTo>
                  <a:lnTo>
                    <a:pt x="56" y="80"/>
                  </a:lnTo>
                  <a:lnTo>
                    <a:pt x="56" y="80"/>
                  </a:lnTo>
                  <a:lnTo>
                    <a:pt x="56" y="80"/>
                  </a:lnTo>
                  <a:lnTo>
                    <a:pt x="56" y="84"/>
                  </a:lnTo>
                  <a:lnTo>
                    <a:pt x="56" y="84"/>
                  </a:lnTo>
                  <a:lnTo>
                    <a:pt x="56" y="84"/>
                  </a:lnTo>
                  <a:lnTo>
                    <a:pt x="56" y="84"/>
                  </a:lnTo>
                  <a:lnTo>
                    <a:pt x="56" y="84"/>
                  </a:lnTo>
                  <a:lnTo>
                    <a:pt x="56" y="84"/>
                  </a:lnTo>
                  <a:lnTo>
                    <a:pt x="56" y="88"/>
                  </a:lnTo>
                  <a:lnTo>
                    <a:pt x="56" y="88"/>
                  </a:lnTo>
                  <a:lnTo>
                    <a:pt x="56" y="88"/>
                  </a:lnTo>
                  <a:lnTo>
                    <a:pt x="56" y="88"/>
                  </a:lnTo>
                  <a:lnTo>
                    <a:pt x="56" y="88"/>
                  </a:lnTo>
                  <a:lnTo>
                    <a:pt x="52" y="88"/>
                  </a:lnTo>
                  <a:lnTo>
                    <a:pt x="52" y="88"/>
                  </a:lnTo>
                  <a:lnTo>
                    <a:pt x="52" y="88"/>
                  </a:lnTo>
                  <a:lnTo>
                    <a:pt x="52" y="88"/>
                  </a:lnTo>
                  <a:lnTo>
                    <a:pt x="52" y="88"/>
                  </a:lnTo>
                  <a:lnTo>
                    <a:pt x="52" y="88"/>
                  </a:lnTo>
                  <a:lnTo>
                    <a:pt x="52" y="88"/>
                  </a:lnTo>
                  <a:lnTo>
                    <a:pt x="48" y="88"/>
                  </a:lnTo>
                  <a:lnTo>
                    <a:pt x="46" y="88"/>
                  </a:lnTo>
                  <a:lnTo>
                    <a:pt x="46" y="88"/>
                  </a:lnTo>
                  <a:lnTo>
                    <a:pt x="46" y="88"/>
                  </a:lnTo>
                  <a:lnTo>
                    <a:pt x="42" y="88"/>
                  </a:lnTo>
                  <a:lnTo>
                    <a:pt x="42" y="88"/>
                  </a:lnTo>
                  <a:lnTo>
                    <a:pt x="42" y="88"/>
                  </a:lnTo>
                  <a:lnTo>
                    <a:pt x="38" y="88"/>
                  </a:lnTo>
                  <a:lnTo>
                    <a:pt x="38" y="88"/>
                  </a:lnTo>
                  <a:lnTo>
                    <a:pt x="38" y="88"/>
                  </a:lnTo>
                  <a:lnTo>
                    <a:pt x="38" y="88"/>
                  </a:lnTo>
                  <a:lnTo>
                    <a:pt x="38" y="92"/>
                  </a:lnTo>
                  <a:lnTo>
                    <a:pt x="38" y="92"/>
                  </a:lnTo>
                  <a:lnTo>
                    <a:pt x="38" y="92"/>
                  </a:lnTo>
                  <a:lnTo>
                    <a:pt x="38" y="92"/>
                  </a:lnTo>
                  <a:lnTo>
                    <a:pt x="38" y="92"/>
                  </a:lnTo>
                  <a:lnTo>
                    <a:pt x="34" y="96"/>
                  </a:lnTo>
                  <a:lnTo>
                    <a:pt x="34" y="96"/>
                  </a:lnTo>
                  <a:lnTo>
                    <a:pt x="34" y="96"/>
                  </a:lnTo>
                  <a:lnTo>
                    <a:pt x="34" y="96"/>
                  </a:lnTo>
                  <a:lnTo>
                    <a:pt x="34" y="100"/>
                  </a:lnTo>
                  <a:lnTo>
                    <a:pt x="34" y="100"/>
                  </a:lnTo>
                  <a:lnTo>
                    <a:pt x="30" y="100"/>
                  </a:lnTo>
                  <a:lnTo>
                    <a:pt x="30" y="100"/>
                  </a:lnTo>
                  <a:lnTo>
                    <a:pt x="30" y="96"/>
                  </a:lnTo>
                  <a:lnTo>
                    <a:pt x="30" y="96"/>
                  </a:lnTo>
                  <a:lnTo>
                    <a:pt x="30" y="96"/>
                  </a:lnTo>
                  <a:lnTo>
                    <a:pt x="26" y="96"/>
                  </a:lnTo>
                  <a:lnTo>
                    <a:pt x="26" y="100"/>
                  </a:lnTo>
                  <a:lnTo>
                    <a:pt x="26" y="100"/>
                  </a:lnTo>
                  <a:lnTo>
                    <a:pt x="26" y="100"/>
                  </a:lnTo>
                  <a:lnTo>
                    <a:pt x="26" y="100"/>
                  </a:lnTo>
                  <a:lnTo>
                    <a:pt x="26" y="100"/>
                  </a:lnTo>
                  <a:lnTo>
                    <a:pt x="26" y="100"/>
                  </a:lnTo>
                  <a:lnTo>
                    <a:pt x="22" y="100"/>
                  </a:lnTo>
                  <a:lnTo>
                    <a:pt x="22" y="96"/>
                  </a:lnTo>
                  <a:lnTo>
                    <a:pt x="22" y="96"/>
                  </a:lnTo>
                  <a:lnTo>
                    <a:pt x="22" y="96"/>
                  </a:lnTo>
                  <a:lnTo>
                    <a:pt x="22" y="96"/>
                  </a:lnTo>
                  <a:lnTo>
                    <a:pt x="22" y="100"/>
                  </a:lnTo>
                  <a:lnTo>
                    <a:pt x="22" y="100"/>
                  </a:lnTo>
                  <a:lnTo>
                    <a:pt x="20" y="96"/>
                  </a:lnTo>
                  <a:lnTo>
                    <a:pt x="20" y="96"/>
                  </a:lnTo>
                  <a:lnTo>
                    <a:pt x="20" y="96"/>
                  </a:lnTo>
                  <a:lnTo>
                    <a:pt x="20" y="96"/>
                  </a:lnTo>
                  <a:lnTo>
                    <a:pt x="20" y="96"/>
                  </a:lnTo>
                  <a:lnTo>
                    <a:pt x="20" y="96"/>
                  </a:lnTo>
                  <a:lnTo>
                    <a:pt x="20" y="96"/>
                  </a:lnTo>
                  <a:lnTo>
                    <a:pt x="20" y="96"/>
                  </a:lnTo>
                  <a:lnTo>
                    <a:pt x="20" y="96"/>
                  </a:lnTo>
                  <a:lnTo>
                    <a:pt x="20" y="96"/>
                  </a:lnTo>
                  <a:lnTo>
                    <a:pt x="20" y="100"/>
                  </a:lnTo>
                  <a:lnTo>
                    <a:pt x="20" y="100"/>
                  </a:lnTo>
                  <a:lnTo>
                    <a:pt x="16" y="100"/>
                  </a:lnTo>
                  <a:lnTo>
                    <a:pt x="16" y="100"/>
                  </a:lnTo>
                  <a:lnTo>
                    <a:pt x="16" y="100"/>
                  </a:lnTo>
                  <a:lnTo>
                    <a:pt x="16" y="100"/>
                  </a:lnTo>
                  <a:lnTo>
                    <a:pt x="16" y="100"/>
                  </a:lnTo>
                  <a:lnTo>
                    <a:pt x="16" y="100"/>
                  </a:lnTo>
                  <a:lnTo>
                    <a:pt x="16" y="100"/>
                  </a:lnTo>
                  <a:lnTo>
                    <a:pt x="16" y="100"/>
                  </a:lnTo>
                  <a:lnTo>
                    <a:pt x="16" y="96"/>
                  </a:lnTo>
                  <a:lnTo>
                    <a:pt x="16" y="96"/>
                  </a:lnTo>
                  <a:lnTo>
                    <a:pt x="16" y="96"/>
                  </a:lnTo>
                  <a:lnTo>
                    <a:pt x="16" y="96"/>
                  </a:lnTo>
                  <a:lnTo>
                    <a:pt x="16" y="96"/>
                  </a:lnTo>
                  <a:lnTo>
                    <a:pt x="16" y="96"/>
                  </a:lnTo>
                  <a:lnTo>
                    <a:pt x="12" y="96"/>
                  </a:lnTo>
                  <a:lnTo>
                    <a:pt x="12" y="96"/>
                  </a:lnTo>
                  <a:lnTo>
                    <a:pt x="12" y="96"/>
                  </a:lnTo>
                  <a:lnTo>
                    <a:pt x="12" y="96"/>
                  </a:lnTo>
                  <a:lnTo>
                    <a:pt x="12" y="96"/>
                  </a:lnTo>
                  <a:lnTo>
                    <a:pt x="8" y="96"/>
                  </a:lnTo>
                  <a:lnTo>
                    <a:pt x="8" y="96"/>
                  </a:lnTo>
                  <a:lnTo>
                    <a:pt x="12" y="96"/>
                  </a:lnTo>
                  <a:lnTo>
                    <a:pt x="12" y="96"/>
                  </a:lnTo>
                  <a:lnTo>
                    <a:pt x="12" y="96"/>
                  </a:lnTo>
                  <a:lnTo>
                    <a:pt x="12" y="96"/>
                  </a:lnTo>
                  <a:lnTo>
                    <a:pt x="12" y="96"/>
                  </a:lnTo>
                  <a:lnTo>
                    <a:pt x="12" y="92"/>
                  </a:lnTo>
                  <a:lnTo>
                    <a:pt x="12" y="92"/>
                  </a:lnTo>
                  <a:lnTo>
                    <a:pt x="12" y="92"/>
                  </a:lnTo>
                  <a:lnTo>
                    <a:pt x="12" y="92"/>
                  </a:lnTo>
                  <a:lnTo>
                    <a:pt x="12" y="92"/>
                  </a:lnTo>
                  <a:lnTo>
                    <a:pt x="12" y="92"/>
                  </a:lnTo>
                  <a:lnTo>
                    <a:pt x="8" y="92"/>
                  </a:lnTo>
                  <a:lnTo>
                    <a:pt x="8" y="92"/>
                  </a:lnTo>
                  <a:lnTo>
                    <a:pt x="8" y="92"/>
                  </a:lnTo>
                  <a:lnTo>
                    <a:pt x="4" y="92"/>
                  </a:lnTo>
                  <a:lnTo>
                    <a:pt x="4" y="92"/>
                  </a:lnTo>
                  <a:lnTo>
                    <a:pt x="4" y="92"/>
                  </a:lnTo>
                  <a:lnTo>
                    <a:pt x="4" y="92"/>
                  </a:lnTo>
                  <a:lnTo>
                    <a:pt x="4" y="92"/>
                  </a:lnTo>
                  <a:lnTo>
                    <a:pt x="8" y="92"/>
                  </a:lnTo>
                  <a:lnTo>
                    <a:pt x="8" y="92"/>
                  </a:lnTo>
                  <a:lnTo>
                    <a:pt x="8" y="88"/>
                  </a:lnTo>
                  <a:lnTo>
                    <a:pt x="8" y="88"/>
                  </a:lnTo>
                  <a:lnTo>
                    <a:pt x="8" y="84"/>
                  </a:lnTo>
                  <a:lnTo>
                    <a:pt x="8" y="84"/>
                  </a:lnTo>
                  <a:lnTo>
                    <a:pt x="12" y="84"/>
                  </a:lnTo>
                  <a:lnTo>
                    <a:pt x="12" y="80"/>
                  </a:lnTo>
                  <a:lnTo>
                    <a:pt x="16" y="80"/>
                  </a:lnTo>
                  <a:lnTo>
                    <a:pt x="16" y="80"/>
                  </a:lnTo>
                  <a:lnTo>
                    <a:pt x="16" y="80"/>
                  </a:lnTo>
                  <a:lnTo>
                    <a:pt x="16" y="80"/>
                  </a:lnTo>
                  <a:lnTo>
                    <a:pt x="16" y="80"/>
                  </a:lnTo>
                  <a:lnTo>
                    <a:pt x="20" y="80"/>
                  </a:lnTo>
                  <a:lnTo>
                    <a:pt x="20" y="80"/>
                  </a:lnTo>
                  <a:lnTo>
                    <a:pt x="20" y="84"/>
                  </a:lnTo>
                  <a:lnTo>
                    <a:pt x="20" y="84"/>
                  </a:lnTo>
                  <a:lnTo>
                    <a:pt x="20" y="84"/>
                  </a:lnTo>
                  <a:lnTo>
                    <a:pt x="20" y="84"/>
                  </a:lnTo>
                  <a:lnTo>
                    <a:pt x="20" y="80"/>
                  </a:lnTo>
                  <a:lnTo>
                    <a:pt x="20" y="80"/>
                  </a:lnTo>
                  <a:lnTo>
                    <a:pt x="16" y="80"/>
                  </a:lnTo>
                  <a:lnTo>
                    <a:pt x="16" y="80"/>
                  </a:lnTo>
                  <a:lnTo>
                    <a:pt x="16" y="80"/>
                  </a:lnTo>
                  <a:lnTo>
                    <a:pt x="16" y="80"/>
                  </a:lnTo>
                  <a:lnTo>
                    <a:pt x="12" y="80"/>
                  </a:lnTo>
                  <a:lnTo>
                    <a:pt x="12" y="80"/>
                  </a:lnTo>
                  <a:lnTo>
                    <a:pt x="12" y="80"/>
                  </a:lnTo>
                  <a:lnTo>
                    <a:pt x="12" y="76"/>
                  </a:lnTo>
                  <a:lnTo>
                    <a:pt x="12" y="76"/>
                  </a:lnTo>
                  <a:lnTo>
                    <a:pt x="12" y="76"/>
                  </a:lnTo>
                  <a:lnTo>
                    <a:pt x="12" y="72"/>
                  </a:lnTo>
                  <a:lnTo>
                    <a:pt x="12" y="72"/>
                  </a:lnTo>
                  <a:lnTo>
                    <a:pt x="12" y="72"/>
                  </a:lnTo>
                  <a:lnTo>
                    <a:pt x="16" y="72"/>
                  </a:lnTo>
                  <a:lnTo>
                    <a:pt x="16" y="72"/>
                  </a:lnTo>
                  <a:lnTo>
                    <a:pt x="16" y="70"/>
                  </a:lnTo>
                  <a:lnTo>
                    <a:pt x="16" y="70"/>
                  </a:lnTo>
                  <a:lnTo>
                    <a:pt x="16" y="70"/>
                  </a:lnTo>
                  <a:lnTo>
                    <a:pt x="16" y="70"/>
                  </a:lnTo>
                  <a:lnTo>
                    <a:pt x="16" y="70"/>
                  </a:lnTo>
                  <a:lnTo>
                    <a:pt x="16" y="66"/>
                  </a:lnTo>
                  <a:lnTo>
                    <a:pt x="16" y="66"/>
                  </a:lnTo>
                  <a:lnTo>
                    <a:pt x="16" y="66"/>
                  </a:lnTo>
                  <a:lnTo>
                    <a:pt x="16" y="66"/>
                  </a:lnTo>
                  <a:lnTo>
                    <a:pt x="16" y="66"/>
                  </a:lnTo>
                  <a:lnTo>
                    <a:pt x="16" y="66"/>
                  </a:lnTo>
                  <a:lnTo>
                    <a:pt x="16" y="66"/>
                  </a:lnTo>
                  <a:lnTo>
                    <a:pt x="12" y="66"/>
                  </a:lnTo>
                  <a:lnTo>
                    <a:pt x="12" y="66"/>
                  </a:lnTo>
                  <a:lnTo>
                    <a:pt x="12" y="62"/>
                  </a:lnTo>
                  <a:lnTo>
                    <a:pt x="8" y="62"/>
                  </a:lnTo>
                  <a:lnTo>
                    <a:pt x="8" y="62"/>
                  </a:lnTo>
                  <a:lnTo>
                    <a:pt x="4" y="62"/>
                  </a:lnTo>
                  <a:lnTo>
                    <a:pt x="4" y="62"/>
                  </a:lnTo>
                  <a:lnTo>
                    <a:pt x="4" y="62"/>
                  </a:lnTo>
                  <a:lnTo>
                    <a:pt x="4" y="62"/>
                  </a:lnTo>
                  <a:lnTo>
                    <a:pt x="4" y="66"/>
                  </a:lnTo>
                  <a:lnTo>
                    <a:pt x="4" y="62"/>
                  </a:lnTo>
                  <a:lnTo>
                    <a:pt x="4" y="62"/>
                  </a:lnTo>
                  <a:lnTo>
                    <a:pt x="4" y="58"/>
                  </a:lnTo>
                  <a:lnTo>
                    <a:pt x="4" y="58"/>
                  </a:lnTo>
                  <a:lnTo>
                    <a:pt x="0" y="58"/>
                  </a:lnTo>
                  <a:lnTo>
                    <a:pt x="0" y="58"/>
                  </a:lnTo>
                  <a:lnTo>
                    <a:pt x="0" y="58"/>
                  </a:lnTo>
                  <a:lnTo>
                    <a:pt x="0" y="58"/>
                  </a:lnTo>
                  <a:lnTo>
                    <a:pt x="0" y="58"/>
                  </a:lnTo>
                  <a:lnTo>
                    <a:pt x="0" y="54"/>
                  </a:lnTo>
                  <a:lnTo>
                    <a:pt x="0" y="54"/>
                  </a:lnTo>
                  <a:lnTo>
                    <a:pt x="0" y="54"/>
                  </a:lnTo>
                  <a:lnTo>
                    <a:pt x="0" y="54"/>
                  </a:lnTo>
                  <a:lnTo>
                    <a:pt x="4" y="50"/>
                  </a:lnTo>
                  <a:lnTo>
                    <a:pt x="4" y="50"/>
                  </a:lnTo>
                  <a:lnTo>
                    <a:pt x="4" y="50"/>
                  </a:lnTo>
                  <a:lnTo>
                    <a:pt x="4" y="50"/>
                  </a:lnTo>
                  <a:lnTo>
                    <a:pt x="8" y="46"/>
                  </a:lnTo>
                  <a:lnTo>
                    <a:pt x="8" y="46"/>
                  </a:lnTo>
                  <a:lnTo>
                    <a:pt x="8" y="46"/>
                  </a:lnTo>
                  <a:lnTo>
                    <a:pt x="12" y="46"/>
                  </a:lnTo>
                  <a:lnTo>
                    <a:pt x="8" y="46"/>
                  </a:lnTo>
                  <a:lnTo>
                    <a:pt x="12" y="46"/>
                  </a:lnTo>
                  <a:lnTo>
                    <a:pt x="12" y="44"/>
                  </a:lnTo>
                  <a:lnTo>
                    <a:pt x="12" y="44"/>
                  </a:lnTo>
                  <a:lnTo>
                    <a:pt x="16" y="44"/>
                  </a:lnTo>
                  <a:lnTo>
                    <a:pt x="16" y="44"/>
                  </a:lnTo>
                  <a:lnTo>
                    <a:pt x="16" y="44"/>
                  </a:lnTo>
                  <a:lnTo>
                    <a:pt x="16" y="44"/>
                  </a:lnTo>
                  <a:lnTo>
                    <a:pt x="16" y="44"/>
                  </a:lnTo>
                  <a:lnTo>
                    <a:pt x="20" y="44"/>
                  </a:lnTo>
                  <a:lnTo>
                    <a:pt x="20" y="40"/>
                  </a:lnTo>
                  <a:lnTo>
                    <a:pt x="20" y="40"/>
                  </a:lnTo>
                  <a:lnTo>
                    <a:pt x="20" y="40"/>
                  </a:lnTo>
                  <a:lnTo>
                    <a:pt x="22" y="40"/>
                  </a:lnTo>
                  <a:lnTo>
                    <a:pt x="22" y="40"/>
                  </a:lnTo>
                  <a:lnTo>
                    <a:pt x="26" y="36"/>
                  </a:lnTo>
                  <a:lnTo>
                    <a:pt x="26" y="32"/>
                  </a:lnTo>
                  <a:lnTo>
                    <a:pt x="26" y="32"/>
                  </a:lnTo>
                  <a:lnTo>
                    <a:pt x="26" y="32"/>
                  </a:lnTo>
                  <a:lnTo>
                    <a:pt x="30" y="32"/>
                  </a:lnTo>
                  <a:lnTo>
                    <a:pt x="30" y="32"/>
                  </a:lnTo>
                  <a:lnTo>
                    <a:pt x="30" y="28"/>
                  </a:lnTo>
                  <a:lnTo>
                    <a:pt x="30" y="28"/>
                  </a:lnTo>
                  <a:lnTo>
                    <a:pt x="30" y="28"/>
                  </a:lnTo>
                  <a:lnTo>
                    <a:pt x="30" y="28"/>
                  </a:lnTo>
                  <a:lnTo>
                    <a:pt x="30" y="24"/>
                  </a:lnTo>
                  <a:lnTo>
                    <a:pt x="30" y="24"/>
                  </a:lnTo>
                  <a:lnTo>
                    <a:pt x="30" y="24"/>
                  </a:lnTo>
                  <a:lnTo>
                    <a:pt x="34" y="24"/>
                  </a:lnTo>
                  <a:lnTo>
                    <a:pt x="34" y="24"/>
                  </a:lnTo>
                  <a:lnTo>
                    <a:pt x="34" y="24"/>
                  </a:lnTo>
                  <a:lnTo>
                    <a:pt x="34" y="20"/>
                  </a:lnTo>
                  <a:lnTo>
                    <a:pt x="34" y="20"/>
                  </a:lnTo>
                  <a:lnTo>
                    <a:pt x="38" y="20"/>
                  </a:lnTo>
                  <a:lnTo>
                    <a:pt x="38" y="20"/>
                  </a:lnTo>
                  <a:lnTo>
                    <a:pt x="38" y="24"/>
                  </a:lnTo>
                  <a:lnTo>
                    <a:pt x="38" y="24"/>
                  </a:lnTo>
                  <a:lnTo>
                    <a:pt x="38" y="24"/>
                  </a:lnTo>
                  <a:lnTo>
                    <a:pt x="38" y="24"/>
                  </a:lnTo>
                  <a:lnTo>
                    <a:pt x="38" y="24"/>
                  </a:lnTo>
                  <a:lnTo>
                    <a:pt x="42" y="24"/>
                  </a:lnTo>
                  <a:lnTo>
                    <a:pt x="42" y="28"/>
                  </a:lnTo>
                  <a:lnTo>
                    <a:pt x="46" y="28"/>
                  </a:lnTo>
                  <a:lnTo>
                    <a:pt x="48" y="28"/>
                  </a:lnTo>
                  <a:lnTo>
                    <a:pt x="48" y="28"/>
                  </a:lnTo>
                  <a:lnTo>
                    <a:pt x="48" y="28"/>
                  </a:lnTo>
                  <a:lnTo>
                    <a:pt x="48" y="28"/>
                  </a:lnTo>
                  <a:lnTo>
                    <a:pt x="52" y="28"/>
                  </a:lnTo>
                  <a:lnTo>
                    <a:pt x="52" y="28"/>
                  </a:lnTo>
                  <a:lnTo>
                    <a:pt x="52" y="28"/>
                  </a:lnTo>
                  <a:lnTo>
                    <a:pt x="52" y="28"/>
                  </a:lnTo>
                  <a:lnTo>
                    <a:pt x="52" y="28"/>
                  </a:lnTo>
                  <a:lnTo>
                    <a:pt x="56" y="28"/>
                  </a:lnTo>
                  <a:lnTo>
                    <a:pt x="56" y="24"/>
                  </a:lnTo>
                  <a:lnTo>
                    <a:pt x="56" y="24"/>
                  </a:lnTo>
                  <a:lnTo>
                    <a:pt x="56" y="24"/>
                  </a:lnTo>
                  <a:lnTo>
                    <a:pt x="56" y="24"/>
                  </a:lnTo>
                  <a:lnTo>
                    <a:pt x="56" y="24"/>
                  </a:lnTo>
                  <a:lnTo>
                    <a:pt x="56" y="24"/>
                  </a:lnTo>
                  <a:lnTo>
                    <a:pt x="52" y="24"/>
                  </a:lnTo>
                  <a:lnTo>
                    <a:pt x="52" y="20"/>
                  </a:lnTo>
                  <a:lnTo>
                    <a:pt x="52" y="20"/>
                  </a:lnTo>
                  <a:lnTo>
                    <a:pt x="52" y="16"/>
                  </a:lnTo>
                  <a:lnTo>
                    <a:pt x="52" y="16"/>
                  </a:lnTo>
                  <a:lnTo>
                    <a:pt x="52" y="16"/>
                  </a:lnTo>
                  <a:lnTo>
                    <a:pt x="56" y="16"/>
                  </a:lnTo>
                  <a:lnTo>
                    <a:pt x="56" y="16"/>
                  </a:lnTo>
                  <a:lnTo>
                    <a:pt x="56" y="16"/>
                  </a:lnTo>
                  <a:lnTo>
                    <a:pt x="56" y="16"/>
                  </a:lnTo>
                  <a:lnTo>
                    <a:pt x="56" y="16"/>
                  </a:lnTo>
                  <a:lnTo>
                    <a:pt x="60" y="16"/>
                  </a:lnTo>
                  <a:lnTo>
                    <a:pt x="60" y="16"/>
                  </a:lnTo>
                  <a:lnTo>
                    <a:pt x="60" y="16"/>
                  </a:lnTo>
                  <a:lnTo>
                    <a:pt x="60" y="16"/>
                  </a:lnTo>
                  <a:lnTo>
                    <a:pt x="64" y="16"/>
                  </a:lnTo>
                  <a:lnTo>
                    <a:pt x="64" y="16"/>
                  </a:lnTo>
                  <a:lnTo>
                    <a:pt x="64" y="16"/>
                  </a:lnTo>
                  <a:lnTo>
                    <a:pt x="64" y="16"/>
                  </a:lnTo>
                  <a:lnTo>
                    <a:pt x="64" y="16"/>
                  </a:lnTo>
                  <a:lnTo>
                    <a:pt x="68" y="16"/>
                  </a:lnTo>
                  <a:lnTo>
                    <a:pt x="68" y="16"/>
                  </a:lnTo>
                  <a:lnTo>
                    <a:pt x="68" y="14"/>
                  </a:lnTo>
                  <a:lnTo>
                    <a:pt x="68" y="14"/>
                  </a:lnTo>
                  <a:lnTo>
                    <a:pt x="68" y="14"/>
                  </a:lnTo>
                  <a:lnTo>
                    <a:pt x="68" y="14"/>
                  </a:lnTo>
                  <a:lnTo>
                    <a:pt x="68" y="10"/>
                  </a:lnTo>
                  <a:lnTo>
                    <a:pt x="72" y="10"/>
                  </a:lnTo>
                  <a:lnTo>
                    <a:pt x="72" y="10"/>
                  </a:lnTo>
                  <a:lnTo>
                    <a:pt x="72" y="10"/>
                  </a:lnTo>
                  <a:lnTo>
                    <a:pt x="74" y="10"/>
                  </a:lnTo>
                  <a:lnTo>
                    <a:pt x="74" y="10"/>
                  </a:lnTo>
                  <a:lnTo>
                    <a:pt x="74" y="6"/>
                  </a:lnTo>
                  <a:lnTo>
                    <a:pt x="74" y="6"/>
                  </a:lnTo>
                  <a:lnTo>
                    <a:pt x="74" y="6"/>
                  </a:lnTo>
                  <a:lnTo>
                    <a:pt x="74" y="2"/>
                  </a:lnTo>
                  <a:lnTo>
                    <a:pt x="78" y="2"/>
                  </a:lnTo>
                  <a:lnTo>
                    <a:pt x="78" y="0"/>
                  </a:lnTo>
                  <a:lnTo>
                    <a:pt x="78" y="0"/>
                  </a:lnTo>
                  <a:lnTo>
                    <a:pt x="78" y="0"/>
                  </a:lnTo>
                  <a:lnTo>
                    <a:pt x="78" y="0"/>
                  </a:lnTo>
                  <a:lnTo>
                    <a:pt x="78" y="0"/>
                  </a:lnTo>
                  <a:lnTo>
                    <a:pt x="78" y="0"/>
                  </a:lnTo>
                  <a:lnTo>
                    <a:pt x="82" y="0"/>
                  </a:lnTo>
                  <a:lnTo>
                    <a:pt x="82" y="0"/>
                  </a:lnTo>
                  <a:lnTo>
                    <a:pt x="82" y="2"/>
                  </a:lnTo>
                  <a:lnTo>
                    <a:pt x="82" y="2"/>
                  </a:lnTo>
                  <a:lnTo>
                    <a:pt x="82" y="2"/>
                  </a:lnTo>
                  <a:lnTo>
                    <a:pt x="82" y="2"/>
                  </a:lnTo>
                  <a:lnTo>
                    <a:pt x="86" y="6"/>
                  </a:lnTo>
                  <a:lnTo>
                    <a:pt x="86" y="6"/>
                  </a:lnTo>
                  <a:lnTo>
                    <a:pt x="86" y="6"/>
                  </a:lnTo>
                  <a:lnTo>
                    <a:pt x="86" y="6"/>
                  </a:lnTo>
                  <a:lnTo>
                    <a:pt x="86" y="10"/>
                  </a:lnTo>
                  <a:lnTo>
                    <a:pt x="90" y="10"/>
                  </a:lnTo>
                  <a:lnTo>
                    <a:pt x="90" y="10"/>
                  </a:lnTo>
                  <a:lnTo>
                    <a:pt x="90" y="10"/>
                  </a:lnTo>
                  <a:lnTo>
                    <a:pt x="90" y="10"/>
                  </a:lnTo>
                  <a:lnTo>
                    <a:pt x="90" y="10"/>
                  </a:lnTo>
                  <a:lnTo>
                    <a:pt x="90" y="10"/>
                  </a:lnTo>
                  <a:lnTo>
                    <a:pt x="90" y="10"/>
                  </a:lnTo>
                  <a:lnTo>
                    <a:pt x="90" y="14"/>
                  </a:lnTo>
                  <a:lnTo>
                    <a:pt x="90" y="14"/>
                  </a:lnTo>
                  <a:lnTo>
                    <a:pt x="90" y="14"/>
                  </a:lnTo>
                  <a:lnTo>
                    <a:pt x="90" y="10"/>
                  </a:lnTo>
                  <a:lnTo>
                    <a:pt x="86" y="10"/>
                  </a:lnTo>
                  <a:lnTo>
                    <a:pt x="86" y="10"/>
                  </a:lnTo>
                  <a:lnTo>
                    <a:pt x="86" y="10"/>
                  </a:lnTo>
                  <a:lnTo>
                    <a:pt x="82" y="14"/>
                  </a:lnTo>
                  <a:lnTo>
                    <a:pt x="82" y="16"/>
                  </a:lnTo>
                  <a:lnTo>
                    <a:pt x="78" y="16"/>
                  </a:lnTo>
                  <a:lnTo>
                    <a:pt x="78" y="20"/>
                  </a:lnTo>
                  <a:lnTo>
                    <a:pt x="78" y="20"/>
                  </a:lnTo>
                  <a:lnTo>
                    <a:pt x="78" y="20"/>
                  </a:lnTo>
                  <a:lnTo>
                    <a:pt x="78" y="20"/>
                  </a:lnTo>
                  <a:lnTo>
                    <a:pt x="74" y="20"/>
                  </a:lnTo>
                  <a:lnTo>
                    <a:pt x="74" y="24"/>
                  </a:lnTo>
                  <a:lnTo>
                    <a:pt x="74" y="24"/>
                  </a:lnTo>
                  <a:lnTo>
                    <a:pt x="74" y="24"/>
                  </a:lnTo>
                  <a:lnTo>
                    <a:pt x="74" y="24"/>
                  </a:lnTo>
                  <a:lnTo>
                    <a:pt x="74" y="28"/>
                  </a:lnTo>
                  <a:lnTo>
                    <a:pt x="74" y="28"/>
                  </a:lnTo>
                  <a:lnTo>
                    <a:pt x="74" y="28"/>
                  </a:lnTo>
                  <a:lnTo>
                    <a:pt x="74" y="28"/>
                  </a:lnTo>
                  <a:lnTo>
                    <a:pt x="74" y="28"/>
                  </a:lnTo>
                  <a:lnTo>
                    <a:pt x="78" y="28"/>
                  </a:lnTo>
                  <a:lnTo>
                    <a:pt x="78" y="32"/>
                  </a:lnTo>
                  <a:lnTo>
                    <a:pt x="74" y="32"/>
                  </a:lnTo>
                  <a:lnTo>
                    <a:pt x="74" y="32"/>
                  </a:lnTo>
                  <a:lnTo>
                    <a:pt x="74" y="32"/>
                  </a:lnTo>
                  <a:lnTo>
                    <a:pt x="74" y="36"/>
                  </a:lnTo>
                  <a:lnTo>
                    <a:pt x="74" y="36"/>
                  </a:lnTo>
                  <a:lnTo>
                    <a:pt x="74" y="36"/>
                  </a:lnTo>
                  <a:lnTo>
                    <a:pt x="74" y="36"/>
                  </a:lnTo>
                  <a:lnTo>
                    <a:pt x="74" y="40"/>
                  </a:lnTo>
                  <a:lnTo>
                    <a:pt x="74" y="40"/>
                  </a:lnTo>
                  <a:lnTo>
                    <a:pt x="74" y="40"/>
                  </a:lnTo>
                  <a:lnTo>
                    <a:pt x="74" y="40"/>
                  </a:lnTo>
                  <a:lnTo>
                    <a:pt x="74" y="40"/>
                  </a:lnTo>
                  <a:lnTo>
                    <a:pt x="74" y="40"/>
                  </a:lnTo>
                  <a:lnTo>
                    <a:pt x="68" y="44"/>
                  </a:lnTo>
                  <a:lnTo>
                    <a:pt x="68" y="44"/>
                  </a:lnTo>
                  <a:lnTo>
                    <a:pt x="68" y="46"/>
                  </a:lnTo>
                  <a:lnTo>
                    <a:pt x="68" y="46"/>
                  </a:lnTo>
                  <a:lnTo>
                    <a:pt x="68" y="46"/>
                  </a:lnTo>
                  <a:lnTo>
                    <a:pt x="68" y="46"/>
                  </a:lnTo>
                  <a:lnTo>
                    <a:pt x="68" y="46"/>
                  </a:lnTo>
                  <a:lnTo>
                    <a:pt x="68" y="46"/>
                  </a:lnTo>
                  <a:lnTo>
                    <a:pt x="64" y="46"/>
                  </a:lnTo>
                  <a:lnTo>
                    <a:pt x="64" y="46"/>
                  </a:lnTo>
                  <a:lnTo>
                    <a:pt x="64" y="46"/>
                  </a:lnTo>
                  <a:lnTo>
                    <a:pt x="64" y="46"/>
                  </a:lnTo>
                  <a:lnTo>
                    <a:pt x="64" y="50"/>
                  </a:lnTo>
                  <a:lnTo>
                    <a:pt x="64" y="50"/>
                  </a:lnTo>
                  <a:lnTo>
                    <a:pt x="64" y="50"/>
                  </a:lnTo>
                  <a:lnTo>
                    <a:pt x="60" y="50"/>
                  </a:lnTo>
                  <a:lnTo>
                    <a:pt x="60" y="54"/>
                  </a:lnTo>
                  <a:lnTo>
                    <a:pt x="56" y="54"/>
                  </a:lnTo>
                  <a:lnTo>
                    <a:pt x="52" y="54"/>
                  </a:lnTo>
                  <a:lnTo>
                    <a:pt x="52" y="54"/>
                  </a:lnTo>
                  <a:lnTo>
                    <a:pt x="52" y="54"/>
                  </a:lnTo>
                  <a:lnTo>
                    <a:pt x="52" y="54"/>
                  </a:lnTo>
                  <a:lnTo>
                    <a:pt x="52" y="54"/>
                  </a:lnTo>
                  <a:lnTo>
                    <a:pt x="48" y="58"/>
                  </a:lnTo>
                  <a:lnTo>
                    <a:pt x="48" y="58"/>
                  </a:lnTo>
                  <a:lnTo>
                    <a:pt x="48" y="58"/>
                  </a:lnTo>
                  <a:lnTo>
                    <a:pt x="48" y="58"/>
                  </a:lnTo>
                  <a:lnTo>
                    <a:pt x="46" y="58"/>
                  </a:lnTo>
                  <a:lnTo>
                    <a:pt x="46" y="62"/>
                  </a:lnTo>
                  <a:lnTo>
                    <a:pt x="46" y="62"/>
                  </a:lnTo>
                  <a:lnTo>
                    <a:pt x="46" y="62"/>
                  </a:lnTo>
                  <a:lnTo>
                    <a:pt x="46" y="62"/>
                  </a:lnTo>
                  <a:lnTo>
                    <a:pt x="46" y="66"/>
                  </a:lnTo>
                  <a:lnTo>
                    <a:pt x="46" y="66"/>
                  </a:lnTo>
                  <a:lnTo>
                    <a:pt x="46" y="70"/>
                  </a:lnTo>
                  <a:lnTo>
                    <a:pt x="46" y="70"/>
                  </a:lnTo>
                  <a:lnTo>
                    <a:pt x="46" y="70"/>
                  </a:lnTo>
                  <a:lnTo>
                    <a:pt x="46" y="70"/>
                  </a:lnTo>
                  <a:lnTo>
                    <a:pt x="46" y="70"/>
                  </a:lnTo>
                  <a:lnTo>
                    <a:pt x="46" y="70"/>
                  </a:lnTo>
                  <a:lnTo>
                    <a:pt x="46" y="66"/>
                  </a:lnTo>
                  <a:lnTo>
                    <a:pt x="46" y="66"/>
                  </a:lnTo>
                  <a:lnTo>
                    <a:pt x="46" y="70"/>
                  </a:lnTo>
                  <a:lnTo>
                    <a:pt x="46" y="70"/>
                  </a:lnTo>
                  <a:lnTo>
                    <a:pt x="46" y="7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52" name="Freeform 45"/>
            <p:cNvSpPr>
              <a:spLocks noEditPoints="1"/>
            </p:cNvSpPr>
            <p:nvPr/>
          </p:nvSpPr>
          <p:spPr bwMode="auto">
            <a:xfrm>
              <a:off x="7501223" y="3862314"/>
              <a:ext cx="70334" cy="112452"/>
            </a:xfrm>
            <a:custGeom>
              <a:avLst/>
              <a:gdLst>
                <a:gd name="T0" fmla="*/ 62 w 112"/>
                <a:gd name="T1" fmla="*/ 0 h 172"/>
                <a:gd name="T2" fmla="*/ 62 w 112"/>
                <a:gd name="T3" fmla="*/ 8 h 172"/>
                <a:gd name="T4" fmla="*/ 60 w 112"/>
                <a:gd name="T5" fmla="*/ 12 h 172"/>
                <a:gd name="T6" fmla="*/ 60 w 112"/>
                <a:gd name="T7" fmla="*/ 4 h 172"/>
                <a:gd name="T8" fmla="*/ 60 w 112"/>
                <a:gd name="T9" fmla="*/ 0 h 172"/>
                <a:gd name="T10" fmla="*/ 62 w 112"/>
                <a:gd name="T11" fmla="*/ 0 h 172"/>
                <a:gd name="T12" fmla="*/ 48 w 112"/>
                <a:gd name="T13" fmla="*/ 90 h 172"/>
                <a:gd name="T14" fmla="*/ 48 w 112"/>
                <a:gd name="T15" fmla="*/ 60 h 172"/>
                <a:gd name="T16" fmla="*/ 48 w 112"/>
                <a:gd name="T17" fmla="*/ 52 h 172"/>
                <a:gd name="T18" fmla="*/ 52 w 112"/>
                <a:gd name="T19" fmla="*/ 42 h 172"/>
                <a:gd name="T20" fmla="*/ 56 w 112"/>
                <a:gd name="T21" fmla="*/ 38 h 172"/>
                <a:gd name="T22" fmla="*/ 56 w 112"/>
                <a:gd name="T23" fmla="*/ 30 h 172"/>
                <a:gd name="T24" fmla="*/ 56 w 112"/>
                <a:gd name="T25" fmla="*/ 26 h 172"/>
                <a:gd name="T26" fmla="*/ 60 w 112"/>
                <a:gd name="T27" fmla="*/ 22 h 172"/>
                <a:gd name="T28" fmla="*/ 60 w 112"/>
                <a:gd name="T29" fmla="*/ 26 h 172"/>
                <a:gd name="T30" fmla="*/ 62 w 112"/>
                <a:gd name="T31" fmla="*/ 26 h 172"/>
                <a:gd name="T32" fmla="*/ 62 w 112"/>
                <a:gd name="T33" fmla="*/ 22 h 172"/>
                <a:gd name="T34" fmla="*/ 66 w 112"/>
                <a:gd name="T35" fmla="*/ 30 h 172"/>
                <a:gd name="T36" fmla="*/ 70 w 112"/>
                <a:gd name="T37" fmla="*/ 38 h 172"/>
                <a:gd name="T38" fmla="*/ 74 w 112"/>
                <a:gd name="T39" fmla="*/ 42 h 172"/>
                <a:gd name="T40" fmla="*/ 86 w 112"/>
                <a:gd name="T41" fmla="*/ 44 h 172"/>
                <a:gd name="T42" fmla="*/ 88 w 112"/>
                <a:gd name="T43" fmla="*/ 48 h 172"/>
                <a:gd name="T44" fmla="*/ 92 w 112"/>
                <a:gd name="T45" fmla="*/ 48 h 172"/>
                <a:gd name="T46" fmla="*/ 100 w 112"/>
                <a:gd name="T47" fmla="*/ 56 h 172"/>
                <a:gd name="T48" fmla="*/ 104 w 112"/>
                <a:gd name="T49" fmla="*/ 60 h 172"/>
                <a:gd name="T50" fmla="*/ 108 w 112"/>
                <a:gd name="T51" fmla="*/ 68 h 172"/>
                <a:gd name="T52" fmla="*/ 112 w 112"/>
                <a:gd name="T53" fmla="*/ 72 h 172"/>
                <a:gd name="T54" fmla="*/ 108 w 112"/>
                <a:gd name="T55" fmla="*/ 78 h 172"/>
                <a:gd name="T56" fmla="*/ 104 w 112"/>
                <a:gd name="T57" fmla="*/ 86 h 172"/>
                <a:gd name="T58" fmla="*/ 96 w 112"/>
                <a:gd name="T59" fmla="*/ 94 h 172"/>
                <a:gd name="T60" fmla="*/ 92 w 112"/>
                <a:gd name="T61" fmla="*/ 102 h 172"/>
                <a:gd name="T62" fmla="*/ 88 w 112"/>
                <a:gd name="T63" fmla="*/ 104 h 172"/>
                <a:gd name="T64" fmla="*/ 88 w 112"/>
                <a:gd name="T65" fmla="*/ 102 h 172"/>
                <a:gd name="T66" fmla="*/ 86 w 112"/>
                <a:gd name="T67" fmla="*/ 108 h 172"/>
                <a:gd name="T68" fmla="*/ 82 w 112"/>
                <a:gd name="T69" fmla="*/ 116 h 172"/>
                <a:gd name="T70" fmla="*/ 82 w 112"/>
                <a:gd name="T71" fmla="*/ 122 h 172"/>
                <a:gd name="T72" fmla="*/ 82 w 112"/>
                <a:gd name="T73" fmla="*/ 130 h 172"/>
                <a:gd name="T74" fmla="*/ 74 w 112"/>
                <a:gd name="T75" fmla="*/ 130 h 172"/>
                <a:gd name="T76" fmla="*/ 70 w 112"/>
                <a:gd name="T77" fmla="*/ 134 h 172"/>
                <a:gd name="T78" fmla="*/ 66 w 112"/>
                <a:gd name="T79" fmla="*/ 142 h 172"/>
                <a:gd name="T80" fmla="*/ 62 w 112"/>
                <a:gd name="T81" fmla="*/ 144 h 172"/>
                <a:gd name="T82" fmla="*/ 60 w 112"/>
                <a:gd name="T83" fmla="*/ 148 h 172"/>
                <a:gd name="T84" fmla="*/ 52 w 112"/>
                <a:gd name="T85" fmla="*/ 148 h 172"/>
                <a:gd name="T86" fmla="*/ 48 w 112"/>
                <a:gd name="T87" fmla="*/ 152 h 172"/>
                <a:gd name="T88" fmla="*/ 48 w 112"/>
                <a:gd name="T89" fmla="*/ 156 h 172"/>
                <a:gd name="T90" fmla="*/ 44 w 112"/>
                <a:gd name="T91" fmla="*/ 164 h 172"/>
                <a:gd name="T92" fmla="*/ 36 w 112"/>
                <a:gd name="T93" fmla="*/ 164 h 172"/>
                <a:gd name="T94" fmla="*/ 30 w 112"/>
                <a:gd name="T95" fmla="*/ 164 h 172"/>
                <a:gd name="T96" fmla="*/ 22 w 112"/>
                <a:gd name="T97" fmla="*/ 168 h 172"/>
                <a:gd name="T98" fmla="*/ 10 w 112"/>
                <a:gd name="T99" fmla="*/ 160 h 172"/>
                <a:gd name="T100" fmla="*/ 96 w 112"/>
                <a:gd name="T101" fmla="*/ 108 h 172"/>
                <a:gd name="T102" fmla="*/ 96 w 112"/>
                <a:gd name="T103" fmla="*/ 104 h 172"/>
                <a:gd name="T104" fmla="*/ 96 w 112"/>
                <a:gd name="T105" fmla="*/ 104 h 172"/>
                <a:gd name="T106" fmla="*/ 100 w 112"/>
                <a:gd name="T107" fmla="*/ 104 h 172"/>
                <a:gd name="T108" fmla="*/ 96 w 112"/>
                <a:gd name="T109" fmla="*/ 104 h 172"/>
                <a:gd name="T110" fmla="*/ 96 w 112"/>
                <a:gd name="T111" fmla="*/ 10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 h="172">
                  <a:moveTo>
                    <a:pt x="62" y="0"/>
                  </a:moveTo>
                  <a:lnTo>
                    <a:pt x="62" y="0"/>
                  </a:lnTo>
                  <a:lnTo>
                    <a:pt x="62" y="0"/>
                  </a:lnTo>
                  <a:lnTo>
                    <a:pt x="62" y="0"/>
                  </a:lnTo>
                  <a:lnTo>
                    <a:pt x="62" y="4"/>
                  </a:lnTo>
                  <a:lnTo>
                    <a:pt x="62" y="0"/>
                  </a:lnTo>
                  <a:lnTo>
                    <a:pt x="62" y="0"/>
                  </a:lnTo>
                  <a:lnTo>
                    <a:pt x="62" y="4"/>
                  </a:lnTo>
                  <a:lnTo>
                    <a:pt x="62" y="4"/>
                  </a:lnTo>
                  <a:lnTo>
                    <a:pt x="62" y="4"/>
                  </a:lnTo>
                  <a:lnTo>
                    <a:pt x="62" y="4"/>
                  </a:lnTo>
                  <a:lnTo>
                    <a:pt x="62" y="8"/>
                  </a:lnTo>
                  <a:lnTo>
                    <a:pt x="62" y="8"/>
                  </a:lnTo>
                  <a:lnTo>
                    <a:pt x="62" y="8"/>
                  </a:lnTo>
                  <a:lnTo>
                    <a:pt x="62" y="8"/>
                  </a:lnTo>
                  <a:lnTo>
                    <a:pt x="62" y="8"/>
                  </a:lnTo>
                  <a:lnTo>
                    <a:pt x="62" y="12"/>
                  </a:lnTo>
                  <a:lnTo>
                    <a:pt x="62" y="12"/>
                  </a:lnTo>
                  <a:lnTo>
                    <a:pt x="62" y="12"/>
                  </a:lnTo>
                  <a:lnTo>
                    <a:pt x="62" y="12"/>
                  </a:lnTo>
                  <a:lnTo>
                    <a:pt x="60" y="12"/>
                  </a:lnTo>
                  <a:lnTo>
                    <a:pt x="60" y="12"/>
                  </a:lnTo>
                  <a:lnTo>
                    <a:pt x="60" y="12"/>
                  </a:lnTo>
                  <a:lnTo>
                    <a:pt x="60" y="12"/>
                  </a:lnTo>
                  <a:lnTo>
                    <a:pt x="60" y="12"/>
                  </a:lnTo>
                  <a:lnTo>
                    <a:pt x="60" y="8"/>
                  </a:lnTo>
                  <a:lnTo>
                    <a:pt x="60" y="8"/>
                  </a:lnTo>
                  <a:lnTo>
                    <a:pt x="60" y="4"/>
                  </a:lnTo>
                  <a:lnTo>
                    <a:pt x="60" y="4"/>
                  </a:lnTo>
                  <a:lnTo>
                    <a:pt x="60" y="4"/>
                  </a:lnTo>
                  <a:lnTo>
                    <a:pt x="60" y="4"/>
                  </a:lnTo>
                  <a:lnTo>
                    <a:pt x="60" y="4"/>
                  </a:lnTo>
                  <a:lnTo>
                    <a:pt x="60" y="0"/>
                  </a:lnTo>
                  <a:lnTo>
                    <a:pt x="60" y="0"/>
                  </a:lnTo>
                  <a:lnTo>
                    <a:pt x="60"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lnTo>
                    <a:pt x="62" y="0"/>
                  </a:lnTo>
                  <a:close/>
                  <a:moveTo>
                    <a:pt x="48" y="90"/>
                  </a:moveTo>
                  <a:lnTo>
                    <a:pt x="52" y="74"/>
                  </a:lnTo>
                  <a:lnTo>
                    <a:pt x="44" y="64"/>
                  </a:lnTo>
                  <a:lnTo>
                    <a:pt x="48" y="64"/>
                  </a:lnTo>
                  <a:lnTo>
                    <a:pt x="48" y="64"/>
                  </a:lnTo>
                  <a:lnTo>
                    <a:pt x="48" y="60"/>
                  </a:lnTo>
                  <a:lnTo>
                    <a:pt x="48" y="60"/>
                  </a:lnTo>
                  <a:lnTo>
                    <a:pt x="48" y="60"/>
                  </a:lnTo>
                  <a:lnTo>
                    <a:pt x="48" y="60"/>
                  </a:lnTo>
                  <a:lnTo>
                    <a:pt x="48" y="56"/>
                  </a:lnTo>
                  <a:lnTo>
                    <a:pt x="48" y="56"/>
                  </a:lnTo>
                  <a:lnTo>
                    <a:pt x="48" y="56"/>
                  </a:lnTo>
                  <a:lnTo>
                    <a:pt x="48" y="56"/>
                  </a:lnTo>
                  <a:lnTo>
                    <a:pt x="48" y="52"/>
                  </a:lnTo>
                  <a:lnTo>
                    <a:pt x="48" y="52"/>
                  </a:lnTo>
                  <a:lnTo>
                    <a:pt x="48" y="48"/>
                  </a:lnTo>
                  <a:lnTo>
                    <a:pt x="52" y="48"/>
                  </a:lnTo>
                  <a:lnTo>
                    <a:pt x="52" y="44"/>
                  </a:lnTo>
                  <a:lnTo>
                    <a:pt x="52" y="42"/>
                  </a:lnTo>
                  <a:lnTo>
                    <a:pt x="52" y="42"/>
                  </a:lnTo>
                  <a:lnTo>
                    <a:pt x="52" y="42"/>
                  </a:lnTo>
                  <a:lnTo>
                    <a:pt x="52" y="42"/>
                  </a:lnTo>
                  <a:lnTo>
                    <a:pt x="52" y="42"/>
                  </a:lnTo>
                  <a:lnTo>
                    <a:pt x="56" y="42"/>
                  </a:lnTo>
                  <a:lnTo>
                    <a:pt x="56" y="42"/>
                  </a:lnTo>
                  <a:lnTo>
                    <a:pt x="60" y="42"/>
                  </a:lnTo>
                  <a:lnTo>
                    <a:pt x="60" y="42"/>
                  </a:lnTo>
                  <a:lnTo>
                    <a:pt x="56" y="38"/>
                  </a:lnTo>
                  <a:lnTo>
                    <a:pt x="56" y="38"/>
                  </a:lnTo>
                  <a:lnTo>
                    <a:pt x="56" y="38"/>
                  </a:lnTo>
                  <a:lnTo>
                    <a:pt x="56" y="38"/>
                  </a:lnTo>
                  <a:lnTo>
                    <a:pt x="56" y="38"/>
                  </a:lnTo>
                  <a:lnTo>
                    <a:pt x="56" y="34"/>
                  </a:lnTo>
                  <a:lnTo>
                    <a:pt x="56" y="34"/>
                  </a:lnTo>
                  <a:lnTo>
                    <a:pt x="56" y="34"/>
                  </a:lnTo>
                  <a:lnTo>
                    <a:pt x="56" y="30"/>
                  </a:lnTo>
                  <a:lnTo>
                    <a:pt x="56" y="30"/>
                  </a:lnTo>
                  <a:lnTo>
                    <a:pt x="56" y="30"/>
                  </a:lnTo>
                  <a:lnTo>
                    <a:pt x="56" y="30"/>
                  </a:lnTo>
                  <a:lnTo>
                    <a:pt x="56" y="26"/>
                  </a:lnTo>
                  <a:lnTo>
                    <a:pt x="56" y="26"/>
                  </a:lnTo>
                  <a:lnTo>
                    <a:pt x="56" y="26"/>
                  </a:lnTo>
                  <a:lnTo>
                    <a:pt x="56" y="26"/>
                  </a:lnTo>
                  <a:lnTo>
                    <a:pt x="56" y="22"/>
                  </a:lnTo>
                  <a:lnTo>
                    <a:pt x="56" y="22"/>
                  </a:lnTo>
                  <a:lnTo>
                    <a:pt x="56" y="22"/>
                  </a:lnTo>
                  <a:lnTo>
                    <a:pt x="56" y="22"/>
                  </a:lnTo>
                  <a:lnTo>
                    <a:pt x="56" y="22"/>
                  </a:lnTo>
                  <a:lnTo>
                    <a:pt x="60" y="22"/>
                  </a:lnTo>
                  <a:lnTo>
                    <a:pt x="60" y="22"/>
                  </a:lnTo>
                  <a:lnTo>
                    <a:pt x="60" y="22"/>
                  </a:lnTo>
                  <a:lnTo>
                    <a:pt x="60" y="26"/>
                  </a:lnTo>
                  <a:lnTo>
                    <a:pt x="60" y="26"/>
                  </a:lnTo>
                  <a:lnTo>
                    <a:pt x="60" y="26"/>
                  </a:lnTo>
                  <a:lnTo>
                    <a:pt x="56" y="26"/>
                  </a:lnTo>
                  <a:lnTo>
                    <a:pt x="60" y="26"/>
                  </a:lnTo>
                  <a:lnTo>
                    <a:pt x="60" y="26"/>
                  </a:lnTo>
                  <a:lnTo>
                    <a:pt x="60" y="26"/>
                  </a:lnTo>
                  <a:lnTo>
                    <a:pt x="60" y="26"/>
                  </a:lnTo>
                  <a:lnTo>
                    <a:pt x="60" y="26"/>
                  </a:lnTo>
                  <a:lnTo>
                    <a:pt x="60" y="26"/>
                  </a:lnTo>
                  <a:lnTo>
                    <a:pt x="60" y="26"/>
                  </a:lnTo>
                  <a:lnTo>
                    <a:pt x="62" y="26"/>
                  </a:lnTo>
                  <a:lnTo>
                    <a:pt x="62" y="26"/>
                  </a:lnTo>
                  <a:lnTo>
                    <a:pt x="62" y="26"/>
                  </a:lnTo>
                  <a:lnTo>
                    <a:pt x="62" y="26"/>
                  </a:lnTo>
                  <a:lnTo>
                    <a:pt x="62" y="26"/>
                  </a:lnTo>
                  <a:lnTo>
                    <a:pt x="62" y="26"/>
                  </a:lnTo>
                  <a:lnTo>
                    <a:pt x="62" y="22"/>
                  </a:lnTo>
                  <a:lnTo>
                    <a:pt x="62" y="22"/>
                  </a:lnTo>
                  <a:lnTo>
                    <a:pt x="62" y="22"/>
                  </a:lnTo>
                  <a:lnTo>
                    <a:pt x="62" y="22"/>
                  </a:lnTo>
                  <a:lnTo>
                    <a:pt x="62" y="22"/>
                  </a:lnTo>
                  <a:lnTo>
                    <a:pt x="62" y="22"/>
                  </a:lnTo>
                  <a:lnTo>
                    <a:pt x="62" y="26"/>
                  </a:lnTo>
                  <a:lnTo>
                    <a:pt x="62" y="30"/>
                  </a:lnTo>
                  <a:lnTo>
                    <a:pt x="66" y="30"/>
                  </a:lnTo>
                  <a:lnTo>
                    <a:pt x="66" y="30"/>
                  </a:lnTo>
                  <a:lnTo>
                    <a:pt x="66" y="34"/>
                  </a:lnTo>
                  <a:lnTo>
                    <a:pt x="66" y="34"/>
                  </a:lnTo>
                  <a:lnTo>
                    <a:pt x="66" y="34"/>
                  </a:lnTo>
                  <a:lnTo>
                    <a:pt x="66" y="34"/>
                  </a:lnTo>
                  <a:lnTo>
                    <a:pt x="66" y="34"/>
                  </a:lnTo>
                  <a:lnTo>
                    <a:pt x="70" y="34"/>
                  </a:lnTo>
                  <a:lnTo>
                    <a:pt x="70" y="38"/>
                  </a:lnTo>
                  <a:lnTo>
                    <a:pt x="70" y="38"/>
                  </a:lnTo>
                  <a:lnTo>
                    <a:pt x="70" y="38"/>
                  </a:lnTo>
                  <a:lnTo>
                    <a:pt x="70" y="38"/>
                  </a:lnTo>
                  <a:lnTo>
                    <a:pt x="70" y="42"/>
                  </a:lnTo>
                  <a:lnTo>
                    <a:pt x="74" y="42"/>
                  </a:lnTo>
                  <a:lnTo>
                    <a:pt x="74" y="42"/>
                  </a:lnTo>
                  <a:lnTo>
                    <a:pt x="74" y="42"/>
                  </a:lnTo>
                  <a:lnTo>
                    <a:pt x="78" y="44"/>
                  </a:lnTo>
                  <a:lnTo>
                    <a:pt x="82" y="44"/>
                  </a:lnTo>
                  <a:lnTo>
                    <a:pt x="86" y="44"/>
                  </a:lnTo>
                  <a:lnTo>
                    <a:pt x="86" y="44"/>
                  </a:lnTo>
                  <a:lnTo>
                    <a:pt x="86" y="44"/>
                  </a:lnTo>
                  <a:lnTo>
                    <a:pt x="86" y="44"/>
                  </a:lnTo>
                  <a:lnTo>
                    <a:pt x="86" y="44"/>
                  </a:lnTo>
                  <a:lnTo>
                    <a:pt x="86" y="44"/>
                  </a:lnTo>
                  <a:lnTo>
                    <a:pt x="86" y="44"/>
                  </a:lnTo>
                  <a:lnTo>
                    <a:pt x="86" y="44"/>
                  </a:lnTo>
                  <a:lnTo>
                    <a:pt x="88" y="44"/>
                  </a:lnTo>
                  <a:lnTo>
                    <a:pt x="88" y="44"/>
                  </a:lnTo>
                  <a:lnTo>
                    <a:pt x="88" y="44"/>
                  </a:lnTo>
                  <a:lnTo>
                    <a:pt x="88" y="48"/>
                  </a:lnTo>
                  <a:lnTo>
                    <a:pt x="88" y="48"/>
                  </a:lnTo>
                  <a:lnTo>
                    <a:pt x="88" y="48"/>
                  </a:lnTo>
                  <a:lnTo>
                    <a:pt x="88" y="48"/>
                  </a:lnTo>
                  <a:lnTo>
                    <a:pt x="92" y="48"/>
                  </a:lnTo>
                  <a:lnTo>
                    <a:pt x="92" y="48"/>
                  </a:lnTo>
                  <a:lnTo>
                    <a:pt x="92" y="48"/>
                  </a:lnTo>
                  <a:lnTo>
                    <a:pt x="92" y="48"/>
                  </a:lnTo>
                  <a:lnTo>
                    <a:pt x="92" y="48"/>
                  </a:lnTo>
                  <a:lnTo>
                    <a:pt x="92" y="48"/>
                  </a:lnTo>
                  <a:lnTo>
                    <a:pt x="96" y="48"/>
                  </a:lnTo>
                  <a:lnTo>
                    <a:pt x="96" y="52"/>
                  </a:lnTo>
                  <a:lnTo>
                    <a:pt x="100" y="52"/>
                  </a:lnTo>
                  <a:lnTo>
                    <a:pt x="100" y="56"/>
                  </a:lnTo>
                  <a:lnTo>
                    <a:pt x="100" y="56"/>
                  </a:lnTo>
                  <a:lnTo>
                    <a:pt x="100" y="56"/>
                  </a:lnTo>
                  <a:lnTo>
                    <a:pt x="100" y="56"/>
                  </a:lnTo>
                  <a:lnTo>
                    <a:pt x="100" y="60"/>
                  </a:lnTo>
                  <a:lnTo>
                    <a:pt x="100" y="60"/>
                  </a:lnTo>
                  <a:lnTo>
                    <a:pt x="104" y="60"/>
                  </a:lnTo>
                  <a:lnTo>
                    <a:pt x="104" y="60"/>
                  </a:lnTo>
                  <a:lnTo>
                    <a:pt x="104" y="60"/>
                  </a:lnTo>
                  <a:lnTo>
                    <a:pt x="104" y="64"/>
                  </a:lnTo>
                  <a:lnTo>
                    <a:pt x="104" y="64"/>
                  </a:lnTo>
                  <a:lnTo>
                    <a:pt x="104" y="64"/>
                  </a:lnTo>
                  <a:lnTo>
                    <a:pt x="104" y="64"/>
                  </a:lnTo>
                  <a:lnTo>
                    <a:pt x="108" y="64"/>
                  </a:lnTo>
                  <a:lnTo>
                    <a:pt x="108" y="68"/>
                  </a:lnTo>
                  <a:lnTo>
                    <a:pt x="108" y="68"/>
                  </a:lnTo>
                  <a:lnTo>
                    <a:pt x="108" y="68"/>
                  </a:lnTo>
                  <a:lnTo>
                    <a:pt x="108" y="68"/>
                  </a:lnTo>
                  <a:lnTo>
                    <a:pt x="112" y="68"/>
                  </a:lnTo>
                  <a:lnTo>
                    <a:pt x="112" y="68"/>
                  </a:lnTo>
                  <a:lnTo>
                    <a:pt x="112" y="68"/>
                  </a:lnTo>
                  <a:lnTo>
                    <a:pt x="112" y="72"/>
                  </a:lnTo>
                  <a:lnTo>
                    <a:pt x="112" y="72"/>
                  </a:lnTo>
                  <a:lnTo>
                    <a:pt x="112" y="72"/>
                  </a:lnTo>
                  <a:lnTo>
                    <a:pt x="112" y="74"/>
                  </a:lnTo>
                  <a:lnTo>
                    <a:pt x="112" y="74"/>
                  </a:lnTo>
                  <a:lnTo>
                    <a:pt x="108" y="78"/>
                  </a:lnTo>
                  <a:lnTo>
                    <a:pt x="108" y="78"/>
                  </a:lnTo>
                  <a:lnTo>
                    <a:pt x="108" y="78"/>
                  </a:lnTo>
                  <a:lnTo>
                    <a:pt x="108" y="78"/>
                  </a:lnTo>
                  <a:lnTo>
                    <a:pt x="108" y="82"/>
                  </a:lnTo>
                  <a:lnTo>
                    <a:pt x="108" y="82"/>
                  </a:lnTo>
                  <a:lnTo>
                    <a:pt x="108" y="82"/>
                  </a:lnTo>
                  <a:lnTo>
                    <a:pt x="108" y="82"/>
                  </a:lnTo>
                  <a:lnTo>
                    <a:pt x="104" y="86"/>
                  </a:lnTo>
                  <a:lnTo>
                    <a:pt x="104" y="86"/>
                  </a:lnTo>
                  <a:lnTo>
                    <a:pt x="104" y="86"/>
                  </a:lnTo>
                  <a:lnTo>
                    <a:pt x="104" y="86"/>
                  </a:lnTo>
                  <a:lnTo>
                    <a:pt x="104" y="90"/>
                  </a:lnTo>
                  <a:lnTo>
                    <a:pt x="100" y="90"/>
                  </a:lnTo>
                  <a:lnTo>
                    <a:pt x="100" y="94"/>
                  </a:lnTo>
                  <a:lnTo>
                    <a:pt x="96" y="94"/>
                  </a:lnTo>
                  <a:lnTo>
                    <a:pt x="96" y="94"/>
                  </a:lnTo>
                  <a:lnTo>
                    <a:pt x="96" y="94"/>
                  </a:lnTo>
                  <a:lnTo>
                    <a:pt x="96" y="98"/>
                  </a:lnTo>
                  <a:lnTo>
                    <a:pt x="96" y="98"/>
                  </a:lnTo>
                  <a:lnTo>
                    <a:pt x="96" y="98"/>
                  </a:lnTo>
                  <a:lnTo>
                    <a:pt x="96" y="98"/>
                  </a:lnTo>
                  <a:lnTo>
                    <a:pt x="96" y="102"/>
                  </a:lnTo>
                  <a:lnTo>
                    <a:pt x="92" y="102"/>
                  </a:lnTo>
                  <a:lnTo>
                    <a:pt x="92" y="102"/>
                  </a:lnTo>
                  <a:lnTo>
                    <a:pt x="92" y="102"/>
                  </a:lnTo>
                  <a:lnTo>
                    <a:pt x="92" y="104"/>
                  </a:lnTo>
                  <a:lnTo>
                    <a:pt x="92" y="104"/>
                  </a:lnTo>
                  <a:lnTo>
                    <a:pt x="92" y="104"/>
                  </a:lnTo>
                  <a:lnTo>
                    <a:pt x="88" y="104"/>
                  </a:lnTo>
                  <a:lnTo>
                    <a:pt x="88" y="104"/>
                  </a:lnTo>
                  <a:lnTo>
                    <a:pt x="88" y="104"/>
                  </a:lnTo>
                  <a:lnTo>
                    <a:pt x="88" y="104"/>
                  </a:lnTo>
                  <a:lnTo>
                    <a:pt x="88" y="104"/>
                  </a:lnTo>
                  <a:lnTo>
                    <a:pt x="88" y="104"/>
                  </a:lnTo>
                  <a:lnTo>
                    <a:pt x="88" y="104"/>
                  </a:lnTo>
                  <a:lnTo>
                    <a:pt x="88" y="102"/>
                  </a:lnTo>
                  <a:lnTo>
                    <a:pt x="88" y="102"/>
                  </a:lnTo>
                  <a:lnTo>
                    <a:pt x="88" y="102"/>
                  </a:lnTo>
                  <a:lnTo>
                    <a:pt x="88" y="102"/>
                  </a:lnTo>
                  <a:lnTo>
                    <a:pt x="88" y="102"/>
                  </a:lnTo>
                  <a:lnTo>
                    <a:pt x="86" y="102"/>
                  </a:lnTo>
                  <a:lnTo>
                    <a:pt x="86" y="104"/>
                  </a:lnTo>
                  <a:lnTo>
                    <a:pt x="86" y="104"/>
                  </a:lnTo>
                  <a:lnTo>
                    <a:pt x="86" y="104"/>
                  </a:lnTo>
                  <a:lnTo>
                    <a:pt x="86" y="108"/>
                  </a:lnTo>
                  <a:lnTo>
                    <a:pt x="82" y="108"/>
                  </a:lnTo>
                  <a:lnTo>
                    <a:pt x="82" y="108"/>
                  </a:lnTo>
                  <a:lnTo>
                    <a:pt x="82" y="108"/>
                  </a:lnTo>
                  <a:lnTo>
                    <a:pt x="82" y="108"/>
                  </a:lnTo>
                  <a:lnTo>
                    <a:pt x="82" y="108"/>
                  </a:lnTo>
                  <a:lnTo>
                    <a:pt x="82" y="112"/>
                  </a:lnTo>
                  <a:lnTo>
                    <a:pt x="82" y="116"/>
                  </a:lnTo>
                  <a:lnTo>
                    <a:pt x="82" y="116"/>
                  </a:lnTo>
                  <a:lnTo>
                    <a:pt x="82" y="116"/>
                  </a:lnTo>
                  <a:lnTo>
                    <a:pt x="82" y="116"/>
                  </a:lnTo>
                  <a:lnTo>
                    <a:pt x="82" y="116"/>
                  </a:lnTo>
                  <a:lnTo>
                    <a:pt x="82" y="118"/>
                  </a:lnTo>
                  <a:lnTo>
                    <a:pt x="82" y="122"/>
                  </a:lnTo>
                  <a:lnTo>
                    <a:pt x="82" y="122"/>
                  </a:lnTo>
                  <a:lnTo>
                    <a:pt x="82" y="122"/>
                  </a:lnTo>
                  <a:lnTo>
                    <a:pt x="82" y="122"/>
                  </a:lnTo>
                  <a:lnTo>
                    <a:pt x="82" y="122"/>
                  </a:lnTo>
                  <a:lnTo>
                    <a:pt x="82" y="122"/>
                  </a:lnTo>
                  <a:lnTo>
                    <a:pt x="82" y="126"/>
                  </a:lnTo>
                  <a:lnTo>
                    <a:pt x="82" y="130"/>
                  </a:lnTo>
                  <a:lnTo>
                    <a:pt x="82" y="130"/>
                  </a:lnTo>
                  <a:lnTo>
                    <a:pt x="82" y="130"/>
                  </a:lnTo>
                  <a:lnTo>
                    <a:pt x="82" y="130"/>
                  </a:lnTo>
                  <a:lnTo>
                    <a:pt x="82" y="130"/>
                  </a:lnTo>
                  <a:lnTo>
                    <a:pt x="78" y="130"/>
                  </a:lnTo>
                  <a:lnTo>
                    <a:pt x="78" y="130"/>
                  </a:lnTo>
                  <a:lnTo>
                    <a:pt x="78" y="130"/>
                  </a:lnTo>
                  <a:lnTo>
                    <a:pt x="74" y="130"/>
                  </a:lnTo>
                  <a:lnTo>
                    <a:pt x="74" y="130"/>
                  </a:lnTo>
                  <a:lnTo>
                    <a:pt x="74" y="130"/>
                  </a:lnTo>
                  <a:lnTo>
                    <a:pt x="70" y="130"/>
                  </a:lnTo>
                  <a:lnTo>
                    <a:pt x="70" y="134"/>
                  </a:lnTo>
                  <a:lnTo>
                    <a:pt x="70" y="134"/>
                  </a:lnTo>
                  <a:lnTo>
                    <a:pt x="70" y="134"/>
                  </a:lnTo>
                  <a:lnTo>
                    <a:pt x="70" y="134"/>
                  </a:lnTo>
                  <a:lnTo>
                    <a:pt x="66" y="134"/>
                  </a:lnTo>
                  <a:lnTo>
                    <a:pt x="66" y="134"/>
                  </a:lnTo>
                  <a:lnTo>
                    <a:pt x="66" y="138"/>
                  </a:lnTo>
                  <a:lnTo>
                    <a:pt x="66" y="138"/>
                  </a:lnTo>
                  <a:lnTo>
                    <a:pt x="66" y="138"/>
                  </a:lnTo>
                  <a:lnTo>
                    <a:pt x="66" y="138"/>
                  </a:lnTo>
                  <a:lnTo>
                    <a:pt x="66" y="142"/>
                  </a:lnTo>
                  <a:lnTo>
                    <a:pt x="66" y="142"/>
                  </a:lnTo>
                  <a:lnTo>
                    <a:pt x="66" y="142"/>
                  </a:lnTo>
                  <a:lnTo>
                    <a:pt x="66" y="142"/>
                  </a:lnTo>
                  <a:lnTo>
                    <a:pt x="66" y="144"/>
                  </a:lnTo>
                  <a:lnTo>
                    <a:pt x="66" y="144"/>
                  </a:lnTo>
                  <a:lnTo>
                    <a:pt x="62" y="144"/>
                  </a:lnTo>
                  <a:lnTo>
                    <a:pt x="62" y="144"/>
                  </a:lnTo>
                  <a:lnTo>
                    <a:pt x="62" y="144"/>
                  </a:lnTo>
                  <a:lnTo>
                    <a:pt x="62" y="144"/>
                  </a:lnTo>
                  <a:lnTo>
                    <a:pt x="62" y="148"/>
                  </a:lnTo>
                  <a:lnTo>
                    <a:pt x="62" y="148"/>
                  </a:lnTo>
                  <a:lnTo>
                    <a:pt x="62" y="148"/>
                  </a:lnTo>
                  <a:lnTo>
                    <a:pt x="62" y="148"/>
                  </a:lnTo>
                  <a:lnTo>
                    <a:pt x="60" y="148"/>
                  </a:lnTo>
                  <a:lnTo>
                    <a:pt x="60" y="148"/>
                  </a:lnTo>
                  <a:lnTo>
                    <a:pt x="60" y="148"/>
                  </a:lnTo>
                  <a:lnTo>
                    <a:pt x="56" y="148"/>
                  </a:lnTo>
                  <a:lnTo>
                    <a:pt x="56" y="148"/>
                  </a:lnTo>
                  <a:lnTo>
                    <a:pt x="56" y="148"/>
                  </a:lnTo>
                  <a:lnTo>
                    <a:pt x="52" y="148"/>
                  </a:lnTo>
                  <a:lnTo>
                    <a:pt x="52" y="148"/>
                  </a:lnTo>
                  <a:lnTo>
                    <a:pt x="48" y="148"/>
                  </a:lnTo>
                  <a:lnTo>
                    <a:pt x="48" y="148"/>
                  </a:lnTo>
                  <a:lnTo>
                    <a:pt x="48" y="148"/>
                  </a:lnTo>
                  <a:lnTo>
                    <a:pt x="48" y="148"/>
                  </a:lnTo>
                  <a:lnTo>
                    <a:pt x="48" y="152"/>
                  </a:lnTo>
                  <a:lnTo>
                    <a:pt x="48" y="152"/>
                  </a:lnTo>
                  <a:lnTo>
                    <a:pt x="48" y="152"/>
                  </a:lnTo>
                  <a:lnTo>
                    <a:pt x="48" y="152"/>
                  </a:lnTo>
                  <a:lnTo>
                    <a:pt x="48" y="152"/>
                  </a:lnTo>
                  <a:lnTo>
                    <a:pt x="48" y="152"/>
                  </a:lnTo>
                  <a:lnTo>
                    <a:pt x="48" y="156"/>
                  </a:lnTo>
                  <a:lnTo>
                    <a:pt x="48" y="156"/>
                  </a:lnTo>
                  <a:lnTo>
                    <a:pt x="48" y="156"/>
                  </a:lnTo>
                  <a:lnTo>
                    <a:pt x="48" y="156"/>
                  </a:lnTo>
                  <a:lnTo>
                    <a:pt x="48" y="156"/>
                  </a:lnTo>
                  <a:lnTo>
                    <a:pt x="48" y="156"/>
                  </a:lnTo>
                  <a:lnTo>
                    <a:pt x="48" y="160"/>
                  </a:lnTo>
                  <a:lnTo>
                    <a:pt x="48" y="160"/>
                  </a:lnTo>
                  <a:lnTo>
                    <a:pt x="44" y="164"/>
                  </a:lnTo>
                  <a:lnTo>
                    <a:pt x="44" y="164"/>
                  </a:lnTo>
                  <a:lnTo>
                    <a:pt x="44" y="164"/>
                  </a:lnTo>
                  <a:lnTo>
                    <a:pt x="44" y="164"/>
                  </a:lnTo>
                  <a:lnTo>
                    <a:pt x="40" y="164"/>
                  </a:lnTo>
                  <a:lnTo>
                    <a:pt x="40" y="164"/>
                  </a:lnTo>
                  <a:lnTo>
                    <a:pt x="40" y="164"/>
                  </a:lnTo>
                  <a:lnTo>
                    <a:pt x="40" y="164"/>
                  </a:lnTo>
                  <a:lnTo>
                    <a:pt x="40" y="164"/>
                  </a:lnTo>
                  <a:lnTo>
                    <a:pt x="36" y="164"/>
                  </a:lnTo>
                  <a:lnTo>
                    <a:pt x="36" y="164"/>
                  </a:lnTo>
                  <a:lnTo>
                    <a:pt x="36" y="164"/>
                  </a:lnTo>
                  <a:lnTo>
                    <a:pt x="36" y="164"/>
                  </a:lnTo>
                  <a:lnTo>
                    <a:pt x="36" y="164"/>
                  </a:lnTo>
                  <a:lnTo>
                    <a:pt x="32" y="164"/>
                  </a:lnTo>
                  <a:lnTo>
                    <a:pt x="30" y="164"/>
                  </a:lnTo>
                  <a:lnTo>
                    <a:pt x="30" y="164"/>
                  </a:lnTo>
                  <a:lnTo>
                    <a:pt x="30" y="164"/>
                  </a:lnTo>
                  <a:lnTo>
                    <a:pt x="26" y="168"/>
                  </a:lnTo>
                  <a:lnTo>
                    <a:pt x="26" y="168"/>
                  </a:lnTo>
                  <a:lnTo>
                    <a:pt x="26" y="168"/>
                  </a:lnTo>
                  <a:lnTo>
                    <a:pt x="26" y="168"/>
                  </a:lnTo>
                  <a:lnTo>
                    <a:pt x="22" y="168"/>
                  </a:lnTo>
                  <a:lnTo>
                    <a:pt x="22" y="168"/>
                  </a:lnTo>
                  <a:lnTo>
                    <a:pt x="22" y="168"/>
                  </a:lnTo>
                  <a:lnTo>
                    <a:pt x="22" y="168"/>
                  </a:lnTo>
                  <a:lnTo>
                    <a:pt x="18" y="168"/>
                  </a:lnTo>
                  <a:lnTo>
                    <a:pt x="18" y="172"/>
                  </a:lnTo>
                  <a:lnTo>
                    <a:pt x="18" y="172"/>
                  </a:lnTo>
                  <a:lnTo>
                    <a:pt x="18" y="172"/>
                  </a:lnTo>
                  <a:lnTo>
                    <a:pt x="10" y="160"/>
                  </a:lnTo>
                  <a:lnTo>
                    <a:pt x="10" y="156"/>
                  </a:lnTo>
                  <a:lnTo>
                    <a:pt x="0" y="130"/>
                  </a:lnTo>
                  <a:lnTo>
                    <a:pt x="44" y="112"/>
                  </a:lnTo>
                  <a:lnTo>
                    <a:pt x="48" y="90"/>
                  </a:lnTo>
                  <a:lnTo>
                    <a:pt x="48" y="90"/>
                  </a:lnTo>
                  <a:lnTo>
                    <a:pt x="48" y="90"/>
                  </a:lnTo>
                  <a:close/>
                  <a:moveTo>
                    <a:pt x="96" y="108"/>
                  </a:moveTo>
                  <a:lnTo>
                    <a:pt x="96" y="108"/>
                  </a:lnTo>
                  <a:lnTo>
                    <a:pt x="96" y="108"/>
                  </a:lnTo>
                  <a:lnTo>
                    <a:pt x="96" y="108"/>
                  </a:lnTo>
                  <a:lnTo>
                    <a:pt x="96" y="108"/>
                  </a:lnTo>
                  <a:lnTo>
                    <a:pt x="96" y="104"/>
                  </a:lnTo>
                  <a:lnTo>
                    <a:pt x="96" y="104"/>
                  </a:lnTo>
                  <a:lnTo>
                    <a:pt x="96" y="104"/>
                  </a:lnTo>
                  <a:lnTo>
                    <a:pt x="96" y="104"/>
                  </a:lnTo>
                  <a:lnTo>
                    <a:pt x="96" y="104"/>
                  </a:lnTo>
                  <a:lnTo>
                    <a:pt x="96" y="104"/>
                  </a:lnTo>
                  <a:lnTo>
                    <a:pt x="96" y="104"/>
                  </a:lnTo>
                  <a:lnTo>
                    <a:pt x="96" y="104"/>
                  </a:lnTo>
                  <a:lnTo>
                    <a:pt x="96" y="104"/>
                  </a:lnTo>
                  <a:lnTo>
                    <a:pt x="96" y="104"/>
                  </a:lnTo>
                  <a:lnTo>
                    <a:pt x="96" y="102"/>
                  </a:lnTo>
                  <a:lnTo>
                    <a:pt x="96" y="102"/>
                  </a:lnTo>
                  <a:lnTo>
                    <a:pt x="100" y="102"/>
                  </a:lnTo>
                  <a:lnTo>
                    <a:pt x="100" y="102"/>
                  </a:lnTo>
                  <a:lnTo>
                    <a:pt x="100" y="104"/>
                  </a:lnTo>
                  <a:lnTo>
                    <a:pt x="100" y="104"/>
                  </a:lnTo>
                  <a:lnTo>
                    <a:pt x="100" y="104"/>
                  </a:lnTo>
                  <a:lnTo>
                    <a:pt x="100" y="104"/>
                  </a:lnTo>
                  <a:lnTo>
                    <a:pt x="96" y="104"/>
                  </a:lnTo>
                  <a:lnTo>
                    <a:pt x="96" y="104"/>
                  </a:lnTo>
                  <a:lnTo>
                    <a:pt x="96" y="104"/>
                  </a:lnTo>
                  <a:lnTo>
                    <a:pt x="96" y="104"/>
                  </a:lnTo>
                  <a:lnTo>
                    <a:pt x="96" y="104"/>
                  </a:lnTo>
                  <a:lnTo>
                    <a:pt x="96" y="104"/>
                  </a:lnTo>
                  <a:lnTo>
                    <a:pt x="96" y="104"/>
                  </a:lnTo>
                  <a:lnTo>
                    <a:pt x="96" y="108"/>
                  </a:lnTo>
                  <a:lnTo>
                    <a:pt x="96" y="108"/>
                  </a:lnTo>
                  <a:lnTo>
                    <a:pt x="96" y="108"/>
                  </a:lnTo>
                  <a:lnTo>
                    <a:pt x="96" y="108"/>
                  </a:lnTo>
                  <a:lnTo>
                    <a:pt x="96" y="108"/>
                  </a:lnTo>
                  <a:lnTo>
                    <a:pt x="96" y="108"/>
                  </a:lnTo>
                  <a:lnTo>
                    <a:pt x="96" y="10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53" name="Freeform 46"/>
            <p:cNvSpPr>
              <a:spLocks/>
            </p:cNvSpPr>
            <p:nvPr/>
          </p:nvSpPr>
          <p:spPr bwMode="auto">
            <a:xfrm>
              <a:off x="7580348" y="3732864"/>
              <a:ext cx="148203" cy="158218"/>
            </a:xfrm>
            <a:custGeom>
              <a:avLst/>
              <a:gdLst>
                <a:gd name="T0" fmla="*/ 54 w 236"/>
                <a:gd name="T1" fmla="*/ 138 h 242"/>
                <a:gd name="T2" fmla="*/ 76 w 236"/>
                <a:gd name="T3" fmla="*/ 134 h 242"/>
                <a:gd name="T4" fmla="*/ 80 w 236"/>
                <a:gd name="T5" fmla="*/ 120 h 242"/>
                <a:gd name="T6" fmla="*/ 86 w 236"/>
                <a:gd name="T7" fmla="*/ 108 h 242"/>
                <a:gd name="T8" fmla="*/ 98 w 236"/>
                <a:gd name="T9" fmla="*/ 100 h 242"/>
                <a:gd name="T10" fmla="*/ 116 w 236"/>
                <a:gd name="T11" fmla="*/ 100 h 242"/>
                <a:gd name="T12" fmla="*/ 120 w 236"/>
                <a:gd name="T13" fmla="*/ 82 h 242"/>
                <a:gd name="T14" fmla="*/ 128 w 236"/>
                <a:gd name="T15" fmla="*/ 74 h 242"/>
                <a:gd name="T16" fmla="*/ 132 w 236"/>
                <a:gd name="T17" fmla="*/ 60 h 242"/>
                <a:gd name="T18" fmla="*/ 142 w 236"/>
                <a:gd name="T19" fmla="*/ 56 h 242"/>
                <a:gd name="T20" fmla="*/ 146 w 236"/>
                <a:gd name="T21" fmla="*/ 44 h 242"/>
                <a:gd name="T22" fmla="*/ 154 w 236"/>
                <a:gd name="T23" fmla="*/ 26 h 242"/>
                <a:gd name="T24" fmla="*/ 146 w 236"/>
                <a:gd name="T25" fmla="*/ 14 h 242"/>
                <a:gd name="T26" fmla="*/ 166 w 236"/>
                <a:gd name="T27" fmla="*/ 4 h 242"/>
                <a:gd name="T28" fmla="*/ 188 w 236"/>
                <a:gd name="T29" fmla="*/ 4 h 242"/>
                <a:gd name="T30" fmla="*/ 206 w 236"/>
                <a:gd name="T31" fmla="*/ 4 h 242"/>
                <a:gd name="T32" fmla="*/ 212 w 236"/>
                <a:gd name="T33" fmla="*/ 14 h 242"/>
                <a:gd name="T34" fmla="*/ 224 w 236"/>
                <a:gd name="T35" fmla="*/ 22 h 242"/>
                <a:gd name="T36" fmla="*/ 236 w 236"/>
                <a:gd name="T37" fmla="*/ 34 h 242"/>
                <a:gd name="T38" fmla="*/ 228 w 236"/>
                <a:gd name="T39" fmla="*/ 36 h 242"/>
                <a:gd name="T40" fmla="*/ 216 w 236"/>
                <a:gd name="T41" fmla="*/ 44 h 242"/>
                <a:gd name="T42" fmla="*/ 196 w 236"/>
                <a:gd name="T43" fmla="*/ 44 h 242"/>
                <a:gd name="T44" fmla="*/ 188 w 236"/>
                <a:gd name="T45" fmla="*/ 48 h 242"/>
                <a:gd name="T46" fmla="*/ 188 w 236"/>
                <a:gd name="T47" fmla="*/ 60 h 242"/>
                <a:gd name="T48" fmla="*/ 192 w 236"/>
                <a:gd name="T49" fmla="*/ 78 h 242"/>
                <a:gd name="T50" fmla="*/ 206 w 236"/>
                <a:gd name="T51" fmla="*/ 90 h 242"/>
                <a:gd name="T52" fmla="*/ 196 w 236"/>
                <a:gd name="T53" fmla="*/ 100 h 242"/>
                <a:gd name="T54" fmla="*/ 196 w 236"/>
                <a:gd name="T55" fmla="*/ 112 h 242"/>
                <a:gd name="T56" fmla="*/ 188 w 236"/>
                <a:gd name="T57" fmla="*/ 126 h 242"/>
                <a:gd name="T58" fmla="*/ 172 w 236"/>
                <a:gd name="T59" fmla="*/ 148 h 242"/>
                <a:gd name="T60" fmla="*/ 162 w 236"/>
                <a:gd name="T61" fmla="*/ 160 h 242"/>
                <a:gd name="T62" fmla="*/ 146 w 236"/>
                <a:gd name="T63" fmla="*/ 172 h 242"/>
                <a:gd name="T64" fmla="*/ 136 w 236"/>
                <a:gd name="T65" fmla="*/ 168 h 242"/>
                <a:gd name="T66" fmla="*/ 124 w 236"/>
                <a:gd name="T67" fmla="*/ 178 h 242"/>
                <a:gd name="T68" fmla="*/ 132 w 236"/>
                <a:gd name="T69" fmla="*/ 194 h 242"/>
                <a:gd name="T70" fmla="*/ 138 w 236"/>
                <a:gd name="T71" fmla="*/ 212 h 242"/>
                <a:gd name="T72" fmla="*/ 142 w 236"/>
                <a:gd name="T73" fmla="*/ 228 h 242"/>
                <a:gd name="T74" fmla="*/ 138 w 236"/>
                <a:gd name="T75" fmla="*/ 232 h 242"/>
                <a:gd name="T76" fmla="*/ 120 w 236"/>
                <a:gd name="T77" fmla="*/ 234 h 242"/>
                <a:gd name="T78" fmla="*/ 110 w 236"/>
                <a:gd name="T79" fmla="*/ 238 h 242"/>
                <a:gd name="T80" fmla="*/ 102 w 236"/>
                <a:gd name="T81" fmla="*/ 238 h 242"/>
                <a:gd name="T82" fmla="*/ 90 w 236"/>
                <a:gd name="T83" fmla="*/ 234 h 242"/>
                <a:gd name="T84" fmla="*/ 82 w 236"/>
                <a:gd name="T85" fmla="*/ 220 h 242"/>
                <a:gd name="T86" fmla="*/ 80 w 236"/>
                <a:gd name="T87" fmla="*/ 208 h 242"/>
                <a:gd name="T88" fmla="*/ 60 w 236"/>
                <a:gd name="T89" fmla="*/ 212 h 242"/>
                <a:gd name="T90" fmla="*/ 50 w 236"/>
                <a:gd name="T91" fmla="*/ 216 h 242"/>
                <a:gd name="T92" fmla="*/ 38 w 236"/>
                <a:gd name="T93" fmla="*/ 216 h 242"/>
                <a:gd name="T94" fmla="*/ 16 w 236"/>
                <a:gd name="T95" fmla="*/ 220 h 242"/>
                <a:gd name="T96" fmla="*/ 16 w 236"/>
                <a:gd name="T97" fmla="*/ 204 h 242"/>
                <a:gd name="T98" fmla="*/ 20 w 236"/>
                <a:gd name="T99" fmla="*/ 194 h 242"/>
                <a:gd name="T100" fmla="*/ 34 w 236"/>
                <a:gd name="T101" fmla="*/ 186 h 242"/>
                <a:gd name="T102" fmla="*/ 26 w 236"/>
                <a:gd name="T103" fmla="*/ 172 h 242"/>
                <a:gd name="T104" fmla="*/ 16 w 236"/>
                <a:gd name="T105" fmla="*/ 156 h 242"/>
                <a:gd name="T106" fmla="*/ 0 w 236"/>
                <a:gd name="T107" fmla="*/ 134 h 242"/>
                <a:gd name="T108" fmla="*/ 34 w 236"/>
                <a:gd name="T109" fmla="*/ 1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6" h="242">
                  <a:moveTo>
                    <a:pt x="34" y="138"/>
                  </a:moveTo>
                  <a:lnTo>
                    <a:pt x="38" y="138"/>
                  </a:lnTo>
                  <a:lnTo>
                    <a:pt x="42" y="138"/>
                  </a:lnTo>
                  <a:lnTo>
                    <a:pt x="46" y="142"/>
                  </a:lnTo>
                  <a:lnTo>
                    <a:pt x="50" y="138"/>
                  </a:lnTo>
                  <a:lnTo>
                    <a:pt x="54" y="138"/>
                  </a:lnTo>
                  <a:lnTo>
                    <a:pt x="56" y="138"/>
                  </a:lnTo>
                  <a:lnTo>
                    <a:pt x="60" y="138"/>
                  </a:lnTo>
                  <a:lnTo>
                    <a:pt x="64" y="138"/>
                  </a:lnTo>
                  <a:lnTo>
                    <a:pt x="68" y="134"/>
                  </a:lnTo>
                  <a:lnTo>
                    <a:pt x="72" y="134"/>
                  </a:lnTo>
                  <a:lnTo>
                    <a:pt x="76" y="134"/>
                  </a:lnTo>
                  <a:lnTo>
                    <a:pt x="80" y="130"/>
                  </a:lnTo>
                  <a:lnTo>
                    <a:pt x="76" y="130"/>
                  </a:lnTo>
                  <a:lnTo>
                    <a:pt x="76" y="126"/>
                  </a:lnTo>
                  <a:lnTo>
                    <a:pt x="80" y="126"/>
                  </a:lnTo>
                  <a:lnTo>
                    <a:pt x="80" y="122"/>
                  </a:lnTo>
                  <a:lnTo>
                    <a:pt x="80" y="120"/>
                  </a:lnTo>
                  <a:lnTo>
                    <a:pt x="80" y="112"/>
                  </a:lnTo>
                  <a:lnTo>
                    <a:pt x="82" y="112"/>
                  </a:lnTo>
                  <a:lnTo>
                    <a:pt x="82" y="108"/>
                  </a:lnTo>
                  <a:lnTo>
                    <a:pt x="86" y="108"/>
                  </a:lnTo>
                  <a:lnTo>
                    <a:pt x="86" y="104"/>
                  </a:lnTo>
                  <a:lnTo>
                    <a:pt x="86" y="108"/>
                  </a:lnTo>
                  <a:lnTo>
                    <a:pt x="90" y="108"/>
                  </a:lnTo>
                  <a:lnTo>
                    <a:pt x="94" y="108"/>
                  </a:lnTo>
                  <a:lnTo>
                    <a:pt x="98" y="108"/>
                  </a:lnTo>
                  <a:lnTo>
                    <a:pt x="98" y="104"/>
                  </a:lnTo>
                  <a:lnTo>
                    <a:pt x="94" y="100"/>
                  </a:lnTo>
                  <a:lnTo>
                    <a:pt x="98" y="100"/>
                  </a:lnTo>
                  <a:lnTo>
                    <a:pt x="102" y="100"/>
                  </a:lnTo>
                  <a:lnTo>
                    <a:pt x="106" y="96"/>
                  </a:lnTo>
                  <a:lnTo>
                    <a:pt x="110" y="96"/>
                  </a:lnTo>
                  <a:lnTo>
                    <a:pt x="112" y="96"/>
                  </a:lnTo>
                  <a:lnTo>
                    <a:pt x="112" y="100"/>
                  </a:lnTo>
                  <a:lnTo>
                    <a:pt x="116" y="100"/>
                  </a:lnTo>
                  <a:lnTo>
                    <a:pt x="116" y="96"/>
                  </a:lnTo>
                  <a:lnTo>
                    <a:pt x="120" y="96"/>
                  </a:lnTo>
                  <a:lnTo>
                    <a:pt x="120" y="92"/>
                  </a:lnTo>
                  <a:lnTo>
                    <a:pt x="120" y="90"/>
                  </a:lnTo>
                  <a:lnTo>
                    <a:pt x="120" y="86"/>
                  </a:lnTo>
                  <a:lnTo>
                    <a:pt x="120" y="82"/>
                  </a:lnTo>
                  <a:lnTo>
                    <a:pt x="124" y="82"/>
                  </a:lnTo>
                  <a:lnTo>
                    <a:pt x="124" y="78"/>
                  </a:lnTo>
                  <a:lnTo>
                    <a:pt x="120" y="78"/>
                  </a:lnTo>
                  <a:lnTo>
                    <a:pt x="124" y="78"/>
                  </a:lnTo>
                  <a:lnTo>
                    <a:pt x="124" y="74"/>
                  </a:lnTo>
                  <a:lnTo>
                    <a:pt x="128" y="74"/>
                  </a:lnTo>
                  <a:lnTo>
                    <a:pt x="132" y="70"/>
                  </a:lnTo>
                  <a:lnTo>
                    <a:pt x="136" y="70"/>
                  </a:lnTo>
                  <a:lnTo>
                    <a:pt x="136" y="66"/>
                  </a:lnTo>
                  <a:lnTo>
                    <a:pt x="132" y="66"/>
                  </a:lnTo>
                  <a:lnTo>
                    <a:pt x="132" y="62"/>
                  </a:lnTo>
                  <a:lnTo>
                    <a:pt x="132" y="60"/>
                  </a:lnTo>
                  <a:lnTo>
                    <a:pt x="128" y="60"/>
                  </a:lnTo>
                  <a:lnTo>
                    <a:pt x="128" y="56"/>
                  </a:lnTo>
                  <a:lnTo>
                    <a:pt x="132" y="56"/>
                  </a:lnTo>
                  <a:lnTo>
                    <a:pt x="136" y="56"/>
                  </a:lnTo>
                  <a:lnTo>
                    <a:pt x="138" y="56"/>
                  </a:lnTo>
                  <a:lnTo>
                    <a:pt x="142" y="56"/>
                  </a:lnTo>
                  <a:lnTo>
                    <a:pt x="146" y="56"/>
                  </a:lnTo>
                  <a:lnTo>
                    <a:pt x="146" y="52"/>
                  </a:lnTo>
                  <a:lnTo>
                    <a:pt x="146" y="48"/>
                  </a:lnTo>
                  <a:lnTo>
                    <a:pt x="142" y="48"/>
                  </a:lnTo>
                  <a:lnTo>
                    <a:pt x="142" y="44"/>
                  </a:lnTo>
                  <a:lnTo>
                    <a:pt x="146" y="44"/>
                  </a:lnTo>
                  <a:lnTo>
                    <a:pt x="146" y="40"/>
                  </a:lnTo>
                  <a:lnTo>
                    <a:pt x="150" y="40"/>
                  </a:lnTo>
                  <a:lnTo>
                    <a:pt x="150" y="36"/>
                  </a:lnTo>
                  <a:lnTo>
                    <a:pt x="154" y="34"/>
                  </a:lnTo>
                  <a:lnTo>
                    <a:pt x="154" y="30"/>
                  </a:lnTo>
                  <a:lnTo>
                    <a:pt x="154" y="26"/>
                  </a:lnTo>
                  <a:lnTo>
                    <a:pt x="150" y="26"/>
                  </a:lnTo>
                  <a:lnTo>
                    <a:pt x="154" y="22"/>
                  </a:lnTo>
                  <a:lnTo>
                    <a:pt x="150" y="22"/>
                  </a:lnTo>
                  <a:lnTo>
                    <a:pt x="150" y="18"/>
                  </a:lnTo>
                  <a:lnTo>
                    <a:pt x="146" y="18"/>
                  </a:lnTo>
                  <a:lnTo>
                    <a:pt x="146" y="14"/>
                  </a:lnTo>
                  <a:lnTo>
                    <a:pt x="150" y="14"/>
                  </a:lnTo>
                  <a:lnTo>
                    <a:pt x="154" y="10"/>
                  </a:lnTo>
                  <a:lnTo>
                    <a:pt x="158" y="6"/>
                  </a:lnTo>
                  <a:lnTo>
                    <a:pt x="162" y="6"/>
                  </a:lnTo>
                  <a:lnTo>
                    <a:pt x="162" y="4"/>
                  </a:lnTo>
                  <a:lnTo>
                    <a:pt x="166" y="4"/>
                  </a:lnTo>
                  <a:lnTo>
                    <a:pt x="168" y="4"/>
                  </a:lnTo>
                  <a:lnTo>
                    <a:pt x="172" y="4"/>
                  </a:lnTo>
                  <a:lnTo>
                    <a:pt x="176" y="0"/>
                  </a:lnTo>
                  <a:lnTo>
                    <a:pt x="180" y="0"/>
                  </a:lnTo>
                  <a:lnTo>
                    <a:pt x="184" y="0"/>
                  </a:lnTo>
                  <a:lnTo>
                    <a:pt x="188" y="4"/>
                  </a:lnTo>
                  <a:lnTo>
                    <a:pt x="192" y="0"/>
                  </a:lnTo>
                  <a:lnTo>
                    <a:pt x="196" y="0"/>
                  </a:lnTo>
                  <a:lnTo>
                    <a:pt x="198" y="0"/>
                  </a:lnTo>
                  <a:lnTo>
                    <a:pt x="202" y="0"/>
                  </a:lnTo>
                  <a:lnTo>
                    <a:pt x="206" y="6"/>
                  </a:lnTo>
                  <a:lnTo>
                    <a:pt x="206" y="4"/>
                  </a:lnTo>
                  <a:lnTo>
                    <a:pt x="208" y="8"/>
                  </a:lnTo>
                  <a:lnTo>
                    <a:pt x="210" y="10"/>
                  </a:lnTo>
                  <a:lnTo>
                    <a:pt x="212" y="10"/>
                  </a:lnTo>
                  <a:lnTo>
                    <a:pt x="212" y="10"/>
                  </a:lnTo>
                  <a:lnTo>
                    <a:pt x="216" y="14"/>
                  </a:lnTo>
                  <a:lnTo>
                    <a:pt x="212" y="14"/>
                  </a:lnTo>
                  <a:lnTo>
                    <a:pt x="212" y="18"/>
                  </a:lnTo>
                  <a:lnTo>
                    <a:pt x="216" y="18"/>
                  </a:lnTo>
                  <a:lnTo>
                    <a:pt x="216" y="22"/>
                  </a:lnTo>
                  <a:lnTo>
                    <a:pt x="220" y="22"/>
                  </a:lnTo>
                  <a:lnTo>
                    <a:pt x="222" y="22"/>
                  </a:lnTo>
                  <a:lnTo>
                    <a:pt x="224" y="22"/>
                  </a:lnTo>
                  <a:lnTo>
                    <a:pt x="224" y="26"/>
                  </a:lnTo>
                  <a:lnTo>
                    <a:pt x="228" y="26"/>
                  </a:lnTo>
                  <a:lnTo>
                    <a:pt x="232" y="26"/>
                  </a:lnTo>
                  <a:lnTo>
                    <a:pt x="232" y="32"/>
                  </a:lnTo>
                  <a:lnTo>
                    <a:pt x="236" y="34"/>
                  </a:lnTo>
                  <a:lnTo>
                    <a:pt x="236" y="34"/>
                  </a:lnTo>
                  <a:lnTo>
                    <a:pt x="232" y="32"/>
                  </a:lnTo>
                  <a:lnTo>
                    <a:pt x="236" y="34"/>
                  </a:lnTo>
                  <a:lnTo>
                    <a:pt x="236" y="34"/>
                  </a:lnTo>
                  <a:lnTo>
                    <a:pt x="232" y="34"/>
                  </a:lnTo>
                  <a:lnTo>
                    <a:pt x="228" y="34"/>
                  </a:lnTo>
                  <a:lnTo>
                    <a:pt x="228" y="36"/>
                  </a:lnTo>
                  <a:lnTo>
                    <a:pt x="228" y="40"/>
                  </a:lnTo>
                  <a:lnTo>
                    <a:pt x="228" y="44"/>
                  </a:lnTo>
                  <a:lnTo>
                    <a:pt x="224" y="44"/>
                  </a:lnTo>
                  <a:lnTo>
                    <a:pt x="224" y="40"/>
                  </a:lnTo>
                  <a:lnTo>
                    <a:pt x="220" y="40"/>
                  </a:lnTo>
                  <a:lnTo>
                    <a:pt x="216" y="44"/>
                  </a:lnTo>
                  <a:lnTo>
                    <a:pt x="212" y="44"/>
                  </a:lnTo>
                  <a:lnTo>
                    <a:pt x="210" y="48"/>
                  </a:lnTo>
                  <a:lnTo>
                    <a:pt x="210" y="44"/>
                  </a:lnTo>
                  <a:lnTo>
                    <a:pt x="206" y="44"/>
                  </a:lnTo>
                  <a:lnTo>
                    <a:pt x="202" y="44"/>
                  </a:lnTo>
                  <a:lnTo>
                    <a:pt x="196" y="44"/>
                  </a:lnTo>
                  <a:lnTo>
                    <a:pt x="196" y="40"/>
                  </a:lnTo>
                  <a:lnTo>
                    <a:pt x="192" y="40"/>
                  </a:lnTo>
                  <a:lnTo>
                    <a:pt x="188" y="44"/>
                  </a:lnTo>
                  <a:lnTo>
                    <a:pt x="184" y="44"/>
                  </a:lnTo>
                  <a:lnTo>
                    <a:pt x="184" y="48"/>
                  </a:lnTo>
                  <a:lnTo>
                    <a:pt x="188" y="48"/>
                  </a:lnTo>
                  <a:lnTo>
                    <a:pt x="188" y="52"/>
                  </a:lnTo>
                  <a:lnTo>
                    <a:pt x="184" y="56"/>
                  </a:lnTo>
                  <a:lnTo>
                    <a:pt x="188" y="56"/>
                  </a:lnTo>
                  <a:lnTo>
                    <a:pt x="192" y="56"/>
                  </a:lnTo>
                  <a:lnTo>
                    <a:pt x="192" y="60"/>
                  </a:lnTo>
                  <a:lnTo>
                    <a:pt x="188" y="60"/>
                  </a:lnTo>
                  <a:lnTo>
                    <a:pt x="188" y="62"/>
                  </a:lnTo>
                  <a:lnTo>
                    <a:pt x="192" y="62"/>
                  </a:lnTo>
                  <a:lnTo>
                    <a:pt x="188" y="66"/>
                  </a:lnTo>
                  <a:lnTo>
                    <a:pt x="188" y="70"/>
                  </a:lnTo>
                  <a:lnTo>
                    <a:pt x="192" y="74"/>
                  </a:lnTo>
                  <a:lnTo>
                    <a:pt x="192" y="78"/>
                  </a:lnTo>
                  <a:lnTo>
                    <a:pt x="196" y="78"/>
                  </a:lnTo>
                  <a:lnTo>
                    <a:pt x="196" y="82"/>
                  </a:lnTo>
                  <a:lnTo>
                    <a:pt x="198" y="86"/>
                  </a:lnTo>
                  <a:lnTo>
                    <a:pt x="202" y="86"/>
                  </a:lnTo>
                  <a:lnTo>
                    <a:pt x="206" y="86"/>
                  </a:lnTo>
                  <a:lnTo>
                    <a:pt x="206" y="90"/>
                  </a:lnTo>
                  <a:lnTo>
                    <a:pt x="206" y="92"/>
                  </a:lnTo>
                  <a:lnTo>
                    <a:pt x="202" y="92"/>
                  </a:lnTo>
                  <a:lnTo>
                    <a:pt x="198" y="92"/>
                  </a:lnTo>
                  <a:lnTo>
                    <a:pt x="196" y="92"/>
                  </a:lnTo>
                  <a:lnTo>
                    <a:pt x="196" y="96"/>
                  </a:lnTo>
                  <a:lnTo>
                    <a:pt x="196" y="100"/>
                  </a:lnTo>
                  <a:lnTo>
                    <a:pt x="196" y="104"/>
                  </a:lnTo>
                  <a:lnTo>
                    <a:pt x="196" y="108"/>
                  </a:lnTo>
                  <a:lnTo>
                    <a:pt x="196" y="112"/>
                  </a:lnTo>
                  <a:lnTo>
                    <a:pt x="196" y="108"/>
                  </a:lnTo>
                  <a:lnTo>
                    <a:pt x="198" y="108"/>
                  </a:lnTo>
                  <a:lnTo>
                    <a:pt x="196" y="112"/>
                  </a:lnTo>
                  <a:lnTo>
                    <a:pt x="192" y="112"/>
                  </a:lnTo>
                  <a:lnTo>
                    <a:pt x="192" y="116"/>
                  </a:lnTo>
                  <a:lnTo>
                    <a:pt x="188" y="120"/>
                  </a:lnTo>
                  <a:lnTo>
                    <a:pt x="184" y="122"/>
                  </a:lnTo>
                  <a:lnTo>
                    <a:pt x="188" y="122"/>
                  </a:lnTo>
                  <a:lnTo>
                    <a:pt x="188" y="126"/>
                  </a:lnTo>
                  <a:lnTo>
                    <a:pt x="184" y="130"/>
                  </a:lnTo>
                  <a:lnTo>
                    <a:pt x="180" y="130"/>
                  </a:lnTo>
                  <a:lnTo>
                    <a:pt x="176" y="134"/>
                  </a:lnTo>
                  <a:lnTo>
                    <a:pt x="176" y="138"/>
                  </a:lnTo>
                  <a:lnTo>
                    <a:pt x="172" y="146"/>
                  </a:lnTo>
                  <a:lnTo>
                    <a:pt x="172" y="148"/>
                  </a:lnTo>
                  <a:lnTo>
                    <a:pt x="168" y="148"/>
                  </a:lnTo>
                  <a:lnTo>
                    <a:pt x="166" y="148"/>
                  </a:lnTo>
                  <a:lnTo>
                    <a:pt x="166" y="152"/>
                  </a:lnTo>
                  <a:lnTo>
                    <a:pt x="162" y="152"/>
                  </a:lnTo>
                  <a:lnTo>
                    <a:pt x="162" y="156"/>
                  </a:lnTo>
                  <a:lnTo>
                    <a:pt x="162" y="160"/>
                  </a:lnTo>
                  <a:lnTo>
                    <a:pt x="158" y="164"/>
                  </a:lnTo>
                  <a:lnTo>
                    <a:pt x="158" y="168"/>
                  </a:lnTo>
                  <a:lnTo>
                    <a:pt x="154" y="168"/>
                  </a:lnTo>
                  <a:lnTo>
                    <a:pt x="150" y="168"/>
                  </a:lnTo>
                  <a:lnTo>
                    <a:pt x="146" y="168"/>
                  </a:lnTo>
                  <a:lnTo>
                    <a:pt x="146" y="172"/>
                  </a:lnTo>
                  <a:lnTo>
                    <a:pt x="142" y="172"/>
                  </a:lnTo>
                  <a:lnTo>
                    <a:pt x="138" y="172"/>
                  </a:lnTo>
                  <a:lnTo>
                    <a:pt x="138" y="168"/>
                  </a:lnTo>
                  <a:lnTo>
                    <a:pt x="138" y="164"/>
                  </a:lnTo>
                  <a:lnTo>
                    <a:pt x="136" y="164"/>
                  </a:lnTo>
                  <a:lnTo>
                    <a:pt x="136" y="168"/>
                  </a:lnTo>
                  <a:lnTo>
                    <a:pt x="132" y="168"/>
                  </a:lnTo>
                  <a:lnTo>
                    <a:pt x="132" y="172"/>
                  </a:lnTo>
                  <a:lnTo>
                    <a:pt x="132" y="176"/>
                  </a:lnTo>
                  <a:lnTo>
                    <a:pt x="128" y="176"/>
                  </a:lnTo>
                  <a:lnTo>
                    <a:pt x="128" y="178"/>
                  </a:lnTo>
                  <a:lnTo>
                    <a:pt x="124" y="178"/>
                  </a:lnTo>
                  <a:lnTo>
                    <a:pt x="124" y="182"/>
                  </a:lnTo>
                  <a:lnTo>
                    <a:pt x="124" y="186"/>
                  </a:lnTo>
                  <a:lnTo>
                    <a:pt x="124" y="190"/>
                  </a:lnTo>
                  <a:lnTo>
                    <a:pt x="128" y="190"/>
                  </a:lnTo>
                  <a:lnTo>
                    <a:pt x="132" y="190"/>
                  </a:lnTo>
                  <a:lnTo>
                    <a:pt x="132" y="194"/>
                  </a:lnTo>
                  <a:lnTo>
                    <a:pt x="132" y="198"/>
                  </a:lnTo>
                  <a:lnTo>
                    <a:pt x="132" y="202"/>
                  </a:lnTo>
                  <a:lnTo>
                    <a:pt x="132" y="204"/>
                  </a:lnTo>
                  <a:lnTo>
                    <a:pt x="136" y="208"/>
                  </a:lnTo>
                  <a:lnTo>
                    <a:pt x="138" y="208"/>
                  </a:lnTo>
                  <a:lnTo>
                    <a:pt x="138" y="212"/>
                  </a:lnTo>
                  <a:lnTo>
                    <a:pt x="138" y="216"/>
                  </a:lnTo>
                  <a:lnTo>
                    <a:pt x="142" y="216"/>
                  </a:lnTo>
                  <a:lnTo>
                    <a:pt x="142" y="220"/>
                  </a:lnTo>
                  <a:lnTo>
                    <a:pt x="142" y="224"/>
                  </a:lnTo>
                  <a:lnTo>
                    <a:pt x="146" y="228"/>
                  </a:lnTo>
                  <a:lnTo>
                    <a:pt x="142" y="228"/>
                  </a:lnTo>
                  <a:lnTo>
                    <a:pt x="142" y="232"/>
                  </a:lnTo>
                  <a:lnTo>
                    <a:pt x="146" y="232"/>
                  </a:lnTo>
                  <a:lnTo>
                    <a:pt x="142" y="232"/>
                  </a:lnTo>
                  <a:lnTo>
                    <a:pt x="142" y="234"/>
                  </a:lnTo>
                  <a:lnTo>
                    <a:pt x="138" y="234"/>
                  </a:lnTo>
                  <a:lnTo>
                    <a:pt x="138" y="232"/>
                  </a:lnTo>
                  <a:lnTo>
                    <a:pt x="136" y="232"/>
                  </a:lnTo>
                  <a:lnTo>
                    <a:pt x="132" y="232"/>
                  </a:lnTo>
                  <a:lnTo>
                    <a:pt x="132" y="234"/>
                  </a:lnTo>
                  <a:lnTo>
                    <a:pt x="128" y="234"/>
                  </a:lnTo>
                  <a:lnTo>
                    <a:pt x="124" y="234"/>
                  </a:lnTo>
                  <a:lnTo>
                    <a:pt x="120" y="234"/>
                  </a:lnTo>
                  <a:lnTo>
                    <a:pt x="116" y="234"/>
                  </a:lnTo>
                  <a:lnTo>
                    <a:pt x="116" y="232"/>
                  </a:lnTo>
                  <a:lnTo>
                    <a:pt x="112" y="232"/>
                  </a:lnTo>
                  <a:lnTo>
                    <a:pt x="112" y="234"/>
                  </a:lnTo>
                  <a:lnTo>
                    <a:pt x="112" y="238"/>
                  </a:lnTo>
                  <a:lnTo>
                    <a:pt x="110" y="238"/>
                  </a:lnTo>
                  <a:lnTo>
                    <a:pt x="106" y="238"/>
                  </a:lnTo>
                  <a:lnTo>
                    <a:pt x="106" y="242"/>
                  </a:lnTo>
                  <a:lnTo>
                    <a:pt x="106" y="238"/>
                  </a:lnTo>
                  <a:lnTo>
                    <a:pt x="106" y="242"/>
                  </a:lnTo>
                  <a:lnTo>
                    <a:pt x="102" y="242"/>
                  </a:lnTo>
                  <a:lnTo>
                    <a:pt x="102" y="238"/>
                  </a:lnTo>
                  <a:lnTo>
                    <a:pt x="102" y="242"/>
                  </a:lnTo>
                  <a:lnTo>
                    <a:pt x="102" y="238"/>
                  </a:lnTo>
                  <a:lnTo>
                    <a:pt x="98" y="242"/>
                  </a:lnTo>
                  <a:lnTo>
                    <a:pt x="94" y="242"/>
                  </a:lnTo>
                  <a:lnTo>
                    <a:pt x="94" y="238"/>
                  </a:lnTo>
                  <a:lnTo>
                    <a:pt x="90" y="234"/>
                  </a:lnTo>
                  <a:lnTo>
                    <a:pt x="90" y="232"/>
                  </a:lnTo>
                  <a:lnTo>
                    <a:pt x="90" y="228"/>
                  </a:lnTo>
                  <a:lnTo>
                    <a:pt x="90" y="224"/>
                  </a:lnTo>
                  <a:lnTo>
                    <a:pt x="86" y="224"/>
                  </a:lnTo>
                  <a:lnTo>
                    <a:pt x="82" y="224"/>
                  </a:lnTo>
                  <a:lnTo>
                    <a:pt x="82" y="220"/>
                  </a:lnTo>
                  <a:lnTo>
                    <a:pt x="82" y="216"/>
                  </a:lnTo>
                  <a:lnTo>
                    <a:pt x="82" y="212"/>
                  </a:lnTo>
                  <a:lnTo>
                    <a:pt x="80" y="208"/>
                  </a:lnTo>
                  <a:lnTo>
                    <a:pt x="76" y="208"/>
                  </a:lnTo>
                  <a:lnTo>
                    <a:pt x="76" y="212"/>
                  </a:lnTo>
                  <a:lnTo>
                    <a:pt x="80" y="208"/>
                  </a:lnTo>
                  <a:lnTo>
                    <a:pt x="80" y="212"/>
                  </a:lnTo>
                  <a:lnTo>
                    <a:pt x="76" y="212"/>
                  </a:lnTo>
                  <a:lnTo>
                    <a:pt x="72" y="212"/>
                  </a:lnTo>
                  <a:lnTo>
                    <a:pt x="68" y="212"/>
                  </a:lnTo>
                  <a:lnTo>
                    <a:pt x="64" y="212"/>
                  </a:lnTo>
                  <a:lnTo>
                    <a:pt x="60" y="212"/>
                  </a:lnTo>
                  <a:lnTo>
                    <a:pt x="60" y="216"/>
                  </a:lnTo>
                  <a:lnTo>
                    <a:pt x="56" y="216"/>
                  </a:lnTo>
                  <a:lnTo>
                    <a:pt x="54" y="216"/>
                  </a:lnTo>
                  <a:lnTo>
                    <a:pt x="56" y="216"/>
                  </a:lnTo>
                  <a:lnTo>
                    <a:pt x="54" y="216"/>
                  </a:lnTo>
                  <a:lnTo>
                    <a:pt x="50" y="216"/>
                  </a:lnTo>
                  <a:lnTo>
                    <a:pt x="46" y="216"/>
                  </a:lnTo>
                  <a:lnTo>
                    <a:pt x="46" y="212"/>
                  </a:lnTo>
                  <a:lnTo>
                    <a:pt x="46" y="216"/>
                  </a:lnTo>
                  <a:lnTo>
                    <a:pt x="42" y="212"/>
                  </a:lnTo>
                  <a:lnTo>
                    <a:pt x="38" y="212"/>
                  </a:lnTo>
                  <a:lnTo>
                    <a:pt x="38" y="216"/>
                  </a:lnTo>
                  <a:lnTo>
                    <a:pt x="34" y="216"/>
                  </a:lnTo>
                  <a:lnTo>
                    <a:pt x="30" y="216"/>
                  </a:lnTo>
                  <a:lnTo>
                    <a:pt x="26" y="216"/>
                  </a:lnTo>
                  <a:lnTo>
                    <a:pt x="24" y="216"/>
                  </a:lnTo>
                  <a:lnTo>
                    <a:pt x="20" y="216"/>
                  </a:lnTo>
                  <a:lnTo>
                    <a:pt x="16" y="220"/>
                  </a:lnTo>
                  <a:lnTo>
                    <a:pt x="12" y="220"/>
                  </a:lnTo>
                  <a:lnTo>
                    <a:pt x="12" y="216"/>
                  </a:lnTo>
                  <a:lnTo>
                    <a:pt x="12" y="212"/>
                  </a:lnTo>
                  <a:lnTo>
                    <a:pt x="12" y="208"/>
                  </a:lnTo>
                  <a:lnTo>
                    <a:pt x="12" y="204"/>
                  </a:lnTo>
                  <a:lnTo>
                    <a:pt x="16" y="204"/>
                  </a:lnTo>
                  <a:lnTo>
                    <a:pt x="16" y="202"/>
                  </a:lnTo>
                  <a:lnTo>
                    <a:pt x="16" y="198"/>
                  </a:lnTo>
                  <a:lnTo>
                    <a:pt x="20" y="198"/>
                  </a:lnTo>
                  <a:lnTo>
                    <a:pt x="20" y="194"/>
                  </a:lnTo>
                  <a:lnTo>
                    <a:pt x="20" y="198"/>
                  </a:lnTo>
                  <a:lnTo>
                    <a:pt x="20" y="194"/>
                  </a:lnTo>
                  <a:lnTo>
                    <a:pt x="24" y="194"/>
                  </a:lnTo>
                  <a:lnTo>
                    <a:pt x="26" y="194"/>
                  </a:lnTo>
                  <a:lnTo>
                    <a:pt x="26" y="190"/>
                  </a:lnTo>
                  <a:lnTo>
                    <a:pt x="30" y="190"/>
                  </a:lnTo>
                  <a:lnTo>
                    <a:pt x="34" y="190"/>
                  </a:lnTo>
                  <a:lnTo>
                    <a:pt x="34" y="186"/>
                  </a:lnTo>
                  <a:lnTo>
                    <a:pt x="34" y="182"/>
                  </a:lnTo>
                  <a:lnTo>
                    <a:pt x="34" y="178"/>
                  </a:lnTo>
                  <a:lnTo>
                    <a:pt x="30" y="178"/>
                  </a:lnTo>
                  <a:lnTo>
                    <a:pt x="26" y="178"/>
                  </a:lnTo>
                  <a:lnTo>
                    <a:pt x="26" y="176"/>
                  </a:lnTo>
                  <a:lnTo>
                    <a:pt x="26" y="172"/>
                  </a:lnTo>
                  <a:lnTo>
                    <a:pt x="26" y="168"/>
                  </a:lnTo>
                  <a:lnTo>
                    <a:pt x="26" y="164"/>
                  </a:lnTo>
                  <a:lnTo>
                    <a:pt x="26" y="160"/>
                  </a:lnTo>
                  <a:lnTo>
                    <a:pt x="24" y="160"/>
                  </a:lnTo>
                  <a:lnTo>
                    <a:pt x="20" y="156"/>
                  </a:lnTo>
                  <a:lnTo>
                    <a:pt x="16" y="156"/>
                  </a:lnTo>
                  <a:lnTo>
                    <a:pt x="12" y="152"/>
                  </a:lnTo>
                  <a:lnTo>
                    <a:pt x="12" y="148"/>
                  </a:lnTo>
                  <a:lnTo>
                    <a:pt x="8" y="146"/>
                  </a:lnTo>
                  <a:lnTo>
                    <a:pt x="8" y="142"/>
                  </a:lnTo>
                  <a:lnTo>
                    <a:pt x="4" y="134"/>
                  </a:lnTo>
                  <a:lnTo>
                    <a:pt x="0" y="134"/>
                  </a:lnTo>
                  <a:lnTo>
                    <a:pt x="4" y="134"/>
                  </a:lnTo>
                  <a:lnTo>
                    <a:pt x="12" y="138"/>
                  </a:lnTo>
                  <a:lnTo>
                    <a:pt x="16" y="138"/>
                  </a:lnTo>
                  <a:lnTo>
                    <a:pt x="20" y="138"/>
                  </a:lnTo>
                  <a:lnTo>
                    <a:pt x="24" y="142"/>
                  </a:lnTo>
                  <a:lnTo>
                    <a:pt x="34" y="138"/>
                  </a:lnTo>
                  <a:lnTo>
                    <a:pt x="34" y="138"/>
                  </a:lnTo>
                  <a:lnTo>
                    <a:pt x="34" y="13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54" name="Freeform 47"/>
            <p:cNvSpPr>
              <a:spLocks noEditPoints="1"/>
            </p:cNvSpPr>
            <p:nvPr/>
          </p:nvSpPr>
          <p:spPr bwMode="auto">
            <a:xfrm>
              <a:off x="8032494" y="3969536"/>
              <a:ext cx="8792" cy="6538"/>
            </a:xfrm>
            <a:custGeom>
              <a:avLst/>
              <a:gdLst>
                <a:gd name="T0" fmla="*/ 8 w 14"/>
                <a:gd name="T1" fmla="*/ 0 h 10"/>
                <a:gd name="T2" fmla="*/ 8 w 14"/>
                <a:gd name="T3" fmla="*/ 0 h 10"/>
                <a:gd name="T4" fmla="*/ 8 w 14"/>
                <a:gd name="T5" fmla="*/ 0 h 10"/>
                <a:gd name="T6" fmla="*/ 8 w 14"/>
                <a:gd name="T7" fmla="*/ 0 h 10"/>
                <a:gd name="T8" fmla="*/ 8 w 14"/>
                <a:gd name="T9" fmla="*/ 0 h 10"/>
                <a:gd name="T10" fmla="*/ 8 w 14"/>
                <a:gd name="T11" fmla="*/ 0 h 10"/>
                <a:gd name="T12" fmla="*/ 8 w 14"/>
                <a:gd name="T13" fmla="*/ 0 h 10"/>
                <a:gd name="T14" fmla="*/ 8 w 14"/>
                <a:gd name="T15" fmla="*/ 0 h 10"/>
                <a:gd name="T16" fmla="*/ 8 w 14"/>
                <a:gd name="T17" fmla="*/ 0 h 10"/>
                <a:gd name="T18" fmla="*/ 8 w 14"/>
                <a:gd name="T19" fmla="*/ 0 h 10"/>
                <a:gd name="T20" fmla="*/ 14 w 14"/>
                <a:gd name="T21" fmla="*/ 6 h 10"/>
                <a:gd name="T22" fmla="*/ 14 w 14"/>
                <a:gd name="T23" fmla="*/ 6 h 10"/>
                <a:gd name="T24" fmla="*/ 14 w 14"/>
                <a:gd name="T25" fmla="*/ 6 h 10"/>
                <a:gd name="T26" fmla="*/ 14 w 14"/>
                <a:gd name="T27" fmla="*/ 6 h 10"/>
                <a:gd name="T28" fmla="*/ 14 w 14"/>
                <a:gd name="T29" fmla="*/ 6 h 10"/>
                <a:gd name="T30" fmla="*/ 14 w 14"/>
                <a:gd name="T31" fmla="*/ 6 h 10"/>
                <a:gd name="T32" fmla="*/ 14 w 14"/>
                <a:gd name="T33" fmla="*/ 6 h 10"/>
                <a:gd name="T34" fmla="*/ 0 w 14"/>
                <a:gd name="T35" fmla="*/ 10 h 10"/>
                <a:gd name="T36" fmla="*/ 0 w 14"/>
                <a:gd name="T37" fmla="*/ 10 h 10"/>
                <a:gd name="T38" fmla="*/ 0 w 14"/>
                <a:gd name="T39" fmla="*/ 10 h 10"/>
                <a:gd name="T40" fmla="*/ 0 w 14"/>
                <a:gd name="T41" fmla="*/ 10 h 10"/>
                <a:gd name="T42" fmla="*/ 0 w 14"/>
                <a:gd name="T43" fmla="*/ 10 h 10"/>
                <a:gd name="T44" fmla="*/ 0 w 14"/>
                <a:gd name="T4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 h="10">
                  <a:moveTo>
                    <a:pt x="8" y="0"/>
                  </a:moveTo>
                  <a:lnTo>
                    <a:pt x="8" y="0"/>
                  </a:lnTo>
                  <a:lnTo>
                    <a:pt x="8" y="0"/>
                  </a:lnTo>
                  <a:lnTo>
                    <a:pt x="8" y="0"/>
                  </a:lnTo>
                  <a:lnTo>
                    <a:pt x="8" y="0"/>
                  </a:lnTo>
                  <a:lnTo>
                    <a:pt x="8" y="0"/>
                  </a:lnTo>
                  <a:lnTo>
                    <a:pt x="8" y="0"/>
                  </a:lnTo>
                  <a:lnTo>
                    <a:pt x="8" y="0"/>
                  </a:lnTo>
                  <a:lnTo>
                    <a:pt x="8" y="0"/>
                  </a:lnTo>
                  <a:lnTo>
                    <a:pt x="8" y="0"/>
                  </a:lnTo>
                  <a:close/>
                  <a:moveTo>
                    <a:pt x="14" y="6"/>
                  </a:moveTo>
                  <a:lnTo>
                    <a:pt x="14" y="6"/>
                  </a:lnTo>
                  <a:lnTo>
                    <a:pt x="14" y="6"/>
                  </a:lnTo>
                  <a:lnTo>
                    <a:pt x="14" y="6"/>
                  </a:lnTo>
                  <a:lnTo>
                    <a:pt x="14" y="6"/>
                  </a:lnTo>
                  <a:lnTo>
                    <a:pt x="14" y="6"/>
                  </a:lnTo>
                  <a:lnTo>
                    <a:pt x="14" y="6"/>
                  </a:lnTo>
                  <a:close/>
                  <a:moveTo>
                    <a:pt x="0" y="10"/>
                  </a:moveTo>
                  <a:lnTo>
                    <a:pt x="0" y="10"/>
                  </a:lnTo>
                  <a:lnTo>
                    <a:pt x="0" y="10"/>
                  </a:lnTo>
                  <a:lnTo>
                    <a:pt x="0" y="10"/>
                  </a:lnTo>
                  <a:lnTo>
                    <a:pt x="0" y="10"/>
                  </a:lnTo>
                  <a:lnTo>
                    <a:pt x="0" y="1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55" name="Freeform 48"/>
            <p:cNvSpPr>
              <a:spLocks noEditPoints="1"/>
            </p:cNvSpPr>
            <p:nvPr/>
          </p:nvSpPr>
          <p:spPr bwMode="auto">
            <a:xfrm>
              <a:off x="8078965" y="3947307"/>
              <a:ext cx="84149" cy="155602"/>
            </a:xfrm>
            <a:custGeom>
              <a:avLst/>
              <a:gdLst>
                <a:gd name="T0" fmla="*/ 78 w 134"/>
                <a:gd name="T1" fmla="*/ 150 h 238"/>
                <a:gd name="T2" fmla="*/ 94 w 134"/>
                <a:gd name="T3" fmla="*/ 172 h 238"/>
                <a:gd name="T4" fmla="*/ 0 w 134"/>
                <a:gd name="T5" fmla="*/ 194 h 238"/>
                <a:gd name="T6" fmla="*/ 50 w 134"/>
                <a:gd name="T7" fmla="*/ 220 h 238"/>
                <a:gd name="T8" fmla="*/ 42 w 134"/>
                <a:gd name="T9" fmla="*/ 48 h 238"/>
                <a:gd name="T10" fmla="*/ 50 w 134"/>
                <a:gd name="T11" fmla="*/ 10 h 238"/>
                <a:gd name="T12" fmla="*/ 74 w 134"/>
                <a:gd name="T13" fmla="*/ 10 h 238"/>
                <a:gd name="T14" fmla="*/ 70 w 134"/>
                <a:gd name="T15" fmla="*/ 48 h 238"/>
                <a:gd name="T16" fmla="*/ 66 w 134"/>
                <a:gd name="T17" fmla="*/ 70 h 238"/>
                <a:gd name="T18" fmla="*/ 78 w 134"/>
                <a:gd name="T19" fmla="*/ 82 h 238"/>
                <a:gd name="T20" fmla="*/ 94 w 134"/>
                <a:gd name="T21" fmla="*/ 90 h 238"/>
                <a:gd name="T22" fmla="*/ 100 w 134"/>
                <a:gd name="T23" fmla="*/ 100 h 238"/>
                <a:gd name="T24" fmla="*/ 90 w 134"/>
                <a:gd name="T25" fmla="*/ 100 h 238"/>
                <a:gd name="T26" fmla="*/ 78 w 134"/>
                <a:gd name="T27" fmla="*/ 100 h 238"/>
                <a:gd name="T28" fmla="*/ 52 w 134"/>
                <a:gd name="T29" fmla="*/ 90 h 238"/>
                <a:gd name="T30" fmla="*/ 46 w 134"/>
                <a:gd name="T31" fmla="*/ 74 h 238"/>
                <a:gd name="T32" fmla="*/ 70 w 134"/>
                <a:gd name="T33" fmla="*/ 70 h 238"/>
                <a:gd name="T34" fmla="*/ 74 w 134"/>
                <a:gd name="T35" fmla="*/ 70 h 238"/>
                <a:gd name="T36" fmla="*/ 100 w 134"/>
                <a:gd name="T37" fmla="*/ 86 h 238"/>
                <a:gd name="T38" fmla="*/ 66 w 134"/>
                <a:gd name="T39" fmla="*/ 96 h 238"/>
                <a:gd name="T40" fmla="*/ 50 w 134"/>
                <a:gd name="T41" fmla="*/ 100 h 238"/>
                <a:gd name="T42" fmla="*/ 60 w 134"/>
                <a:gd name="T43" fmla="*/ 116 h 238"/>
                <a:gd name="T44" fmla="*/ 70 w 134"/>
                <a:gd name="T45" fmla="*/ 120 h 238"/>
                <a:gd name="T46" fmla="*/ 94 w 134"/>
                <a:gd name="T47" fmla="*/ 108 h 238"/>
                <a:gd name="T48" fmla="*/ 100 w 134"/>
                <a:gd name="T49" fmla="*/ 124 h 238"/>
                <a:gd name="T50" fmla="*/ 104 w 134"/>
                <a:gd name="T51" fmla="*/ 116 h 238"/>
                <a:gd name="T52" fmla="*/ 122 w 134"/>
                <a:gd name="T53" fmla="*/ 134 h 238"/>
                <a:gd name="T54" fmla="*/ 108 w 134"/>
                <a:gd name="T55" fmla="*/ 120 h 238"/>
                <a:gd name="T56" fmla="*/ 42 w 134"/>
                <a:gd name="T57" fmla="*/ 116 h 238"/>
                <a:gd name="T58" fmla="*/ 46 w 134"/>
                <a:gd name="T59" fmla="*/ 126 h 238"/>
                <a:gd name="T60" fmla="*/ 70 w 134"/>
                <a:gd name="T61" fmla="*/ 146 h 238"/>
                <a:gd name="T62" fmla="*/ 82 w 134"/>
                <a:gd name="T63" fmla="*/ 130 h 238"/>
                <a:gd name="T64" fmla="*/ 104 w 134"/>
                <a:gd name="T65" fmla="*/ 130 h 238"/>
                <a:gd name="T66" fmla="*/ 108 w 134"/>
                <a:gd name="T67" fmla="*/ 134 h 238"/>
                <a:gd name="T68" fmla="*/ 112 w 134"/>
                <a:gd name="T69" fmla="*/ 152 h 238"/>
                <a:gd name="T70" fmla="*/ 38 w 134"/>
                <a:gd name="T71" fmla="*/ 150 h 238"/>
                <a:gd name="T72" fmla="*/ 12 w 134"/>
                <a:gd name="T73" fmla="*/ 176 h 238"/>
                <a:gd name="T74" fmla="*/ 26 w 134"/>
                <a:gd name="T75" fmla="*/ 152 h 238"/>
                <a:gd name="T76" fmla="*/ 34 w 134"/>
                <a:gd name="T77" fmla="*/ 134 h 238"/>
                <a:gd name="T78" fmla="*/ 94 w 134"/>
                <a:gd name="T79" fmla="*/ 152 h 238"/>
                <a:gd name="T80" fmla="*/ 96 w 134"/>
                <a:gd name="T81" fmla="*/ 152 h 238"/>
                <a:gd name="T82" fmla="*/ 90 w 134"/>
                <a:gd name="T83" fmla="*/ 156 h 238"/>
                <a:gd name="T84" fmla="*/ 74 w 134"/>
                <a:gd name="T85" fmla="*/ 160 h 238"/>
                <a:gd name="T86" fmla="*/ 90 w 134"/>
                <a:gd name="T87" fmla="*/ 146 h 238"/>
                <a:gd name="T88" fmla="*/ 108 w 134"/>
                <a:gd name="T89" fmla="*/ 152 h 238"/>
                <a:gd name="T90" fmla="*/ 116 w 134"/>
                <a:gd name="T91" fmla="*/ 156 h 238"/>
                <a:gd name="T92" fmla="*/ 74 w 134"/>
                <a:gd name="T93" fmla="*/ 202 h 238"/>
                <a:gd name="T94" fmla="*/ 86 w 134"/>
                <a:gd name="T95" fmla="*/ 186 h 238"/>
                <a:gd name="T96" fmla="*/ 100 w 134"/>
                <a:gd name="T97" fmla="*/ 186 h 238"/>
                <a:gd name="T98" fmla="*/ 116 w 134"/>
                <a:gd name="T99" fmla="*/ 176 h 238"/>
                <a:gd name="T100" fmla="*/ 130 w 134"/>
                <a:gd name="T101" fmla="*/ 172 h 238"/>
                <a:gd name="T102" fmla="*/ 134 w 134"/>
                <a:gd name="T103" fmla="*/ 202 h 238"/>
                <a:gd name="T104" fmla="*/ 126 w 134"/>
                <a:gd name="T105" fmla="*/ 202 h 238"/>
                <a:gd name="T106" fmla="*/ 120 w 134"/>
                <a:gd name="T107" fmla="*/ 232 h 238"/>
                <a:gd name="T108" fmla="*/ 100 w 134"/>
                <a:gd name="T109" fmla="*/ 208 h 238"/>
                <a:gd name="T110" fmla="*/ 94 w 134"/>
                <a:gd name="T111" fmla="*/ 194 h 238"/>
                <a:gd name="T112" fmla="*/ 82 w 134"/>
                <a:gd name="T113" fmla="*/ 198 h 238"/>
                <a:gd name="T114" fmla="*/ 108 w 134"/>
                <a:gd name="T115" fmla="*/ 172 h 238"/>
                <a:gd name="T116" fmla="*/ 66 w 134"/>
                <a:gd name="T117" fmla="*/ 212 h 238"/>
                <a:gd name="T118" fmla="*/ 60 w 134"/>
                <a:gd name="T119"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238">
                  <a:moveTo>
                    <a:pt x="112" y="130"/>
                  </a:moveTo>
                  <a:lnTo>
                    <a:pt x="112" y="126"/>
                  </a:lnTo>
                  <a:lnTo>
                    <a:pt x="108" y="126"/>
                  </a:lnTo>
                  <a:lnTo>
                    <a:pt x="112" y="126"/>
                  </a:lnTo>
                  <a:lnTo>
                    <a:pt x="112" y="130"/>
                  </a:lnTo>
                  <a:lnTo>
                    <a:pt x="112" y="130"/>
                  </a:lnTo>
                  <a:lnTo>
                    <a:pt x="112" y="130"/>
                  </a:lnTo>
                  <a:close/>
                  <a:moveTo>
                    <a:pt x="78" y="150"/>
                  </a:moveTo>
                  <a:lnTo>
                    <a:pt x="78" y="146"/>
                  </a:lnTo>
                  <a:lnTo>
                    <a:pt x="78" y="142"/>
                  </a:lnTo>
                  <a:lnTo>
                    <a:pt x="82" y="142"/>
                  </a:lnTo>
                  <a:lnTo>
                    <a:pt x="82" y="146"/>
                  </a:lnTo>
                  <a:lnTo>
                    <a:pt x="78" y="150"/>
                  </a:lnTo>
                  <a:lnTo>
                    <a:pt x="78" y="150"/>
                  </a:lnTo>
                  <a:lnTo>
                    <a:pt x="78" y="150"/>
                  </a:lnTo>
                  <a:close/>
                  <a:moveTo>
                    <a:pt x="42" y="150"/>
                  </a:moveTo>
                  <a:lnTo>
                    <a:pt x="42" y="146"/>
                  </a:lnTo>
                  <a:lnTo>
                    <a:pt x="38" y="146"/>
                  </a:lnTo>
                  <a:lnTo>
                    <a:pt x="42" y="146"/>
                  </a:lnTo>
                  <a:lnTo>
                    <a:pt x="42" y="150"/>
                  </a:lnTo>
                  <a:lnTo>
                    <a:pt x="42" y="150"/>
                  </a:lnTo>
                  <a:lnTo>
                    <a:pt x="42" y="150"/>
                  </a:lnTo>
                  <a:close/>
                  <a:moveTo>
                    <a:pt x="94" y="172"/>
                  </a:moveTo>
                  <a:lnTo>
                    <a:pt x="94" y="168"/>
                  </a:lnTo>
                  <a:lnTo>
                    <a:pt x="94" y="172"/>
                  </a:lnTo>
                  <a:lnTo>
                    <a:pt x="94" y="172"/>
                  </a:lnTo>
                  <a:lnTo>
                    <a:pt x="94" y="172"/>
                  </a:lnTo>
                  <a:close/>
                  <a:moveTo>
                    <a:pt x="4" y="186"/>
                  </a:moveTo>
                  <a:lnTo>
                    <a:pt x="4" y="182"/>
                  </a:lnTo>
                  <a:lnTo>
                    <a:pt x="4" y="186"/>
                  </a:lnTo>
                  <a:lnTo>
                    <a:pt x="4" y="186"/>
                  </a:lnTo>
                  <a:lnTo>
                    <a:pt x="4" y="186"/>
                  </a:lnTo>
                  <a:close/>
                  <a:moveTo>
                    <a:pt x="0" y="194"/>
                  </a:moveTo>
                  <a:lnTo>
                    <a:pt x="0" y="190"/>
                  </a:lnTo>
                  <a:lnTo>
                    <a:pt x="0" y="186"/>
                  </a:lnTo>
                  <a:lnTo>
                    <a:pt x="0" y="190"/>
                  </a:lnTo>
                  <a:lnTo>
                    <a:pt x="0" y="194"/>
                  </a:lnTo>
                  <a:lnTo>
                    <a:pt x="0" y="194"/>
                  </a:lnTo>
                  <a:lnTo>
                    <a:pt x="0" y="194"/>
                  </a:lnTo>
                  <a:close/>
                  <a:moveTo>
                    <a:pt x="82" y="202"/>
                  </a:moveTo>
                  <a:lnTo>
                    <a:pt x="82" y="198"/>
                  </a:lnTo>
                  <a:lnTo>
                    <a:pt x="86" y="198"/>
                  </a:lnTo>
                  <a:lnTo>
                    <a:pt x="86" y="202"/>
                  </a:lnTo>
                  <a:lnTo>
                    <a:pt x="82" y="202"/>
                  </a:lnTo>
                  <a:lnTo>
                    <a:pt x="82" y="202"/>
                  </a:lnTo>
                  <a:lnTo>
                    <a:pt x="82" y="202"/>
                  </a:lnTo>
                  <a:close/>
                  <a:moveTo>
                    <a:pt x="50" y="220"/>
                  </a:moveTo>
                  <a:lnTo>
                    <a:pt x="50" y="216"/>
                  </a:lnTo>
                  <a:lnTo>
                    <a:pt x="52" y="216"/>
                  </a:lnTo>
                  <a:lnTo>
                    <a:pt x="52" y="220"/>
                  </a:lnTo>
                  <a:lnTo>
                    <a:pt x="50" y="220"/>
                  </a:lnTo>
                  <a:lnTo>
                    <a:pt x="50" y="220"/>
                  </a:lnTo>
                  <a:lnTo>
                    <a:pt x="50" y="220"/>
                  </a:lnTo>
                  <a:close/>
                  <a:moveTo>
                    <a:pt x="66" y="4"/>
                  </a:moveTo>
                  <a:lnTo>
                    <a:pt x="66" y="0"/>
                  </a:lnTo>
                  <a:lnTo>
                    <a:pt x="70" y="0"/>
                  </a:lnTo>
                  <a:lnTo>
                    <a:pt x="66" y="4"/>
                  </a:lnTo>
                  <a:lnTo>
                    <a:pt x="66" y="4"/>
                  </a:lnTo>
                  <a:lnTo>
                    <a:pt x="66" y="4"/>
                  </a:lnTo>
                  <a:close/>
                  <a:moveTo>
                    <a:pt x="42" y="56"/>
                  </a:moveTo>
                  <a:lnTo>
                    <a:pt x="42" y="52"/>
                  </a:lnTo>
                  <a:lnTo>
                    <a:pt x="38" y="52"/>
                  </a:lnTo>
                  <a:lnTo>
                    <a:pt x="38" y="48"/>
                  </a:lnTo>
                  <a:lnTo>
                    <a:pt x="42" y="44"/>
                  </a:lnTo>
                  <a:lnTo>
                    <a:pt x="42" y="48"/>
                  </a:lnTo>
                  <a:lnTo>
                    <a:pt x="46" y="48"/>
                  </a:lnTo>
                  <a:lnTo>
                    <a:pt x="46" y="52"/>
                  </a:lnTo>
                  <a:lnTo>
                    <a:pt x="50" y="48"/>
                  </a:lnTo>
                  <a:lnTo>
                    <a:pt x="50" y="44"/>
                  </a:lnTo>
                  <a:lnTo>
                    <a:pt x="50" y="40"/>
                  </a:lnTo>
                  <a:lnTo>
                    <a:pt x="50" y="38"/>
                  </a:lnTo>
                  <a:lnTo>
                    <a:pt x="50" y="34"/>
                  </a:lnTo>
                  <a:lnTo>
                    <a:pt x="50" y="30"/>
                  </a:lnTo>
                  <a:lnTo>
                    <a:pt x="50" y="26"/>
                  </a:lnTo>
                  <a:lnTo>
                    <a:pt x="50" y="22"/>
                  </a:lnTo>
                  <a:lnTo>
                    <a:pt x="50" y="18"/>
                  </a:lnTo>
                  <a:lnTo>
                    <a:pt x="50" y="14"/>
                  </a:lnTo>
                  <a:lnTo>
                    <a:pt x="50" y="10"/>
                  </a:lnTo>
                  <a:lnTo>
                    <a:pt x="52" y="10"/>
                  </a:lnTo>
                  <a:lnTo>
                    <a:pt x="52" y="8"/>
                  </a:lnTo>
                  <a:lnTo>
                    <a:pt x="56" y="4"/>
                  </a:lnTo>
                  <a:lnTo>
                    <a:pt x="56" y="8"/>
                  </a:lnTo>
                  <a:lnTo>
                    <a:pt x="60" y="4"/>
                  </a:lnTo>
                  <a:lnTo>
                    <a:pt x="60" y="8"/>
                  </a:lnTo>
                  <a:lnTo>
                    <a:pt x="64" y="8"/>
                  </a:lnTo>
                  <a:lnTo>
                    <a:pt x="64" y="10"/>
                  </a:lnTo>
                  <a:lnTo>
                    <a:pt x="66" y="10"/>
                  </a:lnTo>
                  <a:lnTo>
                    <a:pt x="70" y="10"/>
                  </a:lnTo>
                  <a:lnTo>
                    <a:pt x="70" y="8"/>
                  </a:lnTo>
                  <a:lnTo>
                    <a:pt x="74" y="8"/>
                  </a:lnTo>
                  <a:lnTo>
                    <a:pt x="74" y="10"/>
                  </a:lnTo>
                  <a:lnTo>
                    <a:pt x="74" y="14"/>
                  </a:lnTo>
                  <a:lnTo>
                    <a:pt x="74" y="18"/>
                  </a:lnTo>
                  <a:lnTo>
                    <a:pt x="74" y="22"/>
                  </a:lnTo>
                  <a:lnTo>
                    <a:pt x="74" y="26"/>
                  </a:lnTo>
                  <a:lnTo>
                    <a:pt x="78" y="30"/>
                  </a:lnTo>
                  <a:lnTo>
                    <a:pt x="78" y="34"/>
                  </a:lnTo>
                  <a:lnTo>
                    <a:pt x="78" y="38"/>
                  </a:lnTo>
                  <a:lnTo>
                    <a:pt x="74" y="40"/>
                  </a:lnTo>
                  <a:lnTo>
                    <a:pt x="74" y="44"/>
                  </a:lnTo>
                  <a:lnTo>
                    <a:pt x="74" y="48"/>
                  </a:lnTo>
                  <a:lnTo>
                    <a:pt x="70" y="48"/>
                  </a:lnTo>
                  <a:lnTo>
                    <a:pt x="70" y="52"/>
                  </a:lnTo>
                  <a:lnTo>
                    <a:pt x="70" y="48"/>
                  </a:lnTo>
                  <a:lnTo>
                    <a:pt x="74" y="48"/>
                  </a:lnTo>
                  <a:lnTo>
                    <a:pt x="70" y="48"/>
                  </a:lnTo>
                  <a:lnTo>
                    <a:pt x="66" y="48"/>
                  </a:lnTo>
                  <a:lnTo>
                    <a:pt x="66" y="52"/>
                  </a:lnTo>
                  <a:lnTo>
                    <a:pt x="64" y="52"/>
                  </a:lnTo>
                  <a:lnTo>
                    <a:pt x="64" y="56"/>
                  </a:lnTo>
                  <a:lnTo>
                    <a:pt x="66" y="56"/>
                  </a:lnTo>
                  <a:lnTo>
                    <a:pt x="64" y="56"/>
                  </a:lnTo>
                  <a:lnTo>
                    <a:pt x="64" y="60"/>
                  </a:lnTo>
                  <a:lnTo>
                    <a:pt x="64" y="64"/>
                  </a:lnTo>
                  <a:lnTo>
                    <a:pt x="64" y="66"/>
                  </a:lnTo>
                  <a:lnTo>
                    <a:pt x="64" y="70"/>
                  </a:lnTo>
                  <a:lnTo>
                    <a:pt x="66" y="70"/>
                  </a:lnTo>
                  <a:lnTo>
                    <a:pt x="66" y="74"/>
                  </a:lnTo>
                  <a:lnTo>
                    <a:pt x="64" y="74"/>
                  </a:lnTo>
                  <a:lnTo>
                    <a:pt x="66" y="74"/>
                  </a:lnTo>
                  <a:lnTo>
                    <a:pt x="66" y="78"/>
                  </a:lnTo>
                  <a:lnTo>
                    <a:pt x="66" y="82"/>
                  </a:lnTo>
                  <a:lnTo>
                    <a:pt x="70" y="86"/>
                  </a:lnTo>
                  <a:lnTo>
                    <a:pt x="74" y="86"/>
                  </a:lnTo>
                  <a:lnTo>
                    <a:pt x="74" y="90"/>
                  </a:lnTo>
                  <a:lnTo>
                    <a:pt x="74" y="86"/>
                  </a:lnTo>
                  <a:lnTo>
                    <a:pt x="74" y="82"/>
                  </a:lnTo>
                  <a:lnTo>
                    <a:pt x="74" y="86"/>
                  </a:lnTo>
                  <a:lnTo>
                    <a:pt x="74" y="82"/>
                  </a:lnTo>
                  <a:lnTo>
                    <a:pt x="78" y="82"/>
                  </a:lnTo>
                  <a:lnTo>
                    <a:pt x="78" y="78"/>
                  </a:lnTo>
                  <a:lnTo>
                    <a:pt x="78" y="82"/>
                  </a:lnTo>
                  <a:lnTo>
                    <a:pt x="82" y="78"/>
                  </a:lnTo>
                  <a:lnTo>
                    <a:pt x="82" y="82"/>
                  </a:lnTo>
                  <a:lnTo>
                    <a:pt x="86" y="82"/>
                  </a:lnTo>
                  <a:lnTo>
                    <a:pt x="86" y="86"/>
                  </a:lnTo>
                  <a:lnTo>
                    <a:pt x="86" y="90"/>
                  </a:lnTo>
                  <a:lnTo>
                    <a:pt x="86" y="94"/>
                  </a:lnTo>
                  <a:lnTo>
                    <a:pt x="86" y="90"/>
                  </a:lnTo>
                  <a:lnTo>
                    <a:pt x="90" y="90"/>
                  </a:lnTo>
                  <a:lnTo>
                    <a:pt x="90" y="86"/>
                  </a:lnTo>
                  <a:lnTo>
                    <a:pt x="94" y="86"/>
                  </a:lnTo>
                  <a:lnTo>
                    <a:pt x="94" y="90"/>
                  </a:lnTo>
                  <a:lnTo>
                    <a:pt x="96" y="90"/>
                  </a:lnTo>
                  <a:lnTo>
                    <a:pt x="96" y="94"/>
                  </a:lnTo>
                  <a:lnTo>
                    <a:pt x="96" y="90"/>
                  </a:lnTo>
                  <a:lnTo>
                    <a:pt x="94" y="90"/>
                  </a:lnTo>
                  <a:lnTo>
                    <a:pt x="94" y="94"/>
                  </a:lnTo>
                  <a:lnTo>
                    <a:pt x="94" y="96"/>
                  </a:lnTo>
                  <a:lnTo>
                    <a:pt x="96" y="96"/>
                  </a:lnTo>
                  <a:lnTo>
                    <a:pt x="96" y="100"/>
                  </a:lnTo>
                  <a:lnTo>
                    <a:pt x="96" y="96"/>
                  </a:lnTo>
                  <a:lnTo>
                    <a:pt x="96" y="100"/>
                  </a:lnTo>
                  <a:lnTo>
                    <a:pt x="100" y="100"/>
                  </a:lnTo>
                  <a:lnTo>
                    <a:pt x="100" y="104"/>
                  </a:lnTo>
                  <a:lnTo>
                    <a:pt x="100" y="100"/>
                  </a:lnTo>
                  <a:lnTo>
                    <a:pt x="100" y="104"/>
                  </a:lnTo>
                  <a:lnTo>
                    <a:pt x="100" y="108"/>
                  </a:lnTo>
                  <a:lnTo>
                    <a:pt x="100" y="112"/>
                  </a:lnTo>
                  <a:lnTo>
                    <a:pt x="96" y="112"/>
                  </a:lnTo>
                  <a:lnTo>
                    <a:pt x="96" y="108"/>
                  </a:lnTo>
                  <a:lnTo>
                    <a:pt x="96" y="104"/>
                  </a:lnTo>
                  <a:lnTo>
                    <a:pt x="100" y="104"/>
                  </a:lnTo>
                  <a:lnTo>
                    <a:pt x="96" y="104"/>
                  </a:lnTo>
                  <a:lnTo>
                    <a:pt x="94" y="104"/>
                  </a:lnTo>
                  <a:lnTo>
                    <a:pt x="90" y="104"/>
                  </a:lnTo>
                  <a:lnTo>
                    <a:pt x="90" y="100"/>
                  </a:lnTo>
                  <a:lnTo>
                    <a:pt x="90" y="104"/>
                  </a:lnTo>
                  <a:lnTo>
                    <a:pt x="90" y="100"/>
                  </a:lnTo>
                  <a:lnTo>
                    <a:pt x="90" y="96"/>
                  </a:lnTo>
                  <a:lnTo>
                    <a:pt x="86" y="96"/>
                  </a:lnTo>
                  <a:lnTo>
                    <a:pt x="86" y="94"/>
                  </a:lnTo>
                  <a:lnTo>
                    <a:pt x="82" y="94"/>
                  </a:lnTo>
                  <a:lnTo>
                    <a:pt x="82" y="90"/>
                  </a:lnTo>
                  <a:lnTo>
                    <a:pt x="78" y="90"/>
                  </a:lnTo>
                  <a:lnTo>
                    <a:pt x="78" y="86"/>
                  </a:lnTo>
                  <a:lnTo>
                    <a:pt x="78" y="90"/>
                  </a:lnTo>
                  <a:lnTo>
                    <a:pt x="78" y="94"/>
                  </a:lnTo>
                  <a:lnTo>
                    <a:pt x="78" y="96"/>
                  </a:lnTo>
                  <a:lnTo>
                    <a:pt x="82" y="96"/>
                  </a:lnTo>
                  <a:lnTo>
                    <a:pt x="82" y="100"/>
                  </a:lnTo>
                  <a:lnTo>
                    <a:pt x="78" y="100"/>
                  </a:lnTo>
                  <a:lnTo>
                    <a:pt x="78" y="96"/>
                  </a:lnTo>
                  <a:lnTo>
                    <a:pt x="78" y="94"/>
                  </a:lnTo>
                  <a:lnTo>
                    <a:pt x="74" y="94"/>
                  </a:lnTo>
                  <a:lnTo>
                    <a:pt x="70" y="90"/>
                  </a:lnTo>
                  <a:lnTo>
                    <a:pt x="66" y="90"/>
                  </a:lnTo>
                  <a:lnTo>
                    <a:pt x="66" y="86"/>
                  </a:lnTo>
                  <a:lnTo>
                    <a:pt x="64" y="90"/>
                  </a:lnTo>
                  <a:lnTo>
                    <a:pt x="64" y="94"/>
                  </a:lnTo>
                  <a:lnTo>
                    <a:pt x="60" y="94"/>
                  </a:lnTo>
                  <a:lnTo>
                    <a:pt x="56" y="94"/>
                  </a:lnTo>
                  <a:lnTo>
                    <a:pt x="56" y="90"/>
                  </a:lnTo>
                  <a:lnTo>
                    <a:pt x="52" y="86"/>
                  </a:lnTo>
                  <a:lnTo>
                    <a:pt x="52" y="90"/>
                  </a:lnTo>
                  <a:lnTo>
                    <a:pt x="52" y="86"/>
                  </a:lnTo>
                  <a:lnTo>
                    <a:pt x="52" y="82"/>
                  </a:lnTo>
                  <a:lnTo>
                    <a:pt x="56" y="78"/>
                  </a:lnTo>
                  <a:lnTo>
                    <a:pt x="56" y="74"/>
                  </a:lnTo>
                  <a:lnTo>
                    <a:pt x="52" y="74"/>
                  </a:lnTo>
                  <a:lnTo>
                    <a:pt x="52" y="70"/>
                  </a:lnTo>
                  <a:lnTo>
                    <a:pt x="50" y="70"/>
                  </a:lnTo>
                  <a:lnTo>
                    <a:pt x="50" y="74"/>
                  </a:lnTo>
                  <a:lnTo>
                    <a:pt x="52" y="74"/>
                  </a:lnTo>
                  <a:lnTo>
                    <a:pt x="52" y="78"/>
                  </a:lnTo>
                  <a:lnTo>
                    <a:pt x="50" y="78"/>
                  </a:lnTo>
                  <a:lnTo>
                    <a:pt x="50" y="74"/>
                  </a:lnTo>
                  <a:lnTo>
                    <a:pt x="46" y="74"/>
                  </a:lnTo>
                  <a:lnTo>
                    <a:pt x="46" y="70"/>
                  </a:lnTo>
                  <a:lnTo>
                    <a:pt x="50" y="70"/>
                  </a:lnTo>
                  <a:lnTo>
                    <a:pt x="46" y="70"/>
                  </a:lnTo>
                  <a:lnTo>
                    <a:pt x="46" y="74"/>
                  </a:lnTo>
                  <a:lnTo>
                    <a:pt x="46" y="70"/>
                  </a:lnTo>
                  <a:lnTo>
                    <a:pt x="46" y="66"/>
                  </a:lnTo>
                  <a:lnTo>
                    <a:pt x="42" y="64"/>
                  </a:lnTo>
                  <a:lnTo>
                    <a:pt x="42" y="60"/>
                  </a:lnTo>
                  <a:lnTo>
                    <a:pt x="42" y="56"/>
                  </a:lnTo>
                  <a:lnTo>
                    <a:pt x="42" y="56"/>
                  </a:lnTo>
                  <a:lnTo>
                    <a:pt x="42" y="56"/>
                  </a:lnTo>
                  <a:close/>
                  <a:moveTo>
                    <a:pt x="70" y="74"/>
                  </a:moveTo>
                  <a:lnTo>
                    <a:pt x="70" y="70"/>
                  </a:lnTo>
                  <a:lnTo>
                    <a:pt x="66" y="70"/>
                  </a:lnTo>
                  <a:lnTo>
                    <a:pt x="66" y="66"/>
                  </a:lnTo>
                  <a:lnTo>
                    <a:pt x="70" y="66"/>
                  </a:lnTo>
                  <a:lnTo>
                    <a:pt x="70" y="70"/>
                  </a:lnTo>
                  <a:lnTo>
                    <a:pt x="70" y="66"/>
                  </a:lnTo>
                  <a:lnTo>
                    <a:pt x="70" y="70"/>
                  </a:lnTo>
                  <a:lnTo>
                    <a:pt x="70" y="74"/>
                  </a:lnTo>
                  <a:lnTo>
                    <a:pt x="70" y="74"/>
                  </a:lnTo>
                  <a:lnTo>
                    <a:pt x="70" y="74"/>
                  </a:lnTo>
                  <a:close/>
                  <a:moveTo>
                    <a:pt x="74" y="74"/>
                  </a:moveTo>
                  <a:lnTo>
                    <a:pt x="74" y="70"/>
                  </a:lnTo>
                  <a:lnTo>
                    <a:pt x="70" y="70"/>
                  </a:lnTo>
                  <a:lnTo>
                    <a:pt x="74" y="70"/>
                  </a:lnTo>
                  <a:lnTo>
                    <a:pt x="74" y="74"/>
                  </a:lnTo>
                  <a:lnTo>
                    <a:pt x="74" y="74"/>
                  </a:lnTo>
                  <a:lnTo>
                    <a:pt x="74" y="74"/>
                  </a:lnTo>
                  <a:close/>
                  <a:moveTo>
                    <a:pt x="74" y="86"/>
                  </a:moveTo>
                  <a:lnTo>
                    <a:pt x="70" y="86"/>
                  </a:lnTo>
                  <a:lnTo>
                    <a:pt x="70" y="82"/>
                  </a:lnTo>
                  <a:lnTo>
                    <a:pt x="70" y="86"/>
                  </a:lnTo>
                  <a:lnTo>
                    <a:pt x="74" y="86"/>
                  </a:lnTo>
                  <a:lnTo>
                    <a:pt x="74" y="86"/>
                  </a:lnTo>
                  <a:lnTo>
                    <a:pt x="74" y="86"/>
                  </a:lnTo>
                  <a:close/>
                  <a:moveTo>
                    <a:pt x="100" y="94"/>
                  </a:moveTo>
                  <a:lnTo>
                    <a:pt x="100" y="90"/>
                  </a:lnTo>
                  <a:lnTo>
                    <a:pt x="100" y="86"/>
                  </a:lnTo>
                  <a:lnTo>
                    <a:pt x="104" y="86"/>
                  </a:lnTo>
                  <a:lnTo>
                    <a:pt x="104" y="90"/>
                  </a:lnTo>
                  <a:lnTo>
                    <a:pt x="104" y="94"/>
                  </a:lnTo>
                  <a:lnTo>
                    <a:pt x="100" y="94"/>
                  </a:lnTo>
                  <a:lnTo>
                    <a:pt x="100" y="94"/>
                  </a:lnTo>
                  <a:lnTo>
                    <a:pt x="100" y="94"/>
                  </a:lnTo>
                  <a:close/>
                  <a:moveTo>
                    <a:pt x="46" y="94"/>
                  </a:moveTo>
                  <a:lnTo>
                    <a:pt x="46" y="90"/>
                  </a:lnTo>
                  <a:lnTo>
                    <a:pt x="46" y="94"/>
                  </a:lnTo>
                  <a:lnTo>
                    <a:pt x="46" y="94"/>
                  </a:lnTo>
                  <a:lnTo>
                    <a:pt x="46" y="94"/>
                  </a:lnTo>
                  <a:close/>
                  <a:moveTo>
                    <a:pt x="70" y="100"/>
                  </a:moveTo>
                  <a:lnTo>
                    <a:pt x="66" y="96"/>
                  </a:lnTo>
                  <a:lnTo>
                    <a:pt x="70" y="94"/>
                  </a:lnTo>
                  <a:lnTo>
                    <a:pt x="70" y="96"/>
                  </a:lnTo>
                  <a:lnTo>
                    <a:pt x="74" y="96"/>
                  </a:lnTo>
                  <a:lnTo>
                    <a:pt x="70" y="100"/>
                  </a:lnTo>
                  <a:lnTo>
                    <a:pt x="70" y="100"/>
                  </a:lnTo>
                  <a:lnTo>
                    <a:pt x="70" y="100"/>
                  </a:lnTo>
                  <a:close/>
                  <a:moveTo>
                    <a:pt x="56" y="116"/>
                  </a:moveTo>
                  <a:lnTo>
                    <a:pt x="56" y="112"/>
                  </a:lnTo>
                  <a:lnTo>
                    <a:pt x="56" y="108"/>
                  </a:lnTo>
                  <a:lnTo>
                    <a:pt x="52" y="108"/>
                  </a:lnTo>
                  <a:lnTo>
                    <a:pt x="52" y="104"/>
                  </a:lnTo>
                  <a:lnTo>
                    <a:pt x="52" y="100"/>
                  </a:lnTo>
                  <a:lnTo>
                    <a:pt x="50" y="100"/>
                  </a:lnTo>
                  <a:lnTo>
                    <a:pt x="50" y="96"/>
                  </a:lnTo>
                  <a:lnTo>
                    <a:pt x="50" y="94"/>
                  </a:lnTo>
                  <a:lnTo>
                    <a:pt x="52" y="94"/>
                  </a:lnTo>
                  <a:lnTo>
                    <a:pt x="52" y="96"/>
                  </a:lnTo>
                  <a:lnTo>
                    <a:pt x="56" y="94"/>
                  </a:lnTo>
                  <a:lnTo>
                    <a:pt x="56" y="96"/>
                  </a:lnTo>
                  <a:lnTo>
                    <a:pt x="60" y="96"/>
                  </a:lnTo>
                  <a:lnTo>
                    <a:pt x="64" y="100"/>
                  </a:lnTo>
                  <a:lnTo>
                    <a:pt x="64" y="104"/>
                  </a:lnTo>
                  <a:lnTo>
                    <a:pt x="64" y="108"/>
                  </a:lnTo>
                  <a:lnTo>
                    <a:pt x="64" y="112"/>
                  </a:lnTo>
                  <a:lnTo>
                    <a:pt x="64" y="116"/>
                  </a:lnTo>
                  <a:lnTo>
                    <a:pt x="60" y="116"/>
                  </a:lnTo>
                  <a:lnTo>
                    <a:pt x="56" y="116"/>
                  </a:lnTo>
                  <a:lnTo>
                    <a:pt x="56" y="116"/>
                  </a:lnTo>
                  <a:lnTo>
                    <a:pt x="56" y="116"/>
                  </a:lnTo>
                  <a:close/>
                  <a:moveTo>
                    <a:pt x="90" y="108"/>
                  </a:moveTo>
                  <a:lnTo>
                    <a:pt x="90" y="104"/>
                  </a:lnTo>
                  <a:lnTo>
                    <a:pt x="86" y="104"/>
                  </a:lnTo>
                  <a:lnTo>
                    <a:pt x="86" y="100"/>
                  </a:lnTo>
                  <a:lnTo>
                    <a:pt x="86" y="104"/>
                  </a:lnTo>
                  <a:lnTo>
                    <a:pt x="90" y="104"/>
                  </a:lnTo>
                  <a:lnTo>
                    <a:pt x="90" y="108"/>
                  </a:lnTo>
                  <a:lnTo>
                    <a:pt x="90" y="108"/>
                  </a:lnTo>
                  <a:lnTo>
                    <a:pt x="90" y="108"/>
                  </a:lnTo>
                  <a:close/>
                  <a:moveTo>
                    <a:pt x="70" y="120"/>
                  </a:moveTo>
                  <a:lnTo>
                    <a:pt x="70" y="116"/>
                  </a:lnTo>
                  <a:lnTo>
                    <a:pt x="70" y="112"/>
                  </a:lnTo>
                  <a:lnTo>
                    <a:pt x="70" y="108"/>
                  </a:lnTo>
                  <a:lnTo>
                    <a:pt x="74" y="108"/>
                  </a:lnTo>
                  <a:lnTo>
                    <a:pt x="74" y="112"/>
                  </a:lnTo>
                  <a:lnTo>
                    <a:pt x="70" y="112"/>
                  </a:lnTo>
                  <a:lnTo>
                    <a:pt x="70" y="120"/>
                  </a:lnTo>
                  <a:lnTo>
                    <a:pt x="70" y="120"/>
                  </a:lnTo>
                  <a:lnTo>
                    <a:pt x="70" y="120"/>
                  </a:lnTo>
                  <a:close/>
                  <a:moveTo>
                    <a:pt x="96" y="116"/>
                  </a:moveTo>
                  <a:lnTo>
                    <a:pt x="96" y="112"/>
                  </a:lnTo>
                  <a:lnTo>
                    <a:pt x="94" y="112"/>
                  </a:lnTo>
                  <a:lnTo>
                    <a:pt x="94" y="108"/>
                  </a:lnTo>
                  <a:lnTo>
                    <a:pt x="96" y="112"/>
                  </a:lnTo>
                  <a:lnTo>
                    <a:pt x="96" y="116"/>
                  </a:lnTo>
                  <a:lnTo>
                    <a:pt x="96" y="116"/>
                  </a:lnTo>
                  <a:lnTo>
                    <a:pt x="96" y="116"/>
                  </a:lnTo>
                  <a:close/>
                  <a:moveTo>
                    <a:pt x="86" y="124"/>
                  </a:moveTo>
                  <a:lnTo>
                    <a:pt x="90" y="120"/>
                  </a:lnTo>
                  <a:lnTo>
                    <a:pt x="90" y="116"/>
                  </a:lnTo>
                  <a:lnTo>
                    <a:pt x="90" y="112"/>
                  </a:lnTo>
                  <a:lnTo>
                    <a:pt x="94" y="112"/>
                  </a:lnTo>
                  <a:lnTo>
                    <a:pt x="94" y="116"/>
                  </a:lnTo>
                  <a:lnTo>
                    <a:pt x="96" y="116"/>
                  </a:lnTo>
                  <a:lnTo>
                    <a:pt x="100" y="120"/>
                  </a:lnTo>
                  <a:lnTo>
                    <a:pt x="100" y="124"/>
                  </a:lnTo>
                  <a:lnTo>
                    <a:pt x="100" y="126"/>
                  </a:lnTo>
                  <a:lnTo>
                    <a:pt x="100" y="124"/>
                  </a:lnTo>
                  <a:lnTo>
                    <a:pt x="96" y="124"/>
                  </a:lnTo>
                  <a:lnTo>
                    <a:pt x="94" y="120"/>
                  </a:lnTo>
                  <a:lnTo>
                    <a:pt x="94" y="116"/>
                  </a:lnTo>
                  <a:lnTo>
                    <a:pt x="90" y="116"/>
                  </a:lnTo>
                  <a:lnTo>
                    <a:pt x="90" y="120"/>
                  </a:lnTo>
                  <a:lnTo>
                    <a:pt x="90" y="124"/>
                  </a:lnTo>
                  <a:lnTo>
                    <a:pt x="86" y="124"/>
                  </a:lnTo>
                  <a:lnTo>
                    <a:pt x="86" y="124"/>
                  </a:lnTo>
                  <a:lnTo>
                    <a:pt x="86" y="124"/>
                  </a:lnTo>
                  <a:close/>
                  <a:moveTo>
                    <a:pt x="104" y="120"/>
                  </a:moveTo>
                  <a:lnTo>
                    <a:pt x="104" y="116"/>
                  </a:lnTo>
                  <a:lnTo>
                    <a:pt x="104" y="112"/>
                  </a:lnTo>
                  <a:lnTo>
                    <a:pt x="108" y="112"/>
                  </a:lnTo>
                  <a:lnTo>
                    <a:pt x="112" y="112"/>
                  </a:lnTo>
                  <a:lnTo>
                    <a:pt x="116" y="112"/>
                  </a:lnTo>
                  <a:lnTo>
                    <a:pt x="120" y="112"/>
                  </a:lnTo>
                  <a:lnTo>
                    <a:pt x="116" y="116"/>
                  </a:lnTo>
                  <a:lnTo>
                    <a:pt x="120" y="116"/>
                  </a:lnTo>
                  <a:lnTo>
                    <a:pt x="120" y="120"/>
                  </a:lnTo>
                  <a:lnTo>
                    <a:pt x="120" y="124"/>
                  </a:lnTo>
                  <a:lnTo>
                    <a:pt x="120" y="126"/>
                  </a:lnTo>
                  <a:lnTo>
                    <a:pt x="120" y="130"/>
                  </a:lnTo>
                  <a:lnTo>
                    <a:pt x="122" y="130"/>
                  </a:lnTo>
                  <a:lnTo>
                    <a:pt x="122" y="134"/>
                  </a:lnTo>
                  <a:lnTo>
                    <a:pt x="120" y="134"/>
                  </a:lnTo>
                  <a:lnTo>
                    <a:pt x="122" y="134"/>
                  </a:lnTo>
                  <a:lnTo>
                    <a:pt x="122" y="138"/>
                  </a:lnTo>
                  <a:lnTo>
                    <a:pt x="122" y="134"/>
                  </a:lnTo>
                  <a:lnTo>
                    <a:pt x="120" y="134"/>
                  </a:lnTo>
                  <a:lnTo>
                    <a:pt x="116" y="134"/>
                  </a:lnTo>
                  <a:lnTo>
                    <a:pt x="112" y="130"/>
                  </a:lnTo>
                  <a:lnTo>
                    <a:pt x="112" y="126"/>
                  </a:lnTo>
                  <a:lnTo>
                    <a:pt x="116" y="126"/>
                  </a:lnTo>
                  <a:lnTo>
                    <a:pt x="116" y="124"/>
                  </a:lnTo>
                  <a:lnTo>
                    <a:pt x="112" y="124"/>
                  </a:lnTo>
                  <a:lnTo>
                    <a:pt x="108" y="124"/>
                  </a:lnTo>
                  <a:lnTo>
                    <a:pt x="108" y="120"/>
                  </a:lnTo>
                  <a:lnTo>
                    <a:pt x="104" y="120"/>
                  </a:lnTo>
                  <a:lnTo>
                    <a:pt x="104" y="120"/>
                  </a:lnTo>
                  <a:lnTo>
                    <a:pt x="104" y="120"/>
                  </a:lnTo>
                  <a:close/>
                  <a:moveTo>
                    <a:pt x="78" y="116"/>
                  </a:moveTo>
                  <a:lnTo>
                    <a:pt x="78" y="112"/>
                  </a:lnTo>
                  <a:lnTo>
                    <a:pt x="82" y="112"/>
                  </a:lnTo>
                  <a:lnTo>
                    <a:pt x="82" y="116"/>
                  </a:lnTo>
                  <a:lnTo>
                    <a:pt x="78" y="116"/>
                  </a:lnTo>
                  <a:lnTo>
                    <a:pt x="78" y="116"/>
                  </a:lnTo>
                  <a:lnTo>
                    <a:pt x="78" y="116"/>
                  </a:lnTo>
                  <a:close/>
                  <a:moveTo>
                    <a:pt x="46" y="120"/>
                  </a:moveTo>
                  <a:lnTo>
                    <a:pt x="42" y="120"/>
                  </a:lnTo>
                  <a:lnTo>
                    <a:pt x="42" y="116"/>
                  </a:lnTo>
                  <a:lnTo>
                    <a:pt x="46" y="116"/>
                  </a:lnTo>
                  <a:lnTo>
                    <a:pt x="46" y="120"/>
                  </a:lnTo>
                  <a:lnTo>
                    <a:pt x="46" y="116"/>
                  </a:lnTo>
                  <a:lnTo>
                    <a:pt x="50" y="120"/>
                  </a:lnTo>
                  <a:lnTo>
                    <a:pt x="46" y="120"/>
                  </a:lnTo>
                  <a:lnTo>
                    <a:pt x="46" y="120"/>
                  </a:lnTo>
                  <a:lnTo>
                    <a:pt x="46" y="120"/>
                  </a:lnTo>
                  <a:close/>
                  <a:moveTo>
                    <a:pt x="42" y="126"/>
                  </a:moveTo>
                  <a:lnTo>
                    <a:pt x="42" y="124"/>
                  </a:lnTo>
                  <a:lnTo>
                    <a:pt x="42" y="120"/>
                  </a:lnTo>
                  <a:lnTo>
                    <a:pt x="42" y="124"/>
                  </a:lnTo>
                  <a:lnTo>
                    <a:pt x="46" y="124"/>
                  </a:lnTo>
                  <a:lnTo>
                    <a:pt x="46" y="126"/>
                  </a:lnTo>
                  <a:lnTo>
                    <a:pt x="42" y="126"/>
                  </a:lnTo>
                  <a:lnTo>
                    <a:pt x="42" y="126"/>
                  </a:lnTo>
                  <a:lnTo>
                    <a:pt x="42" y="126"/>
                  </a:lnTo>
                  <a:close/>
                  <a:moveTo>
                    <a:pt x="86" y="134"/>
                  </a:moveTo>
                  <a:lnTo>
                    <a:pt x="86" y="138"/>
                  </a:lnTo>
                  <a:lnTo>
                    <a:pt x="82" y="138"/>
                  </a:lnTo>
                  <a:lnTo>
                    <a:pt x="82" y="142"/>
                  </a:lnTo>
                  <a:lnTo>
                    <a:pt x="78" y="142"/>
                  </a:lnTo>
                  <a:lnTo>
                    <a:pt x="74" y="142"/>
                  </a:lnTo>
                  <a:lnTo>
                    <a:pt x="74" y="146"/>
                  </a:lnTo>
                  <a:lnTo>
                    <a:pt x="70" y="146"/>
                  </a:lnTo>
                  <a:lnTo>
                    <a:pt x="70" y="150"/>
                  </a:lnTo>
                  <a:lnTo>
                    <a:pt x="70" y="146"/>
                  </a:lnTo>
                  <a:lnTo>
                    <a:pt x="70" y="142"/>
                  </a:lnTo>
                  <a:lnTo>
                    <a:pt x="70" y="138"/>
                  </a:lnTo>
                  <a:lnTo>
                    <a:pt x="70" y="134"/>
                  </a:lnTo>
                  <a:lnTo>
                    <a:pt x="70" y="130"/>
                  </a:lnTo>
                  <a:lnTo>
                    <a:pt x="70" y="126"/>
                  </a:lnTo>
                  <a:lnTo>
                    <a:pt x="70" y="124"/>
                  </a:lnTo>
                  <a:lnTo>
                    <a:pt x="66" y="124"/>
                  </a:lnTo>
                  <a:lnTo>
                    <a:pt x="70" y="124"/>
                  </a:lnTo>
                  <a:lnTo>
                    <a:pt x="74" y="124"/>
                  </a:lnTo>
                  <a:lnTo>
                    <a:pt x="78" y="126"/>
                  </a:lnTo>
                  <a:lnTo>
                    <a:pt x="78" y="130"/>
                  </a:lnTo>
                  <a:lnTo>
                    <a:pt x="82" y="126"/>
                  </a:lnTo>
                  <a:lnTo>
                    <a:pt x="82" y="130"/>
                  </a:lnTo>
                  <a:lnTo>
                    <a:pt x="86" y="130"/>
                  </a:lnTo>
                  <a:lnTo>
                    <a:pt x="86" y="126"/>
                  </a:lnTo>
                  <a:lnTo>
                    <a:pt x="86" y="130"/>
                  </a:lnTo>
                  <a:lnTo>
                    <a:pt x="86" y="134"/>
                  </a:lnTo>
                  <a:lnTo>
                    <a:pt x="86" y="134"/>
                  </a:lnTo>
                  <a:lnTo>
                    <a:pt x="86" y="134"/>
                  </a:lnTo>
                  <a:close/>
                  <a:moveTo>
                    <a:pt x="104" y="130"/>
                  </a:moveTo>
                  <a:lnTo>
                    <a:pt x="104" y="126"/>
                  </a:lnTo>
                  <a:lnTo>
                    <a:pt x="108" y="126"/>
                  </a:lnTo>
                  <a:lnTo>
                    <a:pt x="108" y="130"/>
                  </a:lnTo>
                  <a:lnTo>
                    <a:pt x="104" y="130"/>
                  </a:lnTo>
                  <a:lnTo>
                    <a:pt x="104" y="130"/>
                  </a:lnTo>
                  <a:lnTo>
                    <a:pt x="104" y="130"/>
                  </a:lnTo>
                  <a:close/>
                  <a:moveTo>
                    <a:pt x="108" y="146"/>
                  </a:moveTo>
                  <a:lnTo>
                    <a:pt x="112" y="146"/>
                  </a:lnTo>
                  <a:lnTo>
                    <a:pt x="112" y="142"/>
                  </a:lnTo>
                  <a:lnTo>
                    <a:pt x="108" y="142"/>
                  </a:lnTo>
                  <a:lnTo>
                    <a:pt x="108" y="138"/>
                  </a:lnTo>
                  <a:lnTo>
                    <a:pt x="108" y="142"/>
                  </a:lnTo>
                  <a:lnTo>
                    <a:pt x="104" y="142"/>
                  </a:lnTo>
                  <a:lnTo>
                    <a:pt x="104" y="138"/>
                  </a:lnTo>
                  <a:lnTo>
                    <a:pt x="104" y="134"/>
                  </a:lnTo>
                  <a:lnTo>
                    <a:pt x="104" y="130"/>
                  </a:lnTo>
                  <a:lnTo>
                    <a:pt x="104" y="126"/>
                  </a:lnTo>
                  <a:lnTo>
                    <a:pt x="108" y="130"/>
                  </a:lnTo>
                  <a:lnTo>
                    <a:pt x="108" y="134"/>
                  </a:lnTo>
                  <a:lnTo>
                    <a:pt x="108" y="130"/>
                  </a:lnTo>
                  <a:lnTo>
                    <a:pt x="112" y="130"/>
                  </a:lnTo>
                  <a:lnTo>
                    <a:pt x="112" y="134"/>
                  </a:lnTo>
                  <a:lnTo>
                    <a:pt x="116" y="138"/>
                  </a:lnTo>
                  <a:lnTo>
                    <a:pt x="112" y="138"/>
                  </a:lnTo>
                  <a:lnTo>
                    <a:pt x="112" y="142"/>
                  </a:lnTo>
                  <a:lnTo>
                    <a:pt x="116" y="142"/>
                  </a:lnTo>
                  <a:lnTo>
                    <a:pt x="116" y="146"/>
                  </a:lnTo>
                  <a:lnTo>
                    <a:pt x="116" y="150"/>
                  </a:lnTo>
                  <a:lnTo>
                    <a:pt x="116" y="152"/>
                  </a:lnTo>
                  <a:lnTo>
                    <a:pt x="116" y="150"/>
                  </a:lnTo>
                  <a:lnTo>
                    <a:pt x="112" y="150"/>
                  </a:lnTo>
                  <a:lnTo>
                    <a:pt x="112" y="152"/>
                  </a:lnTo>
                  <a:lnTo>
                    <a:pt x="108" y="152"/>
                  </a:lnTo>
                  <a:lnTo>
                    <a:pt x="112" y="150"/>
                  </a:lnTo>
                  <a:lnTo>
                    <a:pt x="108" y="150"/>
                  </a:lnTo>
                  <a:lnTo>
                    <a:pt x="108" y="146"/>
                  </a:lnTo>
                  <a:lnTo>
                    <a:pt x="108" y="146"/>
                  </a:lnTo>
                  <a:lnTo>
                    <a:pt x="108" y="146"/>
                  </a:lnTo>
                  <a:close/>
                  <a:moveTo>
                    <a:pt x="42" y="130"/>
                  </a:moveTo>
                  <a:lnTo>
                    <a:pt x="38" y="130"/>
                  </a:lnTo>
                  <a:lnTo>
                    <a:pt x="42" y="130"/>
                  </a:lnTo>
                  <a:lnTo>
                    <a:pt x="42" y="130"/>
                  </a:lnTo>
                  <a:lnTo>
                    <a:pt x="42" y="130"/>
                  </a:lnTo>
                  <a:close/>
                  <a:moveTo>
                    <a:pt x="38" y="146"/>
                  </a:moveTo>
                  <a:lnTo>
                    <a:pt x="38" y="150"/>
                  </a:lnTo>
                  <a:lnTo>
                    <a:pt x="34" y="150"/>
                  </a:lnTo>
                  <a:lnTo>
                    <a:pt x="34" y="152"/>
                  </a:lnTo>
                  <a:lnTo>
                    <a:pt x="30" y="152"/>
                  </a:lnTo>
                  <a:lnTo>
                    <a:pt x="26" y="156"/>
                  </a:lnTo>
                  <a:lnTo>
                    <a:pt x="24" y="160"/>
                  </a:lnTo>
                  <a:lnTo>
                    <a:pt x="26" y="160"/>
                  </a:lnTo>
                  <a:lnTo>
                    <a:pt x="24" y="164"/>
                  </a:lnTo>
                  <a:lnTo>
                    <a:pt x="24" y="168"/>
                  </a:lnTo>
                  <a:lnTo>
                    <a:pt x="20" y="168"/>
                  </a:lnTo>
                  <a:lnTo>
                    <a:pt x="16" y="168"/>
                  </a:lnTo>
                  <a:lnTo>
                    <a:pt x="16" y="172"/>
                  </a:lnTo>
                  <a:lnTo>
                    <a:pt x="16" y="176"/>
                  </a:lnTo>
                  <a:lnTo>
                    <a:pt x="12" y="176"/>
                  </a:lnTo>
                  <a:lnTo>
                    <a:pt x="12" y="180"/>
                  </a:lnTo>
                  <a:lnTo>
                    <a:pt x="8" y="180"/>
                  </a:lnTo>
                  <a:lnTo>
                    <a:pt x="4" y="182"/>
                  </a:lnTo>
                  <a:lnTo>
                    <a:pt x="4" y="180"/>
                  </a:lnTo>
                  <a:lnTo>
                    <a:pt x="4" y="176"/>
                  </a:lnTo>
                  <a:lnTo>
                    <a:pt x="8" y="176"/>
                  </a:lnTo>
                  <a:lnTo>
                    <a:pt x="12" y="172"/>
                  </a:lnTo>
                  <a:lnTo>
                    <a:pt x="12" y="168"/>
                  </a:lnTo>
                  <a:lnTo>
                    <a:pt x="16" y="168"/>
                  </a:lnTo>
                  <a:lnTo>
                    <a:pt x="20" y="160"/>
                  </a:lnTo>
                  <a:lnTo>
                    <a:pt x="24" y="160"/>
                  </a:lnTo>
                  <a:lnTo>
                    <a:pt x="24" y="156"/>
                  </a:lnTo>
                  <a:lnTo>
                    <a:pt x="26" y="152"/>
                  </a:lnTo>
                  <a:lnTo>
                    <a:pt x="26" y="156"/>
                  </a:lnTo>
                  <a:lnTo>
                    <a:pt x="26" y="152"/>
                  </a:lnTo>
                  <a:lnTo>
                    <a:pt x="30" y="150"/>
                  </a:lnTo>
                  <a:lnTo>
                    <a:pt x="26" y="150"/>
                  </a:lnTo>
                  <a:lnTo>
                    <a:pt x="30" y="150"/>
                  </a:lnTo>
                  <a:lnTo>
                    <a:pt x="34" y="146"/>
                  </a:lnTo>
                  <a:lnTo>
                    <a:pt x="34" y="142"/>
                  </a:lnTo>
                  <a:lnTo>
                    <a:pt x="30" y="142"/>
                  </a:lnTo>
                  <a:lnTo>
                    <a:pt x="30" y="138"/>
                  </a:lnTo>
                  <a:lnTo>
                    <a:pt x="34" y="138"/>
                  </a:lnTo>
                  <a:lnTo>
                    <a:pt x="34" y="142"/>
                  </a:lnTo>
                  <a:lnTo>
                    <a:pt x="34" y="138"/>
                  </a:lnTo>
                  <a:lnTo>
                    <a:pt x="34" y="134"/>
                  </a:lnTo>
                  <a:lnTo>
                    <a:pt x="34" y="138"/>
                  </a:lnTo>
                  <a:lnTo>
                    <a:pt x="34" y="134"/>
                  </a:lnTo>
                  <a:lnTo>
                    <a:pt x="34" y="130"/>
                  </a:lnTo>
                  <a:lnTo>
                    <a:pt x="38" y="130"/>
                  </a:lnTo>
                  <a:lnTo>
                    <a:pt x="38" y="134"/>
                  </a:lnTo>
                  <a:lnTo>
                    <a:pt x="34" y="138"/>
                  </a:lnTo>
                  <a:lnTo>
                    <a:pt x="34" y="142"/>
                  </a:lnTo>
                  <a:lnTo>
                    <a:pt x="38" y="142"/>
                  </a:lnTo>
                  <a:lnTo>
                    <a:pt x="38" y="146"/>
                  </a:lnTo>
                  <a:lnTo>
                    <a:pt x="38" y="146"/>
                  </a:lnTo>
                  <a:lnTo>
                    <a:pt x="38" y="146"/>
                  </a:lnTo>
                  <a:close/>
                  <a:moveTo>
                    <a:pt x="90" y="152"/>
                  </a:moveTo>
                  <a:lnTo>
                    <a:pt x="94" y="152"/>
                  </a:lnTo>
                  <a:lnTo>
                    <a:pt x="94" y="150"/>
                  </a:lnTo>
                  <a:lnTo>
                    <a:pt x="94" y="146"/>
                  </a:lnTo>
                  <a:lnTo>
                    <a:pt x="96" y="146"/>
                  </a:lnTo>
                  <a:lnTo>
                    <a:pt x="96" y="142"/>
                  </a:lnTo>
                  <a:lnTo>
                    <a:pt x="96" y="138"/>
                  </a:lnTo>
                  <a:lnTo>
                    <a:pt x="96" y="134"/>
                  </a:lnTo>
                  <a:lnTo>
                    <a:pt x="100" y="134"/>
                  </a:lnTo>
                  <a:lnTo>
                    <a:pt x="100" y="138"/>
                  </a:lnTo>
                  <a:lnTo>
                    <a:pt x="100" y="142"/>
                  </a:lnTo>
                  <a:lnTo>
                    <a:pt x="100" y="146"/>
                  </a:lnTo>
                  <a:lnTo>
                    <a:pt x="100" y="150"/>
                  </a:lnTo>
                  <a:lnTo>
                    <a:pt x="96" y="150"/>
                  </a:lnTo>
                  <a:lnTo>
                    <a:pt x="96" y="152"/>
                  </a:lnTo>
                  <a:lnTo>
                    <a:pt x="94" y="152"/>
                  </a:lnTo>
                  <a:lnTo>
                    <a:pt x="94" y="156"/>
                  </a:lnTo>
                  <a:lnTo>
                    <a:pt x="94" y="160"/>
                  </a:lnTo>
                  <a:lnTo>
                    <a:pt x="94" y="164"/>
                  </a:lnTo>
                  <a:lnTo>
                    <a:pt x="90" y="164"/>
                  </a:lnTo>
                  <a:lnTo>
                    <a:pt x="90" y="160"/>
                  </a:lnTo>
                  <a:lnTo>
                    <a:pt x="90" y="156"/>
                  </a:lnTo>
                  <a:lnTo>
                    <a:pt x="90" y="152"/>
                  </a:lnTo>
                  <a:lnTo>
                    <a:pt x="90" y="152"/>
                  </a:lnTo>
                  <a:lnTo>
                    <a:pt x="90" y="152"/>
                  </a:lnTo>
                  <a:close/>
                  <a:moveTo>
                    <a:pt x="90" y="150"/>
                  </a:moveTo>
                  <a:lnTo>
                    <a:pt x="90" y="152"/>
                  </a:lnTo>
                  <a:lnTo>
                    <a:pt x="90" y="156"/>
                  </a:lnTo>
                  <a:lnTo>
                    <a:pt x="86" y="156"/>
                  </a:lnTo>
                  <a:lnTo>
                    <a:pt x="86" y="160"/>
                  </a:lnTo>
                  <a:lnTo>
                    <a:pt x="86" y="164"/>
                  </a:lnTo>
                  <a:lnTo>
                    <a:pt x="90" y="164"/>
                  </a:lnTo>
                  <a:lnTo>
                    <a:pt x="90" y="168"/>
                  </a:lnTo>
                  <a:lnTo>
                    <a:pt x="90" y="172"/>
                  </a:lnTo>
                  <a:lnTo>
                    <a:pt x="86" y="172"/>
                  </a:lnTo>
                  <a:lnTo>
                    <a:pt x="82" y="172"/>
                  </a:lnTo>
                  <a:lnTo>
                    <a:pt x="82" y="168"/>
                  </a:lnTo>
                  <a:lnTo>
                    <a:pt x="82" y="164"/>
                  </a:lnTo>
                  <a:lnTo>
                    <a:pt x="78" y="164"/>
                  </a:lnTo>
                  <a:lnTo>
                    <a:pt x="78" y="160"/>
                  </a:lnTo>
                  <a:lnTo>
                    <a:pt x="74" y="160"/>
                  </a:lnTo>
                  <a:lnTo>
                    <a:pt x="78" y="160"/>
                  </a:lnTo>
                  <a:lnTo>
                    <a:pt x="78" y="156"/>
                  </a:lnTo>
                  <a:lnTo>
                    <a:pt x="82" y="156"/>
                  </a:lnTo>
                  <a:lnTo>
                    <a:pt x="82" y="152"/>
                  </a:lnTo>
                  <a:lnTo>
                    <a:pt x="82" y="150"/>
                  </a:lnTo>
                  <a:lnTo>
                    <a:pt x="82" y="146"/>
                  </a:lnTo>
                  <a:lnTo>
                    <a:pt x="86" y="142"/>
                  </a:lnTo>
                  <a:lnTo>
                    <a:pt x="86" y="138"/>
                  </a:lnTo>
                  <a:lnTo>
                    <a:pt x="90" y="138"/>
                  </a:lnTo>
                  <a:lnTo>
                    <a:pt x="94" y="138"/>
                  </a:lnTo>
                  <a:lnTo>
                    <a:pt x="94" y="142"/>
                  </a:lnTo>
                  <a:lnTo>
                    <a:pt x="94" y="146"/>
                  </a:lnTo>
                  <a:lnTo>
                    <a:pt x="90" y="146"/>
                  </a:lnTo>
                  <a:lnTo>
                    <a:pt x="90" y="150"/>
                  </a:lnTo>
                  <a:lnTo>
                    <a:pt x="90" y="150"/>
                  </a:lnTo>
                  <a:lnTo>
                    <a:pt x="90" y="150"/>
                  </a:lnTo>
                  <a:close/>
                  <a:moveTo>
                    <a:pt x="122" y="156"/>
                  </a:moveTo>
                  <a:lnTo>
                    <a:pt x="120" y="152"/>
                  </a:lnTo>
                  <a:lnTo>
                    <a:pt x="120" y="150"/>
                  </a:lnTo>
                  <a:lnTo>
                    <a:pt x="122" y="146"/>
                  </a:lnTo>
                  <a:lnTo>
                    <a:pt x="122" y="150"/>
                  </a:lnTo>
                  <a:lnTo>
                    <a:pt x="122" y="152"/>
                  </a:lnTo>
                  <a:lnTo>
                    <a:pt x="122" y="156"/>
                  </a:lnTo>
                  <a:lnTo>
                    <a:pt x="122" y="156"/>
                  </a:lnTo>
                  <a:lnTo>
                    <a:pt x="122" y="156"/>
                  </a:lnTo>
                  <a:close/>
                  <a:moveTo>
                    <a:pt x="108" y="152"/>
                  </a:moveTo>
                  <a:lnTo>
                    <a:pt x="108" y="156"/>
                  </a:lnTo>
                  <a:lnTo>
                    <a:pt x="108" y="160"/>
                  </a:lnTo>
                  <a:lnTo>
                    <a:pt x="104" y="160"/>
                  </a:lnTo>
                  <a:lnTo>
                    <a:pt x="100" y="160"/>
                  </a:lnTo>
                  <a:lnTo>
                    <a:pt x="96" y="160"/>
                  </a:lnTo>
                  <a:lnTo>
                    <a:pt x="96" y="156"/>
                  </a:lnTo>
                  <a:lnTo>
                    <a:pt x="100" y="156"/>
                  </a:lnTo>
                  <a:lnTo>
                    <a:pt x="100" y="152"/>
                  </a:lnTo>
                  <a:lnTo>
                    <a:pt x="104" y="152"/>
                  </a:lnTo>
                  <a:lnTo>
                    <a:pt x="108" y="152"/>
                  </a:lnTo>
                  <a:lnTo>
                    <a:pt x="108" y="152"/>
                  </a:lnTo>
                  <a:lnTo>
                    <a:pt x="108" y="152"/>
                  </a:lnTo>
                  <a:close/>
                  <a:moveTo>
                    <a:pt x="116" y="156"/>
                  </a:moveTo>
                  <a:lnTo>
                    <a:pt x="116" y="152"/>
                  </a:lnTo>
                  <a:lnTo>
                    <a:pt x="116" y="156"/>
                  </a:lnTo>
                  <a:lnTo>
                    <a:pt x="116" y="156"/>
                  </a:lnTo>
                  <a:lnTo>
                    <a:pt x="116" y="156"/>
                  </a:lnTo>
                  <a:close/>
                  <a:moveTo>
                    <a:pt x="126" y="160"/>
                  </a:moveTo>
                  <a:lnTo>
                    <a:pt x="126" y="156"/>
                  </a:lnTo>
                  <a:lnTo>
                    <a:pt x="126" y="152"/>
                  </a:lnTo>
                  <a:lnTo>
                    <a:pt x="130" y="156"/>
                  </a:lnTo>
                  <a:lnTo>
                    <a:pt x="130" y="160"/>
                  </a:lnTo>
                  <a:lnTo>
                    <a:pt x="126" y="160"/>
                  </a:lnTo>
                  <a:lnTo>
                    <a:pt x="126" y="160"/>
                  </a:lnTo>
                  <a:lnTo>
                    <a:pt x="126" y="160"/>
                  </a:lnTo>
                  <a:close/>
                  <a:moveTo>
                    <a:pt x="74" y="202"/>
                  </a:moveTo>
                  <a:lnTo>
                    <a:pt x="74" y="206"/>
                  </a:lnTo>
                  <a:lnTo>
                    <a:pt x="74" y="208"/>
                  </a:lnTo>
                  <a:lnTo>
                    <a:pt x="70" y="208"/>
                  </a:lnTo>
                  <a:lnTo>
                    <a:pt x="70" y="206"/>
                  </a:lnTo>
                  <a:lnTo>
                    <a:pt x="70" y="202"/>
                  </a:lnTo>
                  <a:lnTo>
                    <a:pt x="70" y="198"/>
                  </a:lnTo>
                  <a:lnTo>
                    <a:pt x="70" y="194"/>
                  </a:lnTo>
                  <a:lnTo>
                    <a:pt x="74" y="194"/>
                  </a:lnTo>
                  <a:lnTo>
                    <a:pt x="74" y="190"/>
                  </a:lnTo>
                  <a:lnTo>
                    <a:pt x="78" y="186"/>
                  </a:lnTo>
                  <a:lnTo>
                    <a:pt x="78" y="190"/>
                  </a:lnTo>
                  <a:lnTo>
                    <a:pt x="82" y="186"/>
                  </a:lnTo>
                  <a:lnTo>
                    <a:pt x="86" y="186"/>
                  </a:lnTo>
                  <a:lnTo>
                    <a:pt x="86" y="182"/>
                  </a:lnTo>
                  <a:lnTo>
                    <a:pt x="86" y="180"/>
                  </a:lnTo>
                  <a:lnTo>
                    <a:pt x="90" y="180"/>
                  </a:lnTo>
                  <a:lnTo>
                    <a:pt x="90" y="176"/>
                  </a:lnTo>
                  <a:lnTo>
                    <a:pt x="94" y="180"/>
                  </a:lnTo>
                  <a:lnTo>
                    <a:pt x="96" y="180"/>
                  </a:lnTo>
                  <a:lnTo>
                    <a:pt x="96" y="182"/>
                  </a:lnTo>
                  <a:lnTo>
                    <a:pt x="96" y="186"/>
                  </a:lnTo>
                  <a:lnTo>
                    <a:pt x="96" y="190"/>
                  </a:lnTo>
                  <a:lnTo>
                    <a:pt x="94" y="190"/>
                  </a:lnTo>
                  <a:lnTo>
                    <a:pt x="96" y="190"/>
                  </a:lnTo>
                  <a:lnTo>
                    <a:pt x="96" y="186"/>
                  </a:lnTo>
                  <a:lnTo>
                    <a:pt x="100" y="186"/>
                  </a:lnTo>
                  <a:lnTo>
                    <a:pt x="104" y="186"/>
                  </a:lnTo>
                  <a:lnTo>
                    <a:pt x="104" y="182"/>
                  </a:lnTo>
                  <a:lnTo>
                    <a:pt x="100" y="182"/>
                  </a:lnTo>
                  <a:lnTo>
                    <a:pt x="104" y="182"/>
                  </a:lnTo>
                  <a:lnTo>
                    <a:pt x="104" y="180"/>
                  </a:lnTo>
                  <a:lnTo>
                    <a:pt x="108" y="180"/>
                  </a:lnTo>
                  <a:lnTo>
                    <a:pt x="108" y="182"/>
                  </a:lnTo>
                  <a:lnTo>
                    <a:pt x="108" y="180"/>
                  </a:lnTo>
                  <a:lnTo>
                    <a:pt x="108" y="176"/>
                  </a:lnTo>
                  <a:lnTo>
                    <a:pt x="112" y="176"/>
                  </a:lnTo>
                  <a:lnTo>
                    <a:pt x="112" y="172"/>
                  </a:lnTo>
                  <a:lnTo>
                    <a:pt x="112" y="176"/>
                  </a:lnTo>
                  <a:lnTo>
                    <a:pt x="116" y="176"/>
                  </a:lnTo>
                  <a:lnTo>
                    <a:pt x="116" y="172"/>
                  </a:lnTo>
                  <a:lnTo>
                    <a:pt x="120" y="172"/>
                  </a:lnTo>
                  <a:lnTo>
                    <a:pt x="120" y="168"/>
                  </a:lnTo>
                  <a:lnTo>
                    <a:pt x="120" y="164"/>
                  </a:lnTo>
                  <a:lnTo>
                    <a:pt x="120" y="160"/>
                  </a:lnTo>
                  <a:lnTo>
                    <a:pt x="120" y="156"/>
                  </a:lnTo>
                  <a:lnTo>
                    <a:pt x="120" y="160"/>
                  </a:lnTo>
                  <a:lnTo>
                    <a:pt x="122" y="160"/>
                  </a:lnTo>
                  <a:lnTo>
                    <a:pt x="122" y="164"/>
                  </a:lnTo>
                  <a:lnTo>
                    <a:pt x="126" y="164"/>
                  </a:lnTo>
                  <a:lnTo>
                    <a:pt x="126" y="168"/>
                  </a:lnTo>
                  <a:lnTo>
                    <a:pt x="130" y="168"/>
                  </a:lnTo>
                  <a:lnTo>
                    <a:pt x="130" y="172"/>
                  </a:lnTo>
                  <a:lnTo>
                    <a:pt x="130" y="176"/>
                  </a:lnTo>
                  <a:lnTo>
                    <a:pt x="130" y="180"/>
                  </a:lnTo>
                  <a:lnTo>
                    <a:pt x="126" y="180"/>
                  </a:lnTo>
                  <a:lnTo>
                    <a:pt x="130" y="180"/>
                  </a:lnTo>
                  <a:lnTo>
                    <a:pt x="134" y="180"/>
                  </a:lnTo>
                  <a:lnTo>
                    <a:pt x="134" y="182"/>
                  </a:lnTo>
                  <a:lnTo>
                    <a:pt x="130" y="182"/>
                  </a:lnTo>
                  <a:lnTo>
                    <a:pt x="130" y="186"/>
                  </a:lnTo>
                  <a:lnTo>
                    <a:pt x="134" y="186"/>
                  </a:lnTo>
                  <a:lnTo>
                    <a:pt x="134" y="190"/>
                  </a:lnTo>
                  <a:lnTo>
                    <a:pt x="134" y="194"/>
                  </a:lnTo>
                  <a:lnTo>
                    <a:pt x="134" y="198"/>
                  </a:lnTo>
                  <a:lnTo>
                    <a:pt x="134" y="202"/>
                  </a:lnTo>
                  <a:lnTo>
                    <a:pt x="134" y="206"/>
                  </a:lnTo>
                  <a:lnTo>
                    <a:pt x="130" y="206"/>
                  </a:lnTo>
                  <a:lnTo>
                    <a:pt x="130" y="208"/>
                  </a:lnTo>
                  <a:lnTo>
                    <a:pt x="130" y="212"/>
                  </a:lnTo>
                  <a:lnTo>
                    <a:pt x="130" y="216"/>
                  </a:lnTo>
                  <a:lnTo>
                    <a:pt x="130" y="220"/>
                  </a:lnTo>
                  <a:lnTo>
                    <a:pt x="130" y="216"/>
                  </a:lnTo>
                  <a:lnTo>
                    <a:pt x="126" y="216"/>
                  </a:lnTo>
                  <a:lnTo>
                    <a:pt x="126" y="212"/>
                  </a:lnTo>
                  <a:lnTo>
                    <a:pt x="130" y="212"/>
                  </a:lnTo>
                  <a:lnTo>
                    <a:pt x="126" y="208"/>
                  </a:lnTo>
                  <a:lnTo>
                    <a:pt x="126" y="206"/>
                  </a:lnTo>
                  <a:lnTo>
                    <a:pt x="126" y="202"/>
                  </a:lnTo>
                  <a:lnTo>
                    <a:pt x="122" y="202"/>
                  </a:lnTo>
                  <a:lnTo>
                    <a:pt x="122" y="206"/>
                  </a:lnTo>
                  <a:lnTo>
                    <a:pt x="120" y="206"/>
                  </a:lnTo>
                  <a:lnTo>
                    <a:pt x="120" y="208"/>
                  </a:lnTo>
                  <a:lnTo>
                    <a:pt x="120" y="212"/>
                  </a:lnTo>
                  <a:lnTo>
                    <a:pt x="122" y="216"/>
                  </a:lnTo>
                  <a:lnTo>
                    <a:pt x="122" y="220"/>
                  </a:lnTo>
                  <a:lnTo>
                    <a:pt x="122" y="224"/>
                  </a:lnTo>
                  <a:lnTo>
                    <a:pt x="122" y="228"/>
                  </a:lnTo>
                  <a:lnTo>
                    <a:pt x="120" y="228"/>
                  </a:lnTo>
                  <a:lnTo>
                    <a:pt x="120" y="232"/>
                  </a:lnTo>
                  <a:lnTo>
                    <a:pt x="116" y="232"/>
                  </a:lnTo>
                  <a:lnTo>
                    <a:pt x="120" y="232"/>
                  </a:lnTo>
                  <a:lnTo>
                    <a:pt x="116" y="228"/>
                  </a:lnTo>
                  <a:lnTo>
                    <a:pt x="116" y="224"/>
                  </a:lnTo>
                  <a:lnTo>
                    <a:pt x="116" y="220"/>
                  </a:lnTo>
                  <a:lnTo>
                    <a:pt x="116" y="224"/>
                  </a:lnTo>
                  <a:lnTo>
                    <a:pt x="116" y="228"/>
                  </a:lnTo>
                  <a:lnTo>
                    <a:pt x="112" y="228"/>
                  </a:lnTo>
                  <a:lnTo>
                    <a:pt x="108" y="224"/>
                  </a:lnTo>
                  <a:lnTo>
                    <a:pt x="104" y="224"/>
                  </a:lnTo>
                  <a:lnTo>
                    <a:pt x="104" y="220"/>
                  </a:lnTo>
                  <a:lnTo>
                    <a:pt x="100" y="220"/>
                  </a:lnTo>
                  <a:lnTo>
                    <a:pt x="100" y="216"/>
                  </a:lnTo>
                  <a:lnTo>
                    <a:pt x="100" y="212"/>
                  </a:lnTo>
                  <a:lnTo>
                    <a:pt x="100" y="208"/>
                  </a:lnTo>
                  <a:lnTo>
                    <a:pt x="96" y="208"/>
                  </a:lnTo>
                  <a:lnTo>
                    <a:pt x="100" y="206"/>
                  </a:lnTo>
                  <a:lnTo>
                    <a:pt x="104" y="202"/>
                  </a:lnTo>
                  <a:lnTo>
                    <a:pt x="100" y="198"/>
                  </a:lnTo>
                  <a:lnTo>
                    <a:pt x="100" y="202"/>
                  </a:lnTo>
                  <a:lnTo>
                    <a:pt x="100" y="198"/>
                  </a:lnTo>
                  <a:lnTo>
                    <a:pt x="100" y="194"/>
                  </a:lnTo>
                  <a:lnTo>
                    <a:pt x="96" y="194"/>
                  </a:lnTo>
                  <a:lnTo>
                    <a:pt x="94" y="194"/>
                  </a:lnTo>
                  <a:lnTo>
                    <a:pt x="94" y="190"/>
                  </a:lnTo>
                  <a:lnTo>
                    <a:pt x="94" y="194"/>
                  </a:lnTo>
                  <a:lnTo>
                    <a:pt x="90" y="194"/>
                  </a:lnTo>
                  <a:lnTo>
                    <a:pt x="94" y="194"/>
                  </a:lnTo>
                  <a:lnTo>
                    <a:pt x="94" y="198"/>
                  </a:lnTo>
                  <a:lnTo>
                    <a:pt x="90" y="198"/>
                  </a:lnTo>
                  <a:lnTo>
                    <a:pt x="94" y="202"/>
                  </a:lnTo>
                  <a:lnTo>
                    <a:pt x="90" y="202"/>
                  </a:lnTo>
                  <a:lnTo>
                    <a:pt x="90" y="198"/>
                  </a:lnTo>
                  <a:lnTo>
                    <a:pt x="86" y="198"/>
                  </a:lnTo>
                  <a:lnTo>
                    <a:pt x="90" y="198"/>
                  </a:lnTo>
                  <a:lnTo>
                    <a:pt x="86" y="198"/>
                  </a:lnTo>
                  <a:lnTo>
                    <a:pt x="90" y="198"/>
                  </a:lnTo>
                  <a:lnTo>
                    <a:pt x="86" y="198"/>
                  </a:lnTo>
                  <a:lnTo>
                    <a:pt x="86" y="194"/>
                  </a:lnTo>
                  <a:lnTo>
                    <a:pt x="86" y="198"/>
                  </a:lnTo>
                  <a:lnTo>
                    <a:pt x="82" y="198"/>
                  </a:lnTo>
                  <a:lnTo>
                    <a:pt x="82" y="194"/>
                  </a:lnTo>
                  <a:lnTo>
                    <a:pt x="78" y="194"/>
                  </a:lnTo>
                  <a:lnTo>
                    <a:pt x="78" y="198"/>
                  </a:lnTo>
                  <a:lnTo>
                    <a:pt x="74" y="198"/>
                  </a:lnTo>
                  <a:lnTo>
                    <a:pt x="74" y="202"/>
                  </a:lnTo>
                  <a:lnTo>
                    <a:pt x="74" y="202"/>
                  </a:lnTo>
                  <a:lnTo>
                    <a:pt x="74" y="202"/>
                  </a:lnTo>
                  <a:close/>
                  <a:moveTo>
                    <a:pt x="126" y="164"/>
                  </a:moveTo>
                  <a:lnTo>
                    <a:pt x="126" y="160"/>
                  </a:lnTo>
                  <a:lnTo>
                    <a:pt x="126" y="164"/>
                  </a:lnTo>
                  <a:lnTo>
                    <a:pt x="126" y="164"/>
                  </a:lnTo>
                  <a:lnTo>
                    <a:pt x="126" y="164"/>
                  </a:lnTo>
                  <a:close/>
                  <a:moveTo>
                    <a:pt x="108" y="172"/>
                  </a:moveTo>
                  <a:lnTo>
                    <a:pt x="108" y="168"/>
                  </a:lnTo>
                  <a:lnTo>
                    <a:pt x="112" y="168"/>
                  </a:lnTo>
                  <a:lnTo>
                    <a:pt x="112" y="172"/>
                  </a:lnTo>
                  <a:lnTo>
                    <a:pt x="108" y="172"/>
                  </a:lnTo>
                  <a:lnTo>
                    <a:pt x="108" y="172"/>
                  </a:lnTo>
                  <a:lnTo>
                    <a:pt x="108" y="172"/>
                  </a:lnTo>
                  <a:close/>
                  <a:moveTo>
                    <a:pt x="122" y="208"/>
                  </a:moveTo>
                  <a:lnTo>
                    <a:pt x="122" y="206"/>
                  </a:lnTo>
                  <a:lnTo>
                    <a:pt x="122" y="208"/>
                  </a:lnTo>
                  <a:lnTo>
                    <a:pt x="122" y="208"/>
                  </a:lnTo>
                  <a:lnTo>
                    <a:pt x="122" y="208"/>
                  </a:lnTo>
                  <a:close/>
                  <a:moveTo>
                    <a:pt x="70" y="216"/>
                  </a:moveTo>
                  <a:lnTo>
                    <a:pt x="66" y="212"/>
                  </a:lnTo>
                  <a:lnTo>
                    <a:pt x="70" y="212"/>
                  </a:lnTo>
                  <a:lnTo>
                    <a:pt x="74" y="212"/>
                  </a:lnTo>
                  <a:lnTo>
                    <a:pt x="74" y="216"/>
                  </a:lnTo>
                  <a:lnTo>
                    <a:pt x="70" y="216"/>
                  </a:lnTo>
                  <a:lnTo>
                    <a:pt x="70" y="216"/>
                  </a:lnTo>
                  <a:lnTo>
                    <a:pt x="70" y="216"/>
                  </a:lnTo>
                  <a:close/>
                  <a:moveTo>
                    <a:pt x="60" y="228"/>
                  </a:moveTo>
                  <a:lnTo>
                    <a:pt x="60" y="224"/>
                  </a:lnTo>
                  <a:lnTo>
                    <a:pt x="56" y="228"/>
                  </a:lnTo>
                  <a:lnTo>
                    <a:pt x="56" y="224"/>
                  </a:lnTo>
                  <a:lnTo>
                    <a:pt x="60" y="224"/>
                  </a:lnTo>
                  <a:lnTo>
                    <a:pt x="64" y="224"/>
                  </a:lnTo>
                  <a:lnTo>
                    <a:pt x="60" y="228"/>
                  </a:lnTo>
                  <a:lnTo>
                    <a:pt x="60" y="228"/>
                  </a:lnTo>
                  <a:lnTo>
                    <a:pt x="60" y="228"/>
                  </a:lnTo>
                  <a:close/>
                  <a:moveTo>
                    <a:pt x="42" y="238"/>
                  </a:moveTo>
                  <a:lnTo>
                    <a:pt x="42" y="236"/>
                  </a:lnTo>
                  <a:lnTo>
                    <a:pt x="46" y="236"/>
                  </a:lnTo>
                  <a:lnTo>
                    <a:pt x="46" y="238"/>
                  </a:lnTo>
                  <a:lnTo>
                    <a:pt x="42" y="238"/>
                  </a:lnTo>
                  <a:lnTo>
                    <a:pt x="42" y="238"/>
                  </a:lnTo>
                  <a:lnTo>
                    <a:pt x="42" y="23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56" name="Freeform 49"/>
            <p:cNvSpPr>
              <a:spLocks/>
            </p:cNvSpPr>
            <p:nvPr/>
          </p:nvSpPr>
          <p:spPr bwMode="auto">
            <a:xfrm>
              <a:off x="7492431" y="3864930"/>
              <a:ext cx="6280" cy="16999"/>
            </a:xfrm>
            <a:custGeom>
              <a:avLst/>
              <a:gdLst>
                <a:gd name="T0" fmla="*/ 6 w 10"/>
                <a:gd name="T1" fmla="*/ 26 h 26"/>
                <a:gd name="T2" fmla="*/ 6 w 10"/>
                <a:gd name="T3" fmla="*/ 26 h 26"/>
                <a:gd name="T4" fmla="*/ 6 w 10"/>
                <a:gd name="T5" fmla="*/ 26 h 26"/>
                <a:gd name="T6" fmla="*/ 6 w 10"/>
                <a:gd name="T7" fmla="*/ 26 h 26"/>
                <a:gd name="T8" fmla="*/ 4 w 10"/>
                <a:gd name="T9" fmla="*/ 26 h 26"/>
                <a:gd name="T10" fmla="*/ 4 w 10"/>
                <a:gd name="T11" fmla="*/ 26 h 26"/>
                <a:gd name="T12" fmla="*/ 0 w 10"/>
                <a:gd name="T13" fmla="*/ 26 h 26"/>
                <a:gd name="T14" fmla="*/ 0 w 10"/>
                <a:gd name="T15" fmla="*/ 22 h 26"/>
                <a:gd name="T16" fmla="*/ 0 w 10"/>
                <a:gd name="T17" fmla="*/ 22 h 26"/>
                <a:gd name="T18" fmla="*/ 0 w 10"/>
                <a:gd name="T19" fmla="*/ 22 h 26"/>
                <a:gd name="T20" fmla="*/ 0 w 10"/>
                <a:gd name="T21" fmla="*/ 18 h 26"/>
                <a:gd name="T22" fmla="*/ 0 w 10"/>
                <a:gd name="T23" fmla="*/ 14 h 26"/>
                <a:gd name="T24" fmla="*/ 0 w 10"/>
                <a:gd name="T25" fmla="*/ 10 h 26"/>
                <a:gd name="T26" fmla="*/ 0 w 10"/>
                <a:gd name="T27" fmla="*/ 10 h 26"/>
                <a:gd name="T28" fmla="*/ 0 w 10"/>
                <a:gd name="T29" fmla="*/ 10 h 26"/>
                <a:gd name="T30" fmla="*/ 0 w 10"/>
                <a:gd name="T31" fmla="*/ 10 h 26"/>
                <a:gd name="T32" fmla="*/ 0 w 10"/>
                <a:gd name="T33" fmla="*/ 6 h 26"/>
                <a:gd name="T34" fmla="*/ 0 w 10"/>
                <a:gd name="T35" fmla="*/ 6 h 26"/>
                <a:gd name="T36" fmla="*/ 0 w 10"/>
                <a:gd name="T37" fmla="*/ 6 h 26"/>
                <a:gd name="T38" fmla="*/ 0 w 10"/>
                <a:gd name="T39" fmla="*/ 6 h 26"/>
                <a:gd name="T40" fmla="*/ 0 w 10"/>
                <a:gd name="T41" fmla="*/ 6 h 26"/>
                <a:gd name="T42" fmla="*/ 0 w 10"/>
                <a:gd name="T43" fmla="*/ 2 h 26"/>
                <a:gd name="T44" fmla="*/ 0 w 10"/>
                <a:gd name="T45" fmla="*/ 2 h 26"/>
                <a:gd name="T46" fmla="*/ 0 w 10"/>
                <a:gd name="T47" fmla="*/ 2 h 26"/>
                <a:gd name="T48" fmla="*/ 0 w 10"/>
                <a:gd name="T49" fmla="*/ 2 h 26"/>
                <a:gd name="T50" fmla="*/ 4 w 10"/>
                <a:gd name="T51" fmla="*/ 0 h 26"/>
                <a:gd name="T52" fmla="*/ 4 w 10"/>
                <a:gd name="T53" fmla="*/ 0 h 26"/>
                <a:gd name="T54" fmla="*/ 6 w 10"/>
                <a:gd name="T55" fmla="*/ 0 h 26"/>
                <a:gd name="T56" fmla="*/ 6 w 10"/>
                <a:gd name="T57" fmla="*/ 0 h 26"/>
                <a:gd name="T58" fmla="*/ 6 w 10"/>
                <a:gd name="T59" fmla="*/ 2 h 26"/>
                <a:gd name="T60" fmla="*/ 6 w 10"/>
                <a:gd name="T61" fmla="*/ 2 h 26"/>
                <a:gd name="T62" fmla="*/ 10 w 10"/>
                <a:gd name="T63" fmla="*/ 2 h 26"/>
                <a:gd name="T64" fmla="*/ 10 w 10"/>
                <a:gd name="T65" fmla="*/ 6 h 26"/>
                <a:gd name="T66" fmla="*/ 10 w 10"/>
                <a:gd name="T67" fmla="*/ 6 h 26"/>
                <a:gd name="T68" fmla="*/ 6 w 10"/>
                <a:gd name="T69" fmla="*/ 6 h 26"/>
                <a:gd name="T70" fmla="*/ 6 w 10"/>
                <a:gd name="T71" fmla="*/ 10 h 26"/>
                <a:gd name="T72" fmla="*/ 6 w 10"/>
                <a:gd name="T73" fmla="*/ 10 h 26"/>
                <a:gd name="T74" fmla="*/ 10 w 10"/>
                <a:gd name="T75" fmla="*/ 10 h 26"/>
                <a:gd name="T76" fmla="*/ 6 w 10"/>
                <a:gd name="T77" fmla="*/ 14 h 26"/>
                <a:gd name="T78" fmla="*/ 10 w 10"/>
                <a:gd name="T79" fmla="*/ 14 h 26"/>
                <a:gd name="T80" fmla="*/ 10 w 10"/>
                <a:gd name="T81" fmla="*/ 14 h 26"/>
                <a:gd name="T82" fmla="*/ 10 w 10"/>
                <a:gd name="T83" fmla="*/ 14 h 26"/>
                <a:gd name="T84" fmla="*/ 10 w 10"/>
                <a:gd name="T85" fmla="*/ 22 h 26"/>
                <a:gd name="T86" fmla="*/ 6 w 10"/>
                <a:gd name="T87" fmla="*/ 22 h 26"/>
                <a:gd name="T88" fmla="*/ 6 w 10"/>
                <a:gd name="T89" fmla="*/ 22 h 26"/>
                <a:gd name="T90" fmla="*/ 6 w 10"/>
                <a:gd name="T9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 h="26">
                  <a:moveTo>
                    <a:pt x="6" y="22"/>
                  </a:moveTo>
                  <a:lnTo>
                    <a:pt x="6" y="26"/>
                  </a:lnTo>
                  <a:lnTo>
                    <a:pt x="6" y="26"/>
                  </a:lnTo>
                  <a:lnTo>
                    <a:pt x="6" y="26"/>
                  </a:lnTo>
                  <a:lnTo>
                    <a:pt x="6" y="26"/>
                  </a:lnTo>
                  <a:lnTo>
                    <a:pt x="6" y="26"/>
                  </a:lnTo>
                  <a:lnTo>
                    <a:pt x="6" y="26"/>
                  </a:lnTo>
                  <a:lnTo>
                    <a:pt x="6" y="26"/>
                  </a:lnTo>
                  <a:lnTo>
                    <a:pt x="4" y="26"/>
                  </a:lnTo>
                  <a:lnTo>
                    <a:pt x="4" y="26"/>
                  </a:lnTo>
                  <a:lnTo>
                    <a:pt x="4" y="26"/>
                  </a:lnTo>
                  <a:lnTo>
                    <a:pt x="4" y="26"/>
                  </a:lnTo>
                  <a:lnTo>
                    <a:pt x="4" y="26"/>
                  </a:lnTo>
                  <a:lnTo>
                    <a:pt x="0" y="26"/>
                  </a:lnTo>
                  <a:lnTo>
                    <a:pt x="0" y="26"/>
                  </a:lnTo>
                  <a:lnTo>
                    <a:pt x="0" y="22"/>
                  </a:lnTo>
                  <a:lnTo>
                    <a:pt x="0" y="22"/>
                  </a:lnTo>
                  <a:lnTo>
                    <a:pt x="0" y="22"/>
                  </a:lnTo>
                  <a:lnTo>
                    <a:pt x="0" y="22"/>
                  </a:lnTo>
                  <a:lnTo>
                    <a:pt x="0" y="22"/>
                  </a:lnTo>
                  <a:lnTo>
                    <a:pt x="0" y="18"/>
                  </a:lnTo>
                  <a:lnTo>
                    <a:pt x="0" y="18"/>
                  </a:lnTo>
                  <a:lnTo>
                    <a:pt x="0" y="14"/>
                  </a:lnTo>
                  <a:lnTo>
                    <a:pt x="0"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6"/>
                  </a:lnTo>
                  <a:lnTo>
                    <a:pt x="0" y="6"/>
                  </a:lnTo>
                  <a:lnTo>
                    <a:pt x="0" y="6"/>
                  </a:lnTo>
                  <a:lnTo>
                    <a:pt x="0" y="6"/>
                  </a:lnTo>
                  <a:lnTo>
                    <a:pt x="0" y="6"/>
                  </a:lnTo>
                  <a:lnTo>
                    <a:pt x="0" y="2"/>
                  </a:lnTo>
                  <a:lnTo>
                    <a:pt x="0" y="2"/>
                  </a:lnTo>
                  <a:lnTo>
                    <a:pt x="0" y="2"/>
                  </a:lnTo>
                  <a:lnTo>
                    <a:pt x="0" y="2"/>
                  </a:lnTo>
                  <a:lnTo>
                    <a:pt x="0" y="2"/>
                  </a:lnTo>
                  <a:lnTo>
                    <a:pt x="0" y="2"/>
                  </a:lnTo>
                  <a:lnTo>
                    <a:pt x="0" y="2"/>
                  </a:lnTo>
                  <a:lnTo>
                    <a:pt x="0" y="2"/>
                  </a:lnTo>
                  <a:lnTo>
                    <a:pt x="4" y="0"/>
                  </a:lnTo>
                  <a:lnTo>
                    <a:pt x="4" y="0"/>
                  </a:lnTo>
                  <a:lnTo>
                    <a:pt x="4" y="0"/>
                  </a:lnTo>
                  <a:lnTo>
                    <a:pt x="4" y="0"/>
                  </a:lnTo>
                  <a:lnTo>
                    <a:pt x="6" y="0"/>
                  </a:lnTo>
                  <a:lnTo>
                    <a:pt x="6" y="0"/>
                  </a:lnTo>
                  <a:lnTo>
                    <a:pt x="6" y="0"/>
                  </a:lnTo>
                  <a:lnTo>
                    <a:pt x="6" y="0"/>
                  </a:lnTo>
                  <a:lnTo>
                    <a:pt x="6" y="0"/>
                  </a:lnTo>
                  <a:lnTo>
                    <a:pt x="6" y="2"/>
                  </a:lnTo>
                  <a:lnTo>
                    <a:pt x="6" y="2"/>
                  </a:lnTo>
                  <a:lnTo>
                    <a:pt x="6" y="2"/>
                  </a:lnTo>
                  <a:lnTo>
                    <a:pt x="10" y="2"/>
                  </a:lnTo>
                  <a:lnTo>
                    <a:pt x="10" y="2"/>
                  </a:lnTo>
                  <a:lnTo>
                    <a:pt x="10" y="2"/>
                  </a:lnTo>
                  <a:lnTo>
                    <a:pt x="10" y="6"/>
                  </a:lnTo>
                  <a:lnTo>
                    <a:pt x="10" y="6"/>
                  </a:lnTo>
                  <a:lnTo>
                    <a:pt x="10" y="6"/>
                  </a:lnTo>
                  <a:lnTo>
                    <a:pt x="6" y="6"/>
                  </a:lnTo>
                  <a:lnTo>
                    <a:pt x="6" y="6"/>
                  </a:lnTo>
                  <a:lnTo>
                    <a:pt x="6" y="6"/>
                  </a:lnTo>
                  <a:lnTo>
                    <a:pt x="6" y="10"/>
                  </a:lnTo>
                  <a:lnTo>
                    <a:pt x="6" y="10"/>
                  </a:lnTo>
                  <a:lnTo>
                    <a:pt x="6" y="10"/>
                  </a:lnTo>
                  <a:lnTo>
                    <a:pt x="10" y="10"/>
                  </a:lnTo>
                  <a:lnTo>
                    <a:pt x="10" y="10"/>
                  </a:lnTo>
                  <a:lnTo>
                    <a:pt x="6" y="14"/>
                  </a:lnTo>
                  <a:lnTo>
                    <a:pt x="6" y="14"/>
                  </a:lnTo>
                  <a:lnTo>
                    <a:pt x="10" y="14"/>
                  </a:lnTo>
                  <a:lnTo>
                    <a:pt x="10" y="14"/>
                  </a:lnTo>
                  <a:lnTo>
                    <a:pt x="10" y="14"/>
                  </a:lnTo>
                  <a:lnTo>
                    <a:pt x="10" y="14"/>
                  </a:lnTo>
                  <a:lnTo>
                    <a:pt x="10" y="14"/>
                  </a:lnTo>
                  <a:lnTo>
                    <a:pt x="10" y="14"/>
                  </a:lnTo>
                  <a:lnTo>
                    <a:pt x="10" y="18"/>
                  </a:lnTo>
                  <a:lnTo>
                    <a:pt x="10" y="22"/>
                  </a:lnTo>
                  <a:lnTo>
                    <a:pt x="10" y="22"/>
                  </a:lnTo>
                  <a:lnTo>
                    <a:pt x="6" y="22"/>
                  </a:lnTo>
                  <a:lnTo>
                    <a:pt x="6" y="22"/>
                  </a:lnTo>
                  <a:lnTo>
                    <a:pt x="6" y="22"/>
                  </a:lnTo>
                  <a:lnTo>
                    <a:pt x="6" y="22"/>
                  </a:lnTo>
                  <a:lnTo>
                    <a:pt x="6" y="2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57" name="Freeform 50"/>
            <p:cNvSpPr>
              <a:spLocks noEditPoints="1"/>
            </p:cNvSpPr>
            <p:nvPr/>
          </p:nvSpPr>
          <p:spPr bwMode="auto">
            <a:xfrm>
              <a:off x="7346739" y="3791705"/>
              <a:ext cx="187138" cy="184369"/>
            </a:xfrm>
            <a:custGeom>
              <a:avLst/>
              <a:gdLst>
                <a:gd name="T0" fmla="*/ 232 w 298"/>
                <a:gd name="T1" fmla="*/ 240 h 282"/>
                <a:gd name="T2" fmla="*/ 186 w 298"/>
                <a:gd name="T3" fmla="*/ 264 h 282"/>
                <a:gd name="T4" fmla="*/ 172 w 298"/>
                <a:gd name="T5" fmla="*/ 268 h 282"/>
                <a:gd name="T6" fmla="*/ 142 w 298"/>
                <a:gd name="T7" fmla="*/ 264 h 282"/>
                <a:gd name="T8" fmla="*/ 130 w 298"/>
                <a:gd name="T9" fmla="*/ 264 h 282"/>
                <a:gd name="T10" fmla="*/ 122 w 298"/>
                <a:gd name="T11" fmla="*/ 270 h 282"/>
                <a:gd name="T12" fmla="*/ 120 w 298"/>
                <a:gd name="T13" fmla="*/ 282 h 282"/>
                <a:gd name="T14" fmla="*/ 112 w 298"/>
                <a:gd name="T15" fmla="*/ 274 h 282"/>
                <a:gd name="T16" fmla="*/ 112 w 298"/>
                <a:gd name="T17" fmla="*/ 268 h 282"/>
                <a:gd name="T18" fmla="*/ 104 w 298"/>
                <a:gd name="T19" fmla="*/ 256 h 282"/>
                <a:gd name="T20" fmla="*/ 96 w 298"/>
                <a:gd name="T21" fmla="*/ 248 h 282"/>
                <a:gd name="T22" fmla="*/ 96 w 298"/>
                <a:gd name="T23" fmla="*/ 238 h 282"/>
                <a:gd name="T24" fmla="*/ 90 w 298"/>
                <a:gd name="T25" fmla="*/ 226 h 282"/>
                <a:gd name="T26" fmla="*/ 82 w 298"/>
                <a:gd name="T27" fmla="*/ 218 h 282"/>
                <a:gd name="T28" fmla="*/ 74 w 298"/>
                <a:gd name="T29" fmla="*/ 212 h 282"/>
                <a:gd name="T30" fmla="*/ 66 w 298"/>
                <a:gd name="T31" fmla="*/ 204 h 282"/>
                <a:gd name="T32" fmla="*/ 64 w 298"/>
                <a:gd name="T33" fmla="*/ 190 h 282"/>
                <a:gd name="T34" fmla="*/ 64 w 298"/>
                <a:gd name="T35" fmla="*/ 174 h 282"/>
                <a:gd name="T36" fmla="*/ 64 w 298"/>
                <a:gd name="T37" fmla="*/ 168 h 282"/>
                <a:gd name="T38" fmla="*/ 56 w 298"/>
                <a:gd name="T39" fmla="*/ 152 h 282"/>
                <a:gd name="T40" fmla="*/ 44 w 298"/>
                <a:gd name="T41" fmla="*/ 142 h 282"/>
                <a:gd name="T42" fmla="*/ 40 w 298"/>
                <a:gd name="T43" fmla="*/ 138 h 282"/>
                <a:gd name="T44" fmla="*/ 36 w 298"/>
                <a:gd name="T45" fmla="*/ 126 h 282"/>
                <a:gd name="T46" fmla="*/ 34 w 298"/>
                <a:gd name="T47" fmla="*/ 118 h 282"/>
                <a:gd name="T48" fmla="*/ 26 w 298"/>
                <a:gd name="T49" fmla="*/ 112 h 282"/>
                <a:gd name="T50" fmla="*/ 22 w 298"/>
                <a:gd name="T51" fmla="*/ 96 h 282"/>
                <a:gd name="T52" fmla="*/ 14 w 298"/>
                <a:gd name="T53" fmla="*/ 90 h 282"/>
                <a:gd name="T54" fmla="*/ 10 w 298"/>
                <a:gd name="T55" fmla="*/ 78 h 282"/>
                <a:gd name="T56" fmla="*/ 4 w 298"/>
                <a:gd name="T57" fmla="*/ 70 h 282"/>
                <a:gd name="T58" fmla="*/ 4 w 298"/>
                <a:gd name="T59" fmla="*/ 56 h 282"/>
                <a:gd name="T60" fmla="*/ 22 w 298"/>
                <a:gd name="T61" fmla="*/ 56 h 282"/>
                <a:gd name="T62" fmla="*/ 36 w 298"/>
                <a:gd name="T63" fmla="*/ 40 h 282"/>
                <a:gd name="T64" fmla="*/ 44 w 298"/>
                <a:gd name="T65" fmla="*/ 22 h 282"/>
                <a:gd name="T66" fmla="*/ 36 w 298"/>
                <a:gd name="T67" fmla="*/ 10 h 282"/>
                <a:gd name="T68" fmla="*/ 56 w 298"/>
                <a:gd name="T69" fmla="*/ 8 h 282"/>
                <a:gd name="T70" fmla="*/ 78 w 298"/>
                <a:gd name="T71" fmla="*/ 4 h 282"/>
                <a:gd name="T72" fmla="*/ 120 w 298"/>
                <a:gd name="T73" fmla="*/ 30 h 282"/>
                <a:gd name="T74" fmla="*/ 164 w 298"/>
                <a:gd name="T75" fmla="*/ 56 h 282"/>
                <a:gd name="T76" fmla="*/ 182 w 298"/>
                <a:gd name="T77" fmla="*/ 60 h 282"/>
                <a:gd name="T78" fmla="*/ 198 w 298"/>
                <a:gd name="T79" fmla="*/ 66 h 282"/>
                <a:gd name="T80" fmla="*/ 202 w 298"/>
                <a:gd name="T81" fmla="*/ 78 h 282"/>
                <a:gd name="T82" fmla="*/ 206 w 298"/>
                <a:gd name="T83" fmla="*/ 86 h 282"/>
                <a:gd name="T84" fmla="*/ 206 w 298"/>
                <a:gd name="T85" fmla="*/ 86 h 282"/>
                <a:gd name="T86" fmla="*/ 212 w 298"/>
                <a:gd name="T87" fmla="*/ 96 h 282"/>
                <a:gd name="T88" fmla="*/ 220 w 298"/>
                <a:gd name="T89" fmla="*/ 104 h 282"/>
                <a:gd name="T90" fmla="*/ 220 w 298"/>
                <a:gd name="T91" fmla="*/ 112 h 282"/>
                <a:gd name="T92" fmla="*/ 224 w 298"/>
                <a:gd name="T93" fmla="*/ 122 h 282"/>
                <a:gd name="T94" fmla="*/ 232 w 298"/>
                <a:gd name="T95" fmla="*/ 134 h 282"/>
                <a:gd name="T96" fmla="*/ 238 w 298"/>
                <a:gd name="T97" fmla="*/ 142 h 282"/>
                <a:gd name="T98" fmla="*/ 242 w 298"/>
                <a:gd name="T99" fmla="*/ 144 h 282"/>
                <a:gd name="T100" fmla="*/ 294 w 298"/>
                <a:gd name="T101" fmla="*/ 198 h 282"/>
                <a:gd name="T102" fmla="*/ 104 w 298"/>
                <a:gd name="T103" fmla="*/ 270 h 282"/>
                <a:gd name="T104" fmla="*/ 104 w 298"/>
                <a:gd name="T105" fmla="*/ 270 h 282"/>
                <a:gd name="T106" fmla="*/ 100 w 298"/>
                <a:gd name="T107" fmla="*/ 274 h 282"/>
                <a:gd name="T108" fmla="*/ 108 w 298"/>
                <a:gd name="T109" fmla="*/ 27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8" h="282">
                  <a:moveTo>
                    <a:pt x="290" y="218"/>
                  </a:moveTo>
                  <a:lnTo>
                    <a:pt x="246" y="238"/>
                  </a:lnTo>
                  <a:lnTo>
                    <a:pt x="236" y="238"/>
                  </a:lnTo>
                  <a:lnTo>
                    <a:pt x="232" y="240"/>
                  </a:lnTo>
                  <a:lnTo>
                    <a:pt x="206" y="240"/>
                  </a:lnTo>
                  <a:lnTo>
                    <a:pt x="194" y="252"/>
                  </a:lnTo>
                  <a:lnTo>
                    <a:pt x="190" y="260"/>
                  </a:lnTo>
                  <a:lnTo>
                    <a:pt x="186" y="264"/>
                  </a:lnTo>
                  <a:lnTo>
                    <a:pt x="182" y="270"/>
                  </a:lnTo>
                  <a:lnTo>
                    <a:pt x="180" y="270"/>
                  </a:lnTo>
                  <a:lnTo>
                    <a:pt x="176" y="270"/>
                  </a:lnTo>
                  <a:lnTo>
                    <a:pt x="172" y="268"/>
                  </a:lnTo>
                  <a:lnTo>
                    <a:pt x="168" y="268"/>
                  </a:lnTo>
                  <a:lnTo>
                    <a:pt x="164" y="268"/>
                  </a:lnTo>
                  <a:lnTo>
                    <a:pt x="152" y="264"/>
                  </a:lnTo>
                  <a:lnTo>
                    <a:pt x="142" y="264"/>
                  </a:lnTo>
                  <a:lnTo>
                    <a:pt x="138" y="264"/>
                  </a:lnTo>
                  <a:lnTo>
                    <a:pt x="134" y="264"/>
                  </a:lnTo>
                  <a:lnTo>
                    <a:pt x="134" y="268"/>
                  </a:lnTo>
                  <a:lnTo>
                    <a:pt x="130" y="264"/>
                  </a:lnTo>
                  <a:lnTo>
                    <a:pt x="126" y="264"/>
                  </a:lnTo>
                  <a:lnTo>
                    <a:pt x="122" y="264"/>
                  </a:lnTo>
                  <a:lnTo>
                    <a:pt x="122" y="268"/>
                  </a:lnTo>
                  <a:lnTo>
                    <a:pt x="122" y="270"/>
                  </a:lnTo>
                  <a:lnTo>
                    <a:pt x="122" y="274"/>
                  </a:lnTo>
                  <a:lnTo>
                    <a:pt x="122" y="278"/>
                  </a:lnTo>
                  <a:lnTo>
                    <a:pt x="120" y="278"/>
                  </a:lnTo>
                  <a:lnTo>
                    <a:pt x="120" y="282"/>
                  </a:lnTo>
                  <a:lnTo>
                    <a:pt x="116" y="282"/>
                  </a:lnTo>
                  <a:lnTo>
                    <a:pt x="116" y="278"/>
                  </a:lnTo>
                  <a:lnTo>
                    <a:pt x="116" y="274"/>
                  </a:lnTo>
                  <a:lnTo>
                    <a:pt x="112" y="274"/>
                  </a:lnTo>
                  <a:lnTo>
                    <a:pt x="112" y="270"/>
                  </a:lnTo>
                  <a:lnTo>
                    <a:pt x="112" y="268"/>
                  </a:lnTo>
                  <a:lnTo>
                    <a:pt x="112" y="270"/>
                  </a:lnTo>
                  <a:lnTo>
                    <a:pt x="112" y="268"/>
                  </a:lnTo>
                  <a:lnTo>
                    <a:pt x="112" y="264"/>
                  </a:lnTo>
                  <a:lnTo>
                    <a:pt x="108" y="264"/>
                  </a:lnTo>
                  <a:lnTo>
                    <a:pt x="108" y="260"/>
                  </a:lnTo>
                  <a:lnTo>
                    <a:pt x="104" y="256"/>
                  </a:lnTo>
                  <a:lnTo>
                    <a:pt x="100" y="256"/>
                  </a:lnTo>
                  <a:lnTo>
                    <a:pt x="100" y="252"/>
                  </a:lnTo>
                  <a:lnTo>
                    <a:pt x="100" y="248"/>
                  </a:lnTo>
                  <a:lnTo>
                    <a:pt x="96" y="248"/>
                  </a:lnTo>
                  <a:lnTo>
                    <a:pt x="96" y="244"/>
                  </a:lnTo>
                  <a:lnTo>
                    <a:pt x="96" y="240"/>
                  </a:lnTo>
                  <a:lnTo>
                    <a:pt x="92" y="240"/>
                  </a:lnTo>
                  <a:lnTo>
                    <a:pt x="96" y="238"/>
                  </a:lnTo>
                  <a:lnTo>
                    <a:pt x="92" y="238"/>
                  </a:lnTo>
                  <a:lnTo>
                    <a:pt x="92" y="234"/>
                  </a:lnTo>
                  <a:lnTo>
                    <a:pt x="90" y="230"/>
                  </a:lnTo>
                  <a:lnTo>
                    <a:pt x="90" y="226"/>
                  </a:lnTo>
                  <a:lnTo>
                    <a:pt x="90" y="222"/>
                  </a:lnTo>
                  <a:lnTo>
                    <a:pt x="86" y="222"/>
                  </a:lnTo>
                  <a:lnTo>
                    <a:pt x="86" y="218"/>
                  </a:lnTo>
                  <a:lnTo>
                    <a:pt x="82" y="218"/>
                  </a:lnTo>
                  <a:lnTo>
                    <a:pt x="82" y="214"/>
                  </a:lnTo>
                  <a:lnTo>
                    <a:pt x="78" y="214"/>
                  </a:lnTo>
                  <a:lnTo>
                    <a:pt x="74" y="214"/>
                  </a:lnTo>
                  <a:lnTo>
                    <a:pt x="74" y="212"/>
                  </a:lnTo>
                  <a:lnTo>
                    <a:pt x="70" y="212"/>
                  </a:lnTo>
                  <a:lnTo>
                    <a:pt x="70" y="208"/>
                  </a:lnTo>
                  <a:lnTo>
                    <a:pt x="70" y="204"/>
                  </a:lnTo>
                  <a:lnTo>
                    <a:pt x="66" y="204"/>
                  </a:lnTo>
                  <a:lnTo>
                    <a:pt x="66" y="200"/>
                  </a:lnTo>
                  <a:lnTo>
                    <a:pt x="64" y="198"/>
                  </a:lnTo>
                  <a:lnTo>
                    <a:pt x="66" y="194"/>
                  </a:lnTo>
                  <a:lnTo>
                    <a:pt x="64" y="190"/>
                  </a:lnTo>
                  <a:lnTo>
                    <a:pt x="64" y="186"/>
                  </a:lnTo>
                  <a:lnTo>
                    <a:pt x="64" y="182"/>
                  </a:lnTo>
                  <a:lnTo>
                    <a:pt x="64" y="178"/>
                  </a:lnTo>
                  <a:lnTo>
                    <a:pt x="64" y="174"/>
                  </a:lnTo>
                  <a:lnTo>
                    <a:pt x="64" y="172"/>
                  </a:lnTo>
                  <a:lnTo>
                    <a:pt x="64" y="168"/>
                  </a:lnTo>
                  <a:lnTo>
                    <a:pt x="60" y="168"/>
                  </a:lnTo>
                  <a:lnTo>
                    <a:pt x="64" y="168"/>
                  </a:lnTo>
                  <a:lnTo>
                    <a:pt x="60" y="164"/>
                  </a:lnTo>
                  <a:lnTo>
                    <a:pt x="60" y="160"/>
                  </a:lnTo>
                  <a:lnTo>
                    <a:pt x="56" y="156"/>
                  </a:lnTo>
                  <a:lnTo>
                    <a:pt x="56" y="152"/>
                  </a:lnTo>
                  <a:lnTo>
                    <a:pt x="52" y="148"/>
                  </a:lnTo>
                  <a:lnTo>
                    <a:pt x="48" y="144"/>
                  </a:lnTo>
                  <a:lnTo>
                    <a:pt x="44" y="144"/>
                  </a:lnTo>
                  <a:lnTo>
                    <a:pt x="44" y="142"/>
                  </a:lnTo>
                  <a:lnTo>
                    <a:pt x="44" y="144"/>
                  </a:lnTo>
                  <a:lnTo>
                    <a:pt x="40" y="144"/>
                  </a:lnTo>
                  <a:lnTo>
                    <a:pt x="40" y="142"/>
                  </a:lnTo>
                  <a:lnTo>
                    <a:pt x="40" y="138"/>
                  </a:lnTo>
                  <a:lnTo>
                    <a:pt x="36" y="138"/>
                  </a:lnTo>
                  <a:lnTo>
                    <a:pt x="36" y="134"/>
                  </a:lnTo>
                  <a:lnTo>
                    <a:pt x="36" y="130"/>
                  </a:lnTo>
                  <a:lnTo>
                    <a:pt x="36" y="126"/>
                  </a:lnTo>
                  <a:lnTo>
                    <a:pt x="36" y="122"/>
                  </a:lnTo>
                  <a:lnTo>
                    <a:pt x="34" y="118"/>
                  </a:lnTo>
                  <a:lnTo>
                    <a:pt x="34" y="116"/>
                  </a:lnTo>
                  <a:lnTo>
                    <a:pt x="34" y="118"/>
                  </a:lnTo>
                  <a:lnTo>
                    <a:pt x="30" y="118"/>
                  </a:lnTo>
                  <a:lnTo>
                    <a:pt x="30" y="116"/>
                  </a:lnTo>
                  <a:lnTo>
                    <a:pt x="30" y="112"/>
                  </a:lnTo>
                  <a:lnTo>
                    <a:pt x="26" y="112"/>
                  </a:lnTo>
                  <a:lnTo>
                    <a:pt x="26" y="108"/>
                  </a:lnTo>
                  <a:lnTo>
                    <a:pt x="26" y="104"/>
                  </a:lnTo>
                  <a:lnTo>
                    <a:pt x="22" y="100"/>
                  </a:lnTo>
                  <a:lnTo>
                    <a:pt x="22" y="96"/>
                  </a:lnTo>
                  <a:lnTo>
                    <a:pt x="18" y="96"/>
                  </a:lnTo>
                  <a:lnTo>
                    <a:pt x="18" y="92"/>
                  </a:lnTo>
                  <a:lnTo>
                    <a:pt x="18" y="90"/>
                  </a:lnTo>
                  <a:lnTo>
                    <a:pt x="14" y="90"/>
                  </a:lnTo>
                  <a:lnTo>
                    <a:pt x="14" y="86"/>
                  </a:lnTo>
                  <a:lnTo>
                    <a:pt x="14" y="82"/>
                  </a:lnTo>
                  <a:lnTo>
                    <a:pt x="10" y="82"/>
                  </a:lnTo>
                  <a:lnTo>
                    <a:pt x="10" y="78"/>
                  </a:lnTo>
                  <a:lnTo>
                    <a:pt x="6" y="74"/>
                  </a:lnTo>
                  <a:lnTo>
                    <a:pt x="4" y="74"/>
                  </a:lnTo>
                  <a:lnTo>
                    <a:pt x="0" y="74"/>
                  </a:lnTo>
                  <a:lnTo>
                    <a:pt x="4" y="70"/>
                  </a:lnTo>
                  <a:lnTo>
                    <a:pt x="4" y="66"/>
                  </a:lnTo>
                  <a:lnTo>
                    <a:pt x="4" y="64"/>
                  </a:lnTo>
                  <a:lnTo>
                    <a:pt x="4" y="60"/>
                  </a:lnTo>
                  <a:lnTo>
                    <a:pt x="4" y="56"/>
                  </a:lnTo>
                  <a:lnTo>
                    <a:pt x="6" y="52"/>
                  </a:lnTo>
                  <a:lnTo>
                    <a:pt x="10" y="52"/>
                  </a:lnTo>
                  <a:lnTo>
                    <a:pt x="14" y="52"/>
                  </a:lnTo>
                  <a:lnTo>
                    <a:pt x="22" y="56"/>
                  </a:lnTo>
                  <a:lnTo>
                    <a:pt x="26" y="52"/>
                  </a:lnTo>
                  <a:lnTo>
                    <a:pt x="30" y="48"/>
                  </a:lnTo>
                  <a:lnTo>
                    <a:pt x="30" y="44"/>
                  </a:lnTo>
                  <a:lnTo>
                    <a:pt x="36" y="40"/>
                  </a:lnTo>
                  <a:lnTo>
                    <a:pt x="40" y="40"/>
                  </a:lnTo>
                  <a:lnTo>
                    <a:pt x="44" y="34"/>
                  </a:lnTo>
                  <a:lnTo>
                    <a:pt x="48" y="30"/>
                  </a:lnTo>
                  <a:lnTo>
                    <a:pt x="44" y="22"/>
                  </a:lnTo>
                  <a:lnTo>
                    <a:pt x="40" y="22"/>
                  </a:lnTo>
                  <a:lnTo>
                    <a:pt x="40" y="18"/>
                  </a:lnTo>
                  <a:lnTo>
                    <a:pt x="34" y="10"/>
                  </a:lnTo>
                  <a:lnTo>
                    <a:pt x="36" y="10"/>
                  </a:lnTo>
                  <a:lnTo>
                    <a:pt x="40" y="10"/>
                  </a:lnTo>
                  <a:lnTo>
                    <a:pt x="44" y="10"/>
                  </a:lnTo>
                  <a:lnTo>
                    <a:pt x="48" y="8"/>
                  </a:lnTo>
                  <a:lnTo>
                    <a:pt x="56" y="8"/>
                  </a:lnTo>
                  <a:lnTo>
                    <a:pt x="64" y="4"/>
                  </a:lnTo>
                  <a:lnTo>
                    <a:pt x="66" y="0"/>
                  </a:lnTo>
                  <a:lnTo>
                    <a:pt x="70" y="0"/>
                  </a:lnTo>
                  <a:lnTo>
                    <a:pt x="78" y="4"/>
                  </a:lnTo>
                  <a:lnTo>
                    <a:pt x="82" y="4"/>
                  </a:lnTo>
                  <a:lnTo>
                    <a:pt x="96" y="14"/>
                  </a:lnTo>
                  <a:lnTo>
                    <a:pt x="108" y="18"/>
                  </a:lnTo>
                  <a:lnTo>
                    <a:pt x="120" y="30"/>
                  </a:lnTo>
                  <a:lnTo>
                    <a:pt x="120" y="34"/>
                  </a:lnTo>
                  <a:lnTo>
                    <a:pt x="130" y="40"/>
                  </a:lnTo>
                  <a:lnTo>
                    <a:pt x="146" y="56"/>
                  </a:lnTo>
                  <a:lnTo>
                    <a:pt x="164" y="56"/>
                  </a:lnTo>
                  <a:lnTo>
                    <a:pt x="168" y="56"/>
                  </a:lnTo>
                  <a:lnTo>
                    <a:pt x="172" y="56"/>
                  </a:lnTo>
                  <a:lnTo>
                    <a:pt x="176" y="56"/>
                  </a:lnTo>
                  <a:lnTo>
                    <a:pt x="182" y="60"/>
                  </a:lnTo>
                  <a:lnTo>
                    <a:pt x="186" y="64"/>
                  </a:lnTo>
                  <a:lnTo>
                    <a:pt x="186" y="66"/>
                  </a:lnTo>
                  <a:lnTo>
                    <a:pt x="194" y="66"/>
                  </a:lnTo>
                  <a:lnTo>
                    <a:pt x="198" y="66"/>
                  </a:lnTo>
                  <a:lnTo>
                    <a:pt x="198" y="70"/>
                  </a:lnTo>
                  <a:lnTo>
                    <a:pt x="198" y="74"/>
                  </a:lnTo>
                  <a:lnTo>
                    <a:pt x="202" y="74"/>
                  </a:lnTo>
                  <a:lnTo>
                    <a:pt x="202" y="78"/>
                  </a:lnTo>
                  <a:lnTo>
                    <a:pt x="202" y="82"/>
                  </a:lnTo>
                  <a:lnTo>
                    <a:pt x="202" y="78"/>
                  </a:lnTo>
                  <a:lnTo>
                    <a:pt x="202" y="82"/>
                  </a:lnTo>
                  <a:lnTo>
                    <a:pt x="206" y="86"/>
                  </a:lnTo>
                  <a:lnTo>
                    <a:pt x="206" y="82"/>
                  </a:lnTo>
                  <a:lnTo>
                    <a:pt x="206" y="86"/>
                  </a:lnTo>
                  <a:lnTo>
                    <a:pt x="210" y="86"/>
                  </a:lnTo>
                  <a:lnTo>
                    <a:pt x="206" y="86"/>
                  </a:lnTo>
                  <a:lnTo>
                    <a:pt x="210" y="90"/>
                  </a:lnTo>
                  <a:lnTo>
                    <a:pt x="210" y="92"/>
                  </a:lnTo>
                  <a:lnTo>
                    <a:pt x="212" y="92"/>
                  </a:lnTo>
                  <a:lnTo>
                    <a:pt x="212" y="96"/>
                  </a:lnTo>
                  <a:lnTo>
                    <a:pt x="216" y="96"/>
                  </a:lnTo>
                  <a:lnTo>
                    <a:pt x="220" y="96"/>
                  </a:lnTo>
                  <a:lnTo>
                    <a:pt x="220" y="100"/>
                  </a:lnTo>
                  <a:lnTo>
                    <a:pt x="220" y="104"/>
                  </a:lnTo>
                  <a:lnTo>
                    <a:pt x="224" y="108"/>
                  </a:lnTo>
                  <a:lnTo>
                    <a:pt x="220" y="112"/>
                  </a:lnTo>
                  <a:lnTo>
                    <a:pt x="220" y="108"/>
                  </a:lnTo>
                  <a:lnTo>
                    <a:pt x="220" y="112"/>
                  </a:lnTo>
                  <a:lnTo>
                    <a:pt x="220" y="116"/>
                  </a:lnTo>
                  <a:lnTo>
                    <a:pt x="224" y="118"/>
                  </a:lnTo>
                  <a:lnTo>
                    <a:pt x="220" y="118"/>
                  </a:lnTo>
                  <a:lnTo>
                    <a:pt x="224" y="122"/>
                  </a:lnTo>
                  <a:lnTo>
                    <a:pt x="228" y="122"/>
                  </a:lnTo>
                  <a:lnTo>
                    <a:pt x="228" y="126"/>
                  </a:lnTo>
                  <a:lnTo>
                    <a:pt x="228" y="130"/>
                  </a:lnTo>
                  <a:lnTo>
                    <a:pt x="232" y="134"/>
                  </a:lnTo>
                  <a:lnTo>
                    <a:pt x="232" y="138"/>
                  </a:lnTo>
                  <a:lnTo>
                    <a:pt x="236" y="138"/>
                  </a:lnTo>
                  <a:lnTo>
                    <a:pt x="238" y="138"/>
                  </a:lnTo>
                  <a:lnTo>
                    <a:pt x="238" y="142"/>
                  </a:lnTo>
                  <a:lnTo>
                    <a:pt x="238" y="144"/>
                  </a:lnTo>
                  <a:lnTo>
                    <a:pt x="238" y="142"/>
                  </a:lnTo>
                  <a:lnTo>
                    <a:pt x="238" y="144"/>
                  </a:lnTo>
                  <a:lnTo>
                    <a:pt x="242" y="144"/>
                  </a:lnTo>
                  <a:lnTo>
                    <a:pt x="256" y="168"/>
                  </a:lnTo>
                  <a:lnTo>
                    <a:pt x="290" y="172"/>
                  </a:lnTo>
                  <a:lnTo>
                    <a:pt x="298" y="182"/>
                  </a:lnTo>
                  <a:lnTo>
                    <a:pt x="294" y="198"/>
                  </a:lnTo>
                  <a:lnTo>
                    <a:pt x="290" y="218"/>
                  </a:lnTo>
                  <a:lnTo>
                    <a:pt x="290" y="218"/>
                  </a:lnTo>
                  <a:lnTo>
                    <a:pt x="290" y="218"/>
                  </a:lnTo>
                  <a:close/>
                  <a:moveTo>
                    <a:pt x="104" y="270"/>
                  </a:moveTo>
                  <a:lnTo>
                    <a:pt x="104" y="274"/>
                  </a:lnTo>
                  <a:lnTo>
                    <a:pt x="104" y="270"/>
                  </a:lnTo>
                  <a:lnTo>
                    <a:pt x="104" y="270"/>
                  </a:lnTo>
                  <a:lnTo>
                    <a:pt x="104" y="270"/>
                  </a:lnTo>
                  <a:close/>
                  <a:moveTo>
                    <a:pt x="108" y="278"/>
                  </a:moveTo>
                  <a:lnTo>
                    <a:pt x="104" y="278"/>
                  </a:lnTo>
                  <a:lnTo>
                    <a:pt x="104" y="274"/>
                  </a:lnTo>
                  <a:lnTo>
                    <a:pt x="100" y="274"/>
                  </a:lnTo>
                  <a:lnTo>
                    <a:pt x="104" y="274"/>
                  </a:lnTo>
                  <a:lnTo>
                    <a:pt x="108" y="274"/>
                  </a:lnTo>
                  <a:lnTo>
                    <a:pt x="104" y="274"/>
                  </a:lnTo>
                  <a:lnTo>
                    <a:pt x="108" y="274"/>
                  </a:lnTo>
                  <a:lnTo>
                    <a:pt x="108" y="278"/>
                  </a:lnTo>
                  <a:lnTo>
                    <a:pt x="108" y="278"/>
                  </a:lnTo>
                  <a:lnTo>
                    <a:pt x="108" y="27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58" name="Freeform 51"/>
            <p:cNvSpPr>
              <a:spLocks/>
            </p:cNvSpPr>
            <p:nvPr/>
          </p:nvSpPr>
          <p:spPr bwMode="auto">
            <a:xfrm>
              <a:off x="7959649" y="4144752"/>
              <a:ext cx="5024" cy="2615"/>
            </a:xfrm>
            <a:custGeom>
              <a:avLst/>
              <a:gdLst>
                <a:gd name="T0" fmla="*/ 8 w 8"/>
                <a:gd name="T1" fmla="*/ 0 h 4"/>
                <a:gd name="T2" fmla="*/ 8 w 8"/>
                <a:gd name="T3" fmla="*/ 0 h 4"/>
                <a:gd name="T4" fmla="*/ 8 w 8"/>
                <a:gd name="T5" fmla="*/ 0 h 4"/>
                <a:gd name="T6" fmla="*/ 8 w 8"/>
                <a:gd name="T7" fmla="*/ 0 h 4"/>
                <a:gd name="T8" fmla="*/ 8 w 8"/>
                <a:gd name="T9" fmla="*/ 0 h 4"/>
                <a:gd name="T10" fmla="*/ 4 w 8"/>
                <a:gd name="T11" fmla="*/ 4 h 4"/>
                <a:gd name="T12" fmla="*/ 4 w 8"/>
                <a:gd name="T13" fmla="*/ 4 h 4"/>
                <a:gd name="T14" fmla="*/ 0 w 8"/>
                <a:gd name="T15" fmla="*/ 4 h 4"/>
                <a:gd name="T16" fmla="*/ 0 w 8"/>
                <a:gd name="T17" fmla="*/ 0 h 4"/>
                <a:gd name="T18" fmla="*/ 0 w 8"/>
                <a:gd name="T19" fmla="*/ 0 h 4"/>
                <a:gd name="T20" fmla="*/ 0 w 8"/>
                <a:gd name="T21" fmla="*/ 0 h 4"/>
                <a:gd name="T22" fmla="*/ 0 w 8"/>
                <a:gd name="T23" fmla="*/ 0 h 4"/>
                <a:gd name="T24" fmla="*/ 0 w 8"/>
                <a:gd name="T25" fmla="*/ 0 h 4"/>
                <a:gd name="T26" fmla="*/ 4 w 8"/>
                <a:gd name="T27" fmla="*/ 0 h 4"/>
                <a:gd name="T28" fmla="*/ 4 w 8"/>
                <a:gd name="T29" fmla="*/ 0 h 4"/>
                <a:gd name="T30" fmla="*/ 4 w 8"/>
                <a:gd name="T31" fmla="*/ 0 h 4"/>
                <a:gd name="T32" fmla="*/ 4 w 8"/>
                <a:gd name="T33" fmla="*/ 0 h 4"/>
                <a:gd name="T34" fmla="*/ 4 w 8"/>
                <a:gd name="T35" fmla="*/ 0 h 4"/>
                <a:gd name="T36" fmla="*/ 4 w 8"/>
                <a:gd name="T37" fmla="*/ 0 h 4"/>
                <a:gd name="T38" fmla="*/ 4 w 8"/>
                <a:gd name="T39" fmla="*/ 0 h 4"/>
                <a:gd name="T40" fmla="*/ 4 w 8"/>
                <a:gd name="T41" fmla="*/ 0 h 4"/>
                <a:gd name="T42" fmla="*/ 8 w 8"/>
                <a:gd name="T43" fmla="*/ 0 h 4"/>
                <a:gd name="T44" fmla="*/ 8 w 8"/>
                <a:gd name="T45" fmla="*/ 0 h 4"/>
                <a:gd name="T46" fmla="*/ 8 w 8"/>
                <a:gd name="T47" fmla="*/ 0 h 4"/>
                <a:gd name="T48" fmla="*/ 8 w 8"/>
                <a:gd name="T4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4">
                  <a:moveTo>
                    <a:pt x="8" y="0"/>
                  </a:moveTo>
                  <a:lnTo>
                    <a:pt x="8" y="0"/>
                  </a:lnTo>
                  <a:lnTo>
                    <a:pt x="8" y="0"/>
                  </a:lnTo>
                  <a:lnTo>
                    <a:pt x="8" y="0"/>
                  </a:lnTo>
                  <a:lnTo>
                    <a:pt x="8" y="0"/>
                  </a:lnTo>
                  <a:lnTo>
                    <a:pt x="4" y="4"/>
                  </a:lnTo>
                  <a:lnTo>
                    <a:pt x="4" y="4"/>
                  </a:lnTo>
                  <a:lnTo>
                    <a:pt x="0" y="4"/>
                  </a:lnTo>
                  <a:lnTo>
                    <a:pt x="0" y="0"/>
                  </a:lnTo>
                  <a:lnTo>
                    <a:pt x="0" y="0"/>
                  </a:lnTo>
                  <a:lnTo>
                    <a:pt x="0" y="0"/>
                  </a:lnTo>
                  <a:lnTo>
                    <a:pt x="0" y="0"/>
                  </a:lnTo>
                  <a:lnTo>
                    <a:pt x="0" y="0"/>
                  </a:lnTo>
                  <a:lnTo>
                    <a:pt x="4" y="0"/>
                  </a:lnTo>
                  <a:lnTo>
                    <a:pt x="4" y="0"/>
                  </a:lnTo>
                  <a:lnTo>
                    <a:pt x="4" y="0"/>
                  </a:lnTo>
                  <a:lnTo>
                    <a:pt x="4" y="0"/>
                  </a:lnTo>
                  <a:lnTo>
                    <a:pt x="4" y="0"/>
                  </a:lnTo>
                  <a:lnTo>
                    <a:pt x="4" y="0"/>
                  </a:lnTo>
                  <a:lnTo>
                    <a:pt x="4" y="0"/>
                  </a:lnTo>
                  <a:lnTo>
                    <a:pt x="4" y="0"/>
                  </a:lnTo>
                  <a:lnTo>
                    <a:pt x="8" y="0"/>
                  </a:lnTo>
                  <a:lnTo>
                    <a:pt x="8" y="0"/>
                  </a:lnTo>
                  <a:lnTo>
                    <a:pt x="8" y="0"/>
                  </a:lnTo>
                  <a:lnTo>
                    <a:pt x="8" y="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59" name="Freeform 52"/>
            <p:cNvSpPr>
              <a:spLocks noEditPoints="1"/>
            </p:cNvSpPr>
            <p:nvPr/>
          </p:nvSpPr>
          <p:spPr bwMode="auto">
            <a:xfrm>
              <a:off x="8160602" y="3713250"/>
              <a:ext cx="30143" cy="65379"/>
            </a:xfrm>
            <a:custGeom>
              <a:avLst/>
              <a:gdLst>
                <a:gd name="T0" fmla="*/ 4 w 48"/>
                <a:gd name="T1" fmla="*/ 40 h 100"/>
                <a:gd name="T2" fmla="*/ 0 w 48"/>
                <a:gd name="T3" fmla="*/ 34 h 100"/>
                <a:gd name="T4" fmla="*/ 0 w 48"/>
                <a:gd name="T5" fmla="*/ 38 h 100"/>
                <a:gd name="T6" fmla="*/ 0 w 48"/>
                <a:gd name="T7" fmla="*/ 34 h 100"/>
                <a:gd name="T8" fmla="*/ 0 w 48"/>
                <a:gd name="T9" fmla="*/ 30 h 100"/>
                <a:gd name="T10" fmla="*/ 4 w 48"/>
                <a:gd name="T11" fmla="*/ 30 h 100"/>
                <a:gd name="T12" fmla="*/ 12 w 48"/>
                <a:gd name="T13" fmla="*/ 34 h 100"/>
                <a:gd name="T14" fmla="*/ 8 w 48"/>
                <a:gd name="T15" fmla="*/ 26 h 100"/>
                <a:gd name="T16" fmla="*/ 4 w 48"/>
                <a:gd name="T17" fmla="*/ 18 h 100"/>
                <a:gd name="T18" fmla="*/ 8 w 48"/>
                <a:gd name="T19" fmla="*/ 10 h 100"/>
                <a:gd name="T20" fmla="*/ 16 w 48"/>
                <a:gd name="T21" fmla="*/ 4 h 100"/>
                <a:gd name="T22" fmla="*/ 26 w 48"/>
                <a:gd name="T23" fmla="*/ 4 h 100"/>
                <a:gd name="T24" fmla="*/ 34 w 48"/>
                <a:gd name="T25" fmla="*/ 4 h 100"/>
                <a:gd name="T26" fmla="*/ 38 w 48"/>
                <a:gd name="T27" fmla="*/ 14 h 100"/>
                <a:gd name="T28" fmla="*/ 44 w 48"/>
                <a:gd name="T29" fmla="*/ 22 h 100"/>
                <a:gd name="T30" fmla="*/ 44 w 48"/>
                <a:gd name="T31" fmla="*/ 34 h 100"/>
                <a:gd name="T32" fmla="*/ 44 w 48"/>
                <a:gd name="T33" fmla="*/ 48 h 100"/>
                <a:gd name="T34" fmla="*/ 44 w 48"/>
                <a:gd name="T35" fmla="*/ 60 h 100"/>
                <a:gd name="T36" fmla="*/ 38 w 48"/>
                <a:gd name="T37" fmla="*/ 64 h 100"/>
                <a:gd name="T38" fmla="*/ 30 w 48"/>
                <a:gd name="T39" fmla="*/ 66 h 100"/>
                <a:gd name="T40" fmla="*/ 30 w 48"/>
                <a:gd name="T41" fmla="*/ 70 h 100"/>
                <a:gd name="T42" fmla="*/ 26 w 48"/>
                <a:gd name="T43" fmla="*/ 70 h 100"/>
                <a:gd name="T44" fmla="*/ 18 w 48"/>
                <a:gd name="T45" fmla="*/ 66 h 100"/>
                <a:gd name="T46" fmla="*/ 18 w 48"/>
                <a:gd name="T47" fmla="*/ 74 h 100"/>
                <a:gd name="T48" fmla="*/ 16 w 48"/>
                <a:gd name="T49" fmla="*/ 74 h 100"/>
                <a:gd name="T50" fmla="*/ 16 w 48"/>
                <a:gd name="T51" fmla="*/ 74 h 100"/>
                <a:gd name="T52" fmla="*/ 16 w 48"/>
                <a:gd name="T53" fmla="*/ 70 h 100"/>
                <a:gd name="T54" fmla="*/ 8 w 48"/>
                <a:gd name="T55" fmla="*/ 78 h 100"/>
                <a:gd name="T56" fmla="*/ 4 w 48"/>
                <a:gd name="T57" fmla="*/ 82 h 100"/>
                <a:gd name="T58" fmla="*/ 0 w 48"/>
                <a:gd name="T59" fmla="*/ 74 h 100"/>
                <a:gd name="T60" fmla="*/ 4 w 48"/>
                <a:gd name="T61" fmla="*/ 70 h 100"/>
                <a:gd name="T62" fmla="*/ 4 w 48"/>
                <a:gd name="T63" fmla="*/ 66 h 100"/>
                <a:gd name="T64" fmla="*/ 4 w 48"/>
                <a:gd name="T65" fmla="*/ 66 h 100"/>
                <a:gd name="T66" fmla="*/ 4 w 48"/>
                <a:gd name="T67" fmla="*/ 56 h 100"/>
                <a:gd name="T68" fmla="*/ 8 w 48"/>
                <a:gd name="T69" fmla="*/ 52 h 100"/>
                <a:gd name="T70" fmla="*/ 4 w 48"/>
                <a:gd name="T71" fmla="*/ 48 h 100"/>
                <a:gd name="T72" fmla="*/ 8 w 48"/>
                <a:gd name="T73" fmla="*/ 48 h 100"/>
                <a:gd name="T74" fmla="*/ 4 w 48"/>
                <a:gd name="T75" fmla="*/ 14 h 100"/>
                <a:gd name="T76" fmla="*/ 4 w 48"/>
                <a:gd name="T77" fmla="*/ 40 h 100"/>
                <a:gd name="T78" fmla="*/ 4 w 48"/>
                <a:gd name="T79" fmla="*/ 38 h 100"/>
                <a:gd name="T80" fmla="*/ 4 w 48"/>
                <a:gd name="T81" fmla="*/ 40 h 100"/>
                <a:gd name="T82" fmla="*/ 34 w 48"/>
                <a:gd name="T83" fmla="*/ 70 h 100"/>
                <a:gd name="T84" fmla="*/ 38 w 48"/>
                <a:gd name="T85" fmla="*/ 66 h 100"/>
                <a:gd name="T86" fmla="*/ 22 w 48"/>
                <a:gd name="T87" fmla="*/ 70 h 100"/>
                <a:gd name="T88" fmla="*/ 22 w 48"/>
                <a:gd name="T89" fmla="*/ 70 h 100"/>
                <a:gd name="T90" fmla="*/ 26 w 48"/>
                <a:gd name="T91" fmla="*/ 66 h 100"/>
                <a:gd name="T92" fmla="*/ 0 w 48"/>
                <a:gd name="T93" fmla="*/ 78 h 100"/>
                <a:gd name="T94" fmla="*/ 4 w 48"/>
                <a:gd name="T95" fmla="*/ 78 h 100"/>
                <a:gd name="T96" fmla="*/ 12 w 48"/>
                <a:gd name="T97" fmla="*/ 94 h 100"/>
                <a:gd name="T98" fmla="*/ 8 w 48"/>
                <a:gd name="T99" fmla="*/ 100 h 100"/>
                <a:gd name="T100" fmla="*/ 0 w 48"/>
                <a:gd name="T101" fmla="*/ 96 h 100"/>
                <a:gd name="T102" fmla="*/ 8 w 48"/>
                <a:gd name="T103" fmla="*/ 9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 h="100">
                  <a:moveTo>
                    <a:pt x="8" y="48"/>
                  </a:moveTo>
                  <a:lnTo>
                    <a:pt x="4" y="44"/>
                  </a:lnTo>
                  <a:lnTo>
                    <a:pt x="4" y="40"/>
                  </a:lnTo>
                  <a:lnTo>
                    <a:pt x="4" y="38"/>
                  </a:lnTo>
                  <a:lnTo>
                    <a:pt x="4" y="34"/>
                  </a:lnTo>
                  <a:lnTo>
                    <a:pt x="0" y="34"/>
                  </a:lnTo>
                  <a:lnTo>
                    <a:pt x="0" y="38"/>
                  </a:lnTo>
                  <a:lnTo>
                    <a:pt x="0" y="34"/>
                  </a:lnTo>
                  <a:lnTo>
                    <a:pt x="0" y="38"/>
                  </a:lnTo>
                  <a:lnTo>
                    <a:pt x="0" y="34"/>
                  </a:lnTo>
                  <a:lnTo>
                    <a:pt x="0" y="30"/>
                  </a:lnTo>
                  <a:lnTo>
                    <a:pt x="0" y="34"/>
                  </a:lnTo>
                  <a:lnTo>
                    <a:pt x="4" y="34"/>
                  </a:lnTo>
                  <a:lnTo>
                    <a:pt x="4" y="30"/>
                  </a:lnTo>
                  <a:lnTo>
                    <a:pt x="0" y="30"/>
                  </a:lnTo>
                  <a:lnTo>
                    <a:pt x="4" y="30"/>
                  </a:lnTo>
                  <a:lnTo>
                    <a:pt x="4" y="34"/>
                  </a:lnTo>
                  <a:lnTo>
                    <a:pt x="4" y="30"/>
                  </a:lnTo>
                  <a:lnTo>
                    <a:pt x="8" y="30"/>
                  </a:lnTo>
                  <a:lnTo>
                    <a:pt x="8" y="34"/>
                  </a:lnTo>
                  <a:lnTo>
                    <a:pt x="12" y="34"/>
                  </a:lnTo>
                  <a:lnTo>
                    <a:pt x="12" y="30"/>
                  </a:lnTo>
                  <a:lnTo>
                    <a:pt x="8" y="30"/>
                  </a:lnTo>
                  <a:lnTo>
                    <a:pt x="8" y="26"/>
                  </a:lnTo>
                  <a:lnTo>
                    <a:pt x="8" y="22"/>
                  </a:lnTo>
                  <a:lnTo>
                    <a:pt x="8" y="18"/>
                  </a:lnTo>
                  <a:lnTo>
                    <a:pt x="4" y="18"/>
                  </a:lnTo>
                  <a:lnTo>
                    <a:pt x="4" y="14"/>
                  </a:lnTo>
                  <a:lnTo>
                    <a:pt x="8" y="14"/>
                  </a:lnTo>
                  <a:lnTo>
                    <a:pt x="8" y="10"/>
                  </a:lnTo>
                  <a:lnTo>
                    <a:pt x="12" y="8"/>
                  </a:lnTo>
                  <a:lnTo>
                    <a:pt x="12" y="4"/>
                  </a:lnTo>
                  <a:lnTo>
                    <a:pt x="16" y="4"/>
                  </a:lnTo>
                  <a:lnTo>
                    <a:pt x="18" y="4"/>
                  </a:lnTo>
                  <a:lnTo>
                    <a:pt x="22" y="4"/>
                  </a:lnTo>
                  <a:lnTo>
                    <a:pt x="26" y="4"/>
                  </a:lnTo>
                  <a:lnTo>
                    <a:pt x="30" y="4"/>
                  </a:lnTo>
                  <a:lnTo>
                    <a:pt x="30" y="0"/>
                  </a:lnTo>
                  <a:lnTo>
                    <a:pt x="34" y="4"/>
                  </a:lnTo>
                  <a:lnTo>
                    <a:pt x="34" y="8"/>
                  </a:lnTo>
                  <a:lnTo>
                    <a:pt x="38" y="10"/>
                  </a:lnTo>
                  <a:lnTo>
                    <a:pt x="38" y="14"/>
                  </a:lnTo>
                  <a:lnTo>
                    <a:pt x="40" y="14"/>
                  </a:lnTo>
                  <a:lnTo>
                    <a:pt x="40" y="18"/>
                  </a:lnTo>
                  <a:lnTo>
                    <a:pt x="44" y="22"/>
                  </a:lnTo>
                  <a:lnTo>
                    <a:pt x="44" y="26"/>
                  </a:lnTo>
                  <a:lnTo>
                    <a:pt x="44" y="30"/>
                  </a:lnTo>
                  <a:lnTo>
                    <a:pt x="44" y="34"/>
                  </a:lnTo>
                  <a:lnTo>
                    <a:pt x="44" y="38"/>
                  </a:lnTo>
                  <a:lnTo>
                    <a:pt x="44" y="40"/>
                  </a:lnTo>
                  <a:lnTo>
                    <a:pt x="44" y="48"/>
                  </a:lnTo>
                  <a:lnTo>
                    <a:pt x="48" y="48"/>
                  </a:lnTo>
                  <a:lnTo>
                    <a:pt x="44" y="56"/>
                  </a:lnTo>
                  <a:lnTo>
                    <a:pt x="44" y="60"/>
                  </a:lnTo>
                  <a:lnTo>
                    <a:pt x="40" y="64"/>
                  </a:lnTo>
                  <a:lnTo>
                    <a:pt x="38" y="66"/>
                  </a:lnTo>
                  <a:lnTo>
                    <a:pt x="38" y="64"/>
                  </a:lnTo>
                  <a:lnTo>
                    <a:pt x="38" y="66"/>
                  </a:lnTo>
                  <a:lnTo>
                    <a:pt x="34" y="64"/>
                  </a:lnTo>
                  <a:lnTo>
                    <a:pt x="30" y="66"/>
                  </a:lnTo>
                  <a:lnTo>
                    <a:pt x="34" y="66"/>
                  </a:lnTo>
                  <a:lnTo>
                    <a:pt x="34" y="70"/>
                  </a:lnTo>
                  <a:lnTo>
                    <a:pt x="30" y="70"/>
                  </a:lnTo>
                  <a:lnTo>
                    <a:pt x="30" y="66"/>
                  </a:lnTo>
                  <a:lnTo>
                    <a:pt x="30" y="70"/>
                  </a:lnTo>
                  <a:lnTo>
                    <a:pt x="26" y="70"/>
                  </a:lnTo>
                  <a:lnTo>
                    <a:pt x="26" y="66"/>
                  </a:lnTo>
                  <a:lnTo>
                    <a:pt x="22" y="66"/>
                  </a:lnTo>
                  <a:lnTo>
                    <a:pt x="18" y="66"/>
                  </a:lnTo>
                  <a:lnTo>
                    <a:pt x="18" y="70"/>
                  </a:lnTo>
                  <a:lnTo>
                    <a:pt x="22" y="70"/>
                  </a:lnTo>
                  <a:lnTo>
                    <a:pt x="18" y="74"/>
                  </a:lnTo>
                  <a:lnTo>
                    <a:pt x="18" y="70"/>
                  </a:lnTo>
                  <a:lnTo>
                    <a:pt x="16" y="70"/>
                  </a:lnTo>
                  <a:lnTo>
                    <a:pt x="16" y="74"/>
                  </a:lnTo>
                  <a:lnTo>
                    <a:pt x="18" y="74"/>
                  </a:lnTo>
                  <a:lnTo>
                    <a:pt x="16" y="78"/>
                  </a:lnTo>
                  <a:lnTo>
                    <a:pt x="16" y="74"/>
                  </a:lnTo>
                  <a:lnTo>
                    <a:pt x="12" y="74"/>
                  </a:lnTo>
                  <a:lnTo>
                    <a:pt x="16" y="74"/>
                  </a:lnTo>
                  <a:lnTo>
                    <a:pt x="16" y="70"/>
                  </a:lnTo>
                  <a:lnTo>
                    <a:pt x="12" y="74"/>
                  </a:lnTo>
                  <a:lnTo>
                    <a:pt x="12" y="78"/>
                  </a:lnTo>
                  <a:lnTo>
                    <a:pt x="8" y="78"/>
                  </a:lnTo>
                  <a:lnTo>
                    <a:pt x="8" y="74"/>
                  </a:lnTo>
                  <a:lnTo>
                    <a:pt x="8" y="78"/>
                  </a:lnTo>
                  <a:lnTo>
                    <a:pt x="4" y="82"/>
                  </a:lnTo>
                  <a:lnTo>
                    <a:pt x="4" y="78"/>
                  </a:lnTo>
                  <a:lnTo>
                    <a:pt x="4" y="74"/>
                  </a:lnTo>
                  <a:lnTo>
                    <a:pt x="0" y="74"/>
                  </a:lnTo>
                  <a:lnTo>
                    <a:pt x="0" y="70"/>
                  </a:lnTo>
                  <a:lnTo>
                    <a:pt x="4" y="74"/>
                  </a:lnTo>
                  <a:lnTo>
                    <a:pt x="4" y="70"/>
                  </a:lnTo>
                  <a:lnTo>
                    <a:pt x="8" y="70"/>
                  </a:lnTo>
                  <a:lnTo>
                    <a:pt x="4" y="70"/>
                  </a:lnTo>
                  <a:lnTo>
                    <a:pt x="4" y="66"/>
                  </a:lnTo>
                  <a:lnTo>
                    <a:pt x="0" y="66"/>
                  </a:lnTo>
                  <a:lnTo>
                    <a:pt x="0" y="64"/>
                  </a:lnTo>
                  <a:lnTo>
                    <a:pt x="4" y="66"/>
                  </a:lnTo>
                  <a:lnTo>
                    <a:pt x="4" y="64"/>
                  </a:lnTo>
                  <a:lnTo>
                    <a:pt x="4" y="60"/>
                  </a:lnTo>
                  <a:lnTo>
                    <a:pt x="4" y="56"/>
                  </a:lnTo>
                  <a:lnTo>
                    <a:pt x="8" y="56"/>
                  </a:lnTo>
                  <a:lnTo>
                    <a:pt x="4" y="56"/>
                  </a:lnTo>
                  <a:lnTo>
                    <a:pt x="8" y="52"/>
                  </a:lnTo>
                  <a:lnTo>
                    <a:pt x="8" y="48"/>
                  </a:lnTo>
                  <a:lnTo>
                    <a:pt x="8" y="52"/>
                  </a:lnTo>
                  <a:lnTo>
                    <a:pt x="4" y="48"/>
                  </a:lnTo>
                  <a:lnTo>
                    <a:pt x="8" y="48"/>
                  </a:lnTo>
                  <a:lnTo>
                    <a:pt x="8" y="48"/>
                  </a:lnTo>
                  <a:lnTo>
                    <a:pt x="8" y="48"/>
                  </a:lnTo>
                  <a:close/>
                  <a:moveTo>
                    <a:pt x="4" y="14"/>
                  </a:moveTo>
                  <a:lnTo>
                    <a:pt x="4" y="18"/>
                  </a:lnTo>
                  <a:lnTo>
                    <a:pt x="4" y="14"/>
                  </a:lnTo>
                  <a:lnTo>
                    <a:pt x="4" y="14"/>
                  </a:lnTo>
                  <a:lnTo>
                    <a:pt x="4" y="14"/>
                  </a:lnTo>
                  <a:close/>
                  <a:moveTo>
                    <a:pt x="4" y="40"/>
                  </a:moveTo>
                  <a:lnTo>
                    <a:pt x="0" y="40"/>
                  </a:lnTo>
                  <a:lnTo>
                    <a:pt x="0" y="38"/>
                  </a:lnTo>
                  <a:lnTo>
                    <a:pt x="4" y="38"/>
                  </a:lnTo>
                  <a:lnTo>
                    <a:pt x="4" y="40"/>
                  </a:lnTo>
                  <a:lnTo>
                    <a:pt x="4" y="40"/>
                  </a:lnTo>
                  <a:lnTo>
                    <a:pt x="4" y="40"/>
                  </a:lnTo>
                  <a:close/>
                  <a:moveTo>
                    <a:pt x="38" y="66"/>
                  </a:moveTo>
                  <a:lnTo>
                    <a:pt x="38" y="70"/>
                  </a:lnTo>
                  <a:lnTo>
                    <a:pt x="34" y="70"/>
                  </a:lnTo>
                  <a:lnTo>
                    <a:pt x="34" y="66"/>
                  </a:lnTo>
                  <a:lnTo>
                    <a:pt x="38" y="66"/>
                  </a:lnTo>
                  <a:lnTo>
                    <a:pt x="38" y="66"/>
                  </a:lnTo>
                  <a:lnTo>
                    <a:pt x="38" y="66"/>
                  </a:lnTo>
                  <a:close/>
                  <a:moveTo>
                    <a:pt x="26" y="66"/>
                  </a:moveTo>
                  <a:lnTo>
                    <a:pt x="22" y="70"/>
                  </a:lnTo>
                  <a:lnTo>
                    <a:pt x="26" y="70"/>
                  </a:lnTo>
                  <a:lnTo>
                    <a:pt x="26" y="74"/>
                  </a:lnTo>
                  <a:lnTo>
                    <a:pt x="22" y="70"/>
                  </a:lnTo>
                  <a:lnTo>
                    <a:pt x="22" y="66"/>
                  </a:lnTo>
                  <a:lnTo>
                    <a:pt x="26" y="66"/>
                  </a:lnTo>
                  <a:lnTo>
                    <a:pt x="26" y="66"/>
                  </a:lnTo>
                  <a:lnTo>
                    <a:pt x="26" y="66"/>
                  </a:lnTo>
                  <a:close/>
                  <a:moveTo>
                    <a:pt x="4" y="78"/>
                  </a:moveTo>
                  <a:lnTo>
                    <a:pt x="0" y="78"/>
                  </a:lnTo>
                  <a:lnTo>
                    <a:pt x="0" y="74"/>
                  </a:lnTo>
                  <a:lnTo>
                    <a:pt x="4" y="78"/>
                  </a:lnTo>
                  <a:lnTo>
                    <a:pt x="4" y="78"/>
                  </a:lnTo>
                  <a:lnTo>
                    <a:pt x="4" y="78"/>
                  </a:lnTo>
                  <a:close/>
                  <a:moveTo>
                    <a:pt x="8" y="94"/>
                  </a:moveTo>
                  <a:lnTo>
                    <a:pt x="12" y="94"/>
                  </a:lnTo>
                  <a:lnTo>
                    <a:pt x="12" y="96"/>
                  </a:lnTo>
                  <a:lnTo>
                    <a:pt x="8" y="96"/>
                  </a:lnTo>
                  <a:lnTo>
                    <a:pt x="8" y="100"/>
                  </a:lnTo>
                  <a:lnTo>
                    <a:pt x="4" y="100"/>
                  </a:lnTo>
                  <a:lnTo>
                    <a:pt x="0" y="100"/>
                  </a:lnTo>
                  <a:lnTo>
                    <a:pt x="0" y="96"/>
                  </a:lnTo>
                  <a:lnTo>
                    <a:pt x="4" y="96"/>
                  </a:lnTo>
                  <a:lnTo>
                    <a:pt x="8" y="94"/>
                  </a:lnTo>
                  <a:lnTo>
                    <a:pt x="8" y="94"/>
                  </a:lnTo>
                  <a:lnTo>
                    <a:pt x="8" y="9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60" name="Freeform 53"/>
            <p:cNvSpPr>
              <a:spLocks noEditPoints="1"/>
            </p:cNvSpPr>
            <p:nvPr/>
          </p:nvSpPr>
          <p:spPr bwMode="auto">
            <a:xfrm>
              <a:off x="7746135" y="4049299"/>
              <a:ext cx="21351" cy="44458"/>
            </a:xfrm>
            <a:custGeom>
              <a:avLst/>
              <a:gdLst>
                <a:gd name="T0" fmla="*/ 4 w 34"/>
                <a:gd name="T1" fmla="*/ 16 h 68"/>
                <a:gd name="T2" fmla="*/ 0 w 34"/>
                <a:gd name="T3" fmla="*/ 16 h 68"/>
                <a:gd name="T4" fmla="*/ 4 w 34"/>
                <a:gd name="T5" fmla="*/ 16 h 68"/>
                <a:gd name="T6" fmla="*/ 30 w 34"/>
                <a:gd name="T7" fmla="*/ 56 h 68"/>
                <a:gd name="T8" fmla="*/ 30 w 34"/>
                <a:gd name="T9" fmla="*/ 60 h 68"/>
                <a:gd name="T10" fmla="*/ 20 w 34"/>
                <a:gd name="T11" fmla="*/ 68 h 68"/>
                <a:gd name="T12" fmla="*/ 20 w 34"/>
                <a:gd name="T13" fmla="*/ 68 h 68"/>
                <a:gd name="T14" fmla="*/ 12 w 34"/>
                <a:gd name="T15" fmla="*/ 68 h 68"/>
                <a:gd name="T16" fmla="*/ 8 w 34"/>
                <a:gd name="T17" fmla="*/ 64 h 68"/>
                <a:gd name="T18" fmla="*/ 4 w 34"/>
                <a:gd name="T19" fmla="*/ 56 h 68"/>
                <a:gd name="T20" fmla="*/ 4 w 34"/>
                <a:gd name="T21" fmla="*/ 52 h 68"/>
                <a:gd name="T22" fmla="*/ 4 w 34"/>
                <a:gd name="T23" fmla="*/ 48 h 68"/>
                <a:gd name="T24" fmla="*/ 4 w 34"/>
                <a:gd name="T25" fmla="*/ 42 h 68"/>
                <a:gd name="T26" fmla="*/ 4 w 34"/>
                <a:gd name="T27" fmla="*/ 34 h 68"/>
                <a:gd name="T28" fmla="*/ 4 w 34"/>
                <a:gd name="T29" fmla="*/ 34 h 68"/>
                <a:gd name="T30" fmla="*/ 0 w 34"/>
                <a:gd name="T31" fmla="*/ 30 h 68"/>
                <a:gd name="T32" fmla="*/ 4 w 34"/>
                <a:gd name="T33" fmla="*/ 34 h 68"/>
                <a:gd name="T34" fmla="*/ 4 w 34"/>
                <a:gd name="T35" fmla="*/ 34 h 68"/>
                <a:gd name="T36" fmla="*/ 4 w 34"/>
                <a:gd name="T37" fmla="*/ 34 h 68"/>
                <a:gd name="T38" fmla="*/ 4 w 34"/>
                <a:gd name="T39" fmla="*/ 22 h 68"/>
                <a:gd name="T40" fmla="*/ 4 w 34"/>
                <a:gd name="T41" fmla="*/ 16 h 68"/>
                <a:gd name="T42" fmla="*/ 8 w 34"/>
                <a:gd name="T43" fmla="*/ 16 h 68"/>
                <a:gd name="T44" fmla="*/ 8 w 34"/>
                <a:gd name="T45" fmla="*/ 12 h 68"/>
                <a:gd name="T46" fmla="*/ 8 w 34"/>
                <a:gd name="T47" fmla="*/ 8 h 68"/>
                <a:gd name="T48" fmla="*/ 8 w 34"/>
                <a:gd name="T49" fmla="*/ 8 h 68"/>
                <a:gd name="T50" fmla="*/ 8 w 34"/>
                <a:gd name="T51" fmla="*/ 8 h 68"/>
                <a:gd name="T52" fmla="*/ 16 w 34"/>
                <a:gd name="T53" fmla="*/ 8 h 68"/>
                <a:gd name="T54" fmla="*/ 16 w 34"/>
                <a:gd name="T55" fmla="*/ 8 h 68"/>
                <a:gd name="T56" fmla="*/ 12 w 34"/>
                <a:gd name="T57" fmla="*/ 8 h 68"/>
                <a:gd name="T58" fmla="*/ 8 w 34"/>
                <a:gd name="T59" fmla="*/ 4 h 68"/>
                <a:gd name="T60" fmla="*/ 8 w 34"/>
                <a:gd name="T61" fmla="*/ 4 h 68"/>
                <a:gd name="T62" fmla="*/ 8 w 34"/>
                <a:gd name="T63" fmla="*/ 4 h 68"/>
                <a:gd name="T64" fmla="*/ 4 w 34"/>
                <a:gd name="T65" fmla="*/ 0 h 68"/>
                <a:gd name="T66" fmla="*/ 8 w 34"/>
                <a:gd name="T67" fmla="*/ 4 h 68"/>
                <a:gd name="T68" fmla="*/ 8 w 34"/>
                <a:gd name="T69" fmla="*/ 4 h 68"/>
                <a:gd name="T70" fmla="*/ 12 w 34"/>
                <a:gd name="T71" fmla="*/ 4 h 68"/>
                <a:gd name="T72" fmla="*/ 8 w 34"/>
                <a:gd name="T73" fmla="*/ 4 h 68"/>
                <a:gd name="T74" fmla="*/ 12 w 34"/>
                <a:gd name="T75" fmla="*/ 0 h 68"/>
                <a:gd name="T76" fmla="*/ 12 w 34"/>
                <a:gd name="T77" fmla="*/ 4 h 68"/>
                <a:gd name="T78" fmla="*/ 16 w 34"/>
                <a:gd name="T79" fmla="*/ 8 h 68"/>
                <a:gd name="T80" fmla="*/ 16 w 34"/>
                <a:gd name="T81" fmla="*/ 8 h 68"/>
                <a:gd name="T82" fmla="*/ 20 w 34"/>
                <a:gd name="T83" fmla="*/ 12 h 68"/>
                <a:gd name="T84" fmla="*/ 20 w 34"/>
                <a:gd name="T85" fmla="*/ 16 h 68"/>
                <a:gd name="T86" fmla="*/ 20 w 34"/>
                <a:gd name="T87" fmla="*/ 18 h 68"/>
                <a:gd name="T88" fmla="*/ 24 w 34"/>
                <a:gd name="T89" fmla="*/ 22 h 68"/>
                <a:gd name="T90" fmla="*/ 24 w 34"/>
                <a:gd name="T91" fmla="*/ 22 h 68"/>
                <a:gd name="T92" fmla="*/ 24 w 34"/>
                <a:gd name="T93" fmla="*/ 26 h 68"/>
                <a:gd name="T94" fmla="*/ 26 w 34"/>
                <a:gd name="T95" fmla="*/ 26 h 68"/>
                <a:gd name="T96" fmla="*/ 26 w 34"/>
                <a:gd name="T97" fmla="*/ 30 h 68"/>
                <a:gd name="T98" fmla="*/ 30 w 34"/>
                <a:gd name="T99" fmla="*/ 38 h 68"/>
                <a:gd name="T100" fmla="*/ 30 w 34"/>
                <a:gd name="T101" fmla="*/ 38 h 68"/>
                <a:gd name="T102" fmla="*/ 30 w 34"/>
                <a:gd name="T103" fmla="*/ 42 h 68"/>
                <a:gd name="T104" fmla="*/ 30 w 34"/>
                <a:gd name="T105" fmla="*/ 42 h 68"/>
                <a:gd name="T106" fmla="*/ 34 w 34"/>
                <a:gd name="T107" fmla="*/ 46 h 68"/>
                <a:gd name="T108" fmla="*/ 34 w 34"/>
                <a:gd name="T109" fmla="*/ 48 h 68"/>
                <a:gd name="T110" fmla="*/ 30 w 34"/>
                <a:gd name="T111"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 h="68">
                  <a:moveTo>
                    <a:pt x="4" y="16"/>
                  </a:moveTo>
                  <a:lnTo>
                    <a:pt x="4" y="16"/>
                  </a:lnTo>
                  <a:lnTo>
                    <a:pt x="4" y="16"/>
                  </a:lnTo>
                  <a:lnTo>
                    <a:pt x="4" y="16"/>
                  </a:lnTo>
                  <a:lnTo>
                    <a:pt x="4" y="16"/>
                  </a:lnTo>
                  <a:lnTo>
                    <a:pt x="4" y="16"/>
                  </a:lnTo>
                  <a:lnTo>
                    <a:pt x="4" y="16"/>
                  </a:lnTo>
                  <a:lnTo>
                    <a:pt x="4" y="16"/>
                  </a:lnTo>
                  <a:lnTo>
                    <a:pt x="0" y="16"/>
                  </a:lnTo>
                  <a:lnTo>
                    <a:pt x="0" y="16"/>
                  </a:lnTo>
                  <a:lnTo>
                    <a:pt x="4" y="16"/>
                  </a:lnTo>
                  <a:lnTo>
                    <a:pt x="4" y="16"/>
                  </a:lnTo>
                  <a:lnTo>
                    <a:pt x="4" y="16"/>
                  </a:lnTo>
                  <a:lnTo>
                    <a:pt x="4" y="16"/>
                  </a:lnTo>
                  <a:lnTo>
                    <a:pt x="4" y="16"/>
                  </a:lnTo>
                  <a:close/>
                  <a:moveTo>
                    <a:pt x="30" y="56"/>
                  </a:moveTo>
                  <a:lnTo>
                    <a:pt x="30" y="56"/>
                  </a:lnTo>
                  <a:lnTo>
                    <a:pt x="30" y="56"/>
                  </a:lnTo>
                  <a:lnTo>
                    <a:pt x="30" y="56"/>
                  </a:lnTo>
                  <a:lnTo>
                    <a:pt x="30" y="56"/>
                  </a:lnTo>
                  <a:lnTo>
                    <a:pt x="30" y="60"/>
                  </a:lnTo>
                  <a:lnTo>
                    <a:pt x="30" y="60"/>
                  </a:lnTo>
                  <a:lnTo>
                    <a:pt x="30" y="60"/>
                  </a:lnTo>
                  <a:lnTo>
                    <a:pt x="30" y="60"/>
                  </a:lnTo>
                  <a:lnTo>
                    <a:pt x="30" y="60"/>
                  </a:lnTo>
                  <a:lnTo>
                    <a:pt x="26" y="64"/>
                  </a:lnTo>
                  <a:lnTo>
                    <a:pt x="26" y="64"/>
                  </a:lnTo>
                  <a:lnTo>
                    <a:pt x="26" y="64"/>
                  </a:lnTo>
                  <a:lnTo>
                    <a:pt x="24" y="64"/>
                  </a:lnTo>
                  <a:lnTo>
                    <a:pt x="20" y="68"/>
                  </a:lnTo>
                  <a:lnTo>
                    <a:pt x="20" y="68"/>
                  </a:lnTo>
                  <a:lnTo>
                    <a:pt x="20" y="68"/>
                  </a:lnTo>
                  <a:lnTo>
                    <a:pt x="20" y="68"/>
                  </a:lnTo>
                  <a:lnTo>
                    <a:pt x="20" y="68"/>
                  </a:lnTo>
                  <a:lnTo>
                    <a:pt x="20" y="68"/>
                  </a:lnTo>
                  <a:lnTo>
                    <a:pt x="16" y="68"/>
                  </a:lnTo>
                  <a:lnTo>
                    <a:pt x="16" y="68"/>
                  </a:lnTo>
                  <a:lnTo>
                    <a:pt x="16" y="68"/>
                  </a:lnTo>
                  <a:lnTo>
                    <a:pt x="12" y="68"/>
                  </a:lnTo>
                  <a:lnTo>
                    <a:pt x="12" y="68"/>
                  </a:lnTo>
                  <a:lnTo>
                    <a:pt x="12" y="68"/>
                  </a:lnTo>
                  <a:lnTo>
                    <a:pt x="8" y="68"/>
                  </a:lnTo>
                  <a:lnTo>
                    <a:pt x="8" y="68"/>
                  </a:lnTo>
                  <a:lnTo>
                    <a:pt x="8" y="64"/>
                  </a:lnTo>
                  <a:lnTo>
                    <a:pt x="8" y="64"/>
                  </a:lnTo>
                  <a:lnTo>
                    <a:pt x="8" y="64"/>
                  </a:lnTo>
                  <a:lnTo>
                    <a:pt x="8" y="60"/>
                  </a:lnTo>
                  <a:lnTo>
                    <a:pt x="8" y="60"/>
                  </a:lnTo>
                  <a:lnTo>
                    <a:pt x="4" y="60"/>
                  </a:lnTo>
                  <a:lnTo>
                    <a:pt x="4" y="56"/>
                  </a:lnTo>
                  <a:lnTo>
                    <a:pt x="4" y="56"/>
                  </a:lnTo>
                  <a:lnTo>
                    <a:pt x="4" y="56"/>
                  </a:lnTo>
                  <a:lnTo>
                    <a:pt x="4" y="56"/>
                  </a:lnTo>
                  <a:lnTo>
                    <a:pt x="4" y="52"/>
                  </a:lnTo>
                  <a:lnTo>
                    <a:pt x="4" y="52"/>
                  </a:lnTo>
                  <a:lnTo>
                    <a:pt x="4" y="52"/>
                  </a:lnTo>
                  <a:lnTo>
                    <a:pt x="4" y="52"/>
                  </a:lnTo>
                  <a:lnTo>
                    <a:pt x="4" y="48"/>
                  </a:lnTo>
                  <a:lnTo>
                    <a:pt x="4" y="48"/>
                  </a:lnTo>
                  <a:lnTo>
                    <a:pt x="4" y="48"/>
                  </a:lnTo>
                  <a:lnTo>
                    <a:pt x="4" y="46"/>
                  </a:lnTo>
                  <a:lnTo>
                    <a:pt x="4" y="46"/>
                  </a:lnTo>
                  <a:lnTo>
                    <a:pt x="4" y="46"/>
                  </a:lnTo>
                  <a:lnTo>
                    <a:pt x="4" y="46"/>
                  </a:lnTo>
                  <a:lnTo>
                    <a:pt x="4" y="42"/>
                  </a:lnTo>
                  <a:lnTo>
                    <a:pt x="4" y="42"/>
                  </a:lnTo>
                  <a:lnTo>
                    <a:pt x="4" y="38"/>
                  </a:lnTo>
                  <a:lnTo>
                    <a:pt x="4" y="38"/>
                  </a:lnTo>
                  <a:lnTo>
                    <a:pt x="4" y="38"/>
                  </a:lnTo>
                  <a:lnTo>
                    <a:pt x="4" y="34"/>
                  </a:lnTo>
                  <a:lnTo>
                    <a:pt x="4" y="34"/>
                  </a:lnTo>
                  <a:lnTo>
                    <a:pt x="4" y="34"/>
                  </a:lnTo>
                  <a:lnTo>
                    <a:pt x="4" y="34"/>
                  </a:lnTo>
                  <a:lnTo>
                    <a:pt x="4" y="34"/>
                  </a:lnTo>
                  <a:lnTo>
                    <a:pt x="4" y="34"/>
                  </a:lnTo>
                  <a:lnTo>
                    <a:pt x="4" y="34"/>
                  </a:lnTo>
                  <a:lnTo>
                    <a:pt x="4" y="34"/>
                  </a:lnTo>
                  <a:lnTo>
                    <a:pt x="0" y="34"/>
                  </a:lnTo>
                  <a:lnTo>
                    <a:pt x="0" y="30"/>
                  </a:lnTo>
                  <a:lnTo>
                    <a:pt x="0" y="30"/>
                  </a:lnTo>
                  <a:lnTo>
                    <a:pt x="0" y="30"/>
                  </a:lnTo>
                  <a:lnTo>
                    <a:pt x="4" y="30"/>
                  </a:lnTo>
                  <a:lnTo>
                    <a:pt x="4" y="30"/>
                  </a:lnTo>
                  <a:lnTo>
                    <a:pt x="4" y="30"/>
                  </a:lnTo>
                  <a:lnTo>
                    <a:pt x="4" y="34"/>
                  </a:lnTo>
                  <a:lnTo>
                    <a:pt x="4" y="34"/>
                  </a:lnTo>
                  <a:lnTo>
                    <a:pt x="4" y="34"/>
                  </a:lnTo>
                  <a:lnTo>
                    <a:pt x="4" y="34"/>
                  </a:lnTo>
                  <a:lnTo>
                    <a:pt x="4" y="34"/>
                  </a:lnTo>
                  <a:lnTo>
                    <a:pt x="4" y="34"/>
                  </a:lnTo>
                  <a:lnTo>
                    <a:pt x="4" y="34"/>
                  </a:lnTo>
                  <a:lnTo>
                    <a:pt x="4" y="34"/>
                  </a:lnTo>
                  <a:lnTo>
                    <a:pt x="4" y="34"/>
                  </a:lnTo>
                  <a:lnTo>
                    <a:pt x="4" y="34"/>
                  </a:lnTo>
                  <a:lnTo>
                    <a:pt x="4" y="34"/>
                  </a:lnTo>
                  <a:lnTo>
                    <a:pt x="4" y="34"/>
                  </a:lnTo>
                  <a:lnTo>
                    <a:pt x="4" y="30"/>
                  </a:lnTo>
                  <a:lnTo>
                    <a:pt x="4" y="22"/>
                  </a:lnTo>
                  <a:lnTo>
                    <a:pt x="4" y="22"/>
                  </a:lnTo>
                  <a:lnTo>
                    <a:pt x="4" y="22"/>
                  </a:lnTo>
                  <a:lnTo>
                    <a:pt x="4" y="22"/>
                  </a:lnTo>
                  <a:lnTo>
                    <a:pt x="4" y="18"/>
                  </a:lnTo>
                  <a:lnTo>
                    <a:pt x="4" y="18"/>
                  </a:lnTo>
                  <a:lnTo>
                    <a:pt x="4" y="18"/>
                  </a:lnTo>
                  <a:lnTo>
                    <a:pt x="4" y="16"/>
                  </a:lnTo>
                  <a:lnTo>
                    <a:pt x="4" y="16"/>
                  </a:lnTo>
                  <a:lnTo>
                    <a:pt x="8" y="16"/>
                  </a:lnTo>
                  <a:lnTo>
                    <a:pt x="8" y="16"/>
                  </a:lnTo>
                  <a:lnTo>
                    <a:pt x="8" y="16"/>
                  </a:lnTo>
                  <a:lnTo>
                    <a:pt x="8" y="16"/>
                  </a:lnTo>
                  <a:lnTo>
                    <a:pt x="8" y="12"/>
                  </a:lnTo>
                  <a:lnTo>
                    <a:pt x="8" y="12"/>
                  </a:lnTo>
                  <a:lnTo>
                    <a:pt x="8" y="12"/>
                  </a:lnTo>
                  <a:lnTo>
                    <a:pt x="8" y="12"/>
                  </a:lnTo>
                  <a:lnTo>
                    <a:pt x="8" y="12"/>
                  </a:lnTo>
                  <a:lnTo>
                    <a:pt x="8" y="12"/>
                  </a:lnTo>
                  <a:lnTo>
                    <a:pt x="8" y="8"/>
                  </a:lnTo>
                  <a:lnTo>
                    <a:pt x="8" y="8"/>
                  </a:lnTo>
                  <a:lnTo>
                    <a:pt x="8" y="8"/>
                  </a:lnTo>
                  <a:lnTo>
                    <a:pt x="8" y="8"/>
                  </a:lnTo>
                  <a:lnTo>
                    <a:pt x="8" y="8"/>
                  </a:lnTo>
                  <a:lnTo>
                    <a:pt x="8" y="8"/>
                  </a:lnTo>
                  <a:lnTo>
                    <a:pt x="8" y="8"/>
                  </a:lnTo>
                  <a:lnTo>
                    <a:pt x="8" y="8"/>
                  </a:lnTo>
                  <a:lnTo>
                    <a:pt x="8" y="8"/>
                  </a:lnTo>
                  <a:lnTo>
                    <a:pt x="8" y="4"/>
                  </a:lnTo>
                  <a:lnTo>
                    <a:pt x="8" y="4"/>
                  </a:lnTo>
                  <a:lnTo>
                    <a:pt x="8" y="4"/>
                  </a:lnTo>
                  <a:lnTo>
                    <a:pt x="8" y="4"/>
                  </a:lnTo>
                  <a:lnTo>
                    <a:pt x="8" y="8"/>
                  </a:lnTo>
                  <a:lnTo>
                    <a:pt x="12" y="8"/>
                  </a:lnTo>
                  <a:lnTo>
                    <a:pt x="12" y="8"/>
                  </a:lnTo>
                  <a:lnTo>
                    <a:pt x="12" y="8"/>
                  </a:lnTo>
                  <a:lnTo>
                    <a:pt x="16" y="8"/>
                  </a:lnTo>
                  <a:lnTo>
                    <a:pt x="16" y="8"/>
                  </a:lnTo>
                  <a:lnTo>
                    <a:pt x="16" y="8"/>
                  </a:lnTo>
                  <a:lnTo>
                    <a:pt x="16" y="8"/>
                  </a:lnTo>
                  <a:lnTo>
                    <a:pt x="16" y="8"/>
                  </a:lnTo>
                  <a:lnTo>
                    <a:pt x="16" y="8"/>
                  </a:lnTo>
                  <a:lnTo>
                    <a:pt x="16" y="8"/>
                  </a:lnTo>
                  <a:lnTo>
                    <a:pt x="16" y="8"/>
                  </a:lnTo>
                  <a:lnTo>
                    <a:pt x="12" y="8"/>
                  </a:lnTo>
                  <a:lnTo>
                    <a:pt x="12" y="8"/>
                  </a:lnTo>
                  <a:lnTo>
                    <a:pt x="12" y="8"/>
                  </a:lnTo>
                  <a:lnTo>
                    <a:pt x="12" y="8"/>
                  </a:lnTo>
                  <a:lnTo>
                    <a:pt x="12" y="8"/>
                  </a:lnTo>
                  <a:lnTo>
                    <a:pt x="12" y="8"/>
                  </a:lnTo>
                  <a:lnTo>
                    <a:pt x="12" y="4"/>
                  </a:lnTo>
                  <a:lnTo>
                    <a:pt x="8" y="4"/>
                  </a:lnTo>
                  <a:lnTo>
                    <a:pt x="8" y="4"/>
                  </a:lnTo>
                  <a:lnTo>
                    <a:pt x="8" y="4"/>
                  </a:lnTo>
                  <a:lnTo>
                    <a:pt x="8" y="4"/>
                  </a:lnTo>
                  <a:lnTo>
                    <a:pt x="8" y="4"/>
                  </a:lnTo>
                  <a:lnTo>
                    <a:pt x="8" y="4"/>
                  </a:lnTo>
                  <a:lnTo>
                    <a:pt x="8" y="4"/>
                  </a:lnTo>
                  <a:lnTo>
                    <a:pt x="8" y="4"/>
                  </a:lnTo>
                  <a:lnTo>
                    <a:pt x="8" y="4"/>
                  </a:lnTo>
                  <a:lnTo>
                    <a:pt x="8" y="8"/>
                  </a:lnTo>
                  <a:lnTo>
                    <a:pt x="8" y="4"/>
                  </a:lnTo>
                  <a:lnTo>
                    <a:pt x="8" y="4"/>
                  </a:lnTo>
                  <a:lnTo>
                    <a:pt x="4" y="4"/>
                  </a:lnTo>
                  <a:lnTo>
                    <a:pt x="4" y="4"/>
                  </a:lnTo>
                  <a:lnTo>
                    <a:pt x="4" y="4"/>
                  </a:lnTo>
                  <a:lnTo>
                    <a:pt x="4" y="4"/>
                  </a:lnTo>
                  <a:lnTo>
                    <a:pt x="4" y="0"/>
                  </a:lnTo>
                  <a:lnTo>
                    <a:pt x="8" y="0"/>
                  </a:lnTo>
                  <a:lnTo>
                    <a:pt x="8" y="0"/>
                  </a:lnTo>
                  <a:lnTo>
                    <a:pt x="8" y="0"/>
                  </a:lnTo>
                  <a:lnTo>
                    <a:pt x="8" y="0"/>
                  </a:lnTo>
                  <a:lnTo>
                    <a:pt x="8" y="4"/>
                  </a:lnTo>
                  <a:lnTo>
                    <a:pt x="8" y="4"/>
                  </a:lnTo>
                  <a:lnTo>
                    <a:pt x="8" y="4"/>
                  </a:lnTo>
                  <a:lnTo>
                    <a:pt x="8" y="4"/>
                  </a:lnTo>
                  <a:lnTo>
                    <a:pt x="8" y="4"/>
                  </a:lnTo>
                  <a:lnTo>
                    <a:pt x="8" y="4"/>
                  </a:lnTo>
                  <a:lnTo>
                    <a:pt x="12" y="4"/>
                  </a:lnTo>
                  <a:lnTo>
                    <a:pt x="12" y="4"/>
                  </a:lnTo>
                  <a:lnTo>
                    <a:pt x="12" y="4"/>
                  </a:lnTo>
                  <a:lnTo>
                    <a:pt x="12" y="4"/>
                  </a:lnTo>
                  <a:lnTo>
                    <a:pt x="12" y="4"/>
                  </a:lnTo>
                  <a:lnTo>
                    <a:pt x="12" y="4"/>
                  </a:lnTo>
                  <a:lnTo>
                    <a:pt x="12" y="8"/>
                  </a:lnTo>
                  <a:lnTo>
                    <a:pt x="12" y="4"/>
                  </a:lnTo>
                  <a:lnTo>
                    <a:pt x="8" y="4"/>
                  </a:lnTo>
                  <a:lnTo>
                    <a:pt x="8" y="4"/>
                  </a:lnTo>
                  <a:lnTo>
                    <a:pt x="8" y="4"/>
                  </a:lnTo>
                  <a:lnTo>
                    <a:pt x="8" y="4"/>
                  </a:lnTo>
                  <a:lnTo>
                    <a:pt x="8" y="4"/>
                  </a:lnTo>
                  <a:lnTo>
                    <a:pt x="8" y="0"/>
                  </a:lnTo>
                  <a:lnTo>
                    <a:pt x="12" y="0"/>
                  </a:lnTo>
                  <a:lnTo>
                    <a:pt x="12" y="0"/>
                  </a:lnTo>
                  <a:lnTo>
                    <a:pt x="12" y="0"/>
                  </a:lnTo>
                  <a:lnTo>
                    <a:pt x="12" y="0"/>
                  </a:lnTo>
                  <a:lnTo>
                    <a:pt x="12" y="4"/>
                  </a:lnTo>
                  <a:lnTo>
                    <a:pt x="12" y="4"/>
                  </a:lnTo>
                  <a:lnTo>
                    <a:pt x="12" y="4"/>
                  </a:lnTo>
                  <a:lnTo>
                    <a:pt x="12" y="4"/>
                  </a:lnTo>
                  <a:lnTo>
                    <a:pt x="12" y="4"/>
                  </a:lnTo>
                  <a:lnTo>
                    <a:pt x="16" y="8"/>
                  </a:lnTo>
                  <a:lnTo>
                    <a:pt x="16" y="8"/>
                  </a:lnTo>
                  <a:lnTo>
                    <a:pt x="16" y="8"/>
                  </a:lnTo>
                  <a:lnTo>
                    <a:pt x="16" y="8"/>
                  </a:lnTo>
                  <a:lnTo>
                    <a:pt x="16" y="8"/>
                  </a:lnTo>
                  <a:lnTo>
                    <a:pt x="16" y="8"/>
                  </a:lnTo>
                  <a:lnTo>
                    <a:pt x="16" y="8"/>
                  </a:lnTo>
                  <a:lnTo>
                    <a:pt x="16" y="12"/>
                  </a:lnTo>
                  <a:lnTo>
                    <a:pt x="20" y="12"/>
                  </a:lnTo>
                  <a:lnTo>
                    <a:pt x="20" y="12"/>
                  </a:lnTo>
                  <a:lnTo>
                    <a:pt x="20" y="12"/>
                  </a:lnTo>
                  <a:lnTo>
                    <a:pt x="20" y="12"/>
                  </a:lnTo>
                  <a:lnTo>
                    <a:pt x="20" y="16"/>
                  </a:lnTo>
                  <a:lnTo>
                    <a:pt x="20" y="16"/>
                  </a:lnTo>
                  <a:lnTo>
                    <a:pt x="20" y="16"/>
                  </a:lnTo>
                  <a:lnTo>
                    <a:pt x="20" y="16"/>
                  </a:lnTo>
                  <a:lnTo>
                    <a:pt x="20" y="16"/>
                  </a:lnTo>
                  <a:lnTo>
                    <a:pt x="20" y="18"/>
                  </a:lnTo>
                  <a:lnTo>
                    <a:pt x="20" y="18"/>
                  </a:lnTo>
                  <a:lnTo>
                    <a:pt x="20" y="16"/>
                  </a:lnTo>
                  <a:lnTo>
                    <a:pt x="20" y="16"/>
                  </a:lnTo>
                  <a:lnTo>
                    <a:pt x="20" y="18"/>
                  </a:lnTo>
                  <a:lnTo>
                    <a:pt x="24" y="18"/>
                  </a:lnTo>
                  <a:lnTo>
                    <a:pt x="24" y="22"/>
                  </a:lnTo>
                  <a:lnTo>
                    <a:pt x="24" y="22"/>
                  </a:lnTo>
                  <a:lnTo>
                    <a:pt x="24" y="22"/>
                  </a:lnTo>
                  <a:lnTo>
                    <a:pt x="24" y="22"/>
                  </a:lnTo>
                  <a:lnTo>
                    <a:pt x="24" y="22"/>
                  </a:lnTo>
                  <a:lnTo>
                    <a:pt x="24" y="22"/>
                  </a:lnTo>
                  <a:lnTo>
                    <a:pt x="24" y="22"/>
                  </a:lnTo>
                  <a:lnTo>
                    <a:pt x="24" y="22"/>
                  </a:lnTo>
                  <a:lnTo>
                    <a:pt x="24" y="22"/>
                  </a:lnTo>
                  <a:lnTo>
                    <a:pt x="24" y="22"/>
                  </a:lnTo>
                  <a:lnTo>
                    <a:pt x="24" y="26"/>
                  </a:lnTo>
                  <a:lnTo>
                    <a:pt x="24" y="26"/>
                  </a:lnTo>
                  <a:lnTo>
                    <a:pt x="24" y="26"/>
                  </a:lnTo>
                  <a:lnTo>
                    <a:pt x="24" y="26"/>
                  </a:lnTo>
                  <a:lnTo>
                    <a:pt x="24" y="26"/>
                  </a:lnTo>
                  <a:lnTo>
                    <a:pt x="24" y="26"/>
                  </a:lnTo>
                  <a:lnTo>
                    <a:pt x="24" y="26"/>
                  </a:lnTo>
                  <a:lnTo>
                    <a:pt x="26" y="22"/>
                  </a:lnTo>
                  <a:lnTo>
                    <a:pt x="26" y="26"/>
                  </a:lnTo>
                  <a:lnTo>
                    <a:pt x="26" y="26"/>
                  </a:lnTo>
                  <a:lnTo>
                    <a:pt x="26" y="26"/>
                  </a:lnTo>
                  <a:lnTo>
                    <a:pt x="26" y="26"/>
                  </a:lnTo>
                  <a:lnTo>
                    <a:pt x="26" y="30"/>
                  </a:lnTo>
                  <a:lnTo>
                    <a:pt x="26" y="30"/>
                  </a:lnTo>
                  <a:lnTo>
                    <a:pt x="26" y="30"/>
                  </a:lnTo>
                  <a:lnTo>
                    <a:pt x="26" y="30"/>
                  </a:lnTo>
                  <a:lnTo>
                    <a:pt x="26" y="34"/>
                  </a:lnTo>
                  <a:lnTo>
                    <a:pt x="30" y="38"/>
                  </a:lnTo>
                  <a:lnTo>
                    <a:pt x="30" y="38"/>
                  </a:lnTo>
                  <a:lnTo>
                    <a:pt x="30" y="38"/>
                  </a:lnTo>
                  <a:lnTo>
                    <a:pt x="30" y="38"/>
                  </a:lnTo>
                  <a:lnTo>
                    <a:pt x="30" y="38"/>
                  </a:lnTo>
                  <a:lnTo>
                    <a:pt x="30" y="38"/>
                  </a:lnTo>
                  <a:lnTo>
                    <a:pt x="30" y="38"/>
                  </a:lnTo>
                  <a:lnTo>
                    <a:pt x="30" y="38"/>
                  </a:lnTo>
                  <a:lnTo>
                    <a:pt x="30" y="38"/>
                  </a:lnTo>
                  <a:lnTo>
                    <a:pt x="30" y="38"/>
                  </a:lnTo>
                  <a:lnTo>
                    <a:pt x="30" y="42"/>
                  </a:lnTo>
                  <a:lnTo>
                    <a:pt x="30" y="42"/>
                  </a:lnTo>
                  <a:lnTo>
                    <a:pt x="30" y="42"/>
                  </a:lnTo>
                  <a:lnTo>
                    <a:pt x="30" y="42"/>
                  </a:lnTo>
                  <a:lnTo>
                    <a:pt x="30" y="42"/>
                  </a:lnTo>
                  <a:lnTo>
                    <a:pt x="30" y="42"/>
                  </a:lnTo>
                  <a:lnTo>
                    <a:pt x="30" y="42"/>
                  </a:lnTo>
                  <a:lnTo>
                    <a:pt x="30" y="42"/>
                  </a:lnTo>
                  <a:lnTo>
                    <a:pt x="34" y="42"/>
                  </a:lnTo>
                  <a:lnTo>
                    <a:pt x="34" y="46"/>
                  </a:lnTo>
                  <a:lnTo>
                    <a:pt x="34" y="46"/>
                  </a:lnTo>
                  <a:lnTo>
                    <a:pt x="34" y="46"/>
                  </a:lnTo>
                  <a:lnTo>
                    <a:pt x="34" y="46"/>
                  </a:lnTo>
                  <a:lnTo>
                    <a:pt x="34" y="46"/>
                  </a:lnTo>
                  <a:lnTo>
                    <a:pt x="34" y="48"/>
                  </a:lnTo>
                  <a:lnTo>
                    <a:pt x="34" y="48"/>
                  </a:lnTo>
                  <a:lnTo>
                    <a:pt x="34" y="48"/>
                  </a:lnTo>
                  <a:lnTo>
                    <a:pt x="34" y="52"/>
                  </a:lnTo>
                  <a:lnTo>
                    <a:pt x="34" y="52"/>
                  </a:lnTo>
                  <a:lnTo>
                    <a:pt x="34" y="52"/>
                  </a:lnTo>
                  <a:lnTo>
                    <a:pt x="30" y="56"/>
                  </a:lnTo>
                  <a:lnTo>
                    <a:pt x="30" y="56"/>
                  </a:lnTo>
                  <a:lnTo>
                    <a:pt x="30" y="56"/>
                  </a:lnTo>
                  <a:lnTo>
                    <a:pt x="30" y="56"/>
                  </a:lnTo>
                  <a:lnTo>
                    <a:pt x="30" y="5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61" name="Freeform 54"/>
            <p:cNvSpPr>
              <a:spLocks/>
            </p:cNvSpPr>
            <p:nvPr/>
          </p:nvSpPr>
          <p:spPr bwMode="auto">
            <a:xfrm>
              <a:off x="7355531" y="3727633"/>
              <a:ext cx="61542" cy="61456"/>
            </a:xfrm>
            <a:custGeom>
              <a:avLst/>
              <a:gdLst>
                <a:gd name="T0" fmla="*/ 0 w 98"/>
                <a:gd name="T1" fmla="*/ 78 h 94"/>
                <a:gd name="T2" fmla="*/ 4 w 98"/>
                <a:gd name="T3" fmla="*/ 76 h 94"/>
                <a:gd name="T4" fmla="*/ 4 w 98"/>
                <a:gd name="T5" fmla="*/ 76 h 94"/>
                <a:gd name="T6" fmla="*/ 4 w 98"/>
                <a:gd name="T7" fmla="*/ 72 h 94"/>
                <a:gd name="T8" fmla="*/ 12 w 98"/>
                <a:gd name="T9" fmla="*/ 68 h 94"/>
                <a:gd name="T10" fmla="*/ 12 w 98"/>
                <a:gd name="T11" fmla="*/ 68 h 94"/>
                <a:gd name="T12" fmla="*/ 16 w 98"/>
                <a:gd name="T13" fmla="*/ 60 h 94"/>
                <a:gd name="T14" fmla="*/ 12 w 98"/>
                <a:gd name="T15" fmla="*/ 56 h 94"/>
                <a:gd name="T16" fmla="*/ 12 w 98"/>
                <a:gd name="T17" fmla="*/ 52 h 94"/>
                <a:gd name="T18" fmla="*/ 8 w 98"/>
                <a:gd name="T19" fmla="*/ 52 h 94"/>
                <a:gd name="T20" fmla="*/ 4 w 98"/>
                <a:gd name="T21" fmla="*/ 52 h 94"/>
                <a:gd name="T22" fmla="*/ 4 w 98"/>
                <a:gd name="T23" fmla="*/ 44 h 94"/>
                <a:gd name="T24" fmla="*/ 4 w 98"/>
                <a:gd name="T25" fmla="*/ 42 h 94"/>
                <a:gd name="T26" fmla="*/ 4 w 98"/>
                <a:gd name="T27" fmla="*/ 34 h 94"/>
                <a:gd name="T28" fmla="*/ 4 w 98"/>
                <a:gd name="T29" fmla="*/ 26 h 94"/>
                <a:gd name="T30" fmla="*/ 8 w 98"/>
                <a:gd name="T31" fmla="*/ 30 h 94"/>
                <a:gd name="T32" fmla="*/ 8 w 98"/>
                <a:gd name="T33" fmla="*/ 26 h 94"/>
                <a:gd name="T34" fmla="*/ 12 w 98"/>
                <a:gd name="T35" fmla="*/ 22 h 94"/>
                <a:gd name="T36" fmla="*/ 16 w 98"/>
                <a:gd name="T37" fmla="*/ 22 h 94"/>
                <a:gd name="T38" fmla="*/ 16 w 98"/>
                <a:gd name="T39" fmla="*/ 18 h 94"/>
                <a:gd name="T40" fmla="*/ 16 w 98"/>
                <a:gd name="T41" fmla="*/ 12 h 94"/>
                <a:gd name="T42" fmla="*/ 24 w 98"/>
                <a:gd name="T43" fmla="*/ 14 h 94"/>
                <a:gd name="T44" fmla="*/ 30 w 98"/>
                <a:gd name="T45" fmla="*/ 12 h 94"/>
                <a:gd name="T46" fmla="*/ 34 w 98"/>
                <a:gd name="T47" fmla="*/ 12 h 94"/>
                <a:gd name="T48" fmla="*/ 34 w 98"/>
                <a:gd name="T49" fmla="*/ 12 h 94"/>
                <a:gd name="T50" fmla="*/ 42 w 98"/>
                <a:gd name="T51" fmla="*/ 8 h 94"/>
                <a:gd name="T52" fmla="*/ 46 w 98"/>
                <a:gd name="T53" fmla="*/ 12 h 94"/>
                <a:gd name="T54" fmla="*/ 50 w 98"/>
                <a:gd name="T55" fmla="*/ 12 h 94"/>
                <a:gd name="T56" fmla="*/ 52 w 98"/>
                <a:gd name="T57" fmla="*/ 14 h 94"/>
                <a:gd name="T58" fmla="*/ 60 w 98"/>
                <a:gd name="T59" fmla="*/ 12 h 94"/>
                <a:gd name="T60" fmla="*/ 68 w 98"/>
                <a:gd name="T61" fmla="*/ 8 h 94"/>
                <a:gd name="T62" fmla="*/ 72 w 98"/>
                <a:gd name="T63" fmla="*/ 8 h 94"/>
                <a:gd name="T64" fmla="*/ 76 w 98"/>
                <a:gd name="T65" fmla="*/ 4 h 94"/>
                <a:gd name="T66" fmla="*/ 82 w 98"/>
                <a:gd name="T67" fmla="*/ 4 h 94"/>
                <a:gd name="T68" fmla="*/ 90 w 98"/>
                <a:gd name="T69" fmla="*/ 4 h 94"/>
                <a:gd name="T70" fmla="*/ 94 w 98"/>
                <a:gd name="T71" fmla="*/ 0 h 94"/>
                <a:gd name="T72" fmla="*/ 98 w 98"/>
                <a:gd name="T73" fmla="*/ 4 h 94"/>
                <a:gd name="T74" fmla="*/ 82 w 98"/>
                <a:gd name="T75" fmla="*/ 18 h 94"/>
                <a:gd name="T76" fmla="*/ 82 w 98"/>
                <a:gd name="T77" fmla="*/ 30 h 94"/>
                <a:gd name="T78" fmla="*/ 82 w 98"/>
                <a:gd name="T79" fmla="*/ 38 h 94"/>
                <a:gd name="T80" fmla="*/ 80 w 98"/>
                <a:gd name="T81" fmla="*/ 42 h 94"/>
                <a:gd name="T82" fmla="*/ 80 w 98"/>
                <a:gd name="T83" fmla="*/ 44 h 94"/>
                <a:gd name="T84" fmla="*/ 80 w 98"/>
                <a:gd name="T85" fmla="*/ 56 h 94"/>
                <a:gd name="T86" fmla="*/ 60 w 98"/>
                <a:gd name="T87" fmla="*/ 68 h 94"/>
                <a:gd name="T88" fmla="*/ 46 w 98"/>
                <a:gd name="T89" fmla="*/ 76 h 94"/>
                <a:gd name="T90" fmla="*/ 30 w 98"/>
                <a:gd name="T91" fmla="*/ 86 h 94"/>
                <a:gd name="T92" fmla="*/ 20 w 98"/>
                <a:gd name="T93" fmla="*/ 94 h 94"/>
                <a:gd name="T94" fmla="*/ 12 w 98"/>
                <a:gd name="T95" fmla="*/ 94 h 94"/>
                <a:gd name="T96" fmla="*/ 8 w 98"/>
                <a:gd name="T97" fmla="*/ 90 h 94"/>
                <a:gd name="T98" fmla="*/ 4 w 98"/>
                <a:gd name="T99" fmla="*/ 86 h 94"/>
                <a:gd name="T100" fmla="*/ 0 w 98"/>
                <a:gd name="T101" fmla="*/ 86 h 94"/>
                <a:gd name="T102" fmla="*/ 0 w 98"/>
                <a:gd name="T103" fmla="*/ 86 h 94"/>
                <a:gd name="T104" fmla="*/ 0 w 98"/>
                <a:gd name="T105" fmla="*/ 82 h 94"/>
                <a:gd name="T106" fmla="*/ 0 w 98"/>
                <a:gd name="T107" fmla="*/ 7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8" h="94">
                  <a:moveTo>
                    <a:pt x="0" y="78"/>
                  </a:moveTo>
                  <a:lnTo>
                    <a:pt x="0" y="78"/>
                  </a:lnTo>
                  <a:lnTo>
                    <a:pt x="0" y="78"/>
                  </a:lnTo>
                  <a:lnTo>
                    <a:pt x="0" y="78"/>
                  </a:lnTo>
                  <a:lnTo>
                    <a:pt x="0" y="78"/>
                  </a:lnTo>
                  <a:lnTo>
                    <a:pt x="0" y="78"/>
                  </a:lnTo>
                  <a:lnTo>
                    <a:pt x="0" y="78"/>
                  </a:lnTo>
                  <a:lnTo>
                    <a:pt x="4" y="76"/>
                  </a:lnTo>
                  <a:lnTo>
                    <a:pt x="4" y="76"/>
                  </a:lnTo>
                  <a:lnTo>
                    <a:pt x="4" y="76"/>
                  </a:lnTo>
                  <a:lnTo>
                    <a:pt x="4" y="76"/>
                  </a:lnTo>
                  <a:lnTo>
                    <a:pt x="4" y="76"/>
                  </a:lnTo>
                  <a:lnTo>
                    <a:pt x="4" y="76"/>
                  </a:lnTo>
                  <a:lnTo>
                    <a:pt x="4" y="76"/>
                  </a:lnTo>
                  <a:lnTo>
                    <a:pt x="4" y="76"/>
                  </a:lnTo>
                  <a:lnTo>
                    <a:pt x="4" y="76"/>
                  </a:lnTo>
                  <a:lnTo>
                    <a:pt x="8" y="72"/>
                  </a:lnTo>
                  <a:lnTo>
                    <a:pt x="8" y="72"/>
                  </a:lnTo>
                  <a:lnTo>
                    <a:pt x="8" y="72"/>
                  </a:lnTo>
                  <a:lnTo>
                    <a:pt x="4" y="72"/>
                  </a:lnTo>
                  <a:lnTo>
                    <a:pt x="4" y="72"/>
                  </a:lnTo>
                  <a:lnTo>
                    <a:pt x="8" y="68"/>
                  </a:lnTo>
                  <a:lnTo>
                    <a:pt x="8" y="68"/>
                  </a:lnTo>
                  <a:lnTo>
                    <a:pt x="8" y="68"/>
                  </a:lnTo>
                  <a:lnTo>
                    <a:pt x="12" y="68"/>
                  </a:lnTo>
                  <a:lnTo>
                    <a:pt x="12" y="68"/>
                  </a:lnTo>
                  <a:lnTo>
                    <a:pt x="12" y="68"/>
                  </a:lnTo>
                  <a:lnTo>
                    <a:pt x="12" y="68"/>
                  </a:lnTo>
                  <a:lnTo>
                    <a:pt x="12" y="68"/>
                  </a:lnTo>
                  <a:lnTo>
                    <a:pt x="12" y="68"/>
                  </a:lnTo>
                  <a:lnTo>
                    <a:pt x="12" y="64"/>
                  </a:lnTo>
                  <a:lnTo>
                    <a:pt x="12" y="64"/>
                  </a:lnTo>
                  <a:lnTo>
                    <a:pt x="12" y="64"/>
                  </a:lnTo>
                  <a:lnTo>
                    <a:pt x="12" y="64"/>
                  </a:lnTo>
                  <a:lnTo>
                    <a:pt x="16" y="60"/>
                  </a:lnTo>
                  <a:lnTo>
                    <a:pt x="16" y="60"/>
                  </a:lnTo>
                  <a:lnTo>
                    <a:pt x="16" y="60"/>
                  </a:lnTo>
                  <a:lnTo>
                    <a:pt x="16" y="56"/>
                  </a:lnTo>
                  <a:lnTo>
                    <a:pt x="16" y="56"/>
                  </a:lnTo>
                  <a:lnTo>
                    <a:pt x="12" y="56"/>
                  </a:lnTo>
                  <a:lnTo>
                    <a:pt x="12" y="52"/>
                  </a:lnTo>
                  <a:lnTo>
                    <a:pt x="12" y="56"/>
                  </a:lnTo>
                  <a:lnTo>
                    <a:pt x="12" y="52"/>
                  </a:lnTo>
                  <a:lnTo>
                    <a:pt x="12" y="52"/>
                  </a:lnTo>
                  <a:lnTo>
                    <a:pt x="12" y="52"/>
                  </a:lnTo>
                  <a:lnTo>
                    <a:pt x="12" y="52"/>
                  </a:lnTo>
                  <a:lnTo>
                    <a:pt x="12" y="52"/>
                  </a:lnTo>
                  <a:lnTo>
                    <a:pt x="12" y="52"/>
                  </a:lnTo>
                  <a:lnTo>
                    <a:pt x="8" y="52"/>
                  </a:lnTo>
                  <a:lnTo>
                    <a:pt x="8" y="52"/>
                  </a:lnTo>
                  <a:lnTo>
                    <a:pt x="8" y="52"/>
                  </a:lnTo>
                  <a:lnTo>
                    <a:pt x="8" y="52"/>
                  </a:lnTo>
                  <a:lnTo>
                    <a:pt x="8" y="52"/>
                  </a:lnTo>
                  <a:lnTo>
                    <a:pt x="8" y="52"/>
                  </a:lnTo>
                  <a:lnTo>
                    <a:pt x="4" y="52"/>
                  </a:lnTo>
                  <a:lnTo>
                    <a:pt x="4" y="48"/>
                  </a:lnTo>
                  <a:lnTo>
                    <a:pt x="4" y="48"/>
                  </a:lnTo>
                  <a:lnTo>
                    <a:pt x="4" y="44"/>
                  </a:lnTo>
                  <a:lnTo>
                    <a:pt x="4" y="44"/>
                  </a:lnTo>
                  <a:lnTo>
                    <a:pt x="4" y="44"/>
                  </a:lnTo>
                  <a:lnTo>
                    <a:pt x="4" y="42"/>
                  </a:lnTo>
                  <a:lnTo>
                    <a:pt x="4" y="42"/>
                  </a:lnTo>
                  <a:lnTo>
                    <a:pt x="4" y="42"/>
                  </a:lnTo>
                  <a:lnTo>
                    <a:pt x="4" y="42"/>
                  </a:lnTo>
                  <a:lnTo>
                    <a:pt x="4" y="42"/>
                  </a:lnTo>
                  <a:lnTo>
                    <a:pt x="4" y="42"/>
                  </a:lnTo>
                  <a:lnTo>
                    <a:pt x="4" y="38"/>
                  </a:lnTo>
                  <a:lnTo>
                    <a:pt x="4" y="38"/>
                  </a:lnTo>
                  <a:lnTo>
                    <a:pt x="4" y="34"/>
                  </a:lnTo>
                  <a:lnTo>
                    <a:pt x="4" y="34"/>
                  </a:lnTo>
                  <a:lnTo>
                    <a:pt x="4" y="34"/>
                  </a:lnTo>
                  <a:lnTo>
                    <a:pt x="4" y="30"/>
                  </a:lnTo>
                  <a:lnTo>
                    <a:pt x="4" y="30"/>
                  </a:lnTo>
                  <a:lnTo>
                    <a:pt x="4" y="30"/>
                  </a:lnTo>
                  <a:lnTo>
                    <a:pt x="4" y="26"/>
                  </a:lnTo>
                  <a:lnTo>
                    <a:pt x="8" y="26"/>
                  </a:lnTo>
                  <a:lnTo>
                    <a:pt x="8" y="30"/>
                  </a:lnTo>
                  <a:lnTo>
                    <a:pt x="8" y="30"/>
                  </a:lnTo>
                  <a:lnTo>
                    <a:pt x="8" y="30"/>
                  </a:lnTo>
                  <a:lnTo>
                    <a:pt x="8" y="30"/>
                  </a:lnTo>
                  <a:lnTo>
                    <a:pt x="8" y="30"/>
                  </a:lnTo>
                  <a:lnTo>
                    <a:pt x="8" y="30"/>
                  </a:lnTo>
                  <a:lnTo>
                    <a:pt x="8" y="30"/>
                  </a:lnTo>
                  <a:lnTo>
                    <a:pt x="8" y="26"/>
                  </a:lnTo>
                  <a:lnTo>
                    <a:pt x="8" y="26"/>
                  </a:lnTo>
                  <a:lnTo>
                    <a:pt x="12" y="26"/>
                  </a:lnTo>
                  <a:lnTo>
                    <a:pt x="12" y="26"/>
                  </a:lnTo>
                  <a:lnTo>
                    <a:pt x="12" y="26"/>
                  </a:lnTo>
                  <a:lnTo>
                    <a:pt x="12" y="22"/>
                  </a:lnTo>
                  <a:lnTo>
                    <a:pt x="12" y="22"/>
                  </a:lnTo>
                  <a:lnTo>
                    <a:pt x="12" y="22"/>
                  </a:lnTo>
                  <a:lnTo>
                    <a:pt x="16" y="22"/>
                  </a:lnTo>
                  <a:lnTo>
                    <a:pt x="16" y="22"/>
                  </a:lnTo>
                  <a:lnTo>
                    <a:pt x="16" y="22"/>
                  </a:lnTo>
                  <a:lnTo>
                    <a:pt x="16" y="22"/>
                  </a:lnTo>
                  <a:lnTo>
                    <a:pt x="16" y="22"/>
                  </a:lnTo>
                  <a:lnTo>
                    <a:pt x="16" y="18"/>
                  </a:lnTo>
                  <a:lnTo>
                    <a:pt x="16" y="18"/>
                  </a:lnTo>
                  <a:lnTo>
                    <a:pt x="16" y="18"/>
                  </a:lnTo>
                  <a:lnTo>
                    <a:pt x="16" y="18"/>
                  </a:lnTo>
                  <a:lnTo>
                    <a:pt x="16" y="14"/>
                  </a:lnTo>
                  <a:lnTo>
                    <a:pt x="16" y="14"/>
                  </a:lnTo>
                  <a:lnTo>
                    <a:pt x="16" y="12"/>
                  </a:lnTo>
                  <a:lnTo>
                    <a:pt x="16" y="12"/>
                  </a:lnTo>
                  <a:lnTo>
                    <a:pt x="16" y="12"/>
                  </a:lnTo>
                  <a:lnTo>
                    <a:pt x="16" y="12"/>
                  </a:lnTo>
                  <a:lnTo>
                    <a:pt x="20" y="12"/>
                  </a:lnTo>
                  <a:lnTo>
                    <a:pt x="20" y="12"/>
                  </a:lnTo>
                  <a:lnTo>
                    <a:pt x="24" y="12"/>
                  </a:lnTo>
                  <a:lnTo>
                    <a:pt x="24" y="14"/>
                  </a:lnTo>
                  <a:lnTo>
                    <a:pt x="24" y="14"/>
                  </a:lnTo>
                  <a:lnTo>
                    <a:pt x="24" y="14"/>
                  </a:lnTo>
                  <a:lnTo>
                    <a:pt x="26" y="14"/>
                  </a:lnTo>
                  <a:lnTo>
                    <a:pt x="26" y="14"/>
                  </a:lnTo>
                  <a:lnTo>
                    <a:pt x="30" y="12"/>
                  </a:lnTo>
                  <a:lnTo>
                    <a:pt x="30" y="12"/>
                  </a:lnTo>
                  <a:lnTo>
                    <a:pt x="30" y="12"/>
                  </a:lnTo>
                  <a:lnTo>
                    <a:pt x="30" y="12"/>
                  </a:lnTo>
                  <a:lnTo>
                    <a:pt x="30" y="12"/>
                  </a:lnTo>
                  <a:lnTo>
                    <a:pt x="34" y="12"/>
                  </a:lnTo>
                  <a:lnTo>
                    <a:pt x="34" y="12"/>
                  </a:lnTo>
                  <a:lnTo>
                    <a:pt x="34" y="12"/>
                  </a:lnTo>
                  <a:lnTo>
                    <a:pt x="34" y="12"/>
                  </a:lnTo>
                  <a:lnTo>
                    <a:pt x="34" y="12"/>
                  </a:lnTo>
                  <a:lnTo>
                    <a:pt x="34" y="12"/>
                  </a:lnTo>
                  <a:lnTo>
                    <a:pt x="38" y="12"/>
                  </a:lnTo>
                  <a:lnTo>
                    <a:pt x="38" y="8"/>
                  </a:lnTo>
                  <a:lnTo>
                    <a:pt x="38" y="8"/>
                  </a:lnTo>
                  <a:lnTo>
                    <a:pt x="42" y="8"/>
                  </a:lnTo>
                  <a:lnTo>
                    <a:pt x="42" y="8"/>
                  </a:lnTo>
                  <a:lnTo>
                    <a:pt x="42" y="12"/>
                  </a:lnTo>
                  <a:lnTo>
                    <a:pt x="42" y="12"/>
                  </a:lnTo>
                  <a:lnTo>
                    <a:pt x="46" y="12"/>
                  </a:lnTo>
                  <a:lnTo>
                    <a:pt x="46" y="12"/>
                  </a:lnTo>
                  <a:lnTo>
                    <a:pt x="46" y="12"/>
                  </a:lnTo>
                  <a:lnTo>
                    <a:pt x="46" y="12"/>
                  </a:lnTo>
                  <a:lnTo>
                    <a:pt x="50" y="12"/>
                  </a:lnTo>
                  <a:lnTo>
                    <a:pt x="50" y="12"/>
                  </a:lnTo>
                  <a:lnTo>
                    <a:pt x="50" y="12"/>
                  </a:lnTo>
                  <a:lnTo>
                    <a:pt x="50" y="12"/>
                  </a:lnTo>
                  <a:lnTo>
                    <a:pt x="50" y="12"/>
                  </a:lnTo>
                  <a:lnTo>
                    <a:pt x="50" y="12"/>
                  </a:lnTo>
                  <a:lnTo>
                    <a:pt x="50" y="12"/>
                  </a:lnTo>
                  <a:lnTo>
                    <a:pt x="52" y="14"/>
                  </a:lnTo>
                  <a:lnTo>
                    <a:pt x="52" y="14"/>
                  </a:lnTo>
                  <a:lnTo>
                    <a:pt x="52" y="14"/>
                  </a:lnTo>
                  <a:lnTo>
                    <a:pt x="52" y="14"/>
                  </a:lnTo>
                  <a:lnTo>
                    <a:pt x="56" y="12"/>
                  </a:lnTo>
                  <a:lnTo>
                    <a:pt x="56" y="12"/>
                  </a:lnTo>
                  <a:lnTo>
                    <a:pt x="60" y="12"/>
                  </a:lnTo>
                  <a:lnTo>
                    <a:pt x="64" y="12"/>
                  </a:lnTo>
                  <a:lnTo>
                    <a:pt x="64" y="12"/>
                  </a:lnTo>
                  <a:lnTo>
                    <a:pt x="64" y="12"/>
                  </a:lnTo>
                  <a:lnTo>
                    <a:pt x="68" y="8"/>
                  </a:lnTo>
                  <a:lnTo>
                    <a:pt x="68" y="8"/>
                  </a:lnTo>
                  <a:lnTo>
                    <a:pt x="68" y="8"/>
                  </a:lnTo>
                  <a:lnTo>
                    <a:pt x="68" y="8"/>
                  </a:lnTo>
                  <a:lnTo>
                    <a:pt x="68" y="8"/>
                  </a:lnTo>
                  <a:lnTo>
                    <a:pt x="72" y="8"/>
                  </a:lnTo>
                  <a:lnTo>
                    <a:pt x="72" y="8"/>
                  </a:lnTo>
                  <a:lnTo>
                    <a:pt x="72" y="8"/>
                  </a:lnTo>
                  <a:lnTo>
                    <a:pt x="72" y="4"/>
                  </a:lnTo>
                  <a:lnTo>
                    <a:pt x="72" y="4"/>
                  </a:lnTo>
                  <a:lnTo>
                    <a:pt x="76" y="4"/>
                  </a:lnTo>
                  <a:lnTo>
                    <a:pt x="76" y="4"/>
                  </a:lnTo>
                  <a:lnTo>
                    <a:pt x="76" y="4"/>
                  </a:lnTo>
                  <a:lnTo>
                    <a:pt x="76" y="4"/>
                  </a:lnTo>
                  <a:lnTo>
                    <a:pt x="80" y="4"/>
                  </a:lnTo>
                  <a:lnTo>
                    <a:pt x="80" y="4"/>
                  </a:lnTo>
                  <a:lnTo>
                    <a:pt x="82" y="4"/>
                  </a:lnTo>
                  <a:lnTo>
                    <a:pt x="82" y="4"/>
                  </a:lnTo>
                  <a:lnTo>
                    <a:pt x="82" y="4"/>
                  </a:lnTo>
                  <a:lnTo>
                    <a:pt x="86" y="4"/>
                  </a:lnTo>
                  <a:lnTo>
                    <a:pt x="90" y="4"/>
                  </a:lnTo>
                  <a:lnTo>
                    <a:pt x="90" y="4"/>
                  </a:lnTo>
                  <a:lnTo>
                    <a:pt x="94" y="4"/>
                  </a:lnTo>
                  <a:lnTo>
                    <a:pt x="94" y="4"/>
                  </a:lnTo>
                  <a:lnTo>
                    <a:pt x="94" y="4"/>
                  </a:lnTo>
                  <a:lnTo>
                    <a:pt x="94" y="0"/>
                  </a:lnTo>
                  <a:lnTo>
                    <a:pt x="94" y="0"/>
                  </a:lnTo>
                  <a:lnTo>
                    <a:pt x="98" y="0"/>
                  </a:lnTo>
                  <a:lnTo>
                    <a:pt x="98" y="4"/>
                  </a:lnTo>
                  <a:lnTo>
                    <a:pt x="98" y="4"/>
                  </a:lnTo>
                  <a:lnTo>
                    <a:pt x="98" y="4"/>
                  </a:lnTo>
                  <a:lnTo>
                    <a:pt x="98" y="4"/>
                  </a:lnTo>
                  <a:lnTo>
                    <a:pt x="98" y="8"/>
                  </a:lnTo>
                  <a:lnTo>
                    <a:pt x="98" y="8"/>
                  </a:lnTo>
                  <a:lnTo>
                    <a:pt x="90" y="14"/>
                  </a:lnTo>
                  <a:lnTo>
                    <a:pt x="82" y="14"/>
                  </a:lnTo>
                  <a:lnTo>
                    <a:pt x="82" y="18"/>
                  </a:lnTo>
                  <a:lnTo>
                    <a:pt x="82" y="18"/>
                  </a:lnTo>
                  <a:lnTo>
                    <a:pt x="82" y="26"/>
                  </a:lnTo>
                  <a:lnTo>
                    <a:pt x="82" y="26"/>
                  </a:lnTo>
                  <a:lnTo>
                    <a:pt x="82" y="30"/>
                  </a:lnTo>
                  <a:lnTo>
                    <a:pt x="82" y="30"/>
                  </a:lnTo>
                  <a:lnTo>
                    <a:pt x="82" y="34"/>
                  </a:lnTo>
                  <a:lnTo>
                    <a:pt x="82" y="34"/>
                  </a:lnTo>
                  <a:lnTo>
                    <a:pt x="82" y="34"/>
                  </a:lnTo>
                  <a:lnTo>
                    <a:pt x="82" y="38"/>
                  </a:lnTo>
                  <a:lnTo>
                    <a:pt x="82" y="38"/>
                  </a:lnTo>
                  <a:lnTo>
                    <a:pt x="82" y="38"/>
                  </a:lnTo>
                  <a:lnTo>
                    <a:pt x="82" y="38"/>
                  </a:lnTo>
                  <a:lnTo>
                    <a:pt x="82" y="38"/>
                  </a:lnTo>
                  <a:lnTo>
                    <a:pt x="82" y="38"/>
                  </a:lnTo>
                  <a:lnTo>
                    <a:pt x="80" y="42"/>
                  </a:lnTo>
                  <a:lnTo>
                    <a:pt x="80" y="42"/>
                  </a:lnTo>
                  <a:lnTo>
                    <a:pt x="80" y="42"/>
                  </a:lnTo>
                  <a:lnTo>
                    <a:pt x="80" y="42"/>
                  </a:lnTo>
                  <a:lnTo>
                    <a:pt x="80" y="42"/>
                  </a:lnTo>
                  <a:lnTo>
                    <a:pt x="80" y="44"/>
                  </a:lnTo>
                  <a:lnTo>
                    <a:pt x="80" y="44"/>
                  </a:lnTo>
                  <a:lnTo>
                    <a:pt x="80" y="48"/>
                  </a:lnTo>
                  <a:lnTo>
                    <a:pt x="80" y="52"/>
                  </a:lnTo>
                  <a:lnTo>
                    <a:pt x="80" y="56"/>
                  </a:lnTo>
                  <a:lnTo>
                    <a:pt x="80" y="56"/>
                  </a:lnTo>
                  <a:lnTo>
                    <a:pt x="72" y="60"/>
                  </a:lnTo>
                  <a:lnTo>
                    <a:pt x="68" y="64"/>
                  </a:lnTo>
                  <a:lnTo>
                    <a:pt x="64" y="64"/>
                  </a:lnTo>
                  <a:lnTo>
                    <a:pt x="64" y="64"/>
                  </a:lnTo>
                  <a:lnTo>
                    <a:pt x="60" y="68"/>
                  </a:lnTo>
                  <a:lnTo>
                    <a:pt x="56" y="68"/>
                  </a:lnTo>
                  <a:lnTo>
                    <a:pt x="52" y="72"/>
                  </a:lnTo>
                  <a:lnTo>
                    <a:pt x="50" y="76"/>
                  </a:lnTo>
                  <a:lnTo>
                    <a:pt x="46" y="76"/>
                  </a:lnTo>
                  <a:lnTo>
                    <a:pt x="46" y="76"/>
                  </a:lnTo>
                  <a:lnTo>
                    <a:pt x="46" y="76"/>
                  </a:lnTo>
                  <a:lnTo>
                    <a:pt x="42" y="78"/>
                  </a:lnTo>
                  <a:lnTo>
                    <a:pt x="38" y="78"/>
                  </a:lnTo>
                  <a:lnTo>
                    <a:pt x="34" y="82"/>
                  </a:lnTo>
                  <a:lnTo>
                    <a:pt x="30" y="86"/>
                  </a:lnTo>
                  <a:lnTo>
                    <a:pt x="26" y="90"/>
                  </a:lnTo>
                  <a:lnTo>
                    <a:pt x="26" y="90"/>
                  </a:lnTo>
                  <a:lnTo>
                    <a:pt x="26" y="90"/>
                  </a:lnTo>
                  <a:lnTo>
                    <a:pt x="24" y="90"/>
                  </a:lnTo>
                  <a:lnTo>
                    <a:pt x="20" y="94"/>
                  </a:lnTo>
                  <a:lnTo>
                    <a:pt x="20" y="94"/>
                  </a:lnTo>
                  <a:lnTo>
                    <a:pt x="16" y="94"/>
                  </a:lnTo>
                  <a:lnTo>
                    <a:pt x="16" y="94"/>
                  </a:lnTo>
                  <a:lnTo>
                    <a:pt x="16" y="94"/>
                  </a:lnTo>
                  <a:lnTo>
                    <a:pt x="12" y="94"/>
                  </a:lnTo>
                  <a:lnTo>
                    <a:pt x="12" y="94"/>
                  </a:lnTo>
                  <a:lnTo>
                    <a:pt x="12" y="94"/>
                  </a:lnTo>
                  <a:lnTo>
                    <a:pt x="12" y="94"/>
                  </a:lnTo>
                  <a:lnTo>
                    <a:pt x="8" y="90"/>
                  </a:lnTo>
                  <a:lnTo>
                    <a:pt x="8" y="90"/>
                  </a:lnTo>
                  <a:lnTo>
                    <a:pt x="8" y="90"/>
                  </a:lnTo>
                  <a:lnTo>
                    <a:pt x="8" y="90"/>
                  </a:lnTo>
                  <a:lnTo>
                    <a:pt x="8" y="90"/>
                  </a:lnTo>
                  <a:lnTo>
                    <a:pt x="8" y="90"/>
                  </a:lnTo>
                  <a:lnTo>
                    <a:pt x="4" y="86"/>
                  </a:lnTo>
                  <a:lnTo>
                    <a:pt x="4" y="86"/>
                  </a:lnTo>
                  <a:lnTo>
                    <a:pt x="4" y="86"/>
                  </a:lnTo>
                  <a:lnTo>
                    <a:pt x="0" y="86"/>
                  </a:lnTo>
                  <a:lnTo>
                    <a:pt x="0" y="90"/>
                  </a:lnTo>
                  <a:lnTo>
                    <a:pt x="0" y="86"/>
                  </a:lnTo>
                  <a:lnTo>
                    <a:pt x="0" y="86"/>
                  </a:lnTo>
                  <a:lnTo>
                    <a:pt x="0" y="86"/>
                  </a:lnTo>
                  <a:lnTo>
                    <a:pt x="0" y="86"/>
                  </a:lnTo>
                  <a:lnTo>
                    <a:pt x="0" y="86"/>
                  </a:lnTo>
                  <a:lnTo>
                    <a:pt x="0" y="86"/>
                  </a:lnTo>
                  <a:lnTo>
                    <a:pt x="0" y="86"/>
                  </a:lnTo>
                  <a:lnTo>
                    <a:pt x="0" y="86"/>
                  </a:lnTo>
                  <a:lnTo>
                    <a:pt x="0" y="82"/>
                  </a:lnTo>
                  <a:lnTo>
                    <a:pt x="0" y="82"/>
                  </a:lnTo>
                  <a:lnTo>
                    <a:pt x="0" y="82"/>
                  </a:lnTo>
                  <a:lnTo>
                    <a:pt x="0" y="82"/>
                  </a:lnTo>
                  <a:lnTo>
                    <a:pt x="0" y="82"/>
                  </a:lnTo>
                  <a:lnTo>
                    <a:pt x="0" y="78"/>
                  </a:lnTo>
                  <a:lnTo>
                    <a:pt x="0" y="78"/>
                  </a:lnTo>
                  <a:lnTo>
                    <a:pt x="0" y="78"/>
                  </a:lnTo>
                  <a:lnTo>
                    <a:pt x="0" y="78"/>
                  </a:lnTo>
                  <a:lnTo>
                    <a:pt x="0" y="7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62" name="Freeform 55"/>
            <p:cNvSpPr>
              <a:spLocks/>
            </p:cNvSpPr>
            <p:nvPr/>
          </p:nvSpPr>
          <p:spPr bwMode="auto">
            <a:xfrm>
              <a:off x="7639378" y="3680560"/>
              <a:ext cx="67822" cy="57534"/>
            </a:xfrm>
            <a:custGeom>
              <a:avLst/>
              <a:gdLst>
                <a:gd name="T0" fmla="*/ 100 w 108"/>
                <a:gd name="T1" fmla="*/ 72 h 88"/>
                <a:gd name="T2" fmla="*/ 90 w 108"/>
                <a:gd name="T3" fmla="*/ 76 h 88"/>
                <a:gd name="T4" fmla="*/ 90 w 108"/>
                <a:gd name="T5" fmla="*/ 72 h 88"/>
                <a:gd name="T6" fmla="*/ 82 w 108"/>
                <a:gd name="T7" fmla="*/ 72 h 88"/>
                <a:gd name="T8" fmla="*/ 74 w 108"/>
                <a:gd name="T9" fmla="*/ 76 h 88"/>
                <a:gd name="T10" fmla="*/ 68 w 108"/>
                <a:gd name="T11" fmla="*/ 80 h 88"/>
                <a:gd name="T12" fmla="*/ 60 w 108"/>
                <a:gd name="T13" fmla="*/ 84 h 88"/>
                <a:gd name="T14" fmla="*/ 56 w 108"/>
                <a:gd name="T15" fmla="*/ 72 h 88"/>
                <a:gd name="T16" fmla="*/ 60 w 108"/>
                <a:gd name="T17" fmla="*/ 64 h 88"/>
                <a:gd name="T18" fmla="*/ 52 w 108"/>
                <a:gd name="T19" fmla="*/ 60 h 88"/>
                <a:gd name="T20" fmla="*/ 52 w 108"/>
                <a:gd name="T21" fmla="*/ 54 h 88"/>
                <a:gd name="T22" fmla="*/ 44 w 108"/>
                <a:gd name="T23" fmla="*/ 58 h 88"/>
                <a:gd name="T24" fmla="*/ 38 w 108"/>
                <a:gd name="T25" fmla="*/ 64 h 88"/>
                <a:gd name="T26" fmla="*/ 38 w 108"/>
                <a:gd name="T27" fmla="*/ 68 h 88"/>
                <a:gd name="T28" fmla="*/ 26 w 108"/>
                <a:gd name="T29" fmla="*/ 72 h 88"/>
                <a:gd name="T30" fmla="*/ 22 w 108"/>
                <a:gd name="T31" fmla="*/ 72 h 88"/>
                <a:gd name="T32" fmla="*/ 12 w 108"/>
                <a:gd name="T33" fmla="*/ 76 h 88"/>
                <a:gd name="T34" fmla="*/ 4 w 108"/>
                <a:gd name="T35" fmla="*/ 76 h 88"/>
                <a:gd name="T36" fmla="*/ 8 w 108"/>
                <a:gd name="T37" fmla="*/ 68 h 88"/>
                <a:gd name="T38" fmla="*/ 12 w 108"/>
                <a:gd name="T39" fmla="*/ 58 h 88"/>
                <a:gd name="T40" fmla="*/ 12 w 108"/>
                <a:gd name="T41" fmla="*/ 54 h 88"/>
                <a:gd name="T42" fmla="*/ 12 w 108"/>
                <a:gd name="T43" fmla="*/ 46 h 88"/>
                <a:gd name="T44" fmla="*/ 4 w 108"/>
                <a:gd name="T45" fmla="*/ 42 h 88"/>
                <a:gd name="T46" fmla="*/ 0 w 108"/>
                <a:gd name="T47" fmla="*/ 34 h 88"/>
                <a:gd name="T48" fmla="*/ 8 w 108"/>
                <a:gd name="T49" fmla="*/ 28 h 88"/>
                <a:gd name="T50" fmla="*/ 14 w 108"/>
                <a:gd name="T51" fmla="*/ 30 h 88"/>
                <a:gd name="T52" fmla="*/ 18 w 108"/>
                <a:gd name="T53" fmla="*/ 24 h 88"/>
                <a:gd name="T54" fmla="*/ 18 w 108"/>
                <a:gd name="T55" fmla="*/ 20 h 88"/>
                <a:gd name="T56" fmla="*/ 18 w 108"/>
                <a:gd name="T57" fmla="*/ 16 h 88"/>
                <a:gd name="T58" fmla="*/ 26 w 108"/>
                <a:gd name="T59" fmla="*/ 12 h 88"/>
                <a:gd name="T60" fmla="*/ 30 w 108"/>
                <a:gd name="T61" fmla="*/ 4 h 88"/>
                <a:gd name="T62" fmla="*/ 38 w 108"/>
                <a:gd name="T63" fmla="*/ 8 h 88"/>
                <a:gd name="T64" fmla="*/ 42 w 108"/>
                <a:gd name="T65" fmla="*/ 0 h 88"/>
                <a:gd name="T66" fmla="*/ 48 w 108"/>
                <a:gd name="T67" fmla="*/ 4 h 88"/>
                <a:gd name="T68" fmla="*/ 44 w 108"/>
                <a:gd name="T69" fmla="*/ 12 h 88"/>
                <a:gd name="T70" fmla="*/ 44 w 108"/>
                <a:gd name="T71" fmla="*/ 16 h 88"/>
                <a:gd name="T72" fmla="*/ 44 w 108"/>
                <a:gd name="T73" fmla="*/ 20 h 88"/>
                <a:gd name="T74" fmla="*/ 44 w 108"/>
                <a:gd name="T75" fmla="*/ 24 h 88"/>
                <a:gd name="T76" fmla="*/ 38 w 108"/>
                <a:gd name="T77" fmla="*/ 16 h 88"/>
                <a:gd name="T78" fmla="*/ 30 w 108"/>
                <a:gd name="T79" fmla="*/ 24 h 88"/>
                <a:gd name="T80" fmla="*/ 26 w 108"/>
                <a:gd name="T81" fmla="*/ 24 h 88"/>
                <a:gd name="T82" fmla="*/ 30 w 108"/>
                <a:gd name="T83" fmla="*/ 30 h 88"/>
                <a:gd name="T84" fmla="*/ 42 w 108"/>
                <a:gd name="T85" fmla="*/ 30 h 88"/>
                <a:gd name="T86" fmla="*/ 44 w 108"/>
                <a:gd name="T87" fmla="*/ 30 h 88"/>
                <a:gd name="T88" fmla="*/ 52 w 108"/>
                <a:gd name="T89" fmla="*/ 30 h 88"/>
                <a:gd name="T90" fmla="*/ 60 w 108"/>
                <a:gd name="T91" fmla="*/ 30 h 88"/>
                <a:gd name="T92" fmla="*/ 60 w 108"/>
                <a:gd name="T93" fmla="*/ 34 h 88"/>
                <a:gd name="T94" fmla="*/ 68 w 108"/>
                <a:gd name="T95" fmla="*/ 38 h 88"/>
                <a:gd name="T96" fmla="*/ 74 w 108"/>
                <a:gd name="T97" fmla="*/ 34 h 88"/>
                <a:gd name="T98" fmla="*/ 82 w 108"/>
                <a:gd name="T99" fmla="*/ 30 h 88"/>
                <a:gd name="T100" fmla="*/ 90 w 108"/>
                <a:gd name="T101" fmla="*/ 34 h 88"/>
                <a:gd name="T102" fmla="*/ 90 w 108"/>
                <a:gd name="T103" fmla="*/ 42 h 88"/>
                <a:gd name="T104" fmla="*/ 94 w 108"/>
                <a:gd name="T105" fmla="*/ 50 h 88"/>
                <a:gd name="T106" fmla="*/ 100 w 108"/>
                <a:gd name="T107" fmla="*/ 50 h 88"/>
                <a:gd name="T108" fmla="*/ 104 w 108"/>
                <a:gd name="T109" fmla="*/ 58 h 88"/>
                <a:gd name="T110" fmla="*/ 108 w 108"/>
                <a:gd name="T111" fmla="*/ 64 h 88"/>
                <a:gd name="T112" fmla="*/ 108 w 108"/>
                <a:gd name="T113" fmla="*/ 68 h 88"/>
                <a:gd name="T114" fmla="*/ 104 w 108"/>
                <a:gd name="T115"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 h="88">
                  <a:moveTo>
                    <a:pt x="104" y="76"/>
                  </a:moveTo>
                  <a:lnTo>
                    <a:pt x="104" y="72"/>
                  </a:lnTo>
                  <a:lnTo>
                    <a:pt x="100" y="72"/>
                  </a:lnTo>
                  <a:lnTo>
                    <a:pt x="98" y="72"/>
                  </a:lnTo>
                  <a:lnTo>
                    <a:pt x="94" y="72"/>
                  </a:lnTo>
                  <a:lnTo>
                    <a:pt x="90" y="76"/>
                  </a:lnTo>
                  <a:lnTo>
                    <a:pt x="86" y="76"/>
                  </a:lnTo>
                  <a:lnTo>
                    <a:pt x="86" y="72"/>
                  </a:lnTo>
                  <a:lnTo>
                    <a:pt x="90" y="72"/>
                  </a:lnTo>
                  <a:lnTo>
                    <a:pt x="86" y="72"/>
                  </a:lnTo>
                  <a:lnTo>
                    <a:pt x="86" y="68"/>
                  </a:lnTo>
                  <a:lnTo>
                    <a:pt x="82" y="72"/>
                  </a:lnTo>
                  <a:lnTo>
                    <a:pt x="78" y="72"/>
                  </a:lnTo>
                  <a:lnTo>
                    <a:pt x="78" y="76"/>
                  </a:lnTo>
                  <a:lnTo>
                    <a:pt x="74" y="76"/>
                  </a:lnTo>
                  <a:lnTo>
                    <a:pt x="74" y="80"/>
                  </a:lnTo>
                  <a:lnTo>
                    <a:pt x="70" y="80"/>
                  </a:lnTo>
                  <a:lnTo>
                    <a:pt x="68" y="80"/>
                  </a:lnTo>
                  <a:lnTo>
                    <a:pt x="64" y="84"/>
                  </a:lnTo>
                  <a:lnTo>
                    <a:pt x="60" y="88"/>
                  </a:lnTo>
                  <a:lnTo>
                    <a:pt x="60" y="84"/>
                  </a:lnTo>
                  <a:lnTo>
                    <a:pt x="56" y="80"/>
                  </a:lnTo>
                  <a:lnTo>
                    <a:pt x="56" y="76"/>
                  </a:lnTo>
                  <a:lnTo>
                    <a:pt x="56" y="72"/>
                  </a:lnTo>
                  <a:lnTo>
                    <a:pt x="56" y="68"/>
                  </a:lnTo>
                  <a:lnTo>
                    <a:pt x="56" y="64"/>
                  </a:lnTo>
                  <a:lnTo>
                    <a:pt x="60" y="64"/>
                  </a:lnTo>
                  <a:lnTo>
                    <a:pt x="60" y="60"/>
                  </a:lnTo>
                  <a:lnTo>
                    <a:pt x="56" y="60"/>
                  </a:lnTo>
                  <a:lnTo>
                    <a:pt x="52" y="60"/>
                  </a:lnTo>
                  <a:lnTo>
                    <a:pt x="56" y="58"/>
                  </a:lnTo>
                  <a:lnTo>
                    <a:pt x="56" y="54"/>
                  </a:lnTo>
                  <a:lnTo>
                    <a:pt x="52" y="54"/>
                  </a:lnTo>
                  <a:lnTo>
                    <a:pt x="48" y="50"/>
                  </a:lnTo>
                  <a:lnTo>
                    <a:pt x="44" y="54"/>
                  </a:lnTo>
                  <a:lnTo>
                    <a:pt x="44" y="58"/>
                  </a:lnTo>
                  <a:lnTo>
                    <a:pt x="42" y="60"/>
                  </a:lnTo>
                  <a:lnTo>
                    <a:pt x="38" y="60"/>
                  </a:lnTo>
                  <a:lnTo>
                    <a:pt x="38" y="64"/>
                  </a:lnTo>
                  <a:lnTo>
                    <a:pt x="42" y="64"/>
                  </a:lnTo>
                  <a:lnTo>
                    <a:pt x="42" y="68"/>
                  </a:lnTo>
                  <a:lnTo>
                    <a:pt x="38" y="68"/>
                  </a:lnTo>
                  <a:lnTo>
                    <a:pt x="34" y="68"/>
                  </a:lnTo>
                  <a:lnTo>
                    <a:pt x="30" y="68"/>
                  </a:lnTo>
                  <a:lnTo>
                    <a:pt x="26" y="72"/>
                  </a:lnTo>
                  <a:lnTo>
                    <a:pt x="26" y="76"/>
                  </a:lnTo>
                  <a:lnTo>
                    <a:pt x="22" y="76"/>
                  </a:lnTo>
                  <a:lnTo>
                    <a:pt x="22" y="72"/>
                  </a:lnTo>
                  <a:lnTo>
                    <a:pt x="18" y="72"/>
                  </a:lnTo>
                  <a:lnTo>
                    <a:pt x="14" y="76"/>
                  </a:lnTo>
                  <a:lnTo>
                    <a:pt x="12" y="76"/>
                  </a:lnTo>
                  <a:lnTo>
                    <a:pt x="12" y="80"/>
                  </a:lnTo>
                  <a:lnTo>
                    <a:pt x="8" y="80"/>
                  </a:lnTo>
                  <a:lnTo>
                    <a:pt x="4" y="76"/>
                  </a:lnTo>
                  <a:lnTo>
                    <a:pt x="4" y="72"/>
                  </a:lnTo>
                  <a:lnTo>
                    <a:pt x="4" y="68"/>
                  </a:lnTo>
                  <a:lnTo>
                    <a:pt x="8" y="68"/>
                  </a:lnTo>
                  <a:lnTo>
                    <a:pt x="8" y="64"/>
                  </a:lnTo>
                  <a:lnTo>
                    <a:pt x="12" y="60"/>
                  </a:lnTo>
                  <a:lnTo>
                    <a:pt x="12" y="58"/>
                  </a:lnTo>
                  <a:lnTo>
                    <a:pt x="14" y="58"/>
                  </a:lnTo>
                  <a:lnTo>
                    <a:pt x="12" y="58"/>
                  </a:lnTo>
                  <a:lnTo>
                    <a:pt x="12" y="54"/>
                  </a:lnTo>
                  <a:lnTo>
                    <a:pt x="8" y="50"/>
                  </a:lnTo>
                  <a:lnTo>
                    <a:pt x="8" y="46"/>
                  </a:lnTo>
                  <a:lnTo>
                    <a:pt x="12" y="46"/>
                  </a:lnTo>
                  <a:lnTo>
                    <a:pt x="12" y="42"/>
                  </a:lnTo>
                  <a:lnTo>
                    <a:pt x="8" y="42"/>
                  </a:lnTo>
                  <a:lnTo>
                    <a:pt x="4" y="42"/>
                  </a:lnTo>
                  <a:lnTo>
                    <a:pt x="4" y="38"/>
                  </a:lnTo>
                  <a:lnTo>
                    <a:pt x="0" y="38"/>
                  </a:lnTo>
                  <a:lnTo>
                    <a:pt x="0" y="34"/>
                  </a:lnTo>
                  <a:lnTo>
                    <a:pt x="0" y="30"/>
                  </a:lnTo>
                  <a:lnTo>
                    <a:pt x="4" y="28"/>
                  </a:lnTo>
                  <a:lnTo>
                    <a:pt x="8" y="28"/>
                  </a:lnTo>
                  <a:lnTo>
                    <a:pt x="8" y="30"/>
                  </a:lnTo>
                  <a:lnTo>
                    <a:pt x="12" y="30"/>
                  </a:lnTo>
                  <a:lnTo>
                    <a:pt x="14" y="30"/>
                  </a:lnTo>
                  <a:lnTo>
                    <a:pt x="14" y="28"/>
                  </a:lnTo>
                  <a:lnTo>
                    <a:pt x="14" y="24"/>
                  </a:lnTo>
                  <a:lnTo>
                    <a:pt x="18" y="24"/>
                  </a:lnTo>
                  <a:lnTo>
                    <a:pt x="18" y="20"/>
                  </a:lnTo>
                  <a:lnTo>
                    <a:pt x="22" y="20"/>
                  </a:lnTo>
                  <a:lnTo>
                    <a:pt x="18" y="20"/>
                  </a:lnTo>
                  <a:lnTo>
                    <a:pt x="14" y="20"/>
                  </a:lnTo>
                  <a:lnTo>
                    <a:pt x="14" y="16"/>
                  </a:lnTo>
                  <a:lnTo>
                    <a:pt x="18" y="16"/>
                  </a:lnTo>
                  <a:lnTo>
                    <a:pt x="22" y="16"/>
                  </a:lnTo>
                  <a:lnTo>
                    <a:pt x="26" y="16"/>
                  </a:lnTo>
                  <a:lnTo>
                    <a:pt x="26" y="12"/>
                  </a:lnTo>
                  <a:lnTo>
                    <a:pt x="26" y="8"/>
                  </a:lnTo>
                  <a:lnTo>
                    <a:pt x="26" y="4"/>
                  </a:lnTo>
                  <a:lnTo>
                    <a:pt x="30" y="4"/>
                  </a:lnTo>
                  <a:lnTo>
                    <a:pt x="30" y="8"/>
                  </a:lnTo>
                  <a:lnTo>
                    <a:pt x="34" y="8"/>
                  </a:lnTo>
                  <a:lnTo>
                    <a:pt x="38" y="8"/>
                  </a:lnTo>
                  <a:lnTo>
                    <a:pt x="38" y="4"/>
                  </a:lnTo>
                  <a:lnTo>
                    <a:pt x="42" y="4"/>
                  </a:lnTo>
                  <a:lnTo>
                    <a:pt x="42" y="0"/>
                  </a:lnTo>
                  <a:lnTo>
                    <a:pt x="44" y="0"/>
                  </a:lnTo>
                  <a:lnTo>
                    <a:pt x="44" y="4"/>
                  </a:lnTo>
                  <a:lnTo>
                    <a:pt x="48" y="4"/>
                  </a:lnTo>
                  <a:lnTo>
                    <a:pt x="48" y="8"/>
                  </a:lnTo>
                  <a:lnTo>
                    <a:pt x="44" y="8"/>
                  </a:lnTo>
                  <a:lnTo>
                    <a:pt x="44" y="12"/>
                  </a:lnTo>
                  <a:lnTo>
                    <a:pt x="42" y="12"/>
                  </a:lnTo>
                  <a:lnTo>
                    <a:pt x="42" y="16"/>
                  </a:lnTo>
                  <a:lnTo>
                    <a:pt x="44" y="16"/>
                  </a:lnTo>
                  <a:lnTo>
                    <a:pt x="48" y="16"/>
                  </a:lnTo>
                  <a:lnTo>
                    <a:pt x="48" y="20"/>
                  </a:lnTo>
                  <a:lnTo>
                    <a:pt x="44" y="20"/>
                  </a:lnTo>
                  <a:lnTo>
                    <a:pt x="44" y="24"/>
                  </a:lnTo>
                  <a:lnTo>
                    <a:pt x="42" y="24"/>
                  </a:lnTo>
                  <a:lnTo>
                    <a:pt x="44" y="24"/>
                  </a:lnTo>
                  <a:lnTo>
                    <a:pt x="44" y="20"/>
                  </a:lnTo>
                  <a:lnTo>
                    <a:pt x="42" y="20"/>
                  </a:lnTo>
                  <a:lnTo>
                    <a:pt x="38" y="16"/>
                  </a:lnTo>
                  <a:lnTo>
                    <a:pt x="34" y="20"/>
                  </a:lnTo>
                  <a:lnTo>
                    <a:pt x="30" y="20"/>
                  </a:lnTo>
                  <a:lnTo>
                    <a:pt x="30" y="24"/>
                  </a:lnTo>
                  <a:lnTo>
                    <a:pt x="26" y="24"/>
                  </a:lnTo>
                  <a:lnTo>
                    <a:pt x="26" y="20"/>
                  </a:lnTo>
                  <a:lnTo>
                    <a:pt x="26" y="24"/>
                  </a:lnTo>
                  <a:lnTo>
                    <a:pt x="26" y="28"/>
                  </a:lnTo>
                  <a:lnTo>
                    <a:pt x="26" y="30"/>
                  </a:lnTo>
                  <a:lnTo>
                    <a:pt x="30" y="30"/>
                  </a:lnTo>
                  <a:lnTo>
                    <a:pt x="34" y="30"/>
                  </a:lnTo>
                  <a:lnTo>
                    <a:pt x="38" y="30"/>
                  </a:lnTo>
                  <a:lnTo>
                    <a:pt x="42" y="30"/>
                  </a:lnTo>
                  <a:lnTo>
                    <a:pt x="42" y="28"/>
                  </a:lnTo>
                  <a:lnTo>
                    <a:pt x="44" y="28"/>
                  </a:lnTo>
                  <a:lnTo>
                    <a:pt x="44" y="30"/>
                  </a:lnTo>
                  <a:lnTo>
                    <a:pt x="48" y="30"/>
                  </a:lnTo>
                  <a:lnTo>
                    <a:pt x="48" y="34"/>
                  </a:lnTo>
                  <a:lnTo>
                    <a:pt x="52" y="30"/>
                  </a:lnTo>
                  <a:lnTo>
                    <a:pt x="56" y="30"/>
                  </a:lnTo>
                  <a:lnTo>
                    <a:pt x="56" y="28"/>
                  </a:lnTo>
                  <a:lnTo>
                    <a:pt x="60" y="30"/>
                  </a:lnTo>
                  <a:lnTo>
                    <a:pt x="56" y="30"/>
                  </a:lnTo>
                  <a:lnTo>
                    <a:pt x="60" y="30"/>
                  </a:lnTo>
                  <a:lnTo>
                    <a:pt x="60" y="34"/>
                  </a:lnTo>
                  <a:lnTo>
                    <a:pt x="64" y="34"/>
                  </a:lnTo>
                  <a:lnTo>
                    <a:pt x="68" y="34"/>
                  </a:lnTo>
                  <a:lnTo>
                    <a:pt x="68" y="38"/>
                  </a:lnTo>
                  <a:lnTo>
                    <a:pt x="68" y="34"/>
                  </a:lnTo>
                  <a:lnTo>
                    <a:pt x="70" y="34"/>
                  </a:lnTo>
                  <a:lnTo>
                    <a:pt x="74" y="34"/>
                  </a:lnTo>
                  <a:lnTo>
                    <a:pt x="78" y="34"/>
                  </a:lnTo>
                  <a:lnTo>
                    <a:pt x="82" y="34"/>
                  </a:lnTo>
                  <a:lnTo>
                    <a:pt x="82" y="30"/>
                  </a:lnTo>
                  <a:lnTo>
                    <a:pt x="86" y="30"/>
                  </a:lnTo>
                  <a:lnTo>
                    <a:pt x="90" y="30"/>
                  </a:lnTo>
                  <a:lnTo>
                    <a:pt x="90" y="34"/>
                  </a:lnTo>
                  <a:lnTo>
                    <a:pt x="86" y="34"/>
                  </a:lnTo>
                  <a:lnTo>
                    <a:pt x="90" y="38"/>
                  </a:lnTo>
                  <a:lnTo>
                    <a:pt x="90" y="42"/>
                  </a:lnTo>
                  <a:lnTo>
                    <a:pt x="90" y="46"/>
                  </a:lnTo>
                  <a:lnTo>
                    <a:pt x="90" y="50"/>
                  </a:lnTo>
                  <a:lnTo>
                    <a:pt x="94" y="50"/>
                  </a:lnTo>
                  <a:lnTo>
                    <a:pt x="94" y="46"/>
                  </a:lnTo>
                  <a:lnTo>
                    <a:pt x="98" y="46"/>
                  </a:lnTo>
                  <a:lnTo>
                    <a:pt x="100" y="50"/>
                  </a:lnTo>
                  <a:lnTo>
                    <a:pt x="104" y="50"/>
                  </a:lnTo>
                  <a:lnTo>
                    <a:pt x="104" y="54"/>
                  </a:lnTo>
                  <a:lnTo>
                    <a:pt x="104" y="58"/>
                  </a:lnTo>
                  <a:lnTo>
                    <a:pt x="104" y="60"/>
                  </a:lnTo>
                  <a:lnTo>
                    <a:pt x="104" y="64"/>
                  </a:lnTo>
                  <a:lnTo>
                    <a:pt x="108" y="64"/>
                  </a:lnTo>
                  <a:lnTo>
                    <a:pt x="104" y="64"/>
                  </a:lnTo>
                  <a:lnTo>
                    <a:pt x="104" y="68"/>
                  </a:lnTo>
                  <a:lnTo>
                    <a:pt x="108" y="68"/>
                  </a:lnTo>
                  <a:lnTo>
                    <a:pt x="108" y="72"/>
                  </a:lnTo>
                  <a:lnTo>
                    <a:pt x="104" y="76"/>
                  </a:lnTo>
                  <a:lnTo>
                    <a:pt x="104" y="76"/>
                  </a:lnTo>
                  <a:lnTo>
                    <a:pt x="104" y="7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63" name="Freeform 56"/>
            <p:cNvSpPr>
              <a:spLocks noEditPoints="1"/>
            </p:cNvSpPr>
            <p:nvPr/>
          </p:nvSpPr>
          <p:spPr bwMode="auto">
            <a:xfrm>
              <a:off x="7904386" y="3930309"/>
              <a:ext cx="74102" cy="168678"/>
            </a:xfrm>
            <a:custGeom>
              <a:avLst/>
              <a:gdLst>
                <a:gd name="T0" fmla="*/ 54 w 118"/>
                <a:gd name="T1" fmla="*/ 258 h 258"/>
                <a:gd name="T2" fmla="*/ 50 w 118"/>
                <a:gd name="T3" fmla="*/ 246 h 258"/>
                <a:gd name="T4" fmla="*/ 40 w 118"/>
                <a:gd name="T5" fmla="*/ 242 h 258"/>
                <a:gd name="T6" fmla="*/ 36 w 118"/>
                <a:gd name="T7" fmla="*/ 232 h 258"/>
                <a:gd name="T8" fmla="*/ 24 w 118"/>
                <a:gd name="T9" fmla="*/ 220 h 258"/>
                <a:gd name="T10" fmla="*/ 18 w 118"/>
                <a:gd name="T11" fmla="*/ 212 h 258"/>
                <a:gd name="T12" fmla="*/ 14 w 118"/>
                <a:gd name="T13" fmla="*/ 202 h 258"/>
                <a:gd name="T14" fmla="*/ 18 w 118"/>
                <a:gd name="T15" fmla="*/ 182 h 258"/>
                <a:gd name="T16" fmla="*/ 28 w 118"/>
                <a:gd name="T17" fmla="*/ 160 h 258"/>
                <a:gd name="T18" fmla="*/ 32 w 118"/>
                <a:gd name="T19" fmla="*/ 142 h 258"/>
                <a:gd name="T20" fmla="*/ 28 w 118"/>
                <a:gd name="T21" fmla="*/ 122 h 258"/>
                <a:gd name="T22" fmla="*/ 20 w 118"/>
                <a:gd name="T23" fmla="*/ 108 h 258"/>
                <a:gd name="T24" fmla="*/ 14 w 118"/>
                <a:gd name="T25" fmla="*/ 94 h 258"/>
                <a:gd name="T26" fmla="*/ 18 w 118"/>
                <a:gd name="T27" fmla="*/ 74 h 258"/>
                <a:gd name="T28" fmla="*/ 18 w 118"/>
                <a:gd name="T29" fmla="*/ 60 h 258"/>
                <a:gd name="T30" fmla="*/ 6 w 118"/>
                <a:gd name="T31" fmla="*/ 48 h 258"/>
                <a:gd name="T32" fmla="*/ 4 w 118"/>
                <a:gd name="T33" fmla="*/ 34 h 258"/>
                <a:gd name="T34" fmla="*/ 6 w 118"/>
                <a:gd name="T35" fmla="*/ 22 h 258"/>
                <a:gd name="T36" fmla="*/ 18 w 118"/>
                <a:gd name="T37" fmla="*/ 12 h 258"/>
                <a:gd name="T38" fmla="*/ 28 w 118"/>
                <a:gd name="T39" fmla="*/ 8 h 258"/>
                <a:gd name="T40" fmla="*/ 40 w 118"/>
                <a:gd name="T41" fmla="*/ 4 h 258"/>
                <a:gd name="T42" fmla="*/ 44 w 118"/>
                <a:gd name="T43" fmla="*/ 12 h 258"/>
                <a:gd name="T44" fmla="*/ 54 w 118"/>
                <a:gd name="T45" fmla="*/ 22 h 258"/>
                <a:gd name="T46" fmla="*/ 54 w 118"/>
                <a:gd name="T47" fmla="*/ 38 h 258"/>
                <a:gd name="T48" fmla="*/ 54 w 118"/>
                <a:gd name="T49" fmla="*/ 52 h 258"/>
                <a:gd name="T50" fmla="*/ 66 w 118"/>
                <a:gd name="T51" fmla="*/ 40 h 258"/>
                <a:gd name="T52" fmla="*/ 76 w 118"/>
                <a:gd name="T53" fmla="*/ 44 h 258"/>
                <a:gd name="T54" fmla="*/ 88 w 118"/>
                <a:gd name="T55" fmla="*/ 38 h 258"/>
                <a:gd name="T56" fmla="*/ 102 w 118"/>
                <a:gd name="T57" fmla="*/ 48 h 258"/>
                <a:gd name="T58" fmla="*/ 106 w 118"/>
                <a:gd name="T59" fmla="*/ 64 h 258"/>
                <a:gd name="T60" fmla="*/ 110 w 118"/>
                <a:gd name="T61" fmla="*/ 78 h 258"/>
                <a:gd name="T62" fmla="*/ 114 w 118"/>
                <a:gd name="T63" fmla="*/ 94 h 258"/>
                <a:gd name="T64" fmla="*/ 110 w 118"/>
                <a:gd name="T65" fmla="*/ 104 h 258"/>
                <a:gd name="T66" fmla="*/ 96 w 118"/>
                <a:gd name="T67" fmla="*/ 104 h 258"/>
                <a:gd name="T68" fmla="*/ 80 w 118"/>
                <a:gd name="T69" fmla="*/ 112 h 258"/>
                <a:gd name="T70" fmla="*/ 70 w 118"/>
                <a:gd name="T71" fmla="*/ 122 h 258"/>
                <a:gd name="T72" fmla="*/ 76 w 118"/>
                <a:gd name="T73" fmla="*/ 142 h 258"/>
                <a:gd name="T74" fmla="*/ 76 w 118"/>
                <a:gd name="T75" fmla="*/ 146 h 258"/>
                <a:gd name="T76" fmla="*/ 66 w 118"/>
                <a:gd name="T77" fmla="*/ 134 h 258"/>
                <a:gd name="T78" fmla="*/ 50 w 118"/>
                <a:gd name="T79" fmla="*/ 134 h 258"/>
                <a:gd name="T80" fmla="*/ 50 w 118"/>
                <a:gd name="T81" fmla="*/ 120 h 258"/>
                <a:gd name="T82" fmla="*/ 40 w 118"/>
                <a:gd name="T83" fmla="*/ 126 h 258"/>
                <a:gd name="T84" fmla="*/ 36 w 118"/>
                <a:gd name="T85" fmla="*/ 148 h 258"/>
                <a:gd name="T86" fmla="*/ 28 w 118"/>
                <a:gd name="T87" fmla="*/ 168 h 258"/>
                <a:gd name="T88" fmla="*/ 28 w 118"/>
                <a:gd name="T89" fmla="*/ 190 h 258"/>
                <a:gd name="T90" fmla="*/ 36 w 118"/>
                <a:gd name="T91" fmla="*/ 204 h 258"/>
                <a:gd name="T92" fmla="*/ 44 w 118"/>
                <a:gd name="T93" fmla="*/ 212 h 258"/>
                <a:gd name="T94" fmla="*/ 46 w 118"/>
                <a:gd name="T95" fmla="*/ 232 h 258"/>
                <a:gd name="T96" fmla="*/ 40 w 118"/>
                <a:gd name="T97" fmla="*/ 224 h 258"/>
                <a:gd name="T98" fmla="*/ 46 w 118"/>
                <a:gd name="T99" fmla="*/ 232 h 258"/>
                <a:gd name="T100" fmla="*/ 58 w 118"/>
                <a:gd name="T101" fmla="*/ 234 h 258"/>
                <a:gd name="T102" fmla="*/ 66 w 118"/>
                <a:gd name="T103" fmla="*/ 254 h 258"/>
                <a:gd name="T104" fmla="*/ 18 w 118"/>
                <a:gd name="T105" fmla="*/ 212 h 258"/>
                <a:gd name="T106" fmla="*/ 32 w 118"/>
                <a:gd name="T107" fmla="*/ 238 h 258"/>
                <a:gd name="T108" fmla="*/ 72 w 118"/>
                <a:gd name="T109" fmla="*/ 146 h 258"/>
                <a:gd name="T110" fmla="*/ 72 w 118"/>
                <a:gd name="T111" fmla="*/ 148 h 258"/>
                <a:gd name="T112" fmla="*/ 40 w 118"/>
                <a:gd name="T113" fmla="*/ 190 h 258"/>
                <a:gd name="T114" fmla="*/ 14 w 118"/>
                <a:gd name="T115" fmla="*/ 216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8" h="258">
                  <a:moveTo>
                    <a:pt x="62" y="254"/>
                  </a:moveTo>
                  <a:lnTo>
                    <a:pt x="62" y="250"/>
                  </a:lnTo>
                  <a:lnTo>
                    <a:pt x="58" y="250"/>
                  </a:lnTo>
                  <a:lnTo>
                    <a:pt x="58" y="254"/>
                  </a:lnTo>
                  <a:lnTo>
                    <a:pt x="54" y="254"/>
                  </a:lnTo>
                  <a:lnTo>
                    <a:pt x="54" y="258"/>
                  </a:lnTo>
                  <a:lnTo>
                    <a:pt x="54" y="254"/>
                  </a:lnTo>
                  <a:lnTo>
                    <a:pt x="50" y="254"/>
                  </a:lnTo>
                  <a:lnTo>
                    <a:pt x="50" y="250"/>
                  </a:lnTo>
                  <a:lnTo>
                    <a:pt x="54" y="250"/>
                  </a:lnTo>
                  <a:lnTo>
                    <a:pt x="54" y="246"/>
                  </a:lnTo>
                  <a:lnTo>
                    <a:pt x="50" y="246"/>
                  </a:lnTo>
                  <a:lnTo>
                    <a:pt x="50" y="242"/>
                  </a:lnTo>
                  <a:lnTo>
                    <a:pt x="46" y="242"/>
                  </a:lnTo>
                  <a:lnTo>
                    <a:pt x="44" y="242"/>
                  </a:lnTo>
                  <a:lnTo>
                    <a:pt x="44" y="238"/>
                  </a:lnTo>
                  <a:lnTo>
                    <a:pt x="40" y="238"/>
                  </a:lnTo>
                  <a:lnTo>
                    <a:pt x="40" y="242"/>
                  </a:lnTo>
                  <a:lnTo>
                    <a:pt x="40" y="238"/>
                  </a:lnTo>
                  <a:lnTo>
                    <a:pt x="36" y="238"/>
                  </a:lnTo>
                  <a:lnTo>
                    <a:pt x="36" y="234"/>
                  </a:lnTo>
                  <a:lnTo>
                    <a:pt x="32" y="234"/>
                  </a:lnTo>
                  <a:lnTo>
                    <a:pt x="32" y="232"/>
                  </a:lnTo>
                  <a:lnTo>
                    <a:pt x="36" y="232"/>
                  </a:lnTo>
                  <a:lnTo>
                    <a:pt x="32" y="232"/>
                  </a:lnTo>
                  <a:lnTo>
                    <a:pt x="32" y="228"/>
                  </a:lnTo>
                  <a:lnTo>
                    <a:pt x="28" y="228"/>
                  </a:lnTo>
                  <a:lnTo>
                    <a:pt x="28" y="224"/>
                  </a:lnTo>
                  <a:lnTo>
                    <a:pt x="28" y="220"/>
                  </a:lnTo>
                  <a:lnTo>
                    <a:pt x="24" y="220"/>
                  </a:lnTo>
                  <a:lnTo>
                    <a:pt x="24" y="216"/>
                  </a:lnTo>
                  <a:lnTo>
                    <a:pt x="20" y="216"/>
                  </a:lnTo>
                  <a:lnTo>
                    <a:pt x="20" y="212"/>
                  </a:lnTo>
                  <a:lnTo>
                    <a:pt x="20" y="208"/>
                  </a:lnTo>
                  <a:lnTo>
                    <a:pt x="18" y="208"/>
                  </a:lnTo>
                  <a:lnTo>
                    <a:pt x="18" y="212"/>
                  </a:lnTo>
                  <a:lnTo>
                    <a:pt x="18" y="208"/>
                  </a:lnTo>
                  <a:lnTo>
                    <a:pt x="18" y="212"/>
                  </a:lnTo>
                  <a:lnTo>
                    <a:pt x="14" y="212"/>
                  </a:lnTo>
                  <a:lnTo>
                    <a:pt x="14" y="208"/>
                  </a:lnTo>
                  <a:lnTo>
                    <a:pt x="14" y="204"/>
                  </a:lnTo>
                  <a:lnTo>
                    <a:pt x="14" y="202"/>
                  </a:lnTo>
                  <a:lnTo>
                    <a:pt x="14" y="198"/>
                  </a:lnTo>
                  <a:lnTo>
                    <a:pt x="14" y="194"/>
                  </a:lnTo>
                  <a:lnTo>
                    <a:pt x="14" y="190"/>
                  </a:lnTo>
                  <a:lnTo>
                    <a:pt x="18" y="190"/>
                  </a:lnTo>
                  <a:lnTo>
                    <a:pt x="18" y="186"/>
                  </a:lnTo>
                  <a:lnTo>
                    <a:pt x="18" y="182"/>
                  </a:lnTo>
                  <a:lnTo>
                    <a:pt x="20" y="178"/>
                  </a:lnTo>
                  <a:lnTo>
                    <a:pt x="20" y="176"/>
                  </a:lnTo>
                  <a:lnTo>
                    <a:pt x="20" y="172"/>
                  </a:lnTo>
                  <a:lnTo>
                    <a:pt x="20" y="168"/>
                  </a:lnTo>
                  <a:lnTo>
                    <a:pt x="24" y="164"/>
                  </a:lnTo>
                  <a:lnTo>
                    <a:pt x="28" y="160"/>
                  </a:lnTo>
                  <a:lnTo>
                    <a:pt x="28" y="156"/>
                  </a:lnTo>
                  <a:lnTo>
                    <a:pt x="28" y="152"/>
                  </a:lnTo>
                  <a:lnTo>
                    <a:pt x="32" y="152"/>
                  </a:lnTo>
                  <a:lnTo>
                    <a:pt x="32" y="148"/>
                  </a:lnTo>
                  <a:lnTo>
                    <a:pt x="32" y="146"/>
                  </a:lnTo>
                  <a:lnTo>
                    <a:pt x="32" y="142"/>
                  </a:lnTo>
                  <a:lnTo>
                    <a:pt x="28" y="142"/>
                  </a:lnTo>
                  <a:lnTo>
                    <a:pt x="28" y="138"/>
                  </a:lnTo>
                  <a:lnTo>
                    <a:pt x="28" y="134"/>
                  </a:lnTo>
                  <a:lnTo>
                    <a:pt x="24" y="126"/>
                  </a:lnTo>
                  <a:lnTo>
                    <a:pt x="28" y="126"/>
                  </a:lnTo>
                  <a:lnTo>
                    <a:pt x="28" y="122"/>
                  </a:lnTo>
                  <a:lnTo>
                    <a:pt x="24" y="122"/>
                  </a:lnTo>
                  <a:lnTo>
                    <a:pt x="24" y="120"/>
                  </a:lnTo>
                  <a:lnTo>
                    <a:pt x="24" y="116"/>
                  </a:lnTo>
                  <a:lnTo>
                    <a:pt x="24" y="112"/>
                  </a:lnTo>
                  <a:lnTo>
                    <a:pt x="20" y="112"/>
                  </a:lnTo>
                  <a:lnTo>
                    <a:pt x="20" y="108"/>
                  </a:lnTo>
                  <a:lnTo>
                    <a:pt x="18" y="108"/>
                  </a:lnTo>
                  <a:lnTo>
                    <a:pt x="18" y="104"/>
                  </a:lnTo>
                  <a:lnTo>
                    <a:pt x="18" y="100"/>
                  </a:lnTo>
                  <a:lnTo>
                    <a:pt x="14" y="100"/>
                  </a:lnTo>
                  <a:lnTo>
                    <a:pt x="14" y="96"/>
                  </a:lnTo>
                  <a:lnTo>
                    <a:pt x="14" y="94"/>
                  </a:lnTo>
                  <a:lnTo>
                    <a:pt x="14" y="90"/>
                  </a:lnTo>
                  <a:lnTo>
                    <a:pt x="18" y="90"/>
                  </a:lnTo>
                  <a:lnTo>
                    <a:pt x="18" y="86"/>
                  </a:lnTo>
                  <a:lnTo>
                    <a:pt x="18" y="82"/>
                  </a:lnTo>
                  <a:lnTo>
                    <a:pt x="18" y="78"/>
                  </a:lnTo>
                  <a:lnTo>
                    <a:pt x="18" y="74"/>
                  </a:lnTo>
                  <a:lnTo>
                    <a:pt x="20" y="74"/>
                  </a:lnTo>
                  <a:lnTo>
                    <a:pt x="20" y="70"/>
                  </a:lnTo>
                  <a:lnTo>
                    <a:pt x="18" y="70"/>
                  </a:lnTo>
                  <a:lnTo>
                    <a:pt x="18" y="66"/>
                  </a:lnTo>
                  <a:lnTo>
                    <a:pt x="18" y="64"/>
                  </a:lnTo>
                  <a:lnTo>
                    <a:pt x="18" y="60"/>
                  </a:lnTo>
                  <a:lnTo>
                    <a:pt x="14" y="60"/>
                  </a:lnTo>
                  <a:lnTo>
                    <a:pt x="14" y="56"/>
                  </a:lnTo>
                  <a:lnTo>
                    <a:pt x="10" y="56"/>
                  </a:lnTo>
                  <a:lnTo>
                    <a:pt x="10" y="52"/>
                  </a:lnTo>
                  <a:lnTo>
                    <a:pt x="10" y="48"/>
                  </a:lnTo>
                  <a:lnTo>
                    <a:pt x="6" y="48"/>
                  </a:lnTo>
                  <a:lnTo>
                    <a:pt x="6" y="44"/>
                  </a:lnTo>
                  <a:lnTo>
                    <a:pt x="6" y="40"/>
                  </a:lnTo>
                  <a:lnTo>
                    <a:pt x="4" y="38"/>
                  </a:lnTo>
                  <a:lnTo>
                    <a:pt x="6" y="38"/>
                  </a:lnTo>
                  <a:lnTo>
                    <a:pt x="4" y="38"/>
                  </a:lnTo>
                  <a:lnTo>
                    <a:pt x="4" y="34"/>
                  </a:lnTo>
                  <a:lnTo>
                    <a:pt x="0" y="34"/>
                  </a:lnTo>
                  <a:lnTo>
                    <a:pt x="4" y="34"/>
                  </a:lnTo>
                  <a:lnTo>
                    <a:pt x="6" y="34"/>
                  </a:lnTo>
                  <a:lnTo>
                    <a:pt x="6" y="30"/>
                  </a:lnTo>
                  <a:lnTo>
                    <a:pt x="6" y="26"/>
                  </a:lnTo>
                  <a:lnTo>
                    <a:pt x="6" y="22"/>
                  </a:lnTo>
                  <a:lnTo>
                    <a:pt x="6" y="18"/>
                  </a:lnTo>
                  <a:lnTo>
                    <a:pt x="6" y="14"/>
                  </a:lnTo>
                  <a:lnTo>
                    <a:pt x="10" y="14"/>
                  </a:lnTo>
                  <a:lnTo>
                    <a:pt x="10" y="12"/>
                  </a:lnTo>
                  <a:lnTo>
                    <a:pt x="14" y="12"/>
                  </a:lnTo>
                  <a:lnTo>
                    <a:pt x="18" y="12"/>
                  </a:lnTo>
                  <a:lnTo>
                    <a:pt x="20" y="12"/>
                  </a:lnTo>
                  <a:lnTo>
                    <a:pt x="24" y="12"/>
                  </a:lnTo>
                  <a:lnTo>
                    <a:pt x="24" y="8"/>
                  </a:lnTo>
                  <a:lnTo>
                    <a:pt x="24" y="4"/>
                  </a:lnTo>
                  <a:lnTo>
                    <a:pt x="28" y="4"/>
                  </a:lnTo>
                  <a:lnTo>
                    <a:pt x="28" y="8"/>
                  </a:lnTo>
                  <a:lnTo>
                    <a:pt x="28" y="4"/>
                  </a:lnTo>
                  <a:lnTo>
                    <a:pt x="32" y="4"/>
                  </a:lnTo>
                  <a:lnTo>
                    <a:pt x="32" y="0"/>
                  </a:lnTo>
                  <a:lnTo>
                    <a:pt x="36" y="0"/>
                  </a:lnTo>
                  <a:lnTo>
                    <a:pt x="40" y="0"/>
                  </a:lnTo>
                  <a:lnTo>
                    <a:pt x="40" y="4"/>
                  </a:lnTo>
                  <a:lnTo>
                    <a:pt x="40" y="0"/>
                  </a:lnTo>
                  <a:lnTo>
                    <a:pt x="44" y="0"/>
                  </a:lnTo>
                  <a:lnTo>
                    <a:pt x="44" y="4"/>
                  </a:lnTo>
                  <a:lnTo>
                    <a:pt x="46" y="4"/>
                  </a:lnTo>
                  <a:lnTo>
                    <a:pt x="46" y="8"/>
                  </a:lnTo>
                  <a:lnTo>
                    <a:pt x="44" y="12"/>
                  </a:lnTo>
                  <a:lnTo>
                    <a:pt x="44" y="14"/>
                  </a:lnTo>
                  <a:lnTo>
                    <a:pt x="46" y="14"/>
                  </a:lnTo>
                  <a:lnTo>
                    <a:pt x="50" y="14"/>
                  </a:lnTo>
                  <a:lnTo>
                    <a:pt x="54" y="14"/>
                  </a:lnTo>
                  <a:lnTo>
                    <a:pt x="54" y="18"/>
                  </a:lnTo>
                  <a:lnTo>
                    <a:pt x="54" y="22"/>
                  </a:lnTo>
                  <a:lnTo>
                    <a:pt x="58" y="22"/>
                  </a:lnTo>
                  <a:lnTo>
                    <a:pt x="58" y="26"/>
                  </a:lnTo>
                  <a:lnTo>
                    <a:pt x="54" y="26"/>
                  </a:lnTo>
                  <a:lnTo>
                    <a:pt x="54" y="30"/>
                  </a:lnTo>
                  <a:lnTo>
                    <a:pt x="54" y="34"/>
                  </a:lnTo>
                  <a:lnTo>
                    <a:pt x="54" y="38"/>
                  </a:lnTo>
                  <a:lnTo>
                    <a:pt x="54" y="40"/>
                  </a:lnTo>
                  <a:lnTo>
                    <a:pt x="54" y="44"/>
                  </a:lnTo>
                  <a:lnTo>
                    <a:pt x="50" y="44"/>
                  </a:lnTo>
                  <a:lnTo>
                    <a:pt x="50" y="48"/>
                  </a:lnTo>
                  <a:lnTo>
                    <a:pt x="50" y="52"/>
                  </a:lnTo>
                  <a:lnTo>
                    <a:pt x="54" y="52"/>
                  </a:lnTo>
                  <a:lnTo>
                    <a:pt x="54" y="48"/>
                  </a:lnTo>
                  <a:lnTo>
                    <a:pt x="58" y="48"/>
                  </a:lnTo>
                  <a:lnTo>
                    <a:pt x="58" y="44"/>
                  </a:lnTo>
                  <a:lnTo>
                    <a:pt x="62" y="44"/>
                  </a:lnTo>
                  <a:lnTo>
                    <a:pt x="62" y="40"/>
                  </a:lnTo>
                  <a:lnTo>
                    <a:pt x="66" y="40"/>
                  </a:lnTo>
                  <a:lnTo>
                    <a:pt x="66" y="38"/>
                  </a:lnTo>
                  <a:lnTo>
                    <a:pt x="70" y="38"/>
                  </a:lnTo>
                  <a:lnTo>
                    <a:pt x="70" y="40"/>
                  </a:lnTo>
                  <a:lnTo>
                    <a:pt x="72" y="40"/>
                  </a:lnTo>
                  <a:lnTo>
                    <a:pt x="72" y="44"/>
                  </a:lnTo>
                  <a:lnTo>
                    <a:pt x="76" y="44"/>
                  </a:lnTo>
                  <a:lnTo>
                    <a:pt x="76" y="40"/>
                  </a:lnTo>
                  <a:lnTo>
                    <a:pt x="80" y="40"/>
                  </a:lnTo>
                  <a:lnTo>
                    <a:pt x="84" y="38"/>
                  </a:lnTo>
                  <a:lnTo>
                    <a:pt x="84" y="34"/>
                  </a:lnTo>
                  <a:lnTo>
                    <a:pt x="88" y="34"/>
                  </a:lnTo>
                  <a:lnTo>
                    <a:pt x="88" y="38"/>
                  </a:lnTo>
                  <a:lnTo>
                    <a:pt x="92" y="38"/>
                  </a:lnTo>
                  <a:lnTo>
                    <a:pt x="96" y="38"/>
                  </a:lnTo>
                  <a:lnTo>
                    <a:pt x="96" y="40"/>
                  </a:lnTo>
                  <a:lnTo>
                    <a:pt x="98" y="44"/>
                  </a:lnTo>
                  <a:lnTo>
                    <a:pt x="98" y="48"/>
                  </a:lnTo>
                  <a:lnTo>
                    <a:pt x="102" y="48"/>
                  </a:lnTo>
                  <a:lnTo>
                    <a:pt x="102" y="52"/>
                  </a:lnTo>
                  <a:lnTo>
                    <a:pt x="106" y="52"/>
                  </a:lnTo>
                  <a:lnTo>
                    <a:pt x="106" y="56"/>
                  </a:lnTo>
                  <a:lnTo>
                    <a:pt x="106" y="60"/>
                  </a:lnTo>
                  <a:lnTo>
                    <a:pt x="102" y="60"/>
                  </a:lnTo>
                  <a:lnTo>
                    <a:pt x="106" y="64"/>
                  </a:lnTo>
                  <a:lnTo>
                    <a:pt x="106" y="66"/>
                  </a:lnTo>
                  <a:lnTo>
                    <a:pt x="102" y="66"/>
                  </a:lnTo>
                  <a:lnTo>
                    <a:pt x="106" y="66"/>
                  </a:lnTo>
                  <a:lnTo>
                    <a:pt x="106" y="70"/>
                  </a:lnTo>
                  <a:lnTo>
                    <a:pt x="110" y="74"/>
                  </a:lnTo>
                  <a:lnTo>
                    <a:pt x="110" y="78"/>
                  </a:lnTo>
                  <a:lnTo>
                    <a:pt x="114" y="78"/>
                  </a:lnTo>
                  <a:lnTo>
                    <a:pt x="114" y="82"/>
                  </a:lnTo>
                  <a:lnTo>
                    <a:pt x="118" y="82"/>
                  </a:lnTo>
                  <a:lnTo>
                    <a:pt x="118" y="86"/>
                  </a:lnTo>
                  <a:lnTo>
                    <a:pt x="118" y="90"/>
                  </a:lnTo>
                  <a:lnTo>
                    <a:pt x="114" y="94"/>
                  </a:lnTo>
                  <a:lnTo>
                    <a:pt x="118" y="94"/>
                  </a:lnTo>
                  <a:lnTo>
                    <a:pt x="118" y="96"/>
                  </a:lnTo>
                  <a:lnTo>
                    <a:pt x="114" y="96"/>
                  </a:lnTo>
                  <a:lnTo>
                    <a:pt x="114" y="100"/>
                  </a:lnTo>
                  <a:lnTo>
                    <a:pt x="114" y="104"/>
                  </a:lnTo>
                  <a:lnTo>
                    <a:pt x="110" y="104"/>
                  </a:lnTo>
                  <a:lnTo>
                    <a:pt x="110" y="108"/>
                  </a:lnTo>
                  <a:lnTo>
                    <a:pt x="106" y="108"/>
                  </a:lnTo>
                  <a:lnTo>
                    <a:pt x="106" y="104"/>
                  </a:lnTo>
                  <a:lnTo>
                    <a:pt x="102" y="104"/>
                  </a:lnTo>
                  <a:lnTo>
                    <a:pt x="98" y="104"/>
                  </a:lnTo>
                  <a:lnTo>
                    <a:pt x="96" y="104"/>
                  </a:lnTo>
                  <a:lnTo>
                    <a:pt x="92" y="104"/>
                  </a:lnTo>
                  <a:lnTo>
                    <a:pt x="88" y="104"/>
                  </a:lnTo>
                  <a:lnTo>
                    <a:pt x="84" y="104"/>
                  </a:lnTo>
                  <a:lnTo>
                    <a:pt x="84" y="108"/>
                  </a:lnTo>
                  <a:lnTo>
                    <a:pt x="80" y="108"/>
                  </a:lnTo>
                  <a:lnTo>
                    <a:pt x="80" y="112"/>
                  </a:lnTo>
                  <a:lnTo>
                    <a:pt x="76" y="112"/>
                  </a:lnTo>
                  <a:lnTo>
                    <a:pt x="76" y="116"/>
                  </a:lnTo>
                  <a:lnTo>
                    <a:pt x="72" y="116"/>
                  </a:lnTo>
                  <a:lnTo>
                    <a:pt x="72" y="120"/>
                  </a:lnTo>
                  <a:lnTo>
                    <a:pt x="70" y="120"/>
                  </a:lnTo>
                  <a:lnTo>
                    <a:pt x="70" y="122"/>
                  </a:lnTo>
                  <a:lnTo>
                    <a:pt x="72" y="126"/>
                  </a:lnTo>
                  <a:lnTo>
                    <a:pt x="72" y="130"/>
                  </a:lnTo>
                  <a:lnTo>
                    <a:pt x="72" y="134"/>
                  </a:lnTo>
                  <a:lnTo>
                    <a:pt x="72" y="138"/>
                  </a:lnTo>
                  <a:lnTo>
                    <a:pt x="76" y="138"/>
                  </a:lnTo>
                  <a:lnTo>
                    <a:pt x="76" y="142"/>
                  </a:lnTo>
                  <a:lnTo>
                    <a:pt x="76" y="146"/>
                  </a:lnTo>
                  <a:lnTo>
                    <a:pt x="76" y="148"/>
                  </a:lnTo>
                  <a:lnTo>
                    <a:pt x="80" y="148"/>
                  </a:lnTo>
                  <a:lnTo>
                    <a:pt x="80" y="152"/>
                  </a:lnTo>
                  <a:lnTo>
                    <a:pt x="76" y="148"/>
                  </a:lnTo>
                  <a:lnTo>
                    <a:pt x="76" y="146"/>
                  </a:lnTo>
                  <a:lnTo>
                    <a:pt x="72" y="142"/>
                  </a:lnTo>
                  <a:lnTo>
                    <a:pt x="72" y="146"/>
                  </a:lnTo>
                  <a:lnTo>
                    <a:pt x="70" y="142"/>
                  </a:lnTo>
                  <a:lnTo>
                    <a:pt x="70" y="138"/>
                  </a:lnTo>
                  <a:lnTo>
                    <a:pt x="66" y="138"/>
                  </a:lnTo>
                  <a:lnTo>
                    <a:pt x="66" y="134"/>
                  </a:lnTo>
                  <a:lnTo>
                    <a:pt x="62" y="134"/>
                  </a:lnTo>
                  <a:lnTo>
                    <a:pt x="58" y="134"/>
                  </a:lnTo>
                  <a:lnTo>
                    <a:pt x="58" y="138"/>
                  </a:lnTo>
                  <a:lnTo>
                    <a:pt x="58" y="134"/>
                  </a:lnTo>
                  <a:lnTo>
                    <a:pt x="54" y="134"/>
                  </a:lnTo>
                  <a:lnTo>
                    <a:pt x="50" y="134"/>
                  </a:lnTo>
                  <a:lnTo>
                    <a:pt x="50" y="138"/>
                  </a:lnTo>
                  <a:lnTo>
                    <a:pt x="50" y="134"/>
                  </a:lnTo>
                  <a:lnTo>
                    <a:pt x="50" y="130"/>
                  </a:lnTo>
                  <a:lnTo>
                    <a:pt x="50" y="126"/>
                  </a:lnTo>
                  <a:lnTo>
                    <a:pt x="50" y="122"/>
                  </a:lnTo>
                  <a:lnTo>
                    <a:pt x="50" y="120"/>
                  </a:lnTo>
                  <a:lnTo>
                    <a:pt x="46" y="120"/>
                  </a:lnTo>
                  <a:lnTo>
                    <a:pt x="44" y="120"/>
                  </a:lnTo>
                  <a:lnTo>
                    <a:pt x="40" y="122"/>
                  </a:lnTo>
                  <a:lnTo>
                    <a:pt x="36" y="122"/>
                  </a:lnTo>
                  <a:lnTo>
                    <a:pt x="36" y="126"/>
                  </a:lnTo>
                  <a:lnTo>
                    <a:pt x="40" y="126"/>
                  </a:lnTo>
                  <a:lnTo>
                    <a:pt x="40" y="130"/>
                  </a:lnTo>
                  <a:lnTo>
                    <a:pt x="36" y="134"/>
                  </a:lnTo>
                  <a:lnTo>
                    <a:pt x="36" y="138"/>
                  </a:lnTo>
                  <a:lnTo>
                    <a:pt x="40" y="142"/>
                  </a:lnTo>
                  <a:lnTo>
                    <a:pt x="36" y="146"/>
                  </a:lnTo>
                  <a:lnTo>
                    <a:pt x="36" y="148"/>
                  </a:lnTo>
                  <a:lnTo>
                    <a:pt x="36" y="152"/>
                  </a:lnTo>
                  <a:lnTo>
                    <a:pt x="32" y="152"/>
                  </a:lnTo>
                  <a:lnTo>
                    <a:pt x="32" y="156"/>
                  </a:lnTo>
                  <a:lnTo>
                    <a:pt x="32" y="160"/>
                  </a:lnTo>
                  <a:lnTo>
                    <a:pt x="32" y="164"/>
                  </a:lnTo>
                  <a:lnTo>
                    <a:pt x="28" y="168"/>
                  </a:lnTo>
                  <a:lnTo>
                    <a:pt x="28" y="172"/>
                  </a:lnTo>
                  <a:lnTo>
                    <a:pt x="24" y="176"/>
                  </a:lnTo>
                  <a:lnTo>
                    <a:pt x="24" y="178"/>
                  </a:lnTo>
                  <a:lnTo>
                    <a:pt x="24" y="182"/>
                  </a:lnTo>
                  <a:lnTo>
                    <a:pt x="24" y="186"/>
                  </a:lnTo>
                  <a:lnTo>
                    <a:pt x="28" y="190"/>
                  </a:lnTo>
                  <a:lnTo>
                    <a:pt x="28" y="194"/>
                  </a:lnTo>
                  <a:lnTo>
                    <a:pt x="32" y="194"/>
                  </a:lnTo>
                  <a:lnTo>
                    <a:pt x="36" y="194"/>
                  </a:lnTo>
                  <a:lnTo>
                    <a:pt x="36" y="198"/>
                  </a:lnTo>
                  <a:lnTo>
                    <a:pt x="36" y="202"/>
                  </a:lnTo>
                  <a:lnTo>
                    <a:pt x="36" y="204"/>
                  </a:lnTo>
                  <a:lnTo>
                    <a:pt x="40" y="204"/>
                  </a:lnTo>
                  <a:lnTo>
                    <a:pt x="40" y="208"/>
                  </a:lnTo>
                  <a:lnTo>
                    <a:pt x="40" y="204"/>
                  </a:lnTo>
                  <a:lnTo>
                    <a:pt x="40" y="208"/>
                  </a:lnTo>
                  <a:lnTo>
                    <a:pt x="44" y="208"/>
                  </a:lnTo>
                  <a:lnTo>
                    <a:pt x="44" y="212"/>
                  </a:lnTo>
                  <a:lnTo>
                    <a:pt x="44" y="216"/>
                  </a:lnTo>
                  <a:lnTo>
                    <a:pt x="44" y="220"/>
                  </a:lnTo>
                  <a:lnTo>
                    <a:pt x="44" y="224"/>
                  </a:lnTo>
                  <a:lnTo>
                    <a:pt x="44" y="228"/>
                  </a:lnTo>
                  <a:lnTo>
                    <a:pt x="46" y="228"/>
                  </a:lnTo>
                  <a:lnTo>
                    <a:pt x="46" y="232"/>
                  </a:lnTo>
                  <a:lnTo>
                    <a:pt x="46" y="228"/>
                  </a:lnTo>
                  <a:lnTo>
                    <a:pt x="44" y="228"/>
                  </a:lnTo>
                  <a:lnTo>
                    <a:pt x="44" y="224"/>
                  </a:lnTo>
                  <a:lnTo>
                    <a:pt x="44" y="220"/>
                  </a:lnTo>
                  <a:lnTo>
                    <a:pt x="40" y="220"/>
                  </a:lnTo>
                  <a:lnTo>
                    <a:pt x="40" y="224"/>
                  </a:lnTo>
                  <a:lnTo>
                    <a:pt x="40" y="228"/>
                  </a:lnTo>
                  <a:lnTo>
                    <a:pt x="44" y="228"/>
                  </a:lnTo>
                  <a:lnTo>
                    <a:pt x="44" y="232"/>
                  </a:lnTo>
                  <a:lnTo>
                    <a:pt x="46" y="232"/>
                  </a:lnTo>
                  <a:lnTo>
                    <a:pt x="46" y="228"/>
                  </a:lnTo>
                  <a:lnTo>
                    <a:pt x="46" y="232"/>
                  </a:lnTo>
                  <a:lnTo>
                    <a:pt x="46" y="234"/>
                  </a:lnTo>
                  <a:lnTo>
                    <a:pt x="50" y="234"/>
                  </a:lnTo>
                  <a:lnTo>
                    <a:pt x="54" y="234"/>
                  </a:lnTo>
                  <a:lnTo>
                    <a:pt x="58" y="234"/>
                  </a:lnTo>
                  <a:lnTo>
                    <a:pt x="54" y="234"/>
                  </a:lnTo>
                  <a:lnTo>
                    <a:pt x="58" y="234"/>
                  </a:lnTo>
                  <a:lnTo>
                    <a:pt x="62" y="234"/>
                  </a:lnTo>
                  <a:lnTo>
                    <a:pt x="62" y="238"/>
                  </a:lnTo>
                  <a:lnTo>
                    <a:pt x="62" y="242"/>
                  </a:lnTo>
                  <a:lnTo>
                    <a:pt x="66" y="246"/>
                  </a:lnTo>
                  <a:lnTo>
                    <a:pt x="66" y="250"/>
                  </a:lnTo>
                  <a:lnTo>
                    <a:pt x="66" y="254"/>
                  </a:lnTo>
                  <a:lnTo>
                    <a:pt x="62" y="254"/>
                  </a:lnTo>
                  <a:lnTo>
                    <a:pt x="62" y="254"/>
                  </a:lnTo>
                  <a:lnTo>
                    <a:pt x="62" y="254"/>
                  </a:lnTo>
                  <a:close/>
                  <a:moveTo>
                    <a:pt x="18" y="212"/>
                  </a:moveTo>
                  <a:lnTo>
                    <a:pt x="18" y="216"/>
                  </a:lnTo>
                  <a:lnTo>
                    <a:pt x="18" y="212"/>
                  </a:lnTo>
                  <a:lnTo>
                    <a:pt x="18" y="212"/>
                  </a:lnTo>
                  <a:lnTo>
                    <a:pt x="18" y="212"/>
                  </a:lnTo>
                  <a:close/>
                  <a:moveTo>
                    <a:pt x="32" y="238"/>
                  </a:moveTo>
                  <a:lnTo>
                    <a:pt x="32" y="242"/>
                  </a:lnTo>
                  <a:lnTo>
                    <a:pt x="32" y="238"/>
                  </a:lnTo>
                  <a:lnTo>
                    <a:pt x="32" y="238"/>
                  </a:lnTo>
                  <a:lnTo>
                    <a:pt x="32" y="238"/>
                  </a:lnTo>
                  <a:close/>
                  <a:moveTo>
                    <a:pt x="72" y="146"/>
                  </a:moveTo>
                  <a:lnTo>
                    <a:pt x="72" y="148"/>
                  </a:lnTo>
                  <a:lnTo>
                    <a:pt x="70" y="148"/>
                  </a:lnTo>
                  <a:lnTo>
                    <a:pt x="70" y="146"/>
                  </a:lnTo>
                  <a:lnTo>
                    <a:pt x="72" y="146"/>
                  </a:lnTo>
                  <a:lnTo>
                    <a:pt x="72" y="146"/>
                  </a:lnTo>
                  <a:lnTo>
                    <a:pt x="72" y="146"/>
                  </a:lnTo>
                  <a:close/>
                  <a:moveTo>
                    <a:pt x="72" y="148"/>
                  </a:moveTo>
                  <a:lnTo>
                    <a:pt x="72" y="152"/>
                  </a:lnTo>
                  <a:lnTo>
                    <a:pt x="72" y="148"/>
                  </a:lnTo>
                  <a:lnTo>
                    <a:pt x="72" y="148"/>
                  </a:lnTo>
                  <a:lnTo>
                    <a:pt x="72" y="148"/>
                  </a:lnTo>
                  <a:close/>
                  <a:moveTo>
                    <a:pt x="40" y="190"/>
                  </a:moveTo>
                  <a:lnTo>
                    <a:pt x="36" y="190"/>
                  </a:lnTo>
                  <a:lnTo>
                    <a:pt x="40" y="186"/>
                  </a:lnTo>
                  <a:lnTo>
                    <a:pt x="40" y="190"/>
                  </a:lnTo>
                  <a:lnTo>
                    <a:pt x="40" y="190"/>
                  </a:lnTo>
                  <a:lnTo>
                    <a:pt x="40" y="190"/>
                  </a:lnTo>
                  <a:close/>
                  <a:moveTo>
                    <a:pt x="14" y="212"/>
                  </a:moveTo>
                  <a:lnTo>
                    <a:pt x="14" y="216"/>
                  </a:lnTo>
                  <a:lnTo>
                    <a:pt x="18" y="216"/>
                  </a:lnTo>
                  <a:lnTo>
                    <a:pt x="14" y="220"/>
                  </a:lnTo>
                  <a:lnTo>
                    <a:pt x="14" y="216"/>
                  </a:lnTo>
                  <a:lnTo>
                    <a:pt x="14" y="212"/>
                  </a:lnTo>
                  <a:lnTo>
                    <a:pt x="14" y="212"/>
                  </a:lnTo>
                  <a:lnTo>
                    <a:pt x="14" y="21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64" name="Freeform 57"/>
            <p:cNvSpPr>
              <a:spLocks noEditPoints="1"/>
            </p:cNvSpPr>
            <p:nvPr/>
          </p:nvSpPr>
          <p:spPr bwMode="auto">
            <a:xfrm>
              <a:off x="8141763" y="4251974"/>
              <a:ext cx="27631" cy="14383"/>
            </a:xfrm>
            <a:custGeom>
              <a:avLst/>
              <a:gdLst>
                <a:gd name="T0" fmla="*/ 22 w 44"/>
                <a:gd name="T1" fmla="*/ 4 h 22"/>
                <a:gd name="T2" fmla="*/ 18 w 44"/>
                <a:gd name="T3" fmla="*/ 4 h 22"/>
                <a:gd name="T4" fmla="*/ 18 w 44"/>
                <a:gd name="T5" fmla="*/ 0 h 22"/>
                <a:gd name="T6" fmla="*/ 22 w 44"/>
                <a:gd name="T7" fmla="*/ 0 h 22"/>
                <a:gd name="T8" fmla="*/ 22 w 44"/>
                <a:gd name="T9" fmla="*/ 0 h 22"/>
                <a:gd name="T10" fmla="*/ 44 w 44"/>
                <a:gd name="T11" fmla="*/ 4 h 22"/>
                <a:gd name="T12" fmla="*/ 44 w 44"/>
                <a:gd name="T13" fmla="*/ 4 h 22"/>
                <a:gd name="T14" fmla="*/ 42 w 44"/>
                <a:gd name="T15" fmla="*/ 8 h 22"/>
                <a:gd name="T16" fmla="*/ 42 w 44"/>
                <a:gd name="T17" fmla="*/ 10 h 22"/>
                <a:gd name="T18" fmla="*/ 38 w 44"/>
                <a:gd name="T19" fmla="*/ 10 h 22"/>
                <a:gd name="T20" fmla="*/ 34 w 44"/>
                <a:gd name="T21" fmla="*/ 10 h 22"/>
                <a:gd name="T22" fmla="*/ 34 w 44"/>
                <a:gd name="T23" fmla="*/ 10 h 22"/>
                <a:gd name="T24" fmla="*/ 34 w 44"/>
                <a:gd name="T25" fmla="*/ 14 h 22"/>
                <a:gd name="T26" fmla="*/ 30 w 44"/>
                <a:gd name="T27" fmla="*/ 14 h 22"/>
                <a:gd name="T28" fmla="*/ 30 w 44"/>
                <a:gd name="T29" fmla="*/ 14 h 22"/>
                <a:gd name="T30" fmla="*/ 30 w 44"/>
                <a:gd name="T31" fmla="*/ 14 h 22"/>
                <a:gd name="T32" fmla="*/ 26 w 44"/>
                <a:gd name="T33" fmla="*/ 14 h 22"/>
                <a:gd name="T34" fmla="*/ 26 w 44"/>
                <a:gd name="T35" fmla="*/ 14 h 22"/>
                <a:gd name="T36" fmla="*/ 22 w 44"/>
                <a:gd name="T37" fmla="*/ 14 h 22"/>
                <a:gd name="T38" fmla="*/ 18 w 44"/>
                <a:gd name="T39" fmla="*/ 18 h 22"/>
                <a:gd name="T40" fmla="*/ 16 w 44"/>
                <a:gd name="T41" fmla="*/ 18 h 22"/>
                <a:gd name="T42" fmla="*/ 16 w 44"/>
                <a:gd name="T43" fmla="*/ 22 h 22"/>
                <a:gd name="T44" fmla="*/ 16 w 44"/>
                <a:gd name="T45" fmla="*/ 22 h 22"/>
                <a:gd name="T46" fmla="*/ 12 w 44"/>
                <a:gd name="T47" fmla="*/ 18 h 22"/>
                <a:gd name="T48" fmla="*/ 12 w 44"/>
                <a:gd name="T49" fmla="*/ 18 h 22"/>
                <a:gd name="T50" fmla="*/ 16 w 44"/>
                <a:gd name="T51" fmla="*/ 14 h 22"/>
                <a:gd name="T52" fmla="*/ 16 w 44"/>
                <a:gd name="T53" fmla="*/ 14 h 22"/>
                <a:gd name="T54" fmla="*/ 12 w 44"/>
                <a:gd name="T55" fmla="*/ 14 h 22"/>
                <a:gd name="T56" fmla="*/ 16 w 44"/>
                <a:gd name="T57" fmla="*/ 10 h 22"/>
                <a:gd name="T58" fmla="*/ 16 w 44"/>
                <a:gd name="T59" fmla="*/ 8 h 22"/>
                <a:gd name="T60" fmla="*/ 16 w 44"/>
                <a:gd name="T61" fmla="*/ 8 h 22"/>
                <a:gd name="T62" fmla="*/ 16 w 44"/>
                <a:gd name="T63" fmla="*/ 8 h 22"/>
                <a:gd name="T64" fmla="*/ 18 w 44"/>
                <a:gd name="T65" fmla="*/ 8 h 22"/>
                <a:gd name="T66" fmla="*/ 22 w 44"/>
                <a:gd name="T67" fmla="*/ 8 h 22"/>
                <a:gd name="T68" fmla="*/ 22 w 44"/>
                <a:gd name="T69" fmla="*/ 4 h 22"/>
                <a:gd name="T70" fmla="*/ 26 w 44"/>
                <a:gd name="T71" fmla="*/ 4 h 22"/>
                <a:gd name="T72" fmla="*/ 26 w 44"/>
                <a:gd name="T73" fmla="*/ 4 h 22"/>
                <a:gd name="T74" fmla="*/ 26 w 44"/>
                <a:gd name="T75" fmla="*/ 8 h 22"/>
                <a:gd name="T76" fmla="*/ 26 w 44"/>
                <a:gd name="T77" fmla="*/ 8 h 22"/>
                <a:gd name="T78" fmla="*/ 30 w 44"/>
                <a:gd name="T79" fmla="*/ 4 h 22"/>
                <a:gd name="T80" fmla="*/ 34 w 44"/>
                <a:gd name="T81" fmla="*/ 4 h 22"/>
                <a:gd name="T82" fmla="*/ 34 w 44"/>
                <a:gd name="T83" fmla="*/ 4 h 22"/>
                <a:gd name="T84" fmla="*/ 34 w 44"/>
                <a:gd name="T85" fmla="*/ 4 h 22"/>
                <a:gd name="T86" fmla="*/ 38 w 44"/>
                <a:gd name="T87" fmla="*/ 4 h 22"/>
                <a:gd name="T88" fmla="*/ 42 w 44"/>
                <a:gd name="T89" fmla="*/ 4 h 22"/>
                <a:gd name="T90" fmla="*/ 44 w 44"/>
                <a:gd name="T91" fmla="*/ 4 h 22"/>
                <a:gd name="T92" fmla="*/ 44 w 44"/>
                <a:gd name="T93" fmla="*/ 4 h 22"/>
                <a:gd name="T94" fmla="*/ 0 w 44"/>
                <a:gd name="T95" fmla="*/ 18 h 22"/>
                <a:gd name="T96" fmla="*/ 0 w 44"/>
                <a:gd name="T97" fmla="*/ 18 h 22"/>
                <a:gd name="T98" fmla="*/ 4 w 44"/>
                <a:gd name="T99" fmla="*/ 18 h 22"/>
                <a:gd name="T100" fmla="*/ 4 w 44"/>
                <a:gd name="T101" fmla="*/ 22 h 22"/>
                <a:gd name="T102" fmla="*/ 4 w 44"/>
                <a:gd name="T103" fmla="*/ 22 h 22"/>
                <a:gd name="T104" fmla="*/ 0 w 44"/>
                <a:gd name="T105" fmla="*/ 22 h 22"/>
                <a:gd name="T106" fmla="*/ 0 w 44"/>
                <a:gd name="T107"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22">
                  <a:moveTo>
                    <a:pt x="22" y="0"/>
                  </a:moveTo>
                  <a:lnTo>
                    <a:pt x="22" y="4"/>
                  </a:lnTo>
                  <a:lnTo>
                    <a:pt x="22" y="4"/>
                  </a:lnTo>
                  <a:lnTo>
                    <a:pt x="22" y="4"/>
                  </a:lnTo>
                  <a:lnTo>
                    <a:pt x="22" y="4"/>
                  </a:lnTo>
                  <a:lnTo>
                    <a:pt x="18" y="4"/>
                  </a:lnTo>
                  <a:lnTo>
                    <a:pt x="18" y="4"/>
                  </a:lnTo>
                  <a:lnTo>
                    <a:pt x="18" y="0"/>
                  </a:lnTo>
                  <a:lnTo>
                    <a:pt x="18" y="0"/>
                  </a:lnTo>
                  <a:lnTo>
                    <a:pt x="18" y="0"/>
                  </a:lnTo>
                  <a:lnTo>
                    <a:pt x="22" y="0"/>
                  </a:lnTo>
                  <a:lnTo>
                    <a:pt x="22" y="0"/>
                  </a:lnTo>
                  <a:lnTo>
                    <a:pt x="22" y="0"/>
                  </a:lnTo>
                  <a:lnTo>
                    <a:pt x="22" y="0"/>
                  </a:lnTo>
                  <a:lnTo>
                    <a:pt x="22" y="0"/>
                  </a:lnTo>
                  <a:close/>
                  <a:moveTo>
                    <a:pt x="44" y="4"/>
                  </a:moveTo>
                  <a:lnTo>
                    <a:pt x="44" y="4"/>
                  </a:lnTo>
                  <a:lnTo>
                    <a:pt x="44" y="4"/>
                  </a:lnTo>
                  <a:lnTo>
                    <a:pt x="44" y="4"/>
                  </a:lnTo>
                  <a:lnTo>
                    <a:pt x="44" y="4"/>
                  </a:lnTo>
                  <a:lnTo>
                    <a:pt x="44" y="4"/>
                  </a:lnTo>
                  <a:lnTo>
                    <a:pt x="44" y="8"/>
                  </a:lnTo>
                  <a:lnTo>
                    <a:pt x="42" y="8"/>
                  </a:lnTo>
                  <a:lnTo>
                    <a:pt x="42" y="8"/>
                  </a:lnTo>
                  <a:lnTo>
                    <a:pt x="42" y="8"/>
                  </a:lnTo>
                  <a:lnTo>
                    <a:pt x="42" y="8"/>
                  </a:lnTo>
                  <a:lnTo>
                    <a:pt x="42" y="10"/>
                  </a:lnTo>
                  <a:lnTo>
                    <a:pt x="38" y="10"/>
                  </a:lnTo>
                  <a:lnTo>
                    <a:pt x="38" y="10"/>
                  </a:lnTo>
                  <a:lnTo>
                    <a:pt x="38" y="10"/>
                  </a:lnTo>
                  <a:lnTo>
                    <a:pt x="38" y="10"/>
                  </a:lnTo>
                  <a:lnTo>
                    <a:pt x="38" y="10"/>
                  </a:lnTo>
                  <a:lnTo>
                    <a:pt x="34" y="10"/>
                  </a:lnTo>
                  <a:lnTo>
                    <a:pt x="34" y="10"/>
                  </a:lnTo>
                  <a:lnTo>
                    <a:pt x="34" y="10"/>
                  </a:lnTo>
                  <a:lnTo>
                    <a:pt x="34" y="10"/>
                  </a:lnTo>
                  <a:lnTo>
                    <a:pt x="34" y="10"/>
                  </a:lnTo>
                  <a:lnTo>
                    <a:pt x="34" y="10"/>
                  </a:lnTo>
                  <a:lnTo>
                    <a:pt x="34" y="14"/>
                  </a:lnTo>
                  <a:lnTo>
                    <a:pt x="34" y="14"/>
                  </a:lnTo>
                  <a:lnTo>
                    <a:pt x="30" y="14"/>
                  </a:lnTo>
                  <a:lnTo>
                    <a:pt x="30" y="14"/>
                  </a:lnTo>
                  <a:lnTo>
                    <a:pt x="30" y="14"/>
                  </a:lnTo>
                  <a:lnTo>
                    <a:pt x="30" y="14"/>
                  </a:lnTo>
                  <a:lnTo>
                    <a:pt x="30" y="14"/>
                  </a:lnTo>
                  <a:lnTo>
                    <a:pt x="30" y="14"/>
                  </a:lnTo>
                  <a:lnTo>
                    <a:pt x="30" y="14"/>
                  </a:lnTo>
                  <a:lnTo>
                    <a:pt x="30" y="14"/>
                  </a:lnTo>
                  <a:lnTo>
                    <a:pt x="30" y="14"/>
                  </a:lnTo>
                  <a:lnTo>
                    <a:pt x="26" y="14"/>
                  </a:lnTo>
                  <a:lnTo>
                    <a:pt x="26" y="14"/>
                  </a:lnTo>
                  <a:lnTo>
                    <a:pt x="26" y="14"/>
                  </a:lnTo>
                  <a:lnTo>
                    <a:pt x="26" y="14"/>
                  </a:lnTo>
                  <a:lnTo>
                    <a:pt x="26" y="14"/>
                  </a:lnTo>
                  <a:lnTo>
                    <a:pt x="26" y="14"/>
                  </a:lnTo>
                  <a:lnTo>
                    <a:pt x="26" y="14"/>
                  </a:lnTo>
                  <a:lnTo>
                    <a:pt x="22" y="14"/>
                  </a:lnTo>
                  <a:lnTo>
                    <a:pt x="18" y="18"/>
                  </a:lnTo>
                  <a:lnTo>
                    <a:pt x="18" y="18"/>
                  </a:lnTo>
                  <a:lnTo>
                    <a:pt x="18" y="18"/>
                  </a:lnTo>
                  <a:lnTo>
                    <a:pt x="18" y="18"/>
                  </a:lnTo>
                  <a:lnTo>
                    <a:pt x="18" y="18"/>
                  </a:lnTo>
                  <a:lnTo>
                    <a:pt x="16" y="18"/>
                  </a:lnTo>
                  <a:lnTo>
                    <a:pt x="16" y="22"/>
                  </a:lnTo>
                  <a:lnTo>
                    <a:pt x="16" y="22"/>
                  </a:lnTo>
                  <a:lnTo>
                    <a:pt x="16" y="22"/>
                  </a:lnTo>
                  <a:lnTo>
                    <a:pt x="16" y="22"/>
                  </a:lnTo>
                  <a:lnTo>
                    <a:pt x="16" y="22"/>
                  </a:lnTo>
                  <a:lnTo>
                    <a:pt x="16" y="22"/>
                  </a:lnTo>
                  <a:lnTo>
                    <a:pt x="16" y="22"/>
                  </a:lnTo>
                  <a:lnTo>
                    <a:pt x="12" y="18"/>
                  </a:lnTo>
                  <a:lnTo>
                    <a:pt x="12" y="18"/>
                  </a:lnTo>
                  <a:lnTo>
                    <a:pt x="12" y="18"/>
                  </a:lnTo>
                  <a:lnTo>
                    <a:pt x="12" y="18"/>
                  </a:lnTo>
                  <a:lnTo>
                    <a:pt x="12" y="18"/>
                  </a:lnTo>
                  <a:lnTo>
                    <a:pt x="16" y="18"/>
                  </a:lnTo>
                  <a:lnTo>
                    <a:pt x="16" y="18"/>
                  </a:lnTo>
                  <a:lnTo>
                    <a:pt x="16" y="14"/>
                  </a:lnTo>
                  <a:lnTo>
                    <a:pt x="16" y="14"/>
                  </a:lnTo>
                  <a:lnTo>
                    <a:pt x="16" y="14"/>
                  </a:lnTo>
                  <a:lnTo>
                    <a:pt x="16" y="14"/>
                  </a:lnTo>
                  <a:lnTo>
                    <a:pt x="12" y="14"/>
                  </a:lnTo>
                  <a:lnTo>
                    <a:pt x="12" y="14"/>
                  </a:lnTo>
                  <a:lnTo>
                    <a:pt x="12" y="14"/>
                  </a:lnTo>
                  <a:lnTo>
                    <a:pt x="12" y="14"/>
                  </a:lnTo>
                  <a:lnTo>
                    <a:pt x="12" y="14"/>
                  </a:lnTo>
                  <a:lnTo>
                    <a:pt x="16" y="10"/>
                  </a:lnTo>
                  <a:lnTo>
                    <a:pt x="16" y="10"/>
                  </a:lnTo>
                  <a:lnTo>
                    <a:pt x="16" y="8"/>
                  </a:lnTo>
                  <a:lnTo>
                    <a:pt x="16" y="8"/>
                  </a:lnTo>
                  <a:lnTo>
                    <a:pt x="16" y="8"/>
                  </a:lnTo>
                  <a:lnTo>
                    <a:pt x="16" y="8"/>
                  </a:lnTo>
                  <a:lnTo>
                    <a:pt x="16" y="8"/>
                  </a:lnTo>
                  <a:lnTo>
                    <a:pt x="16" y="8"/>
                  </a:lnTo>
                  <a:lnTo>
                    <a:pt x="16" y="8"/>
                  </a:lnTo>
                  <a:lnTo>
                    <a:pt x="16" y="8"/>
                  </a:lnTo>
                  <a:lnTo>
                    <a:pt x="16" y="8"/>
                  </a:lnTo>
                  <a:lnTo>
                    <a:pt x="16" y="8"/>
                  </a:lnTo>
                  <a:lnTo>
                    <a:pt x="18" y="8"/>
                  </a:lnTo>
                  <a:lnTo>
                    <a:pt x="22" y="8"/>
                  </a:lnTo>
                  <a:lnTo>
                    <a:pt x="22" y="8"/>
                  </a:lnTo>
                  <a:lnTo>
                    <a:pt x="22" y="8"/>
                  </a:lnTo>
                  <a:lnTo>
                    <a:pt x="22" y="8"/>
                  </a:lnTo>
                  <a:lnTo>
                    <a:pt x="22" y="8"/>
                  </a:lnTo>
                  <a:lnTo>
                    <a:pt x="22" y="4"/>
                  </a:lnTo>
                  <a:lnTo>
                    <a:pt x="22" y="4"/>
                  </a:lnTo>
                  <a:lnTo>
                    <a:pt x="26" y="4"/>
                  </a:lnTo>
                  <a:lnTo>
                    <a:pt x="26" y="4"/>
                  </a:lnTo>
                  <a:lnTo>
                    <a:pt x="26" y="4"/>
                  </a:lnTo>
                  <a:lnTo>
                    <a:pt x="26" y="4"/>
                  </a:lnTo>
                  <a:lnTo>
                    <a:pt x="26" y="4"/>
                  </a:lnTo>
                  <a:lnTo>
                    <a:pt x="26" y="4"/>
                  </a:lnTo>
                  <a:lnTo>
                    <a:pt x="26" y="4"/>
                  </a:lnTo>
                  <a:lnTo>
                    <a:pt x="26" y="8"/>
                  </a:lnTo>
                  <a:lnTo>
                    <a:pt x="26" y="8"/>
                  </a:lnTo>
                  <a:lnTo>
                    <a:pt x="26" y="8"/>
                  </a:lnTo>
                  <a:lnTo>
                    <a:pt x="26" y="8"/>
                  </a:lnTo>
                  <a:lnTo>
                    <a:pt x="30" y="8"/>
                  </a:lnTo>
                  <a:lnTo>
                    <a:pt x="30" y="8"/>
                  </a:lnTo>
                  <a:lnTo>
                    <a:pt x="30" y="4"/>
                  </a:lnTo>
                  <a:lnTo>
                    <a:pt x="30" y="4"/>
                  </a:lnTo>
                  <a:lnTo>
                    <a:pt x="30" y="4"/>
                  </a:lnTo>
                  <a:lnTo>
                    <a:pt x="34" y="4"/>
                  </a:lnTo>
                  <a:lnTo>
                    <a:pt x="34" y="4"/>
                  </a:lnTo>
                  <a:lnTo>
                    <a:pt x="34" y="4"/>
                  </a:lnTo>
                  <a:lnTo>
                    <a:pt x="34" y="4"/>
                  </a:lnTo>
                  <a:lnTo>
                    <a:pt x="34" y="4"/>
                  </a:lnTo>
                  <a:lnTo>
                    <a:pt x="34" y="4"/>
                  </a:lnTo>
                  <a:lnTo>
                    <a:pt x="34" y="4"/>
                  </a:lnTo>
                  <a:lnTo>
                    <a:pt x="34" y="4"/>
                  </a:lnTo>
                  <a:lnTo>
                    <a:pt x="34" y="4"/>
                  </a:lnTo>
                  <a:lnTo>
                    <a:pt x="38" y="4"/>
                  </a:lnTo>
                  <a:lnTo>
                    <a:pt x="38" y="4"/>
                  </a:lnTo>
                  <a:lnTo>
                    <a:pt x="38" y="4"/>
                  </a:lnTo>
                  <a:lnTo>
                    <a:pt x="42" y="4"/>
                  </a:lnTo>
                  <a:lnTo>
                    <a:pt x="42" y="4"/>
                  </a:lnTo>
                  <a:lnTo>
                    <a:pt x="44" y="4"/>
                  </a:lnTo>
                  <a:lnTo>
                    <a:pt x="44" y="4"/>
                  </a:lnTo>
                  <a:lnTo>
                    <a:pt x="44" y="4"/>
                  </a:lnTo>
                  <a:lnTo>
                    <a:pt x="44" y="4"/>
                  </a:lnTo>
                  <a:lnTo>
                    <a:pt x="44" y="4"/>
                  </a:lnTo>
                  <a:close/>
                  <a:moveTo>
                    <a:pt x="0" y="18"/>
                  </a:moveTo>
                  <a:lnTo>
                    <a:pt x="0" y="18"/>
                  </a:lnTo>
                  <a:lnTo>
                    <a:pt x="0" y="18"/>
                  </a:lnTo>
                  <a:lnTo>
                    <a:pt x="0" y="18"/>
                  </a:lnTo>
                  <a:lnTo>
                    <a:pt x="0" y="18"/>
                  </a:lnTo>
                  <a:lnTo>
                    <a:pt x="0" y="18"/>
                  </a:lnTo>
                  <a:lnTo>
                    <a:pt x="0" y="18"/>
                  </a:lnTo>
                  <a:lnTo>
                    <a:pt x="4" y="18"/>
                  </a:lnTo>
                  <a:lnTo>
                    <a:pt x="4" y="18"/>
                  </a:lnTo>
                  <a:lnTo>
                    <a:pt x="4" y="18"/>
                  </a:lnTo>
                  <a:lnTo>
                    <a:pt x="4" y="18"/>
                  </a:lnTo>
                  <a:lnTo>
                    <a:pt x="4" y="22"/>
                  </a:lnTo>
                  <a:lnTo>
                    <a:pt x="4" y="22"/>
                  </a:lnTo>
                  <a:lnTo>
                    <a:pt x="4" y="22"/>
                  </a:lnTo>
                  <a:lnTo>
                    <a:pt x="4" y="22"/>
                  </a:lnTo>
                  <a:lnTo>
                    <a:pt x="4" y="22"/>
                  </a:lnTo>
                  <a:lnTo>
                    <a:pt x="0" y="22"/>
                  </a:lnTo>
                  <a:lnTo>
                    <a:pt x="0" y="22"/>
                  </a:lnTo>
                  <a:lnTo>
                    <a:pt x="0" y="22"/>
                  </a:lnTo>
                  <a:lnTo>
                    <a:pt x="0" y="22"/>
                  </a:lnTo>
                  <a:lnTo>
                    <a:pt x="0" y="18"/>
                  </a:lnTo>
                  <a:lnTo>
                    <a:pt x="0" y="18"/>
                  </a:lnTo>
                  <a:lnTo>
                    <a:pt x="0" y="1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65" name="Freeform 58"/>
            <p:cNvSpPr>
              <a:spLocks noEditPoints="1"/>
            </p:cNvSpPr>
            <p:nvPr/>
          </p:nvSpPr>
          <p:spPr bwMode="auto">
            <a:xfrm>
              <a:off x="7267614" y="3666177"/>
              <a:ext cx="170811" cy="81070"/>
            </a:xfrm>
            <a:custGeom>
              <a:avLst/>
              <a:gdLst>
                <a:gd name="T0" fmla="*/ 22 w 272"/>
                <a:gd name="T1" fmla="*/ 4 h 124"/>
                <a:gd name="T2" fmla="*/ 34 w 272"/>
                <a:gd name="T3" fmla="*/ 8 h 124"/>
                <a:gd name="T4" fmla="*/ 48 w 272"/>
                <a:gd name="T5" fmla="*/ 24 h 124"/>
                <a:gd name="T6" fmla="*/ 26 w 272"/>
                <a:gd name="T7" fmla="*/ 24 h 124"/>
                <a:gd name="T8" fmla="*/ 14 w 272"/>
                <a:gd name="T9" fmla="*/ 38 h 124"/>
                <a:gd name="T10" fmla="*/ 8 w 272"/>
                <a:gd name="T11" fmla="*/ 38 h 124"/>
                <a:gd name="T12" fmla="*/ 14 w 272"/>
                <a:gd name="T13" fmla="*/ 30 h 124"/>
                <a:gd name="T14" fmla="*/ 10 w 272"/>
                <a:gd name="T15" fmla="*/ 20 h 124"/>
                <a:gd name="T16" fmla="*/ 10 w 272"/>
                <a:gd name="T17" fmla="*/ 12 h 124"/>
                <a:gd name="T18" fmla="*/ 10 w 272"/>
                <a:gd name="T19" fmla="*/ 42 h 124"/>
                <a:gd name="T20" fmla="*/ 26 w 272"/>
                <a:gd name="T21" fmla="*/ 34 h 124"/>
                <a:gd name="T22" fmla="*/ 34 w 272"/>
                <a:gd name="T23" fmla="*/ 38 h 124"/>
                <a:gd name="T24" fmla="*/ 48 w 272"/>
                <a:gd name="T25" fmla="*/ 38 h 124"/>
                <a:gd name="T26" fmla="*/ 50 w 272"/>
                <a:gd name="T27" fmla="*/ 30 h 124"/>
                <a:gd name="T28" fmla="*/ 54 w 272"/>
                <a:gd name="T29" fmla="*/ 26 h 124"/>
                <a:gd name="T30" fmla="*/ 58 w 272"/>
                <a:gd name="T31" fmla="*/ 20 h 124"/>
                <a:gd name="T32" fmla="*/ 78 w 272"/>
                <a:gd name="T33" fmla="*/ 24 h 124"/>
                <a:gd name="T34" fmla="*/ 92 w 272"/>
                <a:gd name="T35" fmla="*/ 12 h 124"/>
                <a:gd name="T36" fmla="*/ 106 w 272"/>
                <a:gd name="T37" fmla="*/ 4 h 124"/>
                <a:gd name="T38" fmla="*/ 130 w 272"/>
                <a:gd name="T39" fmla="*/ 4 h 124"/>
                <a:gd name="T40" fmla="*/ 144 w 272"/>
                <a:gd name="T41" fmla="*/ 12 h 124"/>
                <a:gd name="T42" fmla="*/ 152 w 272"/>
                <a:gd name="T43" fmla="*/ 20 h 124"/>
                <a:gd name="T44" fmla="*/ 162 w 272"/>
                <a:gd name="T45" fmla="*/ 24 h 124"/>
                <a:gd name="T46" fmla="*/ 182 w 272"/>
                <a:gd name="T47" fmla="*/ 26 h 124"/>
                <a:gd name="T48" fmla="*/ 200 w 272"/>
                <a:gd name="T49" fmla="*/ 24 h 124"/>
                <a:gd name="T50" fmla="*/ 220 w 272"/>
                <a:gd name="T51" fmla="*/ 20 h 124"/>
                <a:gd name="T52" fmla="*/ 238 w 272"/>
                <a:gd name="T53" fmla="*/ 16 h 124"/>
                <a:gd name="T54" fmla="*/ 252 w 272"/>
                <a:gd name="T55" fmla="*/ 20 h 124"/>
                <a:gd name="T56" fmla="*/ 252 w 272"/>
                <a:gd name="T57" fmla="*/ 38 h 124"/>
                <a:gd name="T58" fmla="*/ 272 w 272"/>
                <a:gd name="T59" fmla="*/ 50 h 124"/>
                <a:gd name="T60" fmla="*/ 260 w 272"/>
                <a:gd name="T61" fmla="*/ 54 h 124"/>
                <a:gd name="T62" fmla="*/ 264 w 272"/>
                <a:gd name="T63" fmla="*/ 76 h 124"/>
                <a:gd name="T64" fmla="*/ 268 w 272"/>
                <a:gd name="T65" fmla="*/ 94 h 124"/>
                <a:gd name="T66" fmla="*/ 264 w 272"/>
                <a:gd name="T67" fmla="*/ 98 h 124"/>
                <a:gd name="T68" fmla="*/ 248 w 272"/>
                <a:gd name="T69" fmla="*/ 94 h 124"/>
                <a:gd name="T70" fmla="*/ 234 w 272"/>
                <a:gd name="T71" fmla="*/ 94 h 124"/>
                <a:gd name="T72" fmla="*/ 216 w 272"/>
                <a:gd name="T73" fmla="*/ 98 h 124"/>
                <a:gd name="T74" fmla="*/ 196 w 272"/>
                <a:gd name="T75" fmla="*/ 106 h 124"/>
                <a:gd name="T76" fmla="*/ 178 w 272"/>
                <a:gd name="T77" fmla="*/ 102 h 124"/>
                <a:gd name="T78" fmla="*/ 162 w 272"/>
                <a:gd name="T79" fmla="*/ 106 h 124"/>
                <a:gd name="T80" fmla="*/ 152 w 272"/>
                <a:gd name="T81" fmla="*/ 116 h 124"/>
                <a:gd name="T82" fmla="*/ 148 w 272"/>
                <a:gd name="T83" fmla="*/ 120 h 124"/>
                <a:gd name="T84" fmla="*/ 148 w 272"/>
                <a:gd name="T85" fmla="*/ 102 h 124"/>
                <a:gd name="T86" fmla="*/ 134 w 272"/>
                <a:gd name="T87" fmla="*/ 106 h 124"/>
                <a:gd name="T88" fmla="*/ 118 w 272"/>
                <a:gd name="T89" fmla="*/ 116 h 124"/>
                <a:gd name="T90" fmla="*/ 104 w 272"/>
                <a:gd name="T91" fmla="*/ 120 h 124"/>
                <a:gd name="T92" fmla="*/ 92 w 272"/>
                <a:gd name="T93" fmla="*/ 110 h 124"/>
                <a:gd name="T94" fmla="*/ 74 w 272"/>
                <a:gd name="T95" fmla="*/ 106 h 124"/>
                <a:gd name="T96" fmla="*/ 66 w 272"/>
                <a:gd name="T97" fmla="*/ 114 h 124"/>
                <a:gd name="T98" fmla="*/ 50 w 272"/>
                <a:gd name="T99" fmla="*/ 114 h 124"/>
                <a:gd name="T100" fmla="*/ 44 w 272"/>
                <a:gd name="T101" fmla="*/ 106 h 124"/>
                <a:gd name="T102" fmla="*/ 36 w 272"/>
                <a:gd name="T103" fmla="*/ 110 h 124"/>
                <a:gd name="T104" fmla="*/ 34 w 272"/>
                <a:gd name="T105" fmla="*/ 106 h 124"/>
                <a:gd name="T106" fmla="*/ 36 w 272"/>
                <a:gd name="T107" fmla="*/ 102 h 124"/>
                <a:gd name="T108" fmla="*/ 30 w 272"/>
                <a:gd name="T109" fmla="*/ 98 h 124"/>
                <a:gd name="T110" fmla="*/ 22 w 272"/>
                <a:gd name="T111" fmla="*/ 86 h 124"/>
                <a:gd name="T112" fmla="*/ 10 w 272"/>
                <a:gd name="T113" fmla="*/ 80 h 124"/>
                <a:gd name="T114" fmla="*/ 14 w 272"/>
                <a:gd name="T115" fmla="*/ 76 h 124"/>
                <a:gd name="T116" fmla="*/ 18 w 272"/>
                <a:gd name="T117" fmla="*/ 68 h 124"/>
                <a:gd name="T118" fmla="*/ 18 w 272"/>
                <a:gd name="T119" fmla="*/ 54 h 124"/>
                <a:gd name="T120" fmla="*/ 30 w 272"/>
                <a:gd name="T121" fmla="*/ 30 h 124"/>
                <a:gd name="T122" fmla="*/ 4 w 272"/>
                <a:gd name="T123" fmla="*/ 3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2" h="124">
                  <a:moveTo>
                    <a:pt x="10" y="12"/>
                  </a:moveTo>
                  <a:lnTo>
                    <a:pt x="10" y="8"/>
                  </a:lnTo>
                  <a:lnTo>
                    <a:pt x="14" y="8"/>
                  </a:lnTo>
                  <a:lnTo>
                    <a:pt x="14" y="4"/>
                  </a:lnTo>
                  <a:lnTo>
                    <a:pt x="18" y="4"/>
                  </a:lnTo>
                  <a:lnTo>
                    <a:pt x="22" y="4"/>
                  </a:lnTo>
                  <a:lnTo>
                    <a:pt x="22" y="0"/>
                  </a:lnTo>
                  <a:lnTo>
                    <a:pt x="26" y="0"/>
                  </a:lnTo>
                  <a:lnTo>
                    <a:pt x="26" y="4"/>
                  </a:lnTo>
                  <a:lnTo>
                    <a:pt x="30" y="4"/>
                  </a:lnTo>
                  <a:lnTo>
                    <a:pt x="34" y="4"/>
                  </a:lnTo>
                  <a:lnTo>
                    <a:pt x="34" y="8"/>
                  </a:lnTo>
                  <a:lnTo>
                    <a:pt x="36" y="12"/>
                  </a:lnTo>
                  <a:lnTo>
                    <a:pt x="36" y="16"/>
                  </a:lnTo>
                  <a:lnTo>
                    <a:pt x="40" y="16"/>
                  </a:lnTo>
                  <a:lnTo>
                    <a:pt x="44" y="20"/>
                  </a:lnTo>
                  <a:lnTo>
                    <a:pt x="48" y="20"/>
                  </a:lnTo>
                  <a:lnTo>
                    <a:pt x="48" y="24"/>
                  </a:lnTo>
                  <a:lnTo>
                    <a:pt x="44" y="24"/>
                  </a:lnTo>
                  <a:lnTo>
                    <a:pt x="40" y="24"/>
                  </a:lnTo>
                  <a:lnTo>
                    <a:pt x="36" y="24"/>
                  </a:lnTo>
                  <a:lnTo>
                    <a:pt x="34" y="24"/>
                  </a:lnTo>
                  <a:lnTo>
                    <a:pt x="30" y="24"/>
                  </a:lnTo>
                  <a:lnTo>
                    <a:pt x="26" y="24"/>
                  </a:lnTo>
                  <a:lnTo>
                    <a:pt x="26" y="26"/>
                  </a:lnTo>
                  <a:lnTo>
                    <a:pt x="26" y="30"/>
                  </a:lnTo>
                  <a:lnTo>
                    <a:pt x="22" y="30"/>
                  </a:lnTo>
                  <a:lnTo>
                    <a:pt x="18" y="34"/>
                  </a:lnTo>
                  <a:lnTo>
                    <a:pt x="14" y="34"/>
                  </a:lnTo>
                  <a:lnTo>
                    <a:pt x="14" y="38"/>
                  </a:lnTo>
                  <a:lnTo>
                    <a:pt x="10" y="38"/>
                  </a:lnTo>
                  <a:lnTo>
                    <a:pt x="10" y="42"/>
                  </a:lnTo>
                  <a:lnTo>
                    <a:pt x="8" y="42"/>
                  </a:lnTo>
                  <a:lnTo>
                    <a:pt x="10" y="42"/>
                  </a:lnTo>
                  <a:lnTo>
                    <a:pt x="10" y="38"/>
                  </a:lnTo>
                  <a:lnTo>
                    <a:pt x="8" y="38"/>
                  </a:lnTo>
                  <a:lnTo>
                    <a:pt x="10" y="38"/>
                  </a:lnTo>
                  <a:lnTo>
                    <a:pt x="10" y="34"/>
                  </a:lnTo>
                  <a:lnTo>
                    <a:pt x="14" y="34"/>
                  </a:lnTo>
                  <a:lnTo>
                    <a:pt x="18" y="34"/>
                  </a:lnTo>
                  <a:lnTo>
                    <a:pt x="18" y="30"/>
                  </a:lnTo>
                  <a:lnTo>
                    <a:pt x="14" y="30"/>
                  </a:lnTo>
                  <a:lnTo>
                    <a:pt x="10" y="30"/>
                  </a:lnTo>
                  <a:lnTo>
                    <a:pt x="8" y="30"/>
                  </a:lnTo>
                  <a:lnTo>
                    <a:pt x="8" y="26"/>
                  </a:lnTo>
                  <a:lnTo>
                    <a:pt x="10" y="26"/>
                  </a:lnTo>
                  <a:lnTo>
                    <a:pt x="10" y="24"/>
                  </a:lnTo>
                  <a:lnTo>
                    <a:pt x="10" y="20"/>
                  </a:lnTo>
                  <a:lnTo>
                    <a:pt x="14" y="20"/>
                  </a:lnTo>
                  <a:lnTo>
                    <a:pt x="14" y="16"/>
                  </a:lnTo>
                  <a:lnTo>
                    <a:pt x="14" y="12"/>
                  </a:lnTo>
                  <a:lnTo>
                    <a:pt x="10" y="12"/>
                  </a:lnTo>
                  <a:lnTo>
                    <a:pt x="10" y="12"/>
                  </a:lnTo>
                  <a:lnTo>
                    <a:pt x="10" y="12"/>
                  </a:lnTo>
                  <a:close/>
                  <a:moveTo>
                    <a:pt x="14" y="54"/>
                  </a:moveTo>
                  <a:lnTo>
                    <a:pt x="8" y="54"/>
                  </a:lnTo>
                  <a:lnTo>
                    <a:pt x="8" y="50"/>
                  </a:lnTo>
                  <a:lnTo>
                    <a:pt x="8" y="46"/>
                  </a:lnTo>
                  <a:lnTo>
                    <a:pt x="8" y="42"/>
                  </a:lnTo>
                  <a:lnTo>
                    <a:pt x="10" y="42"/>
                  </a:lnTo>
                  <a:lnTo>
                    <a:pt x="10" y="38"/>
                  </a:lnTo>
                  <a:lnTo>
                    <a:pt x="14" y="38"/>
                  </a:lnTo>
                  <a:lnTo>
                    <a:pt x="14" y="34"/>
                  </a:lnTo>
                  <a:lnTo>
                    <a:pt x="18" y="34"/>
                  </a:lnTo>
                  <a:lnTo>
                    <a:pt x="22" y="34"/>
                  </a:lnTo>
                  <a:lnTo>
                    <a:pt x="26" y="34"/>
                  </a:lnTo>
                  <a:lnTo>
                    <a:pt x="26" y="38"/>
                  </a:lnTo>
                  <a:lnTo>
                    <a:pt x="30" y="38"/>
                  </a:lnTo>
                  <a:lnTo>
                    <a:pt x="34" y="34"/>
                  </a:lnTo>
                  <a:lnTo>
                    <a:pt x="30" y="34"/>
                  </a:lnTo>
                  <a:lnTo>
                    <a:pt x="34" y="34"/>
                  </a:lnTo>
                  <a:lnTo>
                    <a:pt x="34" y="38"/>
                  </a:lnTo>
                  <a:lnTo>
                    <a:pt x="36" y="34"/>
                  </a:lnTo>
                  <a:lnTo>
                    <a:pt x="40" y="34"/>
                  </a:lnTo>
                  <a:lnTo>
                    <a:pt x="44" y="38"/>
                  </a:lnTo>
                  <a:lnTo>
                    <a:pt x="44" y="34"/>
                  </a:lnTo>
                  <a:lnTo>
                    <a:pt x="48" y="34"/>
                  </a:lnTo>
                  <a:lnTo>
                    <a:pt x="48" y="38"/>
                  </a:lnTo>
                  <a:lnTo>
                    <a:pt x="50" y="34"/>
                  </a:lnTo>
                  <a:lnTo>
                    <a:pt x="48" y="34"/>
                  </a:lnTo>
                  <a:lnTo>
                    <a:pt x="44" y="34"/>
                  </a:lnTo>
                  <a:lnTo>
                    <a:pt x="44" y="30"/>
                  </a:lnTo>
                  <a:lnTo>
                    <a:pt x="48" y="30"/>
                  </a:lnTo>
                  <a:lnTo>
                    <a:pt x="50" y="30"/>
                  </a:lnTo>
                  <a:lnTo>
                    <a:pt x="54" y="30"/>
                  </a:lnTo>
                  <a:lnTo>
                    <a:pt x="58" y="30"/>
                  </a:lnTo>
                  <a:lnTo>
                    <a:pt x="62" y="30"/>
                  </a:lnTo>
                  <a:lnTo>
                    <a:pt x="62" y="26"/>
                  </a:lnTo>
                  <a:lnTo>
                    <a:pt x="58" y="26"/>
                  </a:lnTo>
                  <a:lnTo>
                    <a:pt x="54" y="26"/>
                  </a:lnTo>
                  <a:lnTo>
                    <a:pt x="50" y="26"/>
                  </a:lnTo>
                  <a:lnTo>
                    <a:pt x="48" y="24"/>
                  </a:lnTo>
                  <a:lnTo>
                    <a:pt x="48" y="20"/>
                  </a:lnTo>
                  <a:lnTo>
                    <a:pt x="50" y="20"/>
                  </a:lnTo>
                  <a:lnTo>
                    <a:pt x="54" y="20"/>
                  </a:lnTo>
                  <a:lnTo>
                    <a:pt x="58" y="20"/>
                  </a:lnTo>
                  <a:lnTo>
                    <a:pt x="62" y="24"/>
                  </a:lnTo>
                  <a:lnTo>
                    <a:pt x="66" y="20"/>
                  </a:lnTo>
                  <a:lnTo>
                    <a:pt x="70" y="20"/>
                  </a:lnTo>
                  <a:lnTo>
                    <a:pt x="70" y="24"/>
                  </a:lnTo>
                  <a:lnTo>
                    <a:pt x="74" y="24"/>
                  </a:lnTo>
                  <a:lnTo>
                    <a:pt x="78" y="24"/>
                  </a:lnTo>
                  <a:lnTo>
                    <a:pt x="80" y="24"/>
                  </a:lnTo>
                  <a:lnTo>
                    <a:pt x="80" y="20"/>
                  </a:lnTo>
                  <a:lnTo>
                    <a:pt x="84" y="16"/>
                  </a:lnTo>
                  <a:lnTo>
                    <a:pt x="88" y="16"/>
                  </a:lnTo>
                  <a:lnTo>
                    <a:pt x="88" y="12"/>
                  </a:lnTo>
                  <a:lnTo>
                    <a:pt x="92" y="12"/>
                  </a:lnTo>
                  <a:lnTo>
                    <a:pt x="92" y="8"/>
                  </a:lnTo>
                  <a:lnTo>
                    <a:pt x="96" y="8"/>
                  </a:lnTo>
                  <a:lnTo>
                    <a:pt x="100" y="8"/>
                  </a:lnTo>
                  <a:lnTo>
                    <a:pt x="104" y="8"/>
                  </a:lnTo>
                  <a:lnTo>
                    <a:pt x="104" y="4"/>
                  </a:lnTo>
                  <a:lnTo>
                    <a:pt x="106" y="4"/>
                  </a:lnTo>
                  <a:lnTo>
                    <a:pt x="110" y="4"/>
                  </a:lnTo>
                  <a:lnTo>
                    <a:pt x="114" y="4"/>
                  </a:lnTo>
                  <a:lnTo>
                    <a:pt x="118" y="4"/>
                  </a:lnTo>
                  <a:lnTo>
                    <a:pt x="122" y="4"/>
                  </a:lnTo>
                  <a:lnTo>
                    <a:pt x="126" y="4"/>
                  </a:lnTo>
                  <a:lnTo>
                    <a:pt x="130" y="4"/>
                  </a:lnTo>
                  <a:lnTo>
                    <a:pt x="134" y="4"/>
                  </a:lnTo>
                  <a:lnTo>
                    <a:pt x="134" y="8"/>
                  </a:lnTo>
                  <a:lnTo>
                    <a:pt x="136" y="8"/>
                  </a:lnTo>
                  <a:lnTo>
                    <a:pt x="136" y="12"/>
                  </a:lnTo>
                  <a:lnTo>
                    <a:pt x="140" y="12"/>
                  </a:lnTo>
                  <a:lnTo>
                    <a:pt x="144" y="12"/>
                  </a:lnTo>
                  <a:lnTo>
                    <a:pt x="144" y="8"/>
                  </a:lnTo>
                  <a:lnTo>
                    <a:pt x="148" y="8"/>
                  </a:lnTo>
                  <a:lnTo>
                    <a:pt x="148" y="12"/>
                  </a:lnTo>
                  <a:lnTo>
                    <a:pt x="148" y="16"/>
                  </a:lnTo>
                  <a:lnTo>
                    <a:pt x="152" y="16"/>
                  </a:lnTo>
                  <a:lnTo>
                    <a:pt x="152" y="20"/>
                  </a:lnTo>
                  <a:lnTo>
                    <a:pt x="156" y="20"/>
                  </a:lnTo>
                  <a:lnTo>
                    <a:pt x="156" y="16"/>
                  </a:lnTo>
                  <a:lnTo>
                    <a:pt x="160" y="16"/>
                  </a:lnTo>
                  <a:lnTo>
                    <a:pt x="160" y="20"/>
                  </a:lnTo>
                  <a:lnTo>
                    <a:pt x="162" y="20"/>
                  </a:lnTo>
                  <a:lnTo>
                    <a:pt x="162" y="24"/>
                  </a:lnTo>
                  <a:lnTo>
                    <a:pt x="166" y="24"/>
                  </a:lnTo>
                  <a:lnTo>
                    <a:pt x="170" y="24"/>
                  </a:lnTo>
                  <a:lnTo>
                    <a:pt x="174" y="24"/>
                  </a:lnTo>
                  <a:lnTo>
                    <a:pt x="178" y="24"/>
                  </a:lnTo>
                  <a:lnTo>
                    <a:pt x="178" y="26"/>
                  </a:lnTo>
                  <a:lnTo>
                    <a:pt x="182" y="26"/>
                  </a:lnTo>
                  <a:lnTo>
                    <a:pt x="186" y="26"/>
                  </a:lnTo>
                  <a:lnTo>
                    <a:pt x="186" y="24"/>
                  </a:lnTo>
                  <a:lnTo>
                    <a:pt x="190" y="24"/>
                  </a:lnTo>
                  <a:lnTo>
                    <a:pt x="192" y="24"/>
                  </a:lnTo>
                  <a:lnTo>
                    <a:pt x="196" y="24"/>
                  </a:lnTo>
                  <a:lnTo>
                    <a:pt x="200" y="24"/>
                  </a:lnTo>
                  <a:lnTo>
                    <a:pt x="204" y="26"/>
                  </a:lnTo>
                  <a:lnTo>
                    <a:pt x="208" y="24"/>
                  </a:lnTo>
                  <a:lnTo>
                    <a:pt x="212" y="24"/>
                  </a:lnTo>
                  <a:lnTo>
                    <a:pt x="216" y="24"/>
                  </a:lnTo>
                  <a:lnTo>
                    <a:pt x="216" y="20"/>
                  </a:lnTo>
                  <a:lnTo>
                    <a:pt x="220" y="20"/>
                  </a:lnTo>
                  <a:lnTo>
                    <a:pt x="222" y="16"/>
                  </a:lnTo>
                  <a:lnTo>
                    <a:pt x="226" y="12"/>
                  </a:lnTo>
                  <a:lnTo>
                    <a:pt x="226" y="16"/>
                  </a:lnTo>
                  <a:lnTo>
                    <a:pt x="230" y="16"/>
                  </a:lnTo>
                  <a:lnTo>
                    <a:pt x="234" y="16"/>
                  </a:lnTo>
                  <a:lnTo>
                    <a:pt x="238" y="16"/>
                  </a:lnTo>
                  <a:lnTo>
                    <a:pt x="242" y="16"/>
                  </a:lnTo>
                  <a:lnTo>
                    <a:pt x="242" y="12"/>
                  </a:lnTo>
                  <a:lnTo>
                    <a:pt x="246" y="12"/>
                  </a:lnTo>
                  <a:lnTo>
                    <a:pt x="246" y="16"/>
                  </a:lnTo>
                  <a:lnTo>
                    <a:pt x="248" y="20"/>
                  </a:lnTo>
                  <a:lnTo>
                    <a:pt x="252" y="20"/>
                  </a:lnTo>
                  <a:lnTo>
                    <a:pt x="252" y="24"/>
                  </a:lnTo>
                  <a:lnTo>
                    <a:pt x="256" y="26"/>
                  </a:lnTo>
                  <a:lnTo>
                    <a:pt x="256" y="30"/>
                  </a:lnTo>
                  <a:lnTo>
                    <a:pt x="256" y="34"/>
                  </a:lnTo>
                  <a:lnTo>
                    <a:pt x="252" y="34"/>
                  </a:lnTo>
                  <a:lnTo>
                    <a:pt x="252" y="38"/>
                  </a:lnTo>
                  <a:lnTo>
                    <a:pt x="256" y="38"/>
                  </a:lnTo>
                  <a:lnTo>
                    <a:pt x="256" y="42"/>
                  </a:lnTo>
                  <a:lnTo>
                    <a:pt x="260" y="42"/>
                  </a:lnTo>
                  <a:lnTo>
                    <a:pt x="264" y="42"/>
                  </a:lnTo>
                  <a:lnTo>
                    <a:pt x="268" y="46"/>
                  </a:lnTo>
                  <a:lnTo>
                    <a:pt x="272" y="50"/>
                  </a:lnTo>
                  <a:lnTo>
                    <a:pt x="268" y="50"/>
                  </a:lnTo>
                  <a:lnTo>
                    <a:pt x="268" y="54"/>
                  </a:lnTo>
                  <a:lnTo>
                    <a:pt x="264" y="54"/>
                  </a:lnTo>
                  <a:lnTo>
                    <a:pt x="264" y="56"/>
                  </a:lnTo>
                  <a:lnTo>
                    <a:pt x="264" y="54"/>
                  </a:lnTo>
                  <a:lnTo>
                    <a:pt x="260" y="54"/>
                  </a:lnTo>
                  <a:lnTo>
                    <a:pt x="260" y="56"/>
                  </a:lnTo>
                  <a:lnTo>
                    <a:pt x="264" y="60"/>
                  </a:lnTo>
                  <a:lnTo>
                    <a:pt x="264" y="64"/>
                  </a:lnTo>
                  <a:lnTo>
                    <a:pt x="264" y="68"/>
                  </a:lnTo>
                  <a:lnTo>
                    <a:pt x="264" y="72"/>
                  </a:lnTo>
                  <a:lnTo>
                    <a:pt x="264" y="76"/>
                  </a:lnTo>
                  <a:lnTo>
                    <a:pt x="268" y="76"/>
                  </a:lnTo>
                  <a:lnTo>
                    <a:pt x="264" y="80"/>
                  </a:lnTo>
                  <a:lnTo>
                    <a:pt x="264" y="84"/>
                  </a:lnTo>
                  <a:lnTo>
                    <a:pt x="268" y="86"/>
                  </a:lnTo>
                  <a:lnTo>
                    <a:pt x="268" y="90"/>
                  </a:lnTo>
                  <a:lnTo>
                    <a:pt x="268" y="94"/>
                  </a:lnTo>
                  <a:lnTo>
                    <a:pt x="272" y="94"/>
                  </a:lnTo>
                  <a:lnTo>
                    <a:pt x="272" y="98"/>
                  </a:lnTo>
                  <a:lnTo>
                    <a:pt x="268" y="98"/>
                  </a:lnTo>
                  <a:lnTo>
                    <a:pt x="268" y="102"/>
                  </a:lnTo>
                  <a:lnTo>
                    <a:pt x="264" y="102"/>
                  </a:lnTo>
                  <a:lnTo>
                    <a:pt x="264" y="98"/>
                  </a:lnTo>
                  <a:lnTo>
                    <a:pt x="264" y="94"/>
                  </a:lnTo>
                  <a:lnTo>
                    <a:pt x="260" y="94"/>
                  </a:lnTo>
                  <a:lnTo>
                    <a:pt x="260" y="98"/>
                  </a:lnTo>
                  <a:lnTo>
                    <a:pt x="256" y="98"/>
                  </a:lnTo>
                  <a:lnTo>
                    <a:pt x="252" y="98"/>
                  </a:lnTo>
                  <a:lnTo>
                    <a:pt x="248" y="94"/>
                  </a:lnTo>
                  <a:lnTo>
                    <a:pt x="246" y="94"/>
                  </a:lnTo>
                  <a:lnTo>
                    <a:pt x="242" y="94"/>
                  </a:lnTo>
                  <a:lnTo>
                    <a:pt x="242" y="98"/>
                  </a:lnTo>
                  <a:lnTo>
                    <a:pt x="238" y="98"/>
                  </a:lnTo>
                  <a:lnTo>
                    <a:pt x="238" y="94"/>
                  </a:lnTo>
                  <a:lnTo>
                    <a:pt x="234" y="94"/>
                  </a:lnTo>
                  <a:lnTo>
                    <a:pt x="234" y="98"/>
                  </a:lnTo>
                  <a:lnTo>
                    <a:pt x="230" y="98"/>
                  </a:lnTo>
                  <a:lnTo>
                    <a:pt x="226" y="98"/>
                  </a:lnTo>
                  <a:lnTo>
                    <a:pt x="222" y="98"/>
                  </a:lnTo>
                  <a:lnTo>
                    <a:pt x="220" y="98"/>
                  </a:lnTo>
                  <a:lnTo>
                    <a:pt x="216" y="98"/>
                  </a:lnTo>
                  <a:lnTo>
                    <a:pt x="212" y="98"/>
                  </a:lnTo>
                  <a:lnTo>
                    <a:pt x="212" y="102"/>
                  </a:lnTo>
                  <a:lnTo>
                    <a:pt x="208" y="102"/>
                  </a:lnTo>
                  <a:lnTo>
                    <a:pt x="204" y="106"/>
                  </a:lnTo>
                  <a:lnTo>
                    <a:pt x="200" y="106"/>
                  </a:lnTo>
                  <a:lnTo>
                    <a:pt x="196" y="106"/>
                  </a:lnTo>
                  <a:lnTo>
                    <a:pt x="192" y="110"/>
                  </a:lnTo>
                  <a:lnTo>
                    <a:pt x="190" y="106"/>
                  </a:lnTo>
                  <a:lnTo>
                    <a:pt x="186" y="106"/>
                  </a:lnTo>
                  <a:lnTo>
                    <a:pt x="182" y="106"/>
                  </a:lnTo>
                  <a:lnTo>
                    <a:pt x="182" y="102"/>
                  </a:lnTo>
                  <a:lnTo>
                    <a:pt x="178" y="102"/>
                  </a:lnTo>
                  <a:lnTo>
                    <a:pt x="178" y="106"/>
                  </a:lnTo>
                  <a:lnTo>
                    <a:pt x="174" y="106"/>
                  </a:lnTo>
                  <a:lnTo>
                    <a:pt x="170" y="106"/>
                  </a:lnTo>
                  <a:lnTo>
                    <a:pt x="166" y="110"/>
                  </a:lnTo>
                  <a:lnTo>
                    <a:pt x="162" y="110"/>
                  </a:lnTo>
                  <a:lnTo>
                    <a:pt x="162" y="106"/>
                  </a:lnTo>
                  <a:lnTo>
                    <a:pt x="160" y="106"/>
                  </a:lnTo>
                  <a:lnTo>
                    <a:pt x="156" y="106"/>
                  </a:lnTo>
                  <a:lnTo>
                    <a:pt x="156" y="110"/>
                  </a:lnTo>
                  <a:lnTo>
                    <a:pt x="156" y="114"/>
                  </a:lnTo>
                  <a:lnTo>
                    <a:pt x="156" y="116"/>
                  </a:lnTo>
                  <a:lnTo>
                    <a:pt x="152" y="116"/>
                  </a:lnTo>
                  <a:lnTo>
                    <a:pt x="152" y="120"/>
                  </a:lnTo>
                  <a:lnTo>
                    <a:pt x="148" y="120"/>
                  </a:lnTo>
                  <a:lnTo>
                    <a:pt x="148" y="124"/>
                  </a:lnTo>
                  <a:lnTo>
                    <a:pt x="148" y="120"/>
                  </a:lnTo>
                  <a:lnTo>
                    <a:pt x="144" y="120"/>
                  </a:lnTo>
                  <a:lnTo>
                    <a:pt x="148" y="120"/>
                  </a:lnTo>
                  <a:lnTo>
                    <a:pt x="144" y="120"/>
                  </a:lnTo>
                  <a:lnTo>
                    <a:pt x="144" y="116"/>
                  </a:lnTo>
                  <a:lnTo>
                    <a:pt x="144" y="114"/>
                  </a:lnTo>
                  <a:lnTo>
                    <a:pt x="148" y="110"/>
                  </a:lnTo>
                  <a:lnTo>
                    <a:pt x="148" y="106"/>
                  </a:lnTo>
                  <a:lnTo>
                    <a:pt x="148" y="102"/>
                  </a:lnTo>
                  <a:lnTo>
                    <a:pt x="144" y="102"/>
                  </a:lnTo>
                  <a:lnTo>
                    <a:pt x="144" y="106"/>
                  </a:lnTo>
                  <a:lnTo>
                    <a:pt x="140" y="106"/>
                  </a:lnTo>
                  <a:lnTo>
                    <a:pt x="140" y="110"/>
                  </a:lnTo>
                  <a:lnTo>
                    <a:pt x="136" y="110"/>
                  </a:lnTo>
                  <a:lnTo>
                    <a:pt x="134" y="106"/>
                  </a:lnTo>
                  <a:lnTo>
                    <a:pt x="130" y="106"/>
                  </a:lnTo>
                  <a:lnTo>
                    <a:pt x="126" y="106"/>
                  </a:lnTo>
                  <a:lnTo>
                    <a:pt x="122" y="110"/>
                  </a:lnTo>
                  <a:lnTo>
                    <a:pt x="122" y="114"/>
                  </a:lnTo>
                  <a:lnTo>
                    <a:pt x="118" y="114"/>
                  </a:lnTo>
                  <a:lnTo>
                    <a:pt x="118" y="116"/>
                  </a:lnTo>
                  <a:lnTo>
                    <a:pt x="118" y="114"/>
                  </a:lnTo>
                  <a:lnTo>
                    <a:pt x="114" y="116"/>
                  </a:lnTo>
                  <a:lnTo>
                    <a:pt x="110" y="116"/>
                  </a:lnTo>
                  <a:lnTo>
                    <a:pt x="106" y="116"/>
                  </a:lnTo>
                  <a:lnTo>
                    <a:pt x="104" y="116"/>
                  </a:lnTo>
                  <a:lnTo>
                    <a:pt x="104" y="120"/>
                  </a:lnTo>
                  <a:lnTo>
                    <a:pt x="100" y="120"/>
                  </a:lnTo>
                  <a:lnTo>
                    <a:pt x="100" y="116"/>
                  </a:lnTo>
                  <a:lnTo>
                    <a:pt x="96" y="116"/>
                  </a:lnTo>
                  <a:lnTo>
                    <a:pt x="92" y="116"/>
                  </a:lnTo>
                  <a:lnTo>
                    <a:pt x="92" y="114"/>
                  </a:lnTo>
                  <a:lnTo>
                    <a:pt x="92" y="110"/>
                  </a:lnTo>
                  <a:lnTo>
                    <a:pt x="88" y="110"/>
                  </a:lnTo>
                  <a:lnTo>
                    <a:pt x="84" y="110"/>
                  </a:lnTo>
                  <a:lnTo>
                    <a:pt x="84" y="106"/>
                  </a:lnTo>
                  <a:lnTo>
                    <a:pt x="80" y="106"/>
                  </a:lnTo>
                  <a:lnTo>
                    <a:pt x="78" y="106"/>
                  </a:lnTo>
                  <a:lnTo>
                    <a:pt x="74" y="106"/>
                  </a:lnTo>
                  <a:lnTo>
                    <a:pt x="70" y="102"/>
                  </a:lnTo>
                  <a:lnTo>
                    <a:pt x="70" y="106"/>
                  </a:lnTo>
                  <a:lnTo>
                    <a:pt x="70" y="110"/>
                  </a:lnTo>
                  <a:lnTo>
                    <a:pt x="70" y="114"/>
                  </a:lnTo>
                  <a:lnTo>
                    <a:pt x="66" y="116"/>
                  </a:lnTo>
                  <a:lnTo>
                    <a:pt x="66" y="114"/>
                  </a:lnTo>
                  <a:lnTo>
                    <a:pt x="62" y="114"/>
                  </a:lnTo>
                  <a:lnTo>
                    <a:pt x="62" y="116"/>
                  </a:lnTo>
                  <a:lnTo>
                    <a:pt x="58" y="116"/>
                  </a:lnTo>
                  <a:lnTo>
                    <a:pt x="54" y="116"/>
                  </a:lnTo>
                  <a:lnTo>
                    <a:pt x="50" y="116"/>
                  </a:lnTo>
                  <a:lnTo>
                    <a:pt x="50" y="114"/>
                  </a:lnTo>
                  <a:lnTo>
                    <a:pt x="48" y="114"/>
                  </a:lnTo>
                  <a:lnTo>
                    <a:pt x="50" y="110"/>
                  </a:lnTo>
                  <a:lnTo>
                    <a:pt x="48" y="110"/>
                  </a:lnTo>
                  <a:lnTo>
                    <a:pt x="48" y="106"/>
                  </a:lnTo>
                  <a:lnTo>
                    <a:pt x="44" y="110"/>
                  </a:lnTo>
                  <a:lnTo>
                    <a:pt x="44" y="106"/>
                  </a:lnTo>
                  <a:lnTo>
                    <a:pt x="40" y="102"/>
                  </a:lnTo>
                  <a:lnTo>
                    <a:pt x="40" y="106"/>
                  </a:lnTo>
                  <a:lnTo>
                    <a:pt x="36" y="106"/>
                  </a:lnTo>
                  <a:lnTo>
                    <a:pt x="36" y="110"/>
                  </a:lnTo>
                  <a:lnTo>
                    <a:pt x="34" y="110"/>
                  </a:lnTo>
                  <a:lnTo>
                    <a:pt x="36" y="110"/>
                  </a:lnTo>
                  <a:lnTo>
                    <a:pt x="34" y="110"/>
                  </a:lnTo>
                  <a:lnTo>
                    <a:pt x="34" y="106"/>
                  </a:lnTo>
                  <a:lnTo>
                    <a:pt x="34" y="110"/>
                  </a:lnTo>
                  <a:lnTo>
                    <a:pt x="34" y="106"/>
                  </a:lnTo>
                  <a:lnTo>
                    <a:pt x="36" y="106"/>
                  </a:lnTo>
                  <a:lnTo>
                    <a:pt x="34" y="106"/>
                  </a:lnTo>
                  <a:lnTo>
                    <a:pt x="30" y="106"/>
                  </a:lnTo>
                  <a:lnTo>
                    <a:pt x="26" y="110"/>
                  </a:lnTo>
                  <a:lnTo>
                    <a:pt x="26" y="106"/>
                  </a:lnTo>
                  <a:lnTo>
                    <a:pt x="30" y="106"/>
                  </a:lnTo>
                  <a:lnTo>
                    <a:pt x="34" y="106"/>
                  </a:lnTo>
                  <a:lnTo>
                    <a:pt x="36" y="102"/>
                  </a:lnTo>
                  <a:lnTo>
                    <a:pt x="34" y="102"/>
                  </a:lnTo>
                  <a:lnTo>
                    <a:pt x="30" y="102"/>
                  </a:lnTo>
                  <a:lnTo>
                    <a:pt x="26" y="102"/>
                  </a:lnTo>
                  <a:lnTo>
                    <a:pt x="22" y="102"/>
                  </a:lnTo>
                  <a:lnTo>
                    <a:pt x="26" y="98"/>
                  </a:lnTo>
                  <a:lnTo>
                    <a:pt x="30" y="98"/>
                  </a:lnTo>
                  <a:lnTo>
                    <a:pt x="30" y="94"/>
                  </a:lnTo>
                  <a:lnTo>
                    <a:pt x="26" y="98"/>
                  </a:lnTo>
                  <a:lnTo>
                    <a:pt x="26" y="94"/>
                  </a:lnTo>
                  <a:lnTo>
                    <a:pt x="22" y="94"/>
                  </a:lnTo>
                  <a:lnTo>
                    <a:pt x="22" y="90"/>
                  </a:lnTo>
                  <a:lnTo>
                    <a:pt x="22" y="86"/>
                  </a:lnTo>
                  <a:lnTo>
                    <a:pt x="22" y="84"/>
                  </a:lnTo>
                  <a:lnTo>
                    <a:pt x="26" y="84"/>
                  </a:lnTo>
                  <a:lnTo>
                    <a:pt x="22" y="84"/>
                  </a:lnTo>
                  <a:lnTo>
                    <a:pt x="18" y="80"/>
                  </a:lnTo>
                  <a:lnTo>
                    <a:pt x="14" y="80"/>
                  </a:lnTo>
                  <a:lnTo>
                    <a:pt x="10" y="80"/>
                  </a:lnTo>
                  <a:lnTo>
                    <a:pt x="10" y="76"/>
                  </a:lnTo>
                  <a:lnTo>
                    <a:pt x="14" y="76"/>
                  </a:lnTo>
                  <a:lnTo>
                    <a:pt x="10" y="72"/>
                  </a:lnTo>
                  <a:lnTo>
                    <a:pt x="10" y="68"/>
                  </a:lnTo>
                  <a:lnTo>
                    <a:pt x="14" y="72"/>
                  </a:lnTo>
                  <a:lnTo>
                    <a:pt x="14" y="76"/>
                  </a:lnTo>
                  <a:lnTo>
                    <a:pt x="18" y="76"/>
                  </a:lnTo>
                  <a:lnTo>
                    <a:pt x="22" y="76"/>
                  </a:lnTo>
                  <a:lnTo>
                    <a:pt x="22" y="72"/>
                  </a:lnTo>
                  <a:lnTo>
                    <a:pt x="18" y="72"/>
                  </a:lnTo>
                  <a:lnTo>
                    <a:pt x="14" y="68"/>
                  </a:lnTo>
                  <a:lnTo>
                    <a:pt x="18" y="68"/>
                  </a:lnTo>
                  <a:lnTo>
                    <a:pt x="22" y="64"/>
                  </a:lnTo>
                  <a:lnTo>
                    <a:pt x="18" y="64"/>
                  </a:lnTo>
                  <a:lnTo>
                    <a:pt x="18" y="60"/>
                  </a:lnTo>
                  <a:lnTo>
                    <a:pt x="14" y="56"/>
                  </a:lnTo>
                  <a:lnTo>
                    <a:pt x="18" y="56"/>
                  </a:lnTo>
                  <a:lnTo>
                    <a:pt x="18" y="54"/>
                  </a:lnTo>
                  <a:lnTo>
                    <a:pt x="14" y="54"/>
                  </a:lnTo>
                  <a:lnTo>
                    <a:pt x="14" y="54"/>
                  </a:lnTo>
                  <a:lnTo>
                    <a:pt x="14" y="54"/>
                  </a:lnTo>
                  <a:close/>
                  <a:moveTo>
                    <a:pt x="30" y="30"/>
                  </a:moveTo>
                  <a:lnTo>
                    <a:pt x="26" y="30"/>
                  </a:lnTo>
                  <a:lnTo>
                    <a:pt x="30" y="30"/>
                  </a:lnTo>
                  <a:lnTo>
                    <a:pt x="30" y="30"/>
                  </a:lnTo>
                  <a:lnTo>
                    <a:pt x="30" y="30"/>
                  </a:lnTo>
                  <a:close/>
                  <a:moveTo>
                    <a:pt x="4" y="42"/>
                  </a:moveTo>
                  <a:lnTo>
                    <a:pt x="0" y="42"/>
                  </a:lnTo>
                  <a:lnTo>
                    <a:pt x="4" y="42"/>
                  </a:lnTo>
                  <a:lnTo>
                    <a:pt x="4" y="38"/>
                  </a:lnTo>
                  <a:lnTo>
                    <a:pt x="8" y="42"/>
                  </a:lnTo>
                  <a:lnTo>
                    <a:pt x="4" y="42"/>
                  </a:lnTo>
                  <a:lnTo>
                    <a:pt x="4" y="42"/>
                  </a:lnTo>
                  <a:lnTo>
                    <a:pt x="4" y="4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66" name="Freeform 59"/>
            <p:cNvSpPr>
              <a:spLocks/>
            </p:cNvSpPr>
            <p:nvPr/>
          </p:nvSpPr>
          <p:spPr bwMode="auto">
            <a:xfrm>
              <a:off x="7494943" y="3659639"/>
              <a:ext cx="136900" cy="95454"/>
            </a:xfrm>
            <a:custGeom>
              <a:avLst/>
              <a:gdLst>
                <a:gd name="T0" fmla="*/ 208 w 218"/>
                <a:gd name="T1" fmla="*/ 100 h 146"/>
                <a:gd name="T2" fmla="*/ 200 w 218"/>
                <a:gd name="T3" fmla="*/ 108 h 146"/>
                <a:gd name="T4" fmla="*/ 192 w 218"/>
                <a:gd name="T5" fmla="*/ 116 h 146"/>
                <a:gd name="T6" fmla="*/ 188 w 218"/>
                <a:gd name="T7" fmla="*/ 126 h 146"/>
                <a:gd name="T8" fmla="*/ 178 w 218"/>
                <a:gd name="T9" fmla="*/ 130 h 146"/>
                <a:gd name="T10" fmla="*/ 170 w 218"/>
                <a:gd name="T11" fmla="*/ 134 h 146"/>
                <a:gd name="T12" fmla="*/ 166 w 218"/>
                <a:gd name="T13" fmla="*/ 142 h 146"/>
                <a:gd name="T14" fmla="*/ 156 w 218"/>
                <a:gd name="T15" fmla="*/ 146 h 146"/>
                <a:gd name="T16" fmla="*/ 144 w 218"/>
                <a:gd name="T17" fmla="*/ 142 h 146"/>
                <a:gd name="T18" fmla="*/ 140 w 218"/>
                <a:gd name="T19" fmla="*/ 130 h 146"/>
                <a:gd name="T20" fmla="*/ 136 w 218"/>
                <a:gd name="T21" fmla="*/ 118 h 146"/>
                <a:gd name="T22" fmla="*/ 126 w 218"/>
                <a:gd name="T23" fmla="*/ 112 h 146"/>
                <a:gd name="T24" fmla="*/ 114 w 218"/>
                <a:gd name="T25" fmla="*/ 100 h 146"/>
                <a:gd name="T26" fmla="*/ 106 w 218"/>
                <a:gd name="T27" fmla="*/ 100 h 146"/>
                <a:gd name="T28" fmla="*/ 92 w 218"/>
                <a:gd name="T29" fmla="*/ 92 h 146"/>
                <a:gd name="T30" fmla="*/ 84 w 218"/>
                <a:gd name="T31" fmla="*/ 88 h 146"/>
                <a:gd name="T32" fmla="*/ 74 w 218"/>
                <a:gd name="T33" fmla="*/ 86 h 146"/>
                <a:gd name="T34" fmla="*/ 62 w 218"/>
                <a:gd name="T35" fmla="*/ 88 h 146"/>
                <a:gd name="T36" fmla="*/ 54 w 218"/>
                <a:gd name="T37" fmla="*/ 96 h 146"/>
                <a:gd name="T38" fmla="*/ 44 w 218"/>
                <a:gd name="T39" fmla="*/ 104 h 146"/>
                <a:gd name="T40" fmla="*/ 28 w 218"/>
                <a:gd name="T41" fmla="*/ 100 h 146"/>
                <a:gd name="T42" fmla="*/ 18 w 218"/>
                <a:gd name="T43" fmla="*/ 96 h 146"/>
                <a:gd name="T44" fmla="*/ 10 w 218"/>
                <a:gd name="T45" fmla="*/ 88 h 146"/>
                <a:gd name="T46" fmla="*/ 4 w 218"/>
                <a:gd name="T47" fmla="*/ 74 h 146"/>
                <a:gd name="T48" fmla="*/ 6 w 218"/>
                <a:gd name="T49" fmla="*/ 58 h 146"/>
                <a:gd name="T50" fmla="*/ 6 w 218"/>
                <a:gd name="T51" fmla="*/ 40 h 146"/>
                <a:gd name="T52" fmla="*/ 6 w 218"/>
                <a:gd name="T53" fmla="*/ 26 h 146"/>
                <a:gd name="T54" fmla="*/ 20 w 218"/>
                <a:gd name="T55" fmla="*/ 14 h 146"/>
                <a:gd name="T56" fmla="*/ 32 w 218"/>
                <a:gd name="T57" fmla="*/ 10 h 146"/>
                <a:gd name="T58" fmla="*/ 44 w 218"/>
                <a:gd name="T59" fmla="*/ 10 h 146"/>
                <a:gd name="T60" fmla="*/ 54 w 218"/>
                <a:gd name="T61" fmla="*/ 22 h 146"/>
                <a:gd name="T62" fmla="*/ 62 w 218"/>
                <a:gd name="T63" fmla="*/ 30 h 146"/>
                <a:gd name="T64" fmla="*/ 74 w 218"/>
                <a:gd name="T65" fmla="*/ 30 h 146"/>
                <a:gd name="T66" fmla="*/ 84 w 218"/>
                <a:gd name="T67" fmla="*/ 26 h 146"/>
                <a:gd name="T68" fmla="*/ 80 w 218"/>
                <a:gd name="T69" fmla="*/ 14 h 146"/>
                <a:gd name="T70" fmla="*/ 92 w 218"/>
                <a:gd name="T71" fmla="*/ 10 h 146"/>
                <a:gd name="T72" fmla="*/ 100 w 218"/>
                <a:gd name="T73" fmla="*/ 6 h 146"/>
                <a:gd name="T74" fmla="*/ 102 w 218"/>
                <a:gd name="T75" fmla="*/ 4 h 146"/>
                <a:gd name="T76" fmla="*/ 110 w 218"/>
                <a:gd name="T77" fmla="*/ 4 h 146"/>
                <a:gd name="T78" fmla="*/ 122 w 218"/>
                <a:gd name="T79" fmla="*/ 6 h 146"/>
                <a:gd name="T80" fmla="*/ 128 w 218"/>
                <a:gd name="T81" fmla="*/ 18 h 146"/>
                <a:gd name="T82" fmla="*/ 128 w 218"/>
                <a:gd name="T83" fmla="*/ 26 h 146"/>
                <a:gd name="T84" fmla="*/ 140 w 218"/>
                <a:gd name="T85" fmla="*/ 30 h 146"/>
                <a:gd name="T86" fmla="*/ 152 w 218"/>
                <a:gd name="T87" fmla="*/ 36 h 146"/>
                <a:gd name="T88" fmla="*/ 158 w 218"/>
                <a:gd name="T89" fmla="*/ 44 h 146"/>
                <a:gd name="T90" fmla="*/ 162 w 218"/>
                <a:gd name="T91" fmla="*/ 56 h 146"/>
                <a:gd name="T92" fmla="*/ 174 w 218"/>
                <a:gd name="T93" fmla="*/ 62 h 146"/>
                <a:gd name="T94" fmla="*/ 182 w 218"/>
                <a:gd name="T95" fmla="*/ 70 h 146"/>
                <a:gd name="T96" fmla="*/ 188 w 218"/>
                <a:gd name="T97" fmla="*/ 78 h 146"/>
                <a:gd name="T98" fmla="*/ 204 w 218"/>
                <a:gd name="T99" fmla="*/ 86 h 146"/>
                <a:gd name="T100" fmla="*/ 210 w 218"/>
                <a:gd name="T101" fmla="*/ 88 h 146"/>
                <a:gd name="T102" fmla="*/ 218 w 218"/>
                <a:gd name="T103" fmla="*/ 96 h 146"/>
                <a:gd name="T104" fmla="*/ 214 w 218"/>
                <a:gd name="T105" fmla="*/ 10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146">
                  <a:moveTo>
                    <a:pt x="214" y="104"/>
                  </a:moveTo>
                  <a:lnTo>
                    <a:pt x="210" y="104"/>
                  </a:lnTo>
                  <a:lnTo>
                    <a:pt x="208" y="104"/>
                  </a:lnTo>
                  <a:lnTo>
                    <a:pt x="208" y="100"/>
                  </a:lnTo>
                  <a:lnTo>
                    <a:pt x="204" y="100"/>
                  </a:lnTo>
                  <a:lnTo>
                    <a:pt x="204" y="104"/>
                  </a:lnTo>
                  <a:lnTo>
                    <a:pt x="204" y="108"/>
                  </a:lnTo>
                  <a:lnTo>
                    <a:pt x="200" y="108"/>
                  </a:lnTo>
                  <a:lnTo>
                    <a:pt x="196" y="108"/>
                  </a:lnTo>
                  <a:lnTo>
                    <a:pt x="192" y="108"/>
                  </a:lnTo>
                  <a:lnTo>
                    <a:pt x="192" y="112"/>
                  </a:lnTo>
                  <a:lnTo>
                    <a:pt x="192" y="116"/>
                  </a:lnTo>
                  <a:lnTo>
                    <a:pt x="188" y="116"/>
                  </a:lnTo>
                  <a:lnTo>
                    <a:pt x="188" y="118"/>
                  </a:lnTo>
                  <a:lnTo>
                    <a:pt x="188" y="122"/>
                  </a:lnTo>
                  <a:lnTo>
                    <a:pt x="188" y="126"/>
                  </a:lnTo>
                  <a:lnTo>
                    <a:pt x="184" y="126"/>
                  </a:lnTo>
                  <a:lnTo>
                    <a:pt x="182" y="126"/>
                  </a:lnTo>
                  <a:lnTo>
                    <a:pt x="182" y="130"/>
                  </a:lnTo>
                  <a:lnTo>
                    <a:pt x="178" y="130"/>
                  </a:lnTo>
                  <a:lnTo>
                    <a:pt x="174" y="130"/>
                  </a:lnTo>
                  <a:lnTo>
                    <a:pt x="170" y="134"/>
                  </a:lnTo>
                  <a:lnTo>
                    <a:pt x="166" y="134"/>
                  </a:lnTo>
                  <a:lnTo>
                    <a:pt x="170" y="134"/>
                  </a:lnTo>
                  <a:lnTo>
                    <a:pt x="170" y="138"/>
                  </a:lnTo>
                  <a:lnTo>
                    <a:pt x="166" y="138"/>
                  </a:lnTo>
                  <a:lnTo>
                    <a:pt x="170" y="138"/>
                  </a:lnTo>
                  <a:lnTo>
                    <a:pt x="166" y="142"/>
                  </a:lnTo>
                  <a:lnTo>
                    <a:pt x="162" y="142"/>
                  </a:lnTo>
                  <a:lnTo>
                    <a:pt x="162" y="146"/>
                  </a:lnTo>
                  <a:lnTo>
                    <a:pt x="158" y="146"/>
                  </a:lnTo>
                  <a:lnTo>
                    <a:pt x="156" y="146"/>
                  </a:lnTo>
                  <a:lnTo>
                    <a:pt x="156" y="142"/>
                  </a:lnTo>
                  <a:lnTo>
                    <a:pt x="152" y="142"/>
                  </a:lnTo>
                  <a:lnTo>
                    <a:pt x="148" y="142"/>
                  </a:lnTo>
                  <a:lnTo>
                    <a:pt x="144" y="142"/>
                  </a:lnTo>
                  <a:lnTo>
                    <a:pt x="144" y="138"/>
                  </a:lnTo>
                  <a:lnTo>
                    <a:pt x="140" y="138"/>
                  </a:lnTo>
                  <a:lnTo>
                    <a:pt x="140" y="134"/>
                  </a:lnTo>
                  <a:lnTo>
                    <a:pt x="140" y="130"/>
                  </a:lnTo>
                  <a:lnTo>
                    <a:pt x="140" y="126"/>
                  </a:lnTo>
                  <a:lnTo>
                    <a:pt x="140" y="122"/>
                  </a:lnTo>
                  <a:lnTo>
                    <a:pt x="140" y="118"/>
                  </a:lnTo>
                  <a:lnTo>
                    <a:pt x="136" y="118"/>
                  </a:lnTo>
                  <a:lnTo>
                    <a:pt x="132" y="118"/>
                  </a:lnTo>
                  <a:lnTo>
                    <a:pt x="128" y="118"/>
                  </a:lnTo>
                  <a:lnTo>
                    <a:pt x="126" y="116"/>
                  </a:lnTo>
                  <a:lnTo>
                    <a:pt x="126" y="112"/>
                  </a:lnTo>
                  <a:lnTo>
                    <a:pt x="122" y="108"/>
                  </a:lnTo>
                  <a:lnTo>
                    <a:pt x="118" y="108"/>
                  </a:lnTo>
                  <a:lnTo>
                    <a:pt x="114" y="104"/>
                  </a:lnTo>
                  <a:lnTo>
                    <a:pt x="114" y="100"/>
                  </a:lnTo>
                  <a:lnTo>
                    <a:pt x="110" y="100"/>
                  </a:lnTo>
                  <a:lnTo>
                    <a:pt x="110" y="96"/>
                  </a:lnTo>
                  <a:lnTo>
                    <a:pt x="106" y="96"/>
                  </a:lnTo>
                  <a:lnTo>
                    <a:pt x="106" y="100"/>
                  </a:lnTo>
                  <a:lnTo>
                    <a:pt x="106" y="96"/>
                  </a:lnTo>
                  <a:lnTo>
                    <a:pt x="102" y="100"/>
                  </a:lnTo>
                  <a:lnTo>
                    <a:pt x="100" y="96"/>
                  </a:lnTo>
                  <a:lnTo>
                    <a:pt x="92" y="92"/>
                  </a:lnTo>
                  <a:lnTo>
                    <a:pt x="88" y="92"/>
                  </a:lnTo>
                  <a:lnTo>
                    <a:pt x="88" y="88"/>
                  </a:lnTo>
                  <a:lnTo>
                    <a:pt x="84" y="86"/>
                  </a:lnTo>
                  <a:lnTo>
                    <a:pt x="84" y="88"/>
                  </a:lnTo>
                  <a:lnTo>
                    <a:pt x="80" y="88"/>
                  </a:lnTo>
                  <a:lnTo>
                    <a:pt x="80" y="86"/>
                  </a:lnTo>
                  <a:lnTo>
                    <a:pt x="76" y="86"/>
                  </a:lnTo>
                  <a:lnTo>
                    <a:pt x="74" y="86"/>
                  </a:lnTo>
                  <a:lnTo>
                    <a:pt x="74" y="88"/>
                  </a:lnTo>
                  <a:lnTo>
                    <a:pt x="70" y="88"/>
                  </a:lnTo>
                  <a:lnTo>
                    <a:pt x="66" y="88"/>
                  </a:lnTo>
                  <a:lnTo>
                    <a:pt x="62" y="88"/>
                  </a:lnTo>
                  <a:lnTo>
                    <a:pt x="58" y="88"/>
                  </a:lnTo>
                  <a:lnTo>
                    <a:pt x="58" y="92"/>
                  </a:lnTo>
                  <a:lnTo>
                    <a:pt x="54" y="92"/>
                  </a:lnTo>
                  <a:lnTo>
                    <a:pt x="54" y="96"/>
                  </a:lnTo>
                  <a:lnTo>
                    <a:pt x="50" y="96"/>
                  </a:lnTo>
                  <a:lnTo>
                    <a:pt x="50" y="100"/>
                  </a:lnTo>
                  <a:lnTo>
                    <a:pt x="48" y="104"/>
                  </a:lnTo>
                  <a:lnTo>
                    <a:pt x="44" y="104"/>
                  </a:lnTo>
                  <a:lnTo>
                    <a:pt x="40" y="104"/>
                  </a:lnTo>
                  <a:lnTo>
                    <a:pt x="36" y="104"/>
                  </a:lnTo>
                  <a:lnTo>
                    <a:pt x="32" y="104"/>
                  </a:lnTo>
                  <a:lnTo>
                    <a:pt x="28" y="100"/>
                  </a:lnTo>
                  <a:lnTo>
                    <a:pt x="24" y="100"/>
                  </a:lnTo>
                  <a:lnTo>
                    <a:pt x="24" y="96"/>
                  </a:lnTo>
                  <a:lnTo>
                    <a:pt x="20" y="96"/>
                  </a:lnTo>
                  <a:lnTo>
                    <a:pt x="18" y="96"/>
                  </a:lnTo>
                  <a:lnTo>
                    <a:pt x="14" y="96"/>
                  </a:lnTo>
                  <a:lnTo>
                    <a:pt x="14" y="92"/>
                  </a:lnTo>
                  <a:lnTo>
                    <a:pt x="10" y="92"/>
                  </a:lnTo>
                  <a:lnTo>
                    <a:pt x="10" y="88"/>
                  </a:lnTo>
                  <a:lnTo>
                    <a:pt x="6" y="86"/>
                  </a:lnTo>
                  <a:lnTo>
                    <a:pt x="4" y="82"/>
                  </a:lnTo>
                  <a:lnTo>
                    <a:pt x="4" y="78"/>
                  </a:lnTo>
                  <a:lnTo>
                    <a:pt x="4" y="74"/>
                  </a:lnTo>
                  <a:lnTo>
                    <a:pt x="4" y="70"/>
                  </a:lnTo>
                  <a:lnTo>
                    <a:pt x="6" y="66"/>
                  </a:lnTo>
                  <a:lnTo>
                    <a:pt x="6" y="62"/>
                  </a:lnTo>
                  <a:lnTo>
                    <a:pt x="6" y="58"/>
                  </a:lnTo>
                  <a:lnTo>
                    <a:pt x="6" y="56"/>
                  </a:lnTo>
                  <a:lnTo>
                    <a:pt x="6" y="48"/>
                  </a:lnTo>
                  <a:lnTo>
                    <a:pt x="6" y="44"/>
                  </a:lnTo>
                  <a:lnTo>
                    <a:pt x="6" y="40"/>
                  </a:lnTo>
                  <a:lnTo>
                    <a:pt x="6" y="36"/>
                  </a:lnTo>
                  <a:lnTo>
                    <a:pt x="4" y="32"/>
                  </a:lnTo>
                  <a:lnTo>
                    <a:pt x="0" y="30"/>
                  </a:lnTo>
                  <a:lnTo>
                    <a:pt x="6" y="26"/>
                  </a:lnTo>
                  <a:lnTo>
                    <a:pt x="10" y="26"/>
                  </a:lnTo>
                  <a:lnTo>
                    <a:pt x="14" y="22"/>
                  </a:lnTo>
                  <a:lnTo>
                    <a:pt x="18" y="18"/>
                  </a:lnTo>
                  <a:lnTo>
                    <a:pt x="20" y="14"/>
                  </a:lnTo>
                  <a:lnTo>
                    <a:pt x="24" y="14"/>
                  </a:lnTo>
                  <a:lnTo>
                    <a:pt x="24" y="10"/>
                  </a:lnTo>
                  <a:lnTo>
                    <a:pt x="28" y="10"/>
                  </a:lnTo>
                  <a:lnTo>
                    <a:pt x="32" y="10"/>
                  </a:lnTo>
                  <a:lnTo>
                    <a:pt x="36" y="6"/>
                  </a:lnTo>
                  <a:lnTo>
                    <a:pt x="40" y="6"/>
                  </a:lnTo>
                  <a:lnTo>
                    <a:pt x="44" y="6"/>
                  </a:lnTo>
                  <a:lnTo>
                    <a:pt x="44" y="10"/>
                  </a:lnTo>
                  <a:lnTo>
                    <a:pt x="48" y="10"/>
                  </a:lnTo>
                  <a:lnTo>
                    <a:pt x="50" y="14"/>
                  </a:lnTo>
                  <a:lnTo>
                    <a:pt x="54" y="18"/>
                  </a:lnTo>
                  <a:lnTo>
                    <a:pt x="54" y="22"/>
                  </a:lnTo>
                  <a:lnTo>
                    <a:pt x="58" y="22"/>
                  </a:lnTo>
                  <a:lnTo>
                    <a:pt x="58" y="26"/>
                  </a:lnTo>
                  <a:lnTo>
                    <a:pt x="58" y="30"/>
                  </a:lnTo>
                  <a:lnTo>
                    <a:pt x="62" y="30"/>
                  </a:lnTo>
                  <a:lnTo>
                    <a:pt x="66" y="30"/>
                  </a:lnTo>
                  <a:lnTo>
                    <a:pt x="66" y="26"/>
                  </a:lnTo>
                  <a:lnTo>
                    <a:pt x="70" y="30"/>
                  </a:lnTo>
                  <a:lnTo>
                    <a:pt x="74" y="30"/>
                  </a:lnTo>
                  <a:lnTo>
                    <a:pt x="76" y="30"/>
                  </a:lnTo>
                  <a:lnTo>
                    <a:pt x="80" y="30"/>
                  </a:lnTo>
                  <a:lnTo>
                    <a:pt x="84" y="30"/>
                  </a:lnTo>
                  <a:lnTo>
                    <a:pt x="84" y="26"/>
                  </a:lnTo>
                  <a:lnTo>
                    <a:pt x="80" y="26"/>
                  </a:lnTo>
                  <a:lnTo>
                    <a:pt x="80" y="22"/>
                  </a:lnTo>
                  <a:lnTo>
                    <a:pt x="80" y="18"/>
                  </a:lnTo>
                  <a:lnTo>
                    <a:pt x="80" y="14"/>
                  </a:lnTo>
                  <a:lnTo>
                    <a:pt x="84" y="14"/>
                  </a:lnTo>
                  <a:lnTo>
                    <a:pt x="84" y="10"/>
                  </a:lnTo>
                  <a:lnTo>
                    <a:pt x="88" y="10"/>
                  </a:lnTo>
                  <a:lnTo>
                    <a:pt x="92" y="10"/>
                  </a:lnTo>
                  <a:lnTo>
                    <a:pt x="96" y="10"/>
                  </a:lnTo>
                  <a:lnTo>
                    <a:pt x="96" y="6"/>
                  </a:lnTo>
                  <a:lnTo>
                    <a:pt x="96" y="4"/>
                  </a:lnTo>
                  <a:lnTo>
                    <a:pt x="100" y="6"/>
                  </a:lnTo>
                  <a:lnTo>
                    <a:pt x="102" y="6"/>
                  </a:lnTo>
                  <a:lnTo>
                    <a:pt x="100" y="4"/>
                  </a:lnTo>
                  <a:lnTo>
                    <a:pt x="100" y="0"/>
                  </a:lnTo>
                  <a:lnTo>
                    <a:pt x="102" y="4"/>
                  </a:lnTo>
                  <a:lnTo>
                    <a:pt x="102" y="0"/>
                  </a:lnTo>
                  <a:lnTo>
                    <a:pt x="106" y="0"/>
                  </a:lnTo>
                  <a:lnTo>
                    <a:pt x="106" y="4"/>
                  </a:lnTo>
                  <a:lnTo>
                    <a:pt x="110" y="4"/>
                  </a:lnTo>
                  <a:lnTo>
                    <a:pt x="114" y="4"/>
                  </a:lnTo>
                  <a:lnTo>
                    <a:pt x="114" y="6"/>
                  </a:lnTo>
                  <a:lnTo>
                    <a:pt x="118" y="6"/>
                  </a:lnTo>
                  <a:lnTo>
                    <a:pt x="122" y="6"/>
                  </a:lnTo>
                  <a:lnTo>
                    <a:pt x="126" y="10"/>
                  </a:lnTo>
                  <a:lnTo>
                    <a:pt x="126" y="14"/>
                  </a:lnTo>
                  <a:lnTo>
                    <a:pt x="126" y="18"/>
                  </a:lnTo>
                  <a:lnTo>
                    <a:pt x="128" y="18"/>
                  </a:lnTo>
                  <a:lnTo>
                    <a:pt x="126" y="18"/>
                  </a:lnTo>
                  <a:lnTo>
                    <a:pt x="126" y="22"/>
                  </a:lnTo>
                  <a:lnTo>
                    <a:pt x="126" y="26"/>
                  </a:lnTo>
                  <a:lnTo>
                    <a:pt x="128" y="26"/>
                  </a:lnTo>
                  <a:lnTo>
                    <a:pt x="128" y="30"/>
                  </a:lnTo>
                  <a:lnTo>
                    <a:pt x="132" y="30"/>
                  </a:lnTo>
                  <a:lnTo>
                    <a:pt x="136" y="30"/>
                  </a:lnTo>
                  <a:lnTo>
                    <a:pt x="140" y="30"/>
                  </a:lnTo>
                  <a:lnTo>
                    <a:pt x="144" y="30"/>
                  </a:lnTo>
                  <a:lnTo>
                    <a:pt x="148" y="30"/>
                  </a:lnTo>
                  <a:lnTo>
                    <a:pt x="152" y="32"/>
                  </a:lnTo>
                  <a:lnTo>
                    <a:pt x="152" y="36"/>
                  </a:lnTo>
                  <a:lnTo>
                    <a:pt x="152" y="40"/>
                  </a:lnTo>
                  <a:lnTo>
                    <a:pt x="156" y="40"/>
                  </a:lnTo>
                  <a:lnTo>
                    <a:pt x="156" y="44"/>
                  </a:lnTo>
                  <a:lnTo>
                    <a:pt x="158" y="44"/>
                  </a:lnTo>
                  <a:lnTo>
                    <a:pt x="158" y="48"/>
                  </a:lnTo>
                  <a:lnTo>
                    <a:pt x="158" y="52"/>
                  </a:lnTo>
                  <a:lnTo>
                    <a:pt x="158" y="56"/>
                  </a:lnTo>
                  <a:lnTo>
                    <a:pt x="162" y="56"/>
                  </a:lnTo>
                  <a:lnTo>
                    <a:pt x="162" y="58"/>
                  </a:lnTo>
                  <a:lnTo>
                    <a:pt x="166" y="58"/>
                  </a:lnTo>
                  <a:lnTo>
                    <a:pt x="170" y="62"/>
                  </a:lnTo>
                  <a:lnTo>
                    <a:pt x="174" y="62"/>
                  </a:lnTo>
                  <a:lnTo>
                    <a:pt x="174" y="66"/>
                  </a:lnTo>
                  <a:lnTo>
                    <a:pt x="178" y="66"/>
                  </a:lnTo>
                  <a:lnTo>
                    <a:pt x="178" y="70"/>
                  </a:lnTo>
                  <a:lnTo>
                    <a:pt x="182" y="70"/>
                  </a:lnTo>
                  <a:lnTo>
                    <a:pt x="182" y="74"/>
                  </a:lnTo>
                  <a:lnTo>
                    <a:pt x="184" y="74"/>
                  </a:lnTo>
                  <a:lnTo>
                    <a:pt x="188" y="74"/>
                  </a:lnTo>
                  <a:lnTo>
                    <a:pt x="188" y="78"/>
                  </a:lnTo>
                  <a:lnTo>
                    <a:pt x="192" y="78"/>
                  </a:lnTo>
                  <a:lnTo>
                    <a:pt x="196" y="82"/>
                  </a:lnTo>
                  <a:lnTo>
                    <a:pt x="200" y="86"/>
                  </a:lnTo>
                  <a:lnTo>
                    <a:pt x="204" y="86"/>
                  </a:lnTo>
                  <a:lnTo>
                    <a:pt x="204" y="88"/>
                  </a:lnTo>
                  <a:lnTo>
                    <a:pt x="208" y="88"/>
                  </a:lnTo>
                  <a:lnTo>
                    <a:pt x="208" y="86"/>
                  </a:lnTo>
                  <a:lnTo>
                    <a:pt x="210" y="88"/>
                  </a:lnTo>
                  <a:lnTo>
                    <a:pt x="214" y="88"/>
                  </a:lnTo>
                  <a:lnTo>
                    <a:pt x="214" y="92"/>
                  </a:lnTo>
                  <a:lnTo>
                    <a:pt x="218" y="92"/>
                  </a:lnTo>
                  <a:lnTo>
                    <a:pt x="218" y="96"/>
                  </a:lnTo>
                  <a:lnTo>
                    <a:pt x="214" y="100"/>
                  </a:lnTo>
                  <a:lnTo>
                    <a:pt x="214" y="104"/>
                  </a:lnTo>
                  <a:lnTo>
                    <a:pt x="218" y="104"/>
                  </a:lnTo>
                  <a:lnTo>
                    <a:pt x="214" y="104"/>
                  </a:lnTo>
                  <a:lnTo>
                    <a:pt x="214" y="104"/>
                  </a:lnTo>
                  <a:lnTo>
                    <a:pt x="214" y="10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67" name="Freeform 60"/>
            <p:cNvSpPr>
              <a:spLocks noEditPoints="1"/>
            </p:cNvSpPr>
            <p:nvPr/>
          </p:nvSpPr>
          <p:spPr bwMode="auto">
            <a:xfrm>
              <a:off x="7498711" y="3864930"/>
              <a:ext cx="41447" cy="39227"/>
            </a:xfrm>
            <a:custGeom>
              <a:avLst/>
              <a:gdLst>
                <a:gd name="T0" fmla="*/ 66 w 66"/>
                <a:gd name="T1" fmla="*/ 14 h 60"/>
                <a:gd name="T2" fmla="*/ 66 w 66"/>
                <a:gd name="T3" fmla="*/ 18 h 60"/>
                <a:gd name="T4" fmla="*/ 66 w 66"/>
                <a:gd name="T5" fmla="*/ 18 h 60"/>
                <a:gd name="T6" fmla="*/ 66 w 66"/>
                <a:gd name="T7" fmla="*/ 22 h 60"/>
                <a:gd name="T8" fmla="*/ 62 w 66"/>
                <a:gd name="T9" fmla="*/ 22 h 60"/>
                <a:gd name="T10" fmla="*/ 62 w 66"/>
                <a:gd name="T11" fmla="*/ 22 h 60"/>
                <a:gd name="T12" fmla="*/ 62 w 66"/>
                <a:gd name="T13" fmla="*/ 22 h 60"/>
                <a:gd name="T14" fmla="*/ 62 w 66"/>
                <a:gd name="T15" fmla="*/ 18 h 60"/>
                <a:gd name="T16" fmla="*/ 60 w 66"/>
                <a:gd name="T17" fmla="*/ 18 h 60"/>
                <a:gd name="T18" fmla="*/ 60 w 66"/>
                <a:gd name="T19" fmla="*/ 22 h 60"/>
                <a:gd name="T20" fmla="*/ 60 w 66"/>
                <a:gd name="T21" fmla="*/ 26 h 60"/>
                <a:gd name="T22" fmla="*/ 60 w 66"/>
                <a:gd name="T23" fmla="*/ 30 h 60"/>
                <a:gd name="T24" fmla="*/ 60 w 66"/>
                <a:gd name="T25" fmla="*/ 34 h 60"/>
                <a:gd name="T26" fmla="*/ 62 w 66"/>
                <a:gd name="T27" fmla="*/ 36 h 60"/>
                <a:gd name="T28" fmla="*/ 56 w 66"/>
                <a:gd name="T29" fmla="*/ 36 h 60"/>
                <a:gd name="T30" fmla="*/ 56 w 66"/>
                <a:gd name="T31" fmla="*/ 40 h 60"/>
                <a:gd name="T32" fmla="*/ 52 w 66"/>
                <a:gd name="T33" fmla="*/ 48 h 60"/>
                <a:gd name="T34" fmla="*/ 52 w 66"/>
                <a:gd name="T35" fmla="*/ 52 h 60"/>
                <a:gd name="T36" fmla="*/ 52 w 66"/>
                <a:gd name="T37" fmla="*/ 56 h 60"/>
                <a:gd name="T38" fmla="*/ 48 w 66"/>
                <a:gd name="T39" fmla="*/ 60 h 60"/>
                <a:gd name="T40" fmla="*/ 0 w 66"/>
                <a:gd name="T41" fmla="*/ 34 h 60"/>
                <a:gd name="T42" fmla="*/ 0 w 66"/>
                <a:gd name="T43" fmla="*/ 34 h 60"/>
                <a:gd name="T44" fmla="*/ 4 w 66"/>
                <a:gd name="T45" fmla="*/ 36 h 60"/>
                <a:gd name="T46" fmla="*/ 6 w 66"/>
                <a:gd name="T47" fmla="*/ 36 h 60"/>
                <a:gd name="T48" fmla="*/ 10 w 66"/>
                <a:gd name="T49" fmla="*/ 34 h 60"/>
                <a:gd name="T50" fmla="*/ 14 w 66"/>
                <a:gd name="T51" fmla="*/ 34 h 60"/>
                <a:gd name="T52" fmla="*/ 18 w 66"/>
                <a:gd name="T53" fmla="*/ 34 h 60"/>
                <a:gd name="T54" fmla="*/ 26 w 66"/>
                <a:gd name="T55" fmla="*/ 34 h 60"/>
                <a:gd name="T56" fmla="*/ 26 w 66"/>
                <a:gd name="T57" fmla="*/ 36 h 60"/>
                <a:gd name="T58" fmla="*/ 36 w 66"/>
                <a:gd name="T59" fmla="*/ 34 h 60"/>
                <a:gd name="T60" fmla="*/ 40 w 66"/>
                <a:gd name="T61" fmla="*/ 30 h 60"/>
                <a:gd name="T62" fmla="*/ 40 w 66"/>
                <a:gd name="T63" fmla="*/ 30 h 60"/>
                <a:gd name="T64" fmla="*/ 40 w 66"/>
                <a:gd name="T65" fmla="*/ 22 h 60"/>
                <a:gd name="T66" fmla="*/ 48 w 66"/>
                <a:gd name="T67" fmla="*/ 18 h 60"/>
                <a:gd name="T68" fmla="*/ 48 w 66"/>
                <a:gd name="T69" fmla="*/ 14 h 60"/>
                <a:gd name="T70" fmla="*/ 52 w 66"/>
                <a:gd name="T71" fmla="*/ 14 h 60"/>
                <a:gd name="T72" fmla="*/ 52 w 66"/>
                <a:gd name="T73" fmla="*/ 14 h 60"/>
                <a:gd name="T74" fmla="*/ 52 w 66"/>
                <a:gd name="T75" fmla="*/ 10 h 60"/>
                <a:gd name="T76" fmla="*/ 56 w 66"/>
                <a:gd name="T77" fmla="*/ 10 h 60"/>
                <a:gd name="T78" fmla="*/ 56 w 66"/>
                <a:gd name="T79" fmla="*/ 6 h 60"/>
                <a:gd name="T80" fmla="*/ 56 w 66"/>
                <a:gd name="T81" fmla="*/ 6 h 60"/>
                <a:gd name="T82" fmla="*/ 60 w 66"/>
                <a:gd name="T83" fmla="*/ 6 h 60"/>
                <a:gd name="T84" fmla="*/ 62 w 66"/>
                <a:gd name="T85" fmla="*/ 0 h 60"/>
                <a:gd name="T86" fmla="*/ 62 w 66"/>
                <a:gd name="T87" fmla="*/ 2 h 60"/>
                <a:gd name="T88" fmla="*/ 62 w 66"/>
                <a:gd name="T89" fmla="*/ 6 h 60"/>
                <a:gd name="T90" fmla="*/ 66 w 66"/>
                <a:gd name="T91" fmla="*/ 6 h 60"/>
                <a:gd name="T92" fmla="*/ 66 w 66"/>
                <a:gd name="T93" fmla="*/ 10 h 60"/>
                <a:gd name="T94" fmla="*/ 36 w 66"/>
                <a:gd name="T95" fmla="*/ 26 h 60"/>
                <a:gd name="T96" fmla="*/ 30 w 66"/>
                <a:gd name="T97" fmla="*/ 34 h 60"/>
                <a:gd name="T98" fmla="*/ 30 w 66"/>
                <a:gd name="T99" fmla="*/ 34 h 60"/>
                <a:gd name="T100" fmla="*/ 30 w 66"/>
                <a:gd name="T101" fmla="*/ 34 h 60"/>
                <a:gd name="T102" fmla="*/ 32 w 66"/>
                <a:gd name="T103" fmla="*/ 34 h 60"/>
                <a:gd name="T104" fmla="*/ 30 w 66"/>
                <a:gd name="T105" fmla="*/ 3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 h="60">
                  <a:moveTo>
                    <a:pt x="66" y="10"/>
                  </a:moveTo>
                  <a:lnTo>
                    <a:pt x="66" y="10"/>
                  </a:lnTo>
                  <a:lnTo>
                    <a:pt x="66" y="10"/>
                  </a:lnTo>
                  <a:lnTo>
                    <a:pt x="66" y="14"/>
                  </a:lnTo>
                  <a:lnTo>
                    <a:pt x="66" y="14"/>
                  </a:lnTo>
                  <a:lnTo>
                    <a:pt x="66" y="18"/>
                  </a:lnTo>
                  <a:lnTo>
                    <a:pt x="66" y="18"/>
                  </a:lnTo>
                  <a:lnTo>
                    <a:pt x="66" y="18"/>
                  </a:lnTo>
                  <a:lnTo>
                    <a:pt x="66" y="18"/>
                  </a:lnTo>
                  <a:lnTo>
                    <a:pt x="66" y="18"/>
                  </a:lnTo>
                  <a:lnTo>
                    <a:pt x="66" y="18"/>
                  </a:lnTo>
                  <a:lnTo>
                    <a:pt x="66" y="18"/>
                  </a:lnTo>
                  <a:lnTo>
                    <a:pt x="66" y="18"/>
                  </a:lnTo>
                  <a:lnTo>
                    <a:pt x="66" y="22"/>
                  </a:lnTo>
                  <a:lnTo>
                    <a:pt x="66" y="22"/>
                  </a:lnTo>
                  <a:lnTo>
                    <a:pt x="66" y="22"/>
                  </a:lnTo>
                  <a:lnTo>
                    <a:pt x="66" y="22"/>
                  </a:lnTo>
                  <a:lnTo>
                    <a:pt x="66" y="22"/>
                  </a:lnTo>
                  <a:lnTo>
                    <a:pt x="66" y="22"/>
                  </a:lnTo>
                  <a:lnTo>
                    <a:pt x="62" y="22"/>
                  </a:lnTo>
                  <a:lnTo>
                    <a:pt x="62" y="22"/>
                  </a:lnTo>
                  <a:lnTo>
                    <a:pt x="62" y="22"/>
                  </a:lnTo>
                  <a:lnTo>
                    <a:pt x="62" y="22"/>
                  </a:lnTo>
                  <a:lnTo>
                    <a:pt x="62" y="22"/>
                  </a:lnTo>
                  <a:lnTo>
                    <a:pt x="62" y="22"/>
                  </a:lnTo>
                  <a:lnTo>
                    <a:pt x="62" y="22"/>
                  </a:lnTo>
                  <a:lnTo>
                    <a:pt x="60" y="22"/>
                  </a:lnTo>
                  <a:lnTo>
                    <a:pt x="62" y="22"/>
                  </a:lnTo>
                  <a:lnTo>
                    <a:pt x="62" y="22"/>
                  </a:lnTo>
                  <a:lnTo>
                    <a:pt x="62" y="22"/>
                  </a:lnTo>
                  <a:lnTo>
                    <a:pt x="62" y="18"/>
                  </a:lnTo>
                  <a:lnTo>
                    <a:pt x="62" y="18"/>
                  </a:lnTo>
                  <a:lnTo>
                    <a:pt x="62" y="18"/>
                  </a:lnTo>
                  <a:lnTo>
                    <a:pt x="60" y="18"/>
                  </a:lnTo>
                  <a:lnTo>
                    <a:pt x="60" y="18"/>
                  </a:lnTo>
                  <a:lnTo>
                    <a:pt x="60" y="18"/>
                  </a:lnTo>
                  <a:lnTo>
                    <a:pt x="60" y="18"/>
                  </a:lnTo>
                  <a:lnTo>
                    <a:pt x="60" y="18"/>
                  </a:lnTo>
                  <a:lnTo>
                    <a:pt x="60" y="22"/>
                  </a:lnTo>
                  <a:lnTo>
                    <a:pt x="60" y="22"/>
                  </a:lnTo>
                  <a:lnTo>
                    <a:pt x="60" y="22"/>
                  </a:lnTo>
                  <a:lnTo>
                    <a:pt x="60" y="22"/>
                  </a:lnTo>
                  <a:lnTo>
                    <a:pt x="60" y="26"/>
                  </a:lnTo>
                  <a:lnTo>
                    <a:pt x="60" y="26"/>
                  </a:lnTo>
                  <a:lnTo>
                    <a:pt x="60" y="26"/>
                  </a:lnTo>
                  <a:lnTo>
                    <a:pt x="60" y="26"/>
                  </a:lnTo>
                  <a:lnTo>
                    <a:pt x="60" y="30"/>
                  </a:lnTo>
                  <a:lnTo>
                    <a:pt x="60" y="30"/>
                  </a:lnTo>
                  <a:lnTo>
                    <a:pt x="60" y="30"/>
                  </a:lnTo>
                  <a:lnTo>
                    <a:pt x="60" y="34"/>
                  </a:lnTo>
                  <a:lnTo>
                    <a:pt x="60" y="34"/>
                  </a:lnTo>
                  <a:lnTo>
                    <a:pt x="60" y="34"/>
                  </a:lnTo>
                  <a:lnTo>
                    <a:pt x="60" y="34"/>
                  </a:lnTo>
                  <a:lnTo>
                    <a:pt x="60" y="34"/>
                  </a:lnTo>
                  <a:lnTo>
                    <a:pt x="62" y="36"/>
                  </a:lnTo>
                  <a:lnTo>
                    <a:pt x="62" y="36"/>
                  </a:lnTo>
                  <a:lnTo>
                    <a:pt x="60" y="36"/>
                  </a:lnTo>
                  <a:lnTo>
                    <a:pt x="60" y="36"/>
                  </a:lnTo>
                  <a:lnTo>
                    <a:pt x="56" y="36"/>
                  </a:lnTo>
                  <a:lnTo>
                    <a:pt x="56" y="36"/>
                  </a:lnTo>
                  <a:lnTo>
                    <a:pt x="56" y="36"/>
                  </a:lnTo>
                  <a:lnTo>
                    <a:pt x="56" y="36"/>
                  </a:lnTo>
                  <a:lnTo>
                    <a:pt x="56" y="36"/>
                  </a:lnTo>
                  <a:lnTo>
                    <a:pt x="56" y="40"/>
                  </a:lnTo>
                  <a:lnTo>
                    <a:pt x="56" y="44"/>
                  </a:lnTo>
                  <a:lnTo>
                    <a:pt x="52" y="44"/>
                  </a:lnTo>
                  <a:lnTo>
                    <a:pt x="52" y="48"/>
                  </a:lnTo>
                  <a:lnTo>
                    <a:pt x="52" y="48"/>
                  </a:lnTo>
                  <a:lnTo>
                    <a:pt x="52" y="52"/>
                  </a:lnTo>
                  <a:lnTo>
                    <a:pt x="52" y="52"/>
                  </a:lnTo>
                  <a:lnTo>
                    <a:pt x="52" y="52"/>
                  </a:lnTo>
                  <a:lnTo>
                    <a:pt x="52" y="52"/>
                  </a:lnTo>
                  <a:lnTo>
                    <a:pt x="52" y="56"/>
                  </a:lnTo>
                  <a:lnTo>
                    <a:pt x="52" y="56"/>
                  </a:lnTo>
                  <a:lnTo>
                    <a:pt x="52" y="56"/>
                  </a:lnTo>
                  <a:lnTo>
                    <a:pt x="52" y="56"/>
                  </a:lnTo>
                  <a:lnTo>
                    <a:pt x="52" y="60"/>
                  </a:lnTo>
                  <a:lnTo>
                    <a:pt x="52" y="60"/>
                  </a:lnTo>
                  <a:lnTo>
                    <a:pt x="48" y="60"/>
                  </a:lnTo>
                  <a:lnTo>
                    <a:pt x="48" y="60"/>
                  </a:lnTo>
                  <a:lnTo>
                    <a:pt x="14" y="56"/>
                  </a:lnTo>
                  <a:lnTo>
                    <a:pt x="0" y="34"/>
                  </a:lnTo>
                  <a:lnTo>
                    <a:pt x="0" y="34"/>
                  </a:lnTo>
                  <a:lnTo>
                    <a:pt x="0" y="34"/>
                  </a:lnTo>
                  <a:lnTo>
                    <a:pt x="0" y="34"/>
                  </a:lnTo>
                  <a:lnTo>
                    <a:pt x="0" y="34"/>
                  </a:lnTo>
                  <a:lnTo>
                    <a:pt x="0" y="34"/>
                  </a:lnTo>
                  <a:lnTo>
                    <a:pt x="0" y="34"/>
                  </a:lnTo>
                  <a:lnTo>
                    <a:pt x="4" y="36"/>
                  </a:lnTo>
                  <a:lnTo>
                    <a:pt x="4" y="36"/>
                  </a:lnTo>
                  <a:lnTo>
                    <a:pt x="4" y="36"/>
                  </a:lnTo>
                  <a:lnTo>
                    <a:pt x="4" y="36"/>
                  </a:lnTo>
                  <a:lnTo>
                    <a:pt x="4" y="36"/>
                  </a:lnTo>
                  <a:lnTo>
                    <a:pt x="6" y="36"/>
                  </a:lnTo>
                  <a:lnTo>
                    <a:pt x="6" y="36"/>
                  </a:lnTo>
                  <a:lnTo>
                    <a:pt x="6" y="36"/>
                  </a:lnTo>
                  <a:lnTo>
                    <a:pt x="6" y="36"/>
                  </a:lnTo>
                  <a:lnTo>
                    <a:pt x="10" y="36"/>
                  </a:lnTo>
                  <a:lnTo>
                    <a:pt x="10" y="36"/>
                  </a:lnTo>
                  <a:lnTo>
                    <a:pt x="10" y="34"/>
                  </a:lnTo>
                  <a:lnTo>
                    <a:pt x="14" y="34"/>
                  </a:lnTo>
                  <a:lnTo>
                    <a:pt x="14" y="34"/>
                  </a:lnTo>
                  <a:lnTo>
                    <a:pt x="14" y="34"/>
                  </a:lnTo>
                  <a:lnTo>
                    <a:pt x="14" y="34"/>
                  </a:lnTo>
                  <a:lnTo>
                    <a:pt x="14" y="34"/>
                  </a:lnTo>
                  <a:lnTo>
                    <a:pt x="18" y="34"/>
                  </a:lnTo>
                  <a:lnTo>
                    <a:pt x="18" y="34"/>
                  </a:lnTo>
                  <a:lnTo>
                    <a:pt x="18" y="34"/>
                  </a:lnTo>
                  <a:lnTo>
                    <a:pt x="22" y="34"/>
                  </a:lnTo>
                  <a:lnTo>
                    <a:pt x="22" y="34"/>
                  </a:lnTo>
                  <a:lnTo>
                    <a:pt x="22" y="34"/>
                  </a:lnTo>
                  <a:lnTo>
                    <a:pt x="26" y="34"/>
                  </a:lnTo>
                  <a:lnTo>
                    <a:pt x="26" y="34"/>
                  </a:lnTo>
                  <a:lnTo>
                    <a:pt x="26" y="36"/>
                  </a:lnTo>
                  <a:lnTo>
                    <a:pt x="26" y="36"/>
                  </a:lnTo>
                  <a:lnTo>
                    <a:pt x="26" y="36"/>
                  </a:lnTo>
                  <a:lnTo>
                    <a:pt x="26" y="36"/>
                  </a:lnTo>
                  <a:lnTo>
                    <a:pt x="30" y="36"/>
                  </a:lnTo>
                  <a:lnTo>
                    <a:pt x="32" y="34"/>
                  </a:lnTo>
                  <a:lnTo>
                    <a:pt x="36" y="34"/>
                  </a:lnTo>
                  <a:lnTo>
                    <a:pt x="36" y="34"/>
                  </a:lnTo>
                  <a:lnTo>
                    <a:pt x="36" y="34"/>
                  </a:lnTo>
                  <a:lnTo>
                    <a:pt x="40" y="34"/>
                  </a:lnTo>
                  <a:lnTo>
                    <a:pt x="40" y="30"/>
                  </a:lnTo>
                  <a:lnTo>
                    <a:pt x="40" y="30"/>
                  </a:lnTo>
                  <a:lnTo>
                    <a:pt x="40" y="30"/>
                  </a:lnTo>
                  <a:lnTo>
                    <a:pt x="40" y="30"/>
                  </a:lnTo>
                  <a:lnTo>
                    <a:pt x="40" y="30"/>
                  </a:lnTo>
                  <a:lnTo>
                    <a:pt x="40" y="30"/>
                  </a:lnTo>
                  <a:lnTo>
                    <a:pt x="40" y="26"/>
                  </a:lnTo>
                  <a:lnTo>
                    <a:pt x="40" y="22"/>
                  </a:lnTo>
                  <a:lnTo>
                    <a:pt x="40" y="22"/>
                  </a:lnTo>
                  <a:lnTo>
                    <a:pt x="44" y="22"/>
                  </a:lnTo>
                  <a:lnTo>
                    <a:pt x="48" y="18"/>
                  </a:lnTo>
                  <a:lnTo>
                    <a:pt x="48" y="18"/>
                  </a:lnTo>
                  <a:lnTo>
                    <a:pt x="48" y="18"/>
                  </a:lnTo>
                  <a:lnTo>
                    <a:pt x="48" y="18"/>
                  </a:lnTo>
                  <a:lnTo>
                    <a:pt x="48" y="18"/>
                  </a:lnTo>
                  <a:lnTo>
                    <a:pt x="48" y="18"/>
                  </a:lnTo>
                  <a:lnTo>
                    <a:pt x="48" y="14"/>
                  </a:lnTo>
                  <a:lnTo>
                    <a:pt x="48" y="14"/>
                  </a:lnTo>
                  <a:lnTo>
                    <a:pt x="52" y="14"/>
                  </a:lnTo>
                  <a:lnTo>
                    <a:pt x="52" y="14"/>
                  </a:lnTo>
                  <a:lnTo>
                    <a:pt x="52" y="14"/>
                  </a:lnTo>
                  <a:lnTo>
                    <a:pt x="52" y="14"/>
                  </a:lnTo>
                  <a:lnTo>
                    <a:pt x="52" y="14"/>
                  </a:lnTo>
                  <a:lnTo>
                    <a:pt x="52" y="14"/>
                  </a:lnTo>
                  <a:lnTo>
                    <a:pt x="52" y="14"/>
                  </a:lnTo>
                  <a:lnTo>
                    <a:pt x="52" y="10"/>
                  </a:lnTo>
                  <a:lnTo>
                    <a:pt x="52" y="10"/>
                  </a:lnTo>
                  <a:lnTo>
                    <a:pt x="52" y="10"/>
                  </a:lnTo>
                  <a:lnTo>
                    <a:pt x="52" y="10"/>
                  </a:lnTo>
                  <a:lnTo>
                    <a:pt x="56" y="10"/>
                  </a:lnTo>
                  <a:lnTo>
                    <a:pt x="56" y="10"/>
                  </a:lnTo>
                  <a:lnTo>
                    <a:pt x="56" y="10"/>
                  </a:lnTo>
                  <a:lnTo>
                    <a:pt x="56" y="10"/>
                  </a:lnTo>
                  <a:lnTo>
                    <a:pt x="56" y="6"/>
                  </a:lnTo>
                  <a:lnTo>
                    <a:pt x="56" y="6"/>
                  </a:lnTo>
                  <a:lnTo>
                    <a:pt x="56" y="6"/>
                  </a:lnTo>
                  <a:lnTo>
                    <a:pt x="56" y="6"/>
                  </a:lnTo>
                  <a:lnTo>
                    <a:pt x="56" y="10"/>
                  </a:lnTo>
                  <a:lnTo>
                    <a:pt x="56" y="10"/>
                  </a:lnTo>
                  <a:lnTo>
                    <a:pt x="56" y="10"/>
                  </a:lnTo>
                  <a:lnTo>
                    <a:pt x="56" y="6"/>
                  </a:lnTo>
                  <a:lnTo>
                    <a:pt x="56" y="6"/>
                  </a:lnTo>
                  <a:lnTo>
                    <a:pt x="56" y="6"/>
                  </a:lnTo>
                  <a:lnTo>
                    <a:pt x="60" y="6"/>
                  </a:lnTo>
                  <a:lnTo>
                    <a:pt x="60" y="6"/>
                  </a:lnTo>
                  <a:lnTo>
                    <a:pt x="62" y="2"/>
                  </a:lnTo>
                  <a:lnTo>
                    <a:pt x="62" y="2"/>
                  </a:lnTo>
                  <a:lnTo>
                    <a:pt x="62" y="0"/>
                  </a:lnTo>
                  <a:lnTo>
                    <a:pt x="62" y="0"/>
                  </a:lnTo>
                  <a:lnTo>
                    <a:pt x="62" y="0"/>
                  </a:lnTo>
                  <a:lnTo>
                    <a:pt x="62" y="0"/>
                  </a:lnTo>
                  <a:lnTo>
                    <a:pt x="62" y="2"/>
                  </a:lnTo>
                  <a:lnTo>
                    <a:pt x="62" y="2"/>
                  </a:lnTo>
                  <a:lnTo>
                    <a:pt x="62" y="6"/>
                  </a:lnTo>
                  <a:lnTo>
                    <a:pt x="62" y="6"/>
                  </a:lnTo>
                  <a:lnTo>
                    <a:pt x="62" y="6"/>
                  </a:lnTo>
                  <a:lnTo>
                    <a:pt x="62" y="6"/>
                  </a:lnTo>
                  <a:lnTo>
                    <a:pt x="62" y="6"/>
                  </a:lnTo>
                  <a:lnTo>
                    <a:pt x="66" y="6"/>
                  </a:lnTo>
                  <a:lnTo>
                    <a:pt x="66" y="6"/>
                  </a:lnTo>
                  <a:lnTo>
                    <a:pt x="66" y="6"/>
                  </a:lnTo>
                  <a:lnTo>
                    <a:pt x="66" y="10"/>
                  </a:lnTo>
                  <a:lnTo>
                    <a:pt x="66" y="10"/>
                  </a:lnTo>
                  <a:lnTo>
                    <a:pt x="66" y="10"/>
                  </a:lnTo>
                  <a:lnTo>
                    <a:pt x="66" y="10"/>
                  </a:lnTo>
                  <a:lnTo>
                    <a:pt x="66" y="10"/>
                  </a:lnTo>
                  <a:close/>
                  <a:moveTo>
                    <a:pt x="40" y="30"/>
                  </a:moveTo>
                  <a:lnTo>
                    <a:pt x="36" y="30"/>
                  </a:lnTo>
                  <a:lnTo>
                    <a:pt x="36" y="26"/>
                  </a:lnTo>
                  <a:lnTo>
                    <a:pt x="40" y="30"/>
                  </a:lnTo>
                  <a:lnTo>
                    <a:pt x="40" y="30"/>
                  </a:lnTo>
                  <a:lnTo>
                    <a:pt x="40" y="30"/>
                  </a:lnTo>
                  <a:close/>
                  <a:moveTo>
                    <a:pt x="30" y="34"/>
                  </a:moveTo>
                  <a:lnTo>
                    <a:pt x="30" y="34"/>
                  </a:lnTo>
                  <a:lnTo>
                    <a:pt x="30" y="34"/>
                  </a:lnTo>
                  <a:lnTo>
                    <a:pt x="30" y="34"/>
                  </a:lnTo>
                  <a:lnTo>
                    <a:pt x="30" y="34"/>
                  </a:lnTo>
                  <a:lnTo>
                    <a:pt x="30" y="34"/>
                  </a:lnTo>
                  <a:lnTo>
                    <a:pt x="30" y="34"/>
                  </a:lnTo>
                  <a:lnTo>
                    <a:pt x="30" y="34"/>
                  </a:lnTo>
                  <a:lnTo>
                    <a:pt x="30" y="34"/>
                  </a:lnTo>
                  <a:lnTo>
                    <a:pt x="30" y="34"/>
                  </a:lnTo>
                  <a:lnTo>
                    <a:pt x="30" y="34"/>
                  </a:lnTo>
                  <a:lnTo>
                    <a:pt x="32" y="34"/>
                  </a:lnTo>
                  <a:lnTo>
                    <a:pt x="32" y="34"/>
                  </a:lnTo>
                  <a:lnTo>
                    <a:pt x="32" y="34"/>
                  </a:lnTo>
                  <a:lnTo>
                    <a:pt x="32" y="34"/>
                  </a:lnTo>
                  <a:lnTo>
                    <a:pt x="32" y="34"/>
                  </a:lnTo>
                  <a:lnTo>
                    <a:pt x="30" y="34"/>
                  </a:lnTo>
                  <a:lnTo>
                    <a:pt x="30" y="34"/>
                  </a:lnTo>
                  <a:lnTo>
                    <a:pt x="30" y="34"/>
                  </a:lnTo>
                  <a:lnTo>
                    <a:pt x="30" y="3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68" name="Freeform 61"/>
            <p:cNvSpPr>
              <a:spLocks/>
            </p:cNvSpPr>
            <p:nvPr/>
          </p:nvSpPr>
          <p:spPr bwMode="auto">
            <a:xfrm>
              <a:off x="7537646" y="3623027"/>
              <a:ext cx="153227" cy="107222"/>
            </a:xfrm>
            <a:custGeom>
              <a:avLst/>
              <a:gdLst>
                <a:gd name="T0" fmla="*/ 168 w 244"/>
                <a:gd name="T1" fmla="*/ 118 h 164"/>
                <a:gd name="T2" fmla="*/ 162 w 244"/>
                <a:gd name="T3" fmla="*/ 126 h 164"/>
                <a:gd name="T4" fmla="*/ 172 w 244"/>
                <a:gd name="T5" fmla="*/ 134 h 164"/>
                <a:gd name="T6" fmla="*/ 176 w 244"/>
                <a:gd name="T7" fmla="*/ 144 h 164"/>
                <a:gd name="T8" fmla="*/ 166 w 244"/>
                <a:gd name="T9" fmla="*/ 156 h 164"/>
                <a:gd name="T10" fmla="*/ 158 w 244"/>
                <a:gd name="T11" fmla="*/ 164 h 164"/>
                <a:gd name="T12" fmla="*/ 146 w 244"/>
                <a:gd name="T13" fmla="*/ 156 h 164"/>
                <a:gd name="T14" fmla="*/ 142 w 244"/>
                <a:gd name="T15" fmla="*/ 144 h 164"/>
                <a:gd name="T16" fmla="*/ 132 w 244"/>
                <a:gd name="T17" fmla="*/ 142 h 164"/>
                <a:gd name="T18" fmla="*/ 116 w 244"/>
                <a:gd name="T19" fmla="*/ 130 h 164"/>
                <a:gd name="T20" fmla="*/ 106 w 244"/>
                <a:gd name="T21" fmla="*/ 122 h 164"/>
                <a:gd name="T22" fmla="*/ 94 w 244"/>
                <a:gd name="T23" fmla="*/ 112 h 164"/>
                <a:gd name="T24" fmla="*/ 86 w 244"/>
                <a:gd name="T25" fmla="*/ 100 h 164"/>
                <a:gd name="T26" fmla="*/ 80 w 244"/>
                <a:gd name="T27" fmla="*/ 86 h 164"/>
                <a:gd name="T28" fmla="*/ 60 w 244"/>
                <a:gd name="T29" fmla="*/ 86 h 164"/>
                <a:gd name="T30" fmla="*/ 60 w 244"/>
                <a:gd name="T31" fmla="*/ 74 h 164"/>
                <a:gd name="T32" fmla="*/ 50 w 244"/>
                <a:gd name="T33" fmla="*/ 62 h 164"/>
                <a:gd name="T34" fmla="*/ 38 w 244"/>
                <a:gd name="T35" fmla="*/ 56 h 164"/>
                <a:gd name="T36" fmla="*/ 34 w 244"/>
                <a:gd name="T37" fmla="*/ 62 h 164"/>
                <a:gd name="T38" fmla="*/ 24 w 244"/>
                <a:gd name="T39" fmla="*/ 66 h 164"/>
                <a:gd name="T40" fmla="*/ 12 w 244"/>
                <a:gd name="T41" fmla="*/ 74 h 164"/>
                <a:gd name="T42" fmla="*/ 12 w 244"/>
                <a:gd name="T43" fmla="*/ 86 h 164"/>
                <a:gd name="T44" fmla="*/ 0 w 244"/>
                <a:gd name="T45" fmla="*/ 78 h 164"/>
                <a:gd name="T46" fmla="*/ 0 w 244"/>
                <a:gd name="T47" fmla="*/ 52 h 164"/>
                <a:gd name="T48" fmla="*/ 0 w 244"/>
                <a:gd name="T49" fmla="*/ 22 h 164"/>
                <a:gd name="T50" fmla="*/ 16 w 244"/>
                <a:gd name="T51" fmla="*/ 8 h 164"/>
                <a:gd name="T52" fmla="*/ 34 w 244"/>
                <a:gd name="T53" fmla="*/ 0 h 164"/>
                <a:gd name="T54" fmla="*/ 82 w 244"/>
                <a:gd name="T55" fmla="*/ 38 h 164"/>
                <a:gd name="T56" fmla="*/ 106 w 244"/>
                <a:gd name="T57" fmla="*/ 38 h 164"/>
                <a:gd name="T58" fmla="*/ 128 w 244"/>
                <a:gd name="T59" fmla="*/ 38 h 164"/>
                <a:gd name="T60" fmla="*/ 136 w 244"/>
                <a:gd name="T61" fmla="*/ 48 h 164"/>
                <a:gd name="T62" fmla="*/ 142 w 244"/>
                <a:gd name="T63" fmla="*/ 62 h 164"/>
                <a:gd name="T64" fmla="*/ 150 w 244"/>
                <a:gd name="T65" fmla="*/ 82 h 164"/>
                <a:gd name="T66" fmla="*/ 166 w 244"/>
                <a:gd name="T67" fmla="*/ 86 h 164"/>
                <a:gd name="T68" fmla="*/ 172 w 244"/>
                <a:gd name="T69" fmla="*/ 96 h 164"/>
                <a:gd name="T70" fmla="*/ 180 w 244"/>
                <a:gd name="T71" fmla="*/ 92 h 164"/>
                <a:gd name="T72" fmla="*/ 192 w 244"/>
                <a:gd name="T73" fmla="*/ 78 h 164"/>
                <a:gd name="T74" fmla="*/ 206 w 244"/>
                <a:gd name="T75" fmla="*/ 70 h 164"/>
                <a:gd name="T76" fmla="*/ 210 w 244"/>
                <a:gd name="T77" fmla="*/ 70 h 164"/>
                <a:gd name="T78" fmla="*/ 198 w 244"/>
                <a:gd name="T79" fmla="*/ 78 h 164"/>
                <a:gd name="T80" fmla="*/ 210 w 244"/>
                <a:gd name="T81" fmla="*/ 86 h 164"/>
                <a:gd name="T82" fmla="*/ 218 w 244"/>
                <a:gd name="T83" fmla="*/ 86 h 164"/>
                <a:gd name="T84" fmla="*/ 224 w 244"/>
                <a:gd name="T85" fmla="*/ 86 h 164"/>
                <a:gd name="T86" fmla="*/ 240 w 244"/>
                <a:gd name="T87" fmla="*/ 92 h 164"/>
                <a:gd name="T88" fmla="*/ 236 w 244"/>
                <a:gd name="T89" fmla="*/ 100 h 164"/>
                <a:gd name="T90" fmla="*/ 224 w 244"/>
                <a:gd name="T91" fmla="*/ 104 h 164"/>
                <a:gd name="T92" fmla="*/ 206 w 244"/>
                <a:gd name="T93" fmla="*/ 104 h 164"/>
                <a:gd name="T94" fmla="*/ 210 w 244"/>
                <a:gd name="T95" fmla="*/ 96 h 164"/>
                <a:gd name="T96" fmla="*/ 202 w 244"/>
                <a:gd name="T97" fmla="*/ 92 h 164"/>
                <a:gd name="T98" fmla="*/ 192 w 244"/>
                <a:gd name="T99" fmla="*/ 92 h 164"/>
                <a:gd name="T100" fmla="*/ 184 w 244"/>
                <a:gd name="T101" fmla="*/ 104 h 164"/>
                <a:gd name="T102" fmla="*/ 184 w 244"/>
                <a:gd name="T103" fmla="*/ 108 h 164"/>
                <a:gd name="T104" fmla="*/ 176 w 244"/>
                <a:gd name="T105" fmla="*/ 11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4" h="164">
                  <a:moveTo>
                    <a:pt x="176" y="112"/>
                  </a:moveTo>
                  <a:lnTo>
                    <a:pt x="176" y="116"/>
                  </a:lnTo>
                  <a:lnTo>
                    <a:pt x="176" y="118"/>
                  </a:lnTo>
                  <a:lnTo>
                    <a:pt x="172" y="118"/>
                  </a:lnTo>
                  <a:lnTo>
                    <a:pt x="168" y="118"/>
                  </a:lnTo>
                  <a:lnTo>
                    <a:pt x="168" y="116"/>
                  </a:lnTo>
                  <a:lnTo>
                    <a:pt x="166" y="116"/>
                  </a:lnTo>
                  <a:lnTo>
                    <a:pt x="162" y="118"/>
                  </a:lnTo>
                  <a:lnTo>
                    <a:pt x="162" y="122"/>
                  </a:lnTo>
                  <a:lnTo>
                    <a:pt x="162" y="126"/>
                  </a:lnTo>
                  <a:lnTo>
                    <a:pt x="166" y="126"/>
                  </a:lnTo>
                  <a:lnTo>
                    <a:pt x="166" y="130"/>
                  </a:lnTo>
                  <a:lnTo>
                    <a:pt x="168" y="130"/>
                  </a:lnTo>
                  <a:lnTo>
                    <a:pt x="172" y="130"/>
                  </a:lnTo>
                  <a:lnTo>
                    <a:pt x="172" y="134"/>
                  </a:lnTo>
                  <a:lnTo>
                    <a:pt x="168" y="134"/>
                  </a:lnTo>
                  <a:lnTo>
                    <a:pt x="168" y="138"/>
                  </a:lnTo>
                  <a:lnTo>
                    <a:pt x="172" y="142"/>
                  </a:lnTo>
                  <a:lnTo>
                    <a:pt x="172" y="144"/>
                  </a:lnTo>
                  <a:lnTo>
                    <a:pt x="176" y="144"/>
                  </a:lnTo>
                  <a:lnTo>
                    <a:pt x="172" y="144"/>
                  </a:lnTo>
                  <a:lnTo>
                    <a:pt x="172" y="148"/>
                  </a:lnTo>
                  <a:lnTo>
                    <a:pt x="168" y="152"/>
                  </a:lnTo>
                  <a:lnTo>
                    <a:pt x="168" y="156"/>
                  </a:lnTo>
                  <a:lnTo>
                    <a:pt x="166" y="156"/>
                  </a:lnTo>
                  <a:lnTo>
                    <a:pt x="166" y="160"/>
                  </a:lnTo>
                  <a:lnTo>
                    <a:pt x="166" y="164"/>
                  </a:lnTo>
                  <a:lnTo>
                    <a:pt x="162" y="160"/>
                  </a:lnTo>
                  <a:lnTo>
                    <a:pt x="162" y="164"/>
                  </a:lnTo>
                  <a:lnTo>
                    <a:pt x="158" y="164"/>
                  </a:lnTo>
                  <a:lnTo>
                    <a:pt x="158" y="160"/>
                  </a:lnTo>
                  <a:lnTo>
                    <a:pt x="154" y="160"/>
                  </a:lnTo>
                  <a:lnTo>
                    <a:pt x="150" y="160"/>
                  </a:lnTo>
                  <a:lnTo>
                    <a:pt x="146" y="160"/>
                  </a:lnTo>
                  <a:lnTo>
                    <a:pt x="146" y="156"/>
                  </a:lnTo>
                  <a:lnTo>
                    <a:pt x="150" y="152"/>
                  </a:lnTo>
                  <a:lnTo>
                    <a:pt x="150" y="148"/>
                  </a:lnTo>
                  <a:lnTo>
                    <a:pt x="146" y="148"/>
                  </a:lnTo>
                  <a:lnTo>
                    <a:pt x="146" y="144"/>
                  </a:lnTo>
                  <a:lnTo>
                    <a:pt x="142" y="144"/>
                  </a:lnTo>
                  <a:lnTo>
                    <a:pt x="138" y="142"/>
                  </a:lnTo>
                  <a:lnTo>
                    <a:pt x="138" y="144"/>
                  </a:lnTo>
                  <a:lnTo>
                    <a:pt x="136" y="144"/>
                  </a:lnTo>
                  <a:lnTo>
                    <a:pt x="136" y="142"/>
                  </a:lnTo>
                  <a:lnTo>
                    <a:pt x="132" y="142"/>
                  </a:lnTo>
                  <a:lnTo>
                    <a:pt x="128" y="138"/>
                  </a:lnTo>
                  <a:lnTo>
                    <a:pt x="124" y="134"/>
                  </a:lnTo>
                  <a:lnTo>
                    <a:pt x="120" y="134"/>
                  </a:lnTo>
                  <a:lnTo>
                    <a:pt x="120" y="130"/>
                  </a:lnTo>
                  <a:lnTo>
                    <a:pt x="116" y="130"/>
                  </a:lnTo>
                  <a:lnTo>
                    <a:pt x="112" y="130"/>
                  </a:lnTo>
                  <a:lnTo>
                    <a:pt x="112" y="126"/>
                  </a:lnTo>
                  <a:lnTo>
                    <a:pt x="110" y="126"/>
                  </a:lnTo>
                  <a:lnTo>
                    <a:pt x="110" y="122"/>
                  </a:lnTo>
                  <a:lnTo>
                    <a:pt x="106" y="122"/>
                  </a:lnTo>
                  <a:lnTo>
                    <a:pt x="106" y="118"/>
                  </a:lnTo>
                  <a:lnTo>
                    <a:pt x="102" y="118"/>
                  </a:lnTo>
                  <a:lnTo>
                    <a:pt x="98" y="116"/>
                  </a:lnTo>
                  <a:lnTo>
                    <a:pt x="94" y="116"/>
                  </a:lnTo>
                  <a:lnTo>
                    <a:pt x="94" y="112"/>
                  </a:lnTo>
                  <a:lnTo>
                    <a:pt x="90" y="112"/>
                  </a:lnTo>
                  <a:lnTo>
                    <a:pt x="90" y="108"/>
                  </a:lnTo>
                  <a:lnTo>
                    <a:pt x="90" y="104"/>
                  </a:lnTo>
                  <a:lnTo>
                    <a:pt x="90" y="100"/>
                  </a:lnTo>
                  <a:lnTo>
                    <a:pt x="86" y="100"/>
                  </a:lnTo>
                  <a:lnTo>
                    <a:pt x="86" y="96"/>
                  </a:lnTo>
                  <a:lnTo>
                    <a:pt x="82" y="96"/>
                  </a:lnTo>
                  <a:lnTo>
                    <a:pt x="82" y="92"/>
                  </a:lnTo>
                  <a:lnTo>
                    <a:pt x="82" y="88"/>
                  </a:lnTo>
                  <a:lnTo>
                    <a:pt x="80" y="86"/>
                  </a:lnTo>
                  <a:lnTo>
                    <a:pt x="76" y="86"/>
                  </a:lnTo>
                  <a:lnTo>
                    <a:pt x="72" y="86"/>
                  </a:lnTo>
                  <a:lnTo>
                    <a:pt x="68" y="86"/>
                  </a:lnTo>
                  <a:lnTo>
                    <a:pt x="64" y="86"/>
                  </a:lnTo>
                  <a:lnTo>
                    <a:pt x="60" y="86"/>
                  </a:lnTo>
                  <a:lnTo>
                    <a:pt x="60" y="82"/>
                  </a:lnTo>
                  <a:lnTo>
                    <a:pt x="56" y="82"/>
                  </a:lnTo>
                  <a:lnTo>
                    <a:pt x="56" y="78"/>
                  </a:lnTo>
                  <a:lnTo>
                    <a:pt x="56" y="74"/>
                  </a:lnTo>
                  <a:lnTo>
                    <a:pt x="60" y="74"/>
                  </a:lnTo>
                  <a:lnTo>
                    <a:pt x="56" y="74"/>
                  </a:lnTo>
                  <a:lnTo>
                    <a:pt x="56" y="70"/>
                  </a:lnTo>
                  <a:lnTo>
                    <a:pt x="56" y="66"/>
                  </a:lnTo>
                  <a:lnTo>
                    <a:pt x="52" y="62"/>
                  </a:lnTo>
                  <a:lnTo>
                    <a:pt x="50" y="62"/>
                  </a:lnTo>
                  <a:lnTo>
                    <a:pt x="46" y="62"/>
                  </a:lnTo>
                  <a:lnTo>
                    <a:pt x="46" y="60"/>
                  </a:lnTo>
                  <a:lnTo>
                    <a:pt x="42" y="60"/>
                  </a:lnTo>
                  <a:lnTo>
                    <a:pt x="38" y="60"/>
                  </a:lnTo>
                  <a:lnTo>
                    <a:pt x="38" y="56"/>
                  </a:lnTo>
                  <a:lnTo>
                    <a:pt x="34" y="56"/>
                  </a:lnTo>
                  <a:lnTo>
                    <a:pt x="34" y="60"/>
                  </a:lnTo>
                  <a:lnTo>
                    <a:pt x="30" y="56"/>
                  </a:lnTo>
                  <a:lnTo>
                    <a:pt x="30" y="60"/>
                  </a:lnTo>
                  <a:lnTo>
                    <a:pt x="34" y="62"/>
                  </a:lnTo>
                  <a:lnTo>
                    <a:pt x="30" y="62"/>
                  </a:lnTo>
                  <a:lnTo>
                    <a:pt x="26" y="60"/>
                  </a:lnTo>
                  <a:lnTo>
                    <a:pt x="26" y="62"/>
                  </a:lnTo>
                  <a:lnTo>
                    <a:pt x="26" y="66"/>
                  </a:lnTo>
                  <a:lnTo>
                    <a:pt x="24" y="66"/>
                  </a:lnTo>
                  <a:lnTo>
                    <a:pt x="20" y="66"/>
                  </a:lnTo>
                  <a:lnTo>
                    <a:pt x="16" y="66"/>
                  </a:lnTo>
                  <a:lnTo>
                    <a:pt x="16" y="70"/>
                  </a:lnTo>
                  <a:lnTo>
                    <a:pt x="12" y="70"/>
                  </a:lnTo>
                  <a:lnTo>
                    <a:pt x="12" y="74"/>
                  </a:lnTo>
                  <a:lnTo>
                    <a:pt x="12" y="78"/>
                  </a:lnTo>
                  <a:lnTo>
                    <a:pt x="12" y="82"/>
                  </a:lnTo>
                  <a:lnTo>
                    <a:pt x="16" y="82"/>
                  </a:lnTo>
                  <a:lnTo>
                    <a:pt x="16" y="86"/>
                  </a:lnTo>
                  <a:lnTo>
                    <a:pt x="12" y="86"/>
                  </a:lnTo>
                  <a:lnTo>
                    <a:pt x="8" y="86"/>
                  </a:lnTo>
                  <a:lnTo>
                    <a:pt x="4" y="86"/>
                  </a:lnTo>
                  <a:lnTo>
                    <a:pt x="0" y="86"/>
                  </a:lnTo>
                  <a:lnTo>
                    <a:pt x="0" y="82"/>
                  </a:lnTo>
                  <a:lnTo>
                    <a:pt x="0" y="78"/>
                  </a:lnTo>
                  <a:lnTo>
                    <a:pt x="0" y="74"/>
                  </a:lnTo>
                  <a:lnTo>
                    <a:pt x="0" y="66"/>
                  </a:lnTo>
                  <a:lnTo>
                    <a:pt x="0" y="60"/>
                  </a:lnTo>
                  <a:lnTo>
                    <a:pt x="0" y="56"/>
                  </a:lnTo>
                  <a:lnTo>
                    <a:pt x="0" y="52"/>
                  </a:lnTo>
                  <a:lnTo>
                    <a:pt x="0" y="48"/>
                  </a:lnTo>
                  <a:lnTo>
                    <a:pt x="0" y="46"/>
                  </a:lnTo>
                  <a:lnTo>
                    <a:pt x="0" y="38"/>
                  </a:lnTo>
                  <a:lnTo>
                    <a:pt x="0" y="34"/>
                  </a:lnTo>
                  <a:lnTo>
                    <a:pt x="0" y="22"/>
                  </a:lnTo>
                  <a:lnTo>
                    <a:pt x="0" y="16"/>
                  </a:lnTo>
                  <a:lnTo>
                    <a:pt x="0" y="12"/>
                  </a:lnTo>
                  <a:lnTo>
                    <a:pt x="4" y="12"/>
                  </a:lnTo>
                  <a:lnTo>
                    <a:pt x="8" y="8"/>
                  </a:lnTo>
                  <a:lnTo>
                    <a:pt x="16" y="8"/>
                  </a:lnTo>
                  <a:lnTo>
                    <a:pt x="20" y="4"/>
                  </a:lnTo>
                  <a:lnTo>
                    <a:pt x="24" y="4"/>
                  </a:lnTo>
                  <a:lnTo>
                    <a:pt x="26" y="4"/>
                  </a:lnTo>
                  <a:lnTo>
                    <a:pt x="30" y="0"/>
                  </a:lnTo>
                  <a:lnTo>
                    <a:pt x="34" y="0"/>
                  </a:lnTo>
                  <a:lnTo>
                    <a:pt x="50" y="12"/>
                  </a:lnTo>
                  <a:lnTo>
                    <a:pt x="72" y="26"/>
                  </a:lnTo>
                  <a:lnTo>
                    <a:pt x="76" y="30"/>
                  </a:lnTo>
                  <a:lnTo>
                    <a:pt x="80" y="34"/>
                  </a:lnTo>
                  <a:lnTo>
                    <a:pt x="82" y="38"/>
                  </a:lnTo>
                  <a:lnTo>
                    <a:pt x="82" y="42"/>
                  </a:lnTo>
                  <a:lnTo>
                    <a:pt x="90" y="42"/>
                  </a:lnTo>
                  <a:lnTo>
                    <a:pt x="94" y="42"/>
                  </a:lnTo>
                  <a:lnTo>
                    <a:pt x="102" y="38"/>
                  </a:lnTo>
                  <a:lnTo>
                    <a:pt x="106" y="38"/>
                  </a:lnTo>
                  <a:lnTo>
                    <a:pt x="110" y="42"/>
                  </a:lnTo>
                  <a:lnTo>
                    <a:pt x="112" y="42"/>
                  </a:lnTo>
                  <a:lnTo>
                    <a:pt x="120" y="42"/>
                  </a:lnTo>
                  <a:lnTo>
                    <a:pt x="124" y="38"/>
                  </a:lnTo>
                  <a:lnTo>
                    <a:pt x="128" y="38"/>
                  </a:lnTo>
                  <a:lnTo>
                    <a:pt x="128" y="42"/>
                  </a:lnTo>
                  <a:lnTo>
                    <a:pt x="132" y="42"/>
                  </a:lnTo>
                  <a:lnTo>
                    <a:pt x="132" y="46"/>
                  </a:lnTo>
                  <a:lnTo>
                    <a:pt x="136" y="46"/>
                  </a:lnTo>
                  <a:lnTo>
                    <a:pt x="136" y="48"/>
                  </a:lnTo>
                  <a:lnTo>
                    <a:pt x="138" y="52"/>
                  </a:lnTo>
                  <a:lnTo>
                    <a:pt x="142" y="52"/>
                  </a:lnTo>
                  <a:lnTo>
                    <a:pt x="142" y="56"/>
                  </a:lnTo>
                  <a:lnTo>
                    <a:pt x="142" y="60"/>
                  </a:lnTo>
                  <a:lnTo>
                    <a:pt x="142" y="62"/>
                  </a:lnTo>
                  <a:lnTo>
                    <a:pt x="142" y="66"/>
                  </a:lnTo>
                  <a:lnTo>
                    <a:pt x="142" y="70"/>
                  </a:lnTo>
                  <a:lnTo>
                    <a:pt x="146" y="70"/>
                  </a:lnTo>
                  <a:lnTo>
                    <a:pt x="150" y="74"/>
                  </a:lnTo>
                  <a:lnTo>
                    <a:pt x="150" y="82"/>
                  </a:lnTo>
                  <a:lnTo>
                    <a:pt x="150" y="86"/>
                  </a:lnTo>
                  <a:lnTo>
                    <a:pt x="154" y="86"/>
                  </a:lnTo>
                  <a:lnTo>
                    <a:pt x="158" y="86"/>
                  </a:lnTo>
                  <a:lnTo>
                    <a:pt x="162" y="86"/>
                  </a:lnTo>
                  <a:lnTo>
                    <a:pt x="166" y="86"/>
                  </a:lnTo>
                  <a:lnTo>
                    <a:pt x="168" y="86"/>
                  </a:lnTo>
                  <a:lnTo>
                    <a:pt x="168" y="88"/>
                  </a:lnTo>
                  <a:lnTo>
                    <a:pt x="172" y="88"/>
                  </a:lnTo>
                  <a:lnTo>
                    <a:pt x="168" y="92"/>
                  </a:lnTo>
                  <a:lnTo>
                    <a:pt x="172" y="96"/>
                  </a:lnTo>
                  <a:lnTo>
                    <a:pt x="176" y="96"/>
                  </a:lnTo>
                  <a:lnTo>
                    <a:pt x="180" y="96"/>
                  </a:lnTo>
                  <a:lnTo>
                    <a:pt x="176" y="96"/>
                  </a:lnTo>
                  <a:lnTo>
                    <a:pt x="176" y="92"/>
                  </a:lnTo>
                  <a:lnTo>
                    <a:pt x="180" y="92"/>
                  </a:lnTo>
                  <a:lnTo>
                    <a:pt x="180" y="88"/>
                  </a:lnTo>
                  <a:lnTo>
                    <a:pt x="184" y="86"/>
                  </a:lnTo>
                  <a:lnTo>
                    <a:pt x="184" y="82"/>
                  </a:lnTo>
                  <a:lnTo>
                    <a:pt x="188" y="82"/>
                  </a:lnTo>
                  <a:lnTo>
                    <a:pt x="192" y="78"/>
                  </a:lnTo>
                  <a:lnTo>
                    <a:pt x="194" y="78"/>
                  </a:lnTo>
                  <a:lnTo>
                    <a:pt x="198" y="74"/>
                  </a:lnTo>
                  <a:lnTo>
                    <a:pt x="202" y="70"/>
                  </a:lnTo>
                  <a:lnTo>
                    <a:pt x="202" y="66"/>
                  </a:lnTo>
                  <a:lnTo>
                    <a:pt x="206" y="70"/>
                  </a:lnTo>
                  <a:lnTo>
                    <a:pt x="206" y="66"/>
                  </a:lnTo>
                  <a:lnTo>
                    <a:pt x="210" y="66"/>
                  </a:lnTo>
                  <a:lnTo>
                    <a:pt x="214" y="62"/>
                  </a:lnTo>
                  <a:lnTo>
                    <a:pt x="214" y="66"/>
                  </a:lnTo>
                  <a:lnTo>
                    <a:pt x="210" y="70"/>
                  </a:lnTo>
                  <a:lnTo>
                    <a:pt x="206" y="70"/>
                  </a:lnTo>
                  <a:lnTo>
                    <a:pt x="206" y="74"/>
                  </a:lnTo>
                  <a:lnTo>
                    <a:pt x="202" y="74"/>
                  </a:lnTo>
                  <a:lnTo>
                    <a:pt x="202" y="78"/>
                  </a:lnTo>
                  <a:lnTo>
                    <a:pt x="198" y="78"/>
                  </a:lnTo>
                  <a:lnTo>
                    <a:pt x="198" y="82"/>
                  </a:lnTo>
                  <a:lnTo>
                    <a:pt x="202" y="82"/>
                  </a:lnTo>
                  <a:lnTo>
                    <a:pt x="206" y="82"/>
                  </a:lnTo>
                  <a:lnTo>
                    <a:pt x="210" y="82"/>
                  </a:lnTo>
                  <a:lnTo>
                    <a:pt x="210" y="86"/>
                  </a:lnTo>
                  <a:lnTo>
                    <a:pt x="214" y="86"/>
                  </a:lnTo>
                  <a:lnTo>
                    <a:pt x="218" y="88"/>
                  </a:lnTo>
                  <a:lnTo>
                    <a:pt x="218" y="86"/>
                  </a:lnTo>
                  <a:lnTo>
                    <a:pt x="218" y="82"/>
                  </a:lnTo>
                  <a:lnTo>
                    <a:pt x="218" y="86"/>
                  </a:lnTo>
                  <a:lnTo>
                    <a:pt x="222" y="86"/>
                  </a:lnTo>
                  <a:lnTo>
                    <a:pt x="222" y="82"/>
                  </a:lnTo>
                  <a:lnTo>
                    <a:pt x="222" y="78"/>
                  </a:lnTo>
                  <a:lnTo>
                    <a:pt x="224" y="82"/>
                  </a:lnTo>
                  <a:lnTo>
                    <a:pt x="224" y="86"/>
                  </a:lnTo>
                  <a:lnTo>
                    <a:pt x="228" y="86"/>
                  </a:lnTo>
                  <a:lnTo>
                    <a:pt x="228" y="88"/>
                  </a:lnTo>
                  <a:lnTo>
                    <a:pt x="232" y="88"/>
                  </a:lnTo>
                  <a:lnTo>
                    <a:pt x="236" y="92"/>
                  </a:lnTo>
                  <a:lnTo>
                    <a:pt x="240" y="92"/>
                  </a:lnTo>
                  <a:lnTo>
                    <a:pt x="244" y="92"/>
                  </a:lnTo>
                  <a:lnTo>
                    <a:pt x="240" y="92"/>
                  </a:lnTo>
                  <a:lnTo>
                    <a:pt x="240" y="96"/>
                  </a:lnTo>
                  <a:lnTo>
                    <a:pt x="236" y="96"/>
                  </a:lnTo>
                  <a:lnTo>
                    <a:pt x="236" y="100"/>
                  </a:lnTo>
                  <a:lnTo>
                    <a:pt x="232" y="100"/>
                  </a:lnTo>
                  <a:lnTo>
                    <a:pt x="232" y="96"/>
                  </a:lnTo>
                  <a:lnTo>
                    <a:pt x="232" y="100"/>
                  </a:lnTo>
                  <a:lnTo>
                    <a:pt x="228" y="100"/>
                  </a:lnTo>
                  <a:lnTo>
                    <a:pt x="224" y="104"/>
                  </a:lnTo>
                  <a:lnTo>
                    <a:pt x="222" y="108"/>
                  </a:lnTo>
                  <a:lnTo>
                    <a:pt x="218" y="104"/>
                  </a:lnTo>
                  <a:lnTo>
                    <a:pt x="214" y="104"/>
                  </a:lnTo>
                  <a:lnTo>
                    <a:pt x="210" y="104"/>
                  </a:lnTo>
                  <a:lnTo>
                    <a:pt x="206" y="104"/>
                  </a:lnTo>
                  <a:lnTo>
                    <a:pt x="202" y="104"/>
                  </a:lnTo>
                  <a:lnTo>
                    <a:pt x="202" y="100"/>
                  </a:lnTo>
                  <a:lnTo>
                    <a:pt x="206" y="100"/>
                  </a:lnTo>
                  <a:lnTo>
                    <a:pt x="206" y="96"/>
                  </a:lnTo>
                  <a:lnTo>
                    <a:pt x="210" y="96"/>
                  </a:lnTo>
                  <a:lnTo>
                    <a:pt x="210" y="92"/>
                  </a:lnTo>
                  <a:lnTo>
                    <a:pt x="206" y="92"/>
                  </a:lnTo>
                  <a:lnTo>
                    <a:pt x="206" y="88"/>
                  </a:lnTo>
                  <a:lnTo>
                    <a:pt x="202" y="88"/>
                  </a:lnTo>
                  <a:lnTo>
                    <a:pt x="202" y="92"/>
                  </a:lnTo>
                  <a:lnTo>
                    <a:pt x="198" y="92"/>
                  </a:lnTo>
                  <a:lnTo>
                    <a:pt x="198" y="96"/>
                  </a:lnTo>
                  <a:lnTo>
                    <a:pt x="194" y="96"/>
                  </a:lnTo>
                  <a:lnTo>
                    <a:pt x="192" y="96"/>
                  </a:lnTo>
                  <a:lnTo>
                    <a:pt x="192" y="92"/>
                  </a:lnTo>
                  <a:lnTo>
                    <a:pt x="188" y="92"/>
                  </a:lnTo>
                  <a:lnTo>
                    <a:pt x="188" y="96"/>
                  </a:lnTo>
                  <a:lnTo>
                    <a:pt x="188" y="100"/>
                  </a:lnTo>
                  <a:lnTo>
                    <a:pt x="188" y="104"/>
                  </a:lnTo>
                  <a:lnTo>
                    <a:pt x="184" y="104"/>
                  </a:lnTo>
                  <a:lnTo>
                    <a:pt x="180" y="104"/>
                  </a:lnTo>
                  <a:lnTo>
                    <a:pt x="176" y="104"/>
                  </a:lnTo>
                  <a:lnTo>
                    <a:pt x="176" y="108"/>
                  </a:lnTo>
                  <a:lnTo>
                    <a:pt x="180" y="108"/>
                  </a:lnTo>
                  <a:lnTo>
                    <a:pt x="184" y="108"/>
                  </a:lnTo>
                  <a:lnTo>
                    <a:pt x="180" y="108"/>
                  </a:lnTo>
                  <a:lnTo>
                    <a:pt x="180" y="112"/>
                  </a:lnTo>
                  <a:lnTo>
                    <a:pt x="176" y="112"/>
                  </a:lnTo>
                  <a:lnTo>
                    <a:pt x="176" y="112"/>
                  </a:lnTo>
                  <a:lnTo>
                    <a:pt x="176" y="11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69" name="Freeform 62"/>
            <p:cNvSpPr>
              <a:spLocks noEditPoints="1"/>
            </p:cNvSpPr>
            <p:nvPr/>
          </p:nvSpPr>
          <p:spPr bwMode="auto">
            <a:xfrm>
              <a:off x="7948345" y="3896312"/>
              <a:ext cx="62798" cy="168678"/>
            </a:xfrm>
            <a:custGeom>
              <a:avLst/>
              <a:gdLst>
                <a:gd name="T0" fmla="*/ 78 w 100"/>
                <a:gd name="T1" fmla="*/ 122 h 258"/>
                <a:gd name="T2" fmla="*/ 86 w 100"/>
                <a:gd name="T3" fmla="*/ 130 h 258"/>
                <a:gd name="T4" fmla="*/ 92 w 100"/>
                <a:gd name="T5" fmla="*/ 138 h 258"/>
                <a:gd name="T6" fmla="*/ 96 w 100"/>
                <a:gd name="T7" fmla="*/ 148 h 258"/>
                <a:gd name="T8" fmla="*/ 96 w 100"/>
                <a:gd name="T9" fmla="*/ 168 h 258"/>
                <a:gd name="T10" fmla="*/ 100 w 100"/>
                <a:gd name="T11" fmla="*/ 178 h 258"/>
                <a:gd name="T12" fmla="*/ 100 w 100"/>
                <a:gd name="T13" fmla="*/ 194 h 258"/>
                <a:gd name="T14" fmla="*/ 96 w 100"/>
                <a:gd name="T15" fmla="*/ 198 h 258"/>
                <a:gd name="T16" fmla="*/ 92 w 100"/>
                <a:gd name="T17" fmla="*/ 212 h 258"/>
                <a:gd name="T18" fmla="*/ 78 w 100"/>
                <a:gd name="T19" fmla="*/ 220 h 258"/>
                <a:gd name="T20" fmla="*/ 62 w 100"/>
                <a:gd name="T21" fmla="*/ 220 h 258"/>
                <a:gd name="T22" fmla="*/ 62 w 100"/>
                <a:gd name="T23" fmla="*/ 228 h 258"/>
                <a:gd name="T24" fmla="*/ 60 w 100"/>
                <a:gd name="T25" fmla="*/ 232 h 258"/>
                <a:gd name="T26" fmla="*/ 56 w 100"/>
                <a:gd name="T27" fmla="*/ 232 h 258"/>
                <a:gd name="T28" fmla="*/ 52 w 100"/>
                <a:gd name="T29" fmla="*/ 234 h 258"/>
                <a:gd name="T30" fmla="*/ 48 w 100"/>
                <a:gd name="T31" fmla="*/ 246 h 258"/>
                <a:gd name="T32" fmla="*/ 34 w 100"/>
                <a:gd name="T33" fmla="*/ 258 h 258"/>
                <a:gd name="T34" fmla="*/ 36 w 100"/>
                <a:gd name="T35" fmla="*/ 238 h 258"/>
                <a:gd name="T36" fmla="*/ 34 w 100"/>
                <a:gd name="T37" fmla="*/ 228 h 258"/>
                <a:gd name="T38" fmla="*/ 40 w 100"/>
                <a:gd name="T39" fmla="*/ 216 h 258"/>
                <a:gd name="T40" fmla="*/ 56 w 100"/>
                <a:gd name="T41" fmla="*/ 216 h 258"/>
                <a:gd name="T42" fmla="*/ 56 w 100"/>
                <a:gd name="T43" fmla="*/ 204 h 258"/>
                <a:gd name="T44" fmla="*/ 62 w 100"/>
                <a:gd name="T45" fmla="*/ 198 h 258"/>
                <a:gd name="T46" fmla="*/ 74 w 100"/>
                <a:gd name="T47" fmla="*/ 186 h 258"/>
                <a:gd name="T48" fmla="*/ 70 w 100"/>
                <a:gd name="T49" fmla="*/ 164 h 258"/>
                <a:gd name="T50" fmla="*/ 74 w 100"/>
                <a:gd name="T51" fmla="*/ 148 h 258"/>
                <a:gd name="T52" fmla="*/ 70 w 100"/>
                <a:gd name="T53" fmla="*/ 134 h 258"/>
                <a:gd name="T54" fmla="*/ 66 w 100"/>
                <a:gd name="T55" fmla="*/ 122 h 258"/>
                <a:gd name="T56" fmla="*/ 60 w 100"/>
                <a:gd name="T57" fmla="*/ 112 h 258"/>
                <a:gd name="T58" fmla="*/ 48 w 100"/>
                <a:gd name="T59" fmla="*/ 100 h 258"/>
                <a:gd name="T60" fmla="*/ 40 w 100"/>
                <a:gd name="T61" fmla="*/ 86 h 258"/>
                <a:gd name="T62" fmla="*/ 26 w 100"/>
                <a:gd name="T63" fmla="*/ 74 h 258"/>
                <a:gd name="T64" fmla="*/ 26 w 100"/>
                <a:gd name="T65" fmla="*/ 62 h 258"/>
                <a:gd name="T66" fmla="*/ 36 w 100"/>
                <a:gd name="T67" fmla="*/ 58 h 258"/>
                <a:gd name="T68" fmla="*/ 26 w 100"/>
                <a:gd name="T69" fmla="*/ 42 h 258"/>
                <a:gd name="T70" fmla="*/ 10 w 100"/>
                <a:gd name="T71" fmla="*/ 44 h 258"/>
                <a:gd name="T72" fmla="*/ 10 w 100"/>
                <a:gd name="T73" fmla="*/ 34 h 258"/>
                <a:gd name="T74" fmla="*/ 0 w 100"/>
                <a:gd name="T75" fmla="*/ 18 h 258"/>
                <a:gd name="T76" fmla="*/ 10 w 100"/>
                <a:gd name="T77" fmla="*/ 14 h 258"/>
                <a:gd name="T78" fmla="*/ 22 w 100"/>
                <a:gd name="T79" fmla="*/ 12 h 258"/>
                <a:gd name="T80" fmla="*/ 36 w 100"/>
                <a:gd name="T81" fmla="*/ 8 h 258"/>
                <a:gd name="T82" fmla="*/ 48 w 100"/>
                <a:gd name="T83" fmla="*/ 8 h 258"/>
                <a:gd name="T84" fmla="*/ 62 w 100"/>
                <a:gd name="T85" fmla="*/ 14 h 258"/>
                <a:gd name="T86" fmla="*/ 70 w 100"/>
                <a:gd name="T87" fmla="*/ 30 h 258"/>
                <a:gd name="T88" fmla="*/ 74 w 100"/>
                <a:gd name="T89" fmla="*/ 38 h 258"/>
                <a:gd name="T90" fmla="*/ 70 w 100"/>
                <a:gd name="T91" fmla="*/ 42 h 258"/>
                <a:gd name="T92" fmla="*/ 62 w 100"/>
                <a:gd name="T93" fmla="*/ 48 h 258"/>
                <a:gd name="T94" fmla="*/ 56 w 100"/>
                <a:gd name="T95" fmla="*/ 58 h 258"/>
                <a:gd name="T96" fmla="*/ 52 w 100"/>
                <a:gd name="T97" fmla="*/ 70 h 258"/>
                <a:gd name="T98" fmla="*/ 52 w 100"/>
                <a:gd name="T99" fmla="*/ 88 h 258"/>
                <a:gd name="T100" fmla="*/ 62 w 100"/>
                <a:gd name="T101" fmla="*/ 108 h 258"/>
                <a:gd name="T102" fmla="*/ 66 w 100"/>
                <a:gd name="T103" fmla="*/ 224 h 258"/>
                <a:gd name="T104" fmla="*/ 62 w 100"/>
                <a:gd name="T105" fmla="*/ 224 h 258"/>
                <a:gd name="T106" fmla="*/ 74 w 100"/>
                <a:gd name="T107" fmla="*/ 38 h 258"/>
                <a:gd name="T108" fmla="*/ 66 w 100"/>
                <a:gd name="T109" fmla="*/ 44 h 258"/>
                <a:gd name="T110" fmla="*/ 26 w 100"/>
                <a:gd name="T111" fmla="*/ 22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 h="258">
                  <a:moveTo>
                    <a:pt x="66" y="112"/>
                  </a:moveTo>
                  <a:lnTo>
                    <a:pt x="70" y="112"/>
                  </a:lnTo>
                  <a:lnTo>
                    <a:pt x="70" y="116"/>
                  </a:lnTo>
                  <a:lnTo>
                    <a:pt x="74" y="118"/>
                  </a:lnTo>
                  <a:lnTo>
                    <a:pt x="78" y="118"/>
                  </a:lnTo>
                  <a:lnTo>
                    <a:pt x="78" y="122"/>
                  </a:lnTo>
                  <a:lnTo>
                    <a:pt x="82" y="122"/>
                  </a:lnTo>
                  <a:lnTo>
                    <a:pt x="82" y="126"/>
                  </a:lnTo>
                  <a:lnTo>
                    <a:pt x="86" y="126"/>
                  </a:lnTo>
                  <a:lnTo>
                    <a:pt x="82" y="126"/>
                  </a:lnTo>
                  <a:lnTo>
                    <a:pt x="86" y="126"/>
                  </a:lnTo>
                  <a:lnTo>
                    <a:pt x="86" y="130"/>
                  </a:lnTo>
                  <a:lnTo>
                    <a:pt x="86" y="126"/>
                  </a:lnTo>
                  <a:lnTo>
                    <a:pt x="86" y="130"/>
                  </a:lnTo>
                  <a:lnTo>
                    <a:pt x="86" y="134"/>
                  </a:lnTo>
                  <a:lnTo>
                    <a:pt x="90" y="134"/>
                  </a:lnTo>
                  <a:lnTo>
                    <a:pt x="90" y="138"/>
                  </a:lnTo>
                  <a:lnTo>
                    <a:pt x="92" y="138"/>
                  </a:lnTo>
                  <a:lnTo>
                    <a:pt x="92" y="142"/>
                  </a:lnTo>
                  <a:lnTo>
                    <a:pt x="92" y="138"/>
                  </a:lnTo>
                  <a:lnTo>
                    <a:pt x="92" y="142"/>
                  </a:lnTo>
                  <a:lnTo>
                    <a:pt x="92" y="146"/>
                  </a:lnTo>
                  <a:lnTo>
                    <a:pt x="92" y="148"/>
                  </a:lnTo>
                  <a:lnTo>
                    <a:pt x="96" y="148"/>
                  </a:lnTo>
                  <a:lnTo>
                    <a:pt x="96" y="152"/>
                  </a:lnTo>
                  <a:lnTo>
                    <a:pt x="96" y="156"/>
                  </a:lnTo>
                  <a:lnTo>
                    <a:pt x="96" y="160"/>
                  </a:lnTo>
                  <a:lnTo>
                    <a:pt x="100" y="164"/>
                  </a:lnTo>
                  <a:lnTo>
                    <a:pt x="100" y="168"/>
                  </a:lnTo>
                  <a:lnTo>
                    <a:pt x="96" y="168"/>
                  </a:lnTo>
                  <a:lnTo>
                    <a:pt x="100" y="168"/>
                  </a:lnTo>
                  <a:lnTo>
                    <a:pt x="96" y="168"/>
                  </a:lnTo>
                  <a:lnTo>
                    <a:pt x="100" y="168"/>
                  </a:lnTo>
                  <a:lnTo>
                    <a:pt x="100" y="172"/>
                  </a:lnTo>
                  <a:lnTo>
                    <a:pt x="100" y="174"/>
                  </a:lnTo>
                  <a:lnTo>
                    <a:pt x="100" y="178"/>
                  </a:lnTo>
                  <a:lnTo>
                    <a:pt x="100" y="182"/>
                  </a:lnTo>
                  <a:lnTo>
                    <a:pt x="100" y="186"/>
                  </a:lnTo>
                  <a:lnTo>
                    <a:pt x="96" y="186"/>
                  </a:lnTo>
                  <a:lnTo>
                    <a:pt x="96" y="190"/>
                  </a:lnTo>
                  <a:lnTo>
                    <a:pt x="100" y="190"/>
                  </a:lnTo>
                  <a:lnTo>
                    <a:pt x="100" y="194"/>
                  </a:lnTo>
                  <a:lnTo>
                    <a:pt x="100" y="190"/>
                  </a:lnTo>
                  <a:lnTo>
                    <a:pt x="96" y="190"/>
                  </a:lnTo>
                  <a:lnTo>
                    <a:pt x="96" y="194"/>
                  </a:lnTo>
                  <a:lnTo>
                    <a:pt x="96" y="198"/>
                  </a:lnTo>
                  <a:lnTo>
                    <a:pt x="100" y="202"/>
                  </a:lnTo>
                  <a:lnTo>
                    <a:pt x="96" y="198"/>
                  </a:lnTo>
                  <a:lnTo>
                    <a:pt x="96" y="202"/>
                  </a:lnTo>
                  <a:lnTo>
                    <a:pt x="96" y="204"/>
                  </a:lnTo>
                  <a:lnTo>
                    <a:pt x="96" y="208"/>
                  </a:lnTo>
                  <a:lnTo>
                    <a:pt x="92" y="212"/>
                  </a:lnTo>
                  <a:lnTo>
                    <a:pt x="92" y="208"/>
                  </a:lnTo>
                  <a:lnTo>
                    <a:pt x="92" y="212"/>
                  </a:lnTo>
                  <a:lnTo>
                    <a:pt x="90" y="212"/>
                  </a:lnTo>
                  <a:lnTo>
                    <a:pt x="90" y="216"/>
                  </a:lnTo>
                  <a:lnTo>
                    <a:pt x="86" y="216"/>
                  </a:lnTo>
                  <a:lnTo>
                    <a:pt x="82" y="216"/>
                  </a:lnTo>
                  <a:lnTo>
                    <a:pt x="82" y="220"/>
                  </a:lnTo>
                  <a:lnTo>
                    <a:pt x="78" y="220"/>
                  </a:lnTo>
                  <a:lnTo>
                    <a:pt x="78" y="224"/>
                  </a:lnTo>
                  <a:lnTo>
                    <a:pt x="74" y="224"/>
                  </a:lnTo>
                  <a:lnTo>
                    <a:pt x="70" y="228"/>
                  </a:lnTo>
                  <a:lnTo>
                    <a:pt x="70" y="224"/>
                  </a:lnTo>
                  <a:lnTo>
                    <a:pt x="66" y="224"/>
                  </a:lnTo>
                  <a:lnTo>
                    <a:pt x="62" y="220"/>
                  </a:lnTo>
                  <a:lnTo>
                    <a:pt x="62" y="224"/>
                  </a:lnTo>
                  <a:lnTo>
                    <a:pt x="62" y="228"/>
                  </a:lnTo>
                  <a:lnTo>
                    <a:pt x="62" y="224"/>
                  </a:lnTo>
                  <a:lnTo>
                    <a:pt x="62" y="228"/>
                  </a:lnTo>
                  <a:lnTo>
                    <a:pt x="60" y="228"/>
                  </a:lnTo>
                  <a:lnTo>
                    <a:pt x="62" y="228"/>
                  </a:lnTo>
                  <a:lnTo>
                    <a:pt x="62" y="232"/>
                  </a:lnTo>
                  <a:lnTo>
                    <a:pt x="62" y="234"/>
                  </a:lnTo>
                  <a:lnTo>
                    <a:pt x="60" y="232"/>
                  </a:lnTo>
                  <a:lnTo>
                    <a:pt x="60" y="228"/>
                  </a:lnTo>
                  <a:lnTo>
                    <a:pt x="56" y="228"/>
                  </a:lnTo>
                  <a:lnTo>
                    <a:pt x="60" y="232"/>
                  </a:lnTo>
                  <a:lnTo>
                    <a:pt x="60" y="234"/>
                  </a:lnTo>
                  <a:lnTo>
                    <a:pt x="62" y="234"/>
                  </a:lnTo>
                  <a:lnTo>
                    <a:pt x="60" y="234"/>
                  </a:lnTo>
                  <a:lnTo>
                    <a:pt x="56" y="232"/>
                  </a:lnTo>
                  <a:lnTo>
                    <a:pt x="56" y="228"/>
                  </a:lnTo>
                  <a:lnTo>
                    <a:pt x="56" y="232"/>
                  </a:lnTo>
                  <a:lnTo>
                    <a:pt x="56" y="234"/>
                  </a:lnTo>
                  <a:lnTo>
                    <a:pt x="60" y="234"/>
                  </a:lnTo>
                  <a:lnTo>
                    <a:pt x="60" y="238"/>
                  </a:lnTo>
                  <a:lnTo>
                    <a:pt x="60" y="242"/>
                  </a:lnTo>
                  <a:lnTo>
                    <a:pt x="56" y="238"/>
                  </a:lnTo>
                  <a:lnTo>
                    <a:pt x="52" y="234"/>
                  </a:lnTo>
                  <a:lnTo>
                    <a:pt x="52" y="238"/>
                  </a:lnTo>
                  <a:lnTo>
                    <a:pt x="56" y="238"/>
                  </a:lnTo>
                  <a:lnTo>
                    <a:pt x="56" y="242"/>
                  </a:lnTo>
                  <a:lnTo>
                    <a:pt x="56" y="246"/>
                  </a:lnTo>
                  <a:lnTo>
                    <a:pt x="52" y="246"/>
                  </a:lnTo>
                  <a:lnTo>
                    <a:pt x="48" y="246"/>
                  </a:lnTo>
                  <a:lnTo>
                    <a:pt x="48" y="250"/>
                  </a:lnTo>
                  <a:lnTo>
                    <a:pt x="44" y="250"/>
                  </a:lnTo>
                  <a:lnTo>
                    <a:pt x="44" y="254"/>
                  </a:lnTo>
                  <a:lnTo>
                    <a:pt x="40" y="258"/>
                  </a:lnTo>
                  <a:lnTo>
                    <a:pt x="36" y="258"/>
                  </a:lnTo>
                  <a:lnTo>
                    <a:pt x="34" y="258"/>
                  </a:lnTo>
                  <a:lnTo>
                    <a:pt x="36" y="258"/>
                  </a:lnTo>
                  <a:lnTo>
                    <a:pt x="36" y="254"/>
                  </a:lnTo>
                  <a:lnTo>
                    <a:pt x="36" y="250"/>
                  </a:lnTo>
                  <a:lnTo>
                    <a:pt x="36" y="246"/>
                  </a:lnTo>
                  <a:lnTo>
                    <a:pt x="36" y="242"/>
                  </a:lnTo>
                  <a:lnTo>
                    <a:pt x="36" y="238"/>
                  </a:lnTo>
                  <a:lnTo>
                    <a:pt x="36" y="234"/>
                  </a:lnTo>
                  <a:lnTo>
                    <a:pt x="40" y="234"/>
                  </a:lnTo>
                  <a:lnTo>
                    <a:pt x="40" y="232"/>
                  </a:lnTo>
                  <a:lnTo>
                    <a:pt x="36" y="232"/>
                  </a:lnTo>
                  <a:lnTo>
                    <a:pt x="34" y="232"/>
                  </a:lnTo>
                  <a:lnTo>
                    <a:pt x="34" y="228"/>
                  </a:lnTo>
                  <a:lnTo>
                    <a:pt x="30" y="228"/>
                  </a:lnTo>
                  <a:lnTo>
                    <a:pt x="34" y="228"/>
                  </a:lnTo>
                  <a:lnTo>
                    <a:pt x="34" y="224"/>
                  </a:lnTo>
                  <a:lnTo>
                    <a:pt x="36" y="224"/>
                  </a:lnTo>
                  <a:lnTo>
                    <a:pt x="40" y="220"/>
                  </a:lnTo>
                  <a:lnTo>
                    <a:pt x="40" y="216"/>
                  </a:lnTo>
                  <a:lnTo>
                    <a:pt x="44" y="220"/>
                  </a:lnTo>
                  <a:lnTo>
                    <a:pt x="44" y="216"/>
                  </a:lnTo>
                  <a:lnTo>
                    <a:pt x="48" y="216"/>
                  </a:lnTo>
                  <a:lnTo>
                    <a:pt x="52" y="216"/>
                  </a:lnTo>
                  <a:lnTo>
                    <a:pt x="56" y="220"/>
                  </a:lnTo>
                  <a:lnTo>
                    <a:pt x="56" y="216"/>
                  </a:lnTo>
                  <a:lnTo>
                    <a:pt x="52" y="212"/>
                  </a:lnTo>
                  <a:lnTo>
                    <a:pt x="52" y="208"/>
                  </a:lnTo>
                  <a:lnTo>
                    <a:pt x="52" y="204"/>
                  </a:lnTo>
                  <a:lnTo>
                    <a:pt x="52" y="202"/>
                  </a:lnTo>
                  <a:lnTo>
                    <a:pt x="56" y="202"/>
                  </a:lnTo>
                  <a:lnTo>
                    <a:pt x="56" y="204"/>
                  </a:lnTo>
                  <a:lnTo>
                    <a:pt x="60" y="204"/>
                  </a:lnTo>
                  <a:lnTo>
                    <a:pt x="60" y="202"/>
                  </a:lnTo>
                  <a:lnTo>
                    <a:pt x="60" y="198"/>
                  </a:lnTo>
                  <a:lnTo>
                    <a:pt x="62" y="198"/>
                  </a:lnTo>
                  <a:lnTo>
                    <a:pt x="62" y="202"/>
                  </a:lnTo>
                  <a:lnTo>
                    <a:pt x="62" y="198"/>
                  </a:lnTo>
                  <a:lnTo>
                    <a:pt x="66" y="198"/>
                  </a:lnTo>
                  <a:lnTo>
                    <a:pt x="66" y="194"/>
                  </a:lnTo>
                  <a:lnTo>
                    <a:pt x="70" y="194"/>
                  </a:lnTo>
                  <a:lnTo>
                    <a:pt x="74" y="194"/>
                  </a:lnTo>
                  <a:lnTo>
                    <a:pt x="74" y="190"/>
                  </a:lnTo>
                  <a:lnTo>
                    <a:pt x="74" y="186"/>
                  </a:lnTo>
                  <a:lnTo>
                    <a:pt x="74" y="182"/>
                  </a:lnTo>
                  <a:lnTo>
                    <a:pt x="74" y="174"/>
                  </a:lnTo>
                  <a:lnTo>
                    <a:pt x="74" y="172"/>
                  </a:lnTo>
                  <a:lnTo>
                    <a:pt x="74" y="168"/>
                  </a:lnTo>
                  <a:lnTo>
                    <a:pt x="74" y="164"/>
                  </a:lnTo>
                  <a:lnTo>
                    <a:pt x="70" y="164"/>
                  </a:lnTo>
                  <a:lnTo>
                    <a:pt x="70" y="160"/>
                  </a:lnTo>
                  <a:lnTo>
                    <a:pt x="74" y="160"/>
                  </a:lnTo>
                  <a:lnTo>
                    <a:pt x="70" y="156"/>
                  </a:lnTo>
                  <a:lnTo>
                    <a:pt x="74" y="156"/>
                  </a:lnTo>
                  <a:lnTo>
                    <a:pt x="74" y="152"/>
                  </a:lnTo>
                  <a:lnTo>
                    <a:pt x="74" y="148"/>
                  </a:lnTo>
                  <a:lnTo>
                    <a:pt x="74" y="146"/>
                  </a:lnTo>
                  <a:lnTo>
                    <a:pt x="78" y="142"/>
                  </a:lnTo>
                  <a:lnTo>
                    <a:pt x="74" y="142"/>
                  </a:lnTo>
                  <a:lnTo>
                    <a:pt x="74" y="138"/>
                  </a:lnTo>
                  <a:lnTo>
                    <a:pt x="70" y="138"/>
                  </a:lnTo>
                  <a:lnTo>
                    <a:pt x="70" y="134"/>
                  </a:lnTo>
                  <a:lnTo>
                    <a:pt x="70" y="130"/>
                  </a:lnTo>
                  <a:lnTo>
                    <a:pt x="74" y="130"/>
                  </a:lnTo>
                  <a:lnTo>
                    <a:pt x="74" y="126"/>
                  </a:lnTo>
                  <a:lnTo>
                    <a:pt x="70" y="126"/>
                  </a:lnTo>
                  <a:lnTo>
                    <a:pt x="70" y="122"/>
                  </a:lnTo>
                  <a:lnTo>
                    <a:pt x="66" y="122"/>
                  </a:lnTo>
                  <a:lnTo>
                    <a:pt x="66" y="118"/>
                  </a:lnTo>
                  <a:lnTo>
                    <a:pt x="62" y="118"/>
                  </a:lnTo>
                  <a:lnTo>
                    <a:pt x="62" y="122"/>
                  </a:lnTo>
                  <a:lnTo>
                    <a:pt x="60" y="118"/>
                  </a:lnTo>
                  <a:lnTo>
                    <a:pt x="60" y="116"/>
                  </a:lnTo>
                  <a:lnTo>
                    <a:pt x="60" y="112"/>
                  </a:lnTo>
                  <a:lnTo>
                    <a:pt x="60" y="108"/>
                  </a:lnTo>
                  <a:lnTo>
                    <a:pt x="56" y="108"/>
                  </a:lnTo>
                  <a:lnTo>
                    <a:pt x="56" y="104"/>
                  </a:lnTo>
                  <a:lnTo>
                    <a:pt x="52" y="104"/>
                  </a:lnTo>
                  <a:lnTo>
                    <a:pt x="52" y="100"/>
                  </a:lnTo>
                  <a:lnTo>
                    <a:pt x="48" y="100"/>
                  </a:lnTo>
                  <a:lnTo>
                    <a:pt x="48" y="96"/>
                  </a:lnTo>
                  <a:lnTo>
                    <a:pt x="48" y="92"/>
                  </a:lnTo>
                  <a:lnTo>
                    <a:pt x="44" y="92"/>
                  </a:lnTo>
                  <a:lnTo>
                    <a:pt x="44" y="88"/>
                  </a:lnTo>
                  <a:lnTo>
                    <a:pt x="40" y="88"/>
                  </a:lnTo>
                  <a:lnTo>
                    <a:pt x="40" y="86"/>
                  </a:lnTo>
                  <a:lnTo>
                    <a:pt x="40" y="82"/>
                  </a:lnTo>
                  <a:lnTo>
                    <a:pt x="36" y="82"/>
                  </a:lnTo>
                  <a:lnTo>
                    <a:pt x="34" y="82"/>
                  </a:lnTo>
                  <a:lnTo>
                    <a:pt x="34" y="78"/>
                  </a:lnTo>
                  <a:lnTo>
                    <a:pt x="30" y="74"/>
                  </a:lnTo>
                  <a:lnTo>
                    <a:pt x="26" y="74"/>
                  </a:lnTo>
                  <a:lnTo>
                    <a:pt x="22" y="70"/>
                  </a:lnTo>
                  <a:lnTo>
                    <a:pt x="26" y="70"/>
                  </a:lnTo>
                  <a:lnTo>
                    <a:pt x="26" y="66"/>
                  </a:lnTo>
                  <a:lnTo>
                    <a:pt x="26" y="62"/>
                  </a:lnTo>
                  <a:lnTo>
                    <a:pt x="26" y="66"/>
                  </a:lnTo>
                  <a:lnTo>
                    <a:pt x="26" y="62"/>
                  </a:lnTo>
                  <a:lnTo>
                    <a:pt x="30" y="62"/>
                  </a:lnTo>
                  <a:lnTo>
                    <a:pt x="30" y="66"/>
                  </a:lnTo>
                  <a:lnTo>
                    <a:pt x="34" y="66"/>
                  </a:lnTo>
                  <a:lnTo>
                    <a:pt x="34" y="62"/>
                  </a:lnTo>
                  <a:lnTo>
                    <a:pt x="36" y="62"/>
                  </a:lnTo>
                  <a:lnTo>
                    <a:pt x="36" y="58"/>
                  </a:lnTo>
                  <a:lnTo>
                    <a:pt x="36" y="56"/>
                  </a:lnTo>
                  <a:lnTo>
                    <a:pt x="34" y="52"/>
                  </a:lnTo>
                  <a:lnTo>
                    <a:pt x="30" y="52"/>
                  </a:lnTo>
                  <a:lnTo>
                    <a:pt x="34" y="48"/>
                  </a:lnTo>
                  <a:lnTo>
                    <a:pt x="30" y="44"/>
                  </a:lnTo>
                  <a:lnTo>
                    <a:pt x="26" y="42"/>
                  </a:lnTo>
                  <a:lnTo>
                    <a:pt x="22" y="44"/>
                  </a:lnTo>
                  <a:lnTo>
                    <a:pt x="22" y="48"/>
                  </a:lnTo>
                  <a:lnTo>
                    <a:pt x="18" y="48"/>
                  </a:lnTo>
                  <a:lnTo>
                    <a:pt x="18" y="44"/>
                  </a:lnTo>
                  <a:lnTo>
                    <a:pt x="14" y="44"/>
                  </a:lnTo>
                  <a:lnTo>
                    <a:pt x="10" y="44"/>
                  </a:lnTo>
                  <a:lnTo>
                    <a:pt x="10" y="42"/>
                  </a:lnTo>
                  <a:lnTo>
                    <a:pt x="10" y="38"/>
                  </a:lnTo>
                  <a:lnTo>
                    <a:pt x="6" y="38"/>
                  </a:lnTo>
                  <a:lnTo>
                    <a:pt x="10" y="34"/>
                  </a:lnTo>
                  <a:lnTo>
                    <a:pt x="6" y="34"/>
                  </a:lnTo>
                  <a:lnTo>
                    <a:pt x="10" y="34"/>
                  </a:lnTo>
                  <a:lnTo>
                    <a:pt x="10" y="30"/>
                  </a:lnTo>
                  <a:lnTo>
                    <a:pt x="6" y="30"/>
                  </a:lnTo>
                  <a:lnTo>
                    <a:pt x="6" y="26"/>
                  </a:lnTo>
                  <a:lnTo>
                    <a:pt x="4" y="26"/>
                  </a:lnTo>
                  <a:lnTo>
                    <a:pt x="4" y="22"/>
                  </a:lnTo>
                  <a:lnTo>
                    <a:pt x="0" y="18"/>
                  </a:lnTo>
                  <a:lnTo>
                    <a:pt x="0" y="14"/>
                  </a:lnTo>
                  <a:lnTo>
                    <a:pt x="4" y="14"/>
                  </a:lnTo>
                  <a:lnTo>
                    <a:pt x="4" y="12"/>
                  </a:lnTo>
                  <a:lnTo>
                    <a:pt x="6" y="12"/>
                  </a:lnTo>
                  <a:lnTo>
                    <a:pt x="6" y="14"/>
                  </a:lnTo>
                  <a:lnTo>
                    <a:pt x="10" y="14"/>
                  </a:lnTo>
                  <a:lnTo>
                    <a:pt x="14" y="14"/>
                  </a:lnTo>
                  <a:lnTo>
                    <a:pt x="14" y="12"/>
                  </a:lnTo>
                  <a:lnTo>
                    <a:pt x="18" y="12"/>
                  </a:lnTo>
                  <a:lnTo>
                    <a:pt x="18" y="14"/>
                  </a:lnTo>
                  <a:lnTo>
                    <a:pt x="18" y="12"/>
                  </a:lnTo>
                  <a:lnTo>
                    <a:pt x="22" y="12"/>
                  </a:lnTo>
                  <a:lnTo>
                    <a:pt x="22" y="14"/>
                  </a:lnTo>
                  <a:lnTo>
                    <a:pt x="26" y="14"/>
                  </a:lnTo>
                  <a:lnTo>
                    <a:pt x="26" y="12"/>
                  </a:lnTo>
                  <a:lnTo>
                    <a:pt x="30" y="12"/>
                  </a:lnTo>
                  <a:lnTo>
                    <a:pt x="34" y="12"/>
                  </a:lnTo>
                  <a:lnTo>
                    <a:pt x="36" y="8"/>
                  </a:lnTo>
                  <a:lnTo>
                    <a:pt x="36" y="4"/>
                  </a:lnTo>
                  <a:lnTo>
                    <a:pt x="40" y="0"/>
                  </a:lnTo>
                  <a:lnTo>
                    <a:pt x="44" y="0"/>
                  </a:lnTo>
                  <a:lnTo>
                    <a:pt x="44" y="4"/>
                  </a:lnTo>
                  <a:lnTo>
                    <a:pt x="48" y="4"/>
                  </a:lnTo>
                  <a:lnTo>
                    <a:pt x="48" y="8"/>
                  </a:lnTo>
                  <a:lnTo>
                    <a:pt x="52" y="8"/>
                  </a:lnTo>
                  <a:lnTo>
                    <a:pt x="56" y="8"/>
                  </a:lnTo>
                  <a:lnTo>
                    <a:pt x="60" y="8"/>
                  </a:lnTo>
                  <a:lnTo>
                    <a:pt x="62" y="8"/>
                  </a:lnTo>
                  <a:lnTo>
                    <a:pt x="62" y="12"/>
                  </a:lnTo>
                  <a:lnTo>
                    <a:pt x="62" y="14"/>
                  </a:lnTo>
                  <a:lnTo>
                    <a:pt x="60" y="14"/>
                  </a:lnTo>
                  <a:lnTo>
                    <a:pt x="60" y="18"/>
                  </a:lnTo>
                  <a:lnTo>
                    <a:pt x="62" y="18"/>
                  </a:lnTo>
                  <a:lnTo>
                    <a:pt x="62" y="22"/>
                  </a:lnTo>
                  <a:lnTo>
                    <a:pt x="66" y="26"/>
                  </a:lnTo>
                  <a:lnTo>
                    <a:pt x="70" y="30"/>
                  </a:lnTo>
                  <a:lnTo>
                    <a:pt x="74" y="30"/>
                  </a:lnTo>
                  <a:lnTo>
                    <a:pt x="78" y="30"/>
                  </a:lnTo>
                  <a:lnTo>
                    <a:pt x="82" y="30"/>
                  </a:lnTo>
                  <a:lnTo>
                    <a:pt x="82" y="34"/>
                  </a:lnTo>
                  <a:lnTo>
                    <a:pt x="78" y="34"/>
                  </a:lnTo>
                  <a:lnTo>
                    <a:pt x="74" y="38"/>
                  </a:lnTo>
                  <a:lnTo>
                    <a:pt x="70" y="38"/>
                  </a:lnTo>
                  <a:lnTo>
                    <a:pt x="74" y="42"/>
                  </a:lnTo>
                  <a:lnTo>
                    <a:pt x="70" y="42"/>
                  </a:lnTo>
                  <a:lnTo>
                    <a:pt x="70" y="44"/>
                  </a:lnTo>
                  <a:lnTo>
                    <a:pt x="66" y="42"/>
                  </a:lnTo>
                  <a:lnTo>
                    <a:pt x="70" y="42"/>
                  </a:lnTo>
                  <a:lnTo>
                    <a:pt x="66" y="42"/>
                  </a:lnTo>
                  <a:lnTo>
                    <a:pt x="66" y="44"/>
                  </a:lnTo>
                  <a:lnTo>
                    <a:pt x="62" y="44"/>
                  </a:lnTo>
                  <a:lnTo>
                    <a:pt x="62" y="42"/>
                  </a:lnTo>
                  <a:lnTo>
                    <a:pt x="62" y="44"/>
                  </a:lnTo>
                  <a:lnTo>
                    <a:pt x="62" y="48"/>
                  </a:lnTo>
                  <a:lnTo>
                    <a:pt x="60" y="52"/>
                  </a:lnTo>
                  <a:lnTo>
                    <a:pt x="60" y="56"/>
                  </a:lnTo>
                  <a:lnTo>
                    <a:pt x="60" y="52"/>
                  </a:lnTo>
                  <a:lnTo>
                    <a:pt x="60" y="56"/>
                  </a:lnTo>
                  <a:lnTo>
                    <a:pt x="56" y="56"/>
                  </a:lnTo>
                  <a:lnTo>
                    <a:pt x="56" y="58"/>
                  </a:lnTo>
                  <a:lnTo>
                    <a:pt x="52" y="58"/>
                  </a:lnTo>
                  <a:lnTo>
                    <a:pt x="52" y="62"/>
                  </a:lnTo>
                  <a:lnTo>
                    <a:pt x="52" y="66"/>
                  </a:lnTo>
                  <a:lnTo>
                    <a:pt x="52" y="70"/>
                  </a:lnTo>
                  <a:lnTo>
                    <a:pt x="48" y="70"/>
                  </a:lnTo>
                  <a:lnTo>
                    <a:pt x="52" y="70"/>
                  </a:lnTo>
                  <a:lnTo>
                    <a:pt x="48" y="74"/>
                  </a:lnTo>
                  <a:lnTo>
                    <a:pt x="48" y="78"/>
                  </a:lnTo>
                  <a:lnTo>
                    <a:pt x="48" y="82"/>
                  </a:lnTo>
                  <a:lnTo>
                    <a:pt x="52" y="82"/>
                  </a:lnTo>
                  <a:lnTo>
                    <a:pt x="52" y="86"/>
                  </a:lnTo>
                  <a:lnTo>
                    <a:pt x="52" y="88"/>
                  </a:lnTo>
                  <a:lnTo>
                    <a:pt x="56" y="88"/>
                  </a:lnTo>
                  <a:lnTo>
                    <a:pt x="60" y="92"/>
                  </a:lnTo>
                  <a:lnTo>
                    <a:pt x="60" y="96"/>
                  </a:lnTo>
                  <a:lnTo>
                    <a:pt x="60" y="100"/>
                  </a:lnTo>
                  <a:lnTo>
                    <a:pt x="62" y="104"/>
                  </a:lnTo>
                  <a:lnTo>
                    <a:pt x="62" y="108"/>
                  </a:lnTo>
                  <a:lnTo>
                    <a:pt x="66" y="108"/>
                  </a:lnTo>
                  <a:lnTo>
                    <a:pt x="66" y="112"/>
                  </a:lnTo>
                  <a:lnTo>
                    <a:pt x="66" y="112"/>
                  </a:lnTo>
                  <a:lnTo>
                    <a:pt x="66" y="112"/>
                  </a:lnTo>
                  <a:close/>
                  <a:moveTo>
                    <a:pt x="62" y="224"/>
                  </a:moveTo>
                  <a:lnTo>
                    <a:pt x="66" y="224"/>
                  </a:lnTo>
                  <a:lnTo>
                    <a:pt x="62" y="224"/>
                  </a:lnTo>
                  <a:lnTo>
                    <a:pt x="66" y="224"/>
                  </a:lnTo>
                  <a:lnTo>
                    <a:pt x="66" y="228"/>
                  </a:lnTo>
                  <a:lnTo>
                    <a:pt x="62" y="228"/>
                  </a:lnTo>
                  <a:lnTo>
                    <a:pt x="62" y="224"/>
                  </a:lnTo>
                  <a:lnTo>
                    <a:pt x="62" y="224"/>
                  </a:lnTo>
                  <a:lnTo>
                    <a:pt x="62" y="224"/>
                  </a:lnTo>
                  <a:close/>
                  <a:moveTo>
                    <a:pt x="74" y="38"/>
                  </a:moveTo>
                  <a:lnTo>
                    <a:pt x="74" y="42"/>
                  </a:lnTo>
                  <a:lnTo>
                    <a:pt x="70" y="42"/>
                  </a:lnTo>
                  <a:lnTo>
                    <a:pt x="74" y="38"/>
                  </a:lnTo>
                  <a:lnTo>
                    <a:pt x="74" y="38"/>
                  </a:lnTo>
                  <a:lnTo>
                    <a:pt x="74" y="38"/>
                  </a:lnTo>
                  <a:close/>
                  <a:moveTo>
                    <a:pt x="66" y="44"/>
                  </a:moveTo>
                  <a:lnTo>
                    <a:pt x="66" y="48"/>
                  </a:lnTo>
                  <a:lnTo>
                    <a:pt x="66" y="44"/>
                  </a:lnTo>
                  <a:lnTo>
                    <a:pt x="66" y="44"/>
                  </a:lnTo>
                  <a:lnTo>
                    <a:pt x="66" y="44"/>
                  </a:lnTo>
                  <a:close/>
                  <a:moveTo>
                    <a:pt x="26" y="228"/>
                  </a:moveTo>
                  <a:lnTo>
                    <a:pt x="26" y="232"/>
                  </a:lnTo>
                  <a:lnTo>
                    <a:pt x="22" y="228"/>
                  </a:lnTo>
                  <a:lnTo>
                    <a:pt x="26" y="228"/>
                  </a:lnTo>
                  <a:lnTo>
                    <a:pt x="26" y="228"/>
                  </a:lnTo>
                  <a:lnTo>
                    <a:pt x="26" y="22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70" name="Freeform 63"/>
            <p:cNvSpPr>
              <a:spLocks noEditPoints="1"/>
            </p:cNvSpPr>
            <p:nvPr/>
          </p:nvSpPr>
          <p:spPr bwMode="auto">
            <a:xfrm>
              <a:off x="7349251" y="3786475"/>
              <a:ext cx="6280" cy="14383"/>
            </a:xfrm>
            <a:custGeom>
              <a:avLst/>
              <a:gdLst>
                <a:gd name="T0" fmla="*/ 10 w 10"/>
                <a:gd name="T1" fmla="*/ 12 h 22"/>
                <a:gd name="T2" fmla="*/ 10 w 10"/>
                <a:gd name="T3" fmla="*/ 12 h 22"/>
                <a:gd name="T4" fmla="*/ 10 w 10"/>
                <a:gd name="T5" fmla="*/ 14 h 22"/>
                <a:gd name="T6" fmla="*/ 10 w 10"/>
                <a:gd name="T7" fmla="*/ 14 h 22"/>
                <a:gd name="T8" fmla="*/ 10 w 10"/>
                <a:gd name="T9" fmla="*/ 18 h 22"/>
                <a:gd name="T10" fmla="*/ 10 w 10"/>
                <a:gd name="T11" fmla="*/ 18 h 22"/>
                <a:gd name="T12" fmla="*/ 10 w 10"/>
                <a:gd name="T13" fmla="*/ 18 h 22"/>
                <a:gd name="T14" fmla="*/ 6 w 10"/>
                <a:gd name="T15" fmla="*/ 22 h 22"/>
                <a:gd name="T16" fmla="*/ 6 w 10"/>
                <a:gd name="T17" fmla="*/ 22 h 22"/>
                <a:gd name="T18" fmla="*/ 4 w 10"/>
                <a:gd name="T19" fmla="*/ 22 h 22"/>
                <a:gd name="T20" fmla="*/ 0 w 10"/>
                <a:gd name="T21" fmla="*/ 22 h 22"/>
                <a:gd name="T22" fmla="*/ 0 w 10"/>
                <a:gd name="T23" fmla="*/ 22 h 22"/>
                <a:gd name="T24" fmla="*/ 4 w 10"/>
                <a:gd name="T25" fmla="*/ 22 h 22"/>
                <a:gd name="T26" fmla="*/ 4 w 10"/>
                <a:gd name="T27" fmla="*/ 18 h 22"/>
                <a:gd name="T28" fmla="*/ 4 w 10"/>
                <a:gd name="T29" fmla="*/ 18 h 22"/>
                <a:gd name="T30" fmla="*/ 4 w 10"/>
                <a:gd name="T31" fmla="*/ 18 h 22"/>
                <a:gd name="T32" fmla="*/ 4 w 10"/>
                <a:gd name="T33" fmla="*/ 14 h 22"/>
                <a:gd name="T34" fmla="*/ 6 w 10"/>
                <a:gd name="T35" fmla="*/ 14 h 22"/>
                <a:gd name="T36" fmla="*/ 4 w 10"/>
                <a:gd name="T37" fmla="*/ 14 h 22"/>
                <a:gd name="T38" fmla="*/ 4 w 10"/>
                <a:gd name="T39" fmla="*/ 14 h 22"/>
                <a:gd name="T40" fmla="*/ 4 w 10"/>
                <a:gd name="T41" fmla="*/ 14 h 22"/>
                <a:gd name="T42" fmla="*/ 4 w 10"/>
                <a:gd name="T43" fmla="*/ 12 h 22"/>
                <a:gd name="T44" fmla="*/ 4 w 10"/>
                <a:gd name="T45" fmla="*/ 12 h 22"/>
                <a:gd name="T46" fmla="*/ 4 w 10"/>
                <a:gd name="T47" fmla="*/ 8 h 22"/>
                <a:gd name="T48" fmla="*/ 4 w 10"/>
                <a:gd name="T49" fmla="*/ 8 h 22"/>
                <a:gd name="T50" fmla="*/ 4 w 10"/>
                <a:gd name="T51" fmla="*/ 4 h 22"/>
                <a:gd name="T52" fmla="*/ 4 w 10"/>
                <a:gd name="T53" fmla="*/ 4 h 22"/>
                <a:gd name="T54" fmla="*/ 4 w 10"/>
                <a:gd name="T55" fmla="*/ 4 h 22"/>
                <a:gd name="T56" fmla="*/ 6 w 10"/>
                <a:gd name="T57" fmla="*/ 0 h 22"/>
                <a:gd name="T58" fmla="*/ 6 w 10"/>
                <a:gd name="T59" fmla="*/ 0 h 22"/>
                <a:gd name="T60" fmla="*/ 6 w 10"/>
                <a:gd name="T61" fmla="*/ 0 h 22"/>
                <a:gd name="T62" fmla="*/ 6 w 10"/>
                <a:gd name="T63" fmla="*/ 4 h 22"/>
                <a:gd name="T64" fmla="*/ 10 w 10"/>
                <a:gd name="T65" fmla="*/ 4 h 22"/>
                <a:gd name="T66" fmla="*/ 10 w 10"/>
                <a:gd name="T67" fmla="*/ 8 h 22"/>
                <a:gd name="T68" fmla="*/ 10 w 10"/>
                <a:gd name="T69" fmla="*/ 8 h 22"/>
                <a:gd name="T70" fmla="*/ 6 w 10"/>
                <a:gd name="T71" fmla="*/ 14 h 22"/>
                <a:gd name="T72" fmla="*/ 6 w 10"/>
                <a:gd name="T73" fmla="*/ 14 h 22"/>
                <a:gd name="T74" fmla="*/ 6 w 10"/>
                <a:gd name="T75" fmla="*/ 14 h 22"/>
                <a:gd name="T76" fmla="*/ 6 w 10"/>
                <a:gd name="T77" fmla="*/ 14 h 22"/>
                <a:gd name="T78" fmla="*/ 6 w 10"/>
                <a:gd name="T79" fmla="*/ 14 h 22"/>
                <a:gd name="T80" fmla="*/ 6 w 10"/>
                <a:gd name="T81"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22">
                  <a:moveTo>
                    <a:pt x="10" y="8"/>
                  </a:moveTo>
                  <a:lnTo>
                    <a:pt x="10" y="12"/>
                  </a:lnTo>
                  <a:lnTo>
                    <a:pt x="10" y="12"/>
                  </a:lnTo>
                  <a:lnTo>
                    <a:pt x="10" y="12"/>
                  </a:lnTo>
                  <a:lnTo>
                    <a:pt x="10" y="14"/>
                  </a:lnTo>
                  <a:lnTo>
                    <a:pt x="10" y="14"/>
                  </a:lnTo>
                  <a:lnTo>
                    <a:pt x="10" y="14"/>
                  </a:lnTo>
                  <a:lnTo>
                    <a:pt x="10" y="14"/>
                  </a:lnTo>
                  <a:lnTo>
                    <a:pt x="10" y="18"/>
                  </a:lnTo>
                  <a:lnTo>
                    <a:pt x="10" y="18"/>
                  </a:lnTo>
                  <a:lnTo>
                    <a:pt x="10" y="18"/>
                  </a:lnTo>
                  <a:lnTo>
                    <a:pt x="10" y="18"/>
                  </a:lnTo>
                  <a:lnTo>
                    <a:pt x="10" y="18"/>
                  </a:lnTo>
                  <a:lnTo>
                    <a:pt x="10" y="18"/>
                  </a:lnTo>
                  <a:lnTo>
                    <a:pt x="6" y="18"/>
                  </a:lnTo>
                  <a:lnTo>
                    <a:pt x="6" y="22"/>
                  </a:lnTo>
                  <a:lnTo>
                    <a:pt x="6" y="22"/>
                  </a:lnTo>
                  <a:lnTo>
                    <a:pt x="6" y="22"/>
                  </a:lnTo>
                  <a:lnTo>
                    <a:pt x="6" y="22"/>
                  </a:lnTo>
                  <a:lnTo>
                    <a:pt x="4" y="22"/>
                  </a:lnTo>
                  <a:lnTo>
                    <a:pt x="4" y="22"/>
                  </a:lnTo>
                  <a:lnTo>
                    <a:pt x="0" y="22"/>
                  </a:lnTo>
                  <a:lnTo>
                    <a:pt x="0" y="22"/>
                  </a:lnTo>
                  <a:lnTo>
                    <a:pt x="0" y="22"/>
                  </a:lnTo>
                  <a:lnTo>
                    <a:pt x="0" y="22"/>
                  </a:lnTo>
                  <a:lnTo>
                    <a:pt x="4" y="22"/>
                  </a:lnTo>
                  <a:lnTo>
                    <a:pt x="4" y="18"/>
                  </a:lnTo>
                  <a:lnTo>
                    <a:pt x="4" y="18"/>
                  </a:lnTo>
                  <a:lnTo>
                    <a:pt x="4" y="18"/>
                  </a:lnTo>
                  <a:lnTo>
                    <a:pt x="4" y="18"/>
                  </a:lnTo>
                  <a:lnTo>
                    <a:pt x="4" y="18"/>
                  </a:lnTo>
                  <a:lnTo>
                    <a:pt x="4" y="18"/>
                  </a:lnTo>
                  <a:lnTo>
                    <a:pt x="4" y="14"/>
                  </a:lnTo>
                  <a:lnTo>
                    <a:pt x="4" y="14"/>
                  </a:lnTo>
                  <a:lnTo>
                    <a:pt x="6" y="14"/>
                  </a:lnTo>
                  <a:lnTo>
                    <a:pt x="6" y="14"/>
                  </a:lnTo>
                  <a:lnTo>
                    <a:pt x="4" y="14"/>
                  </a:lnTo>
                  <a:lnTo>
                    <a:pt x="4" y="14"/>
                  </a:lnTo>
                  <a:lnTo>
                    <a:pt x="4" y="14"/>
                  </a:lnTo>
                  <a:lnTo>
                    <a:pt x="4" y="14"/>
                  </a:lnTo>
                  <a:lnTo>
                    <a:pt x="4" y="14"/>
                  </a:lnTo>
                  <a:lnTo>
                    <a:pt x="4" y="14"/>
                  </a:lnTo>
                  <a:lnTo>
                    <a:pt x="4" y="14"/>
                  </a:lnTo>
                  <a:lnTo>
                    <a:pt x="4" y="12"/>
                  </a:lnTo>
                  <a:lnTo>
                    <a:pt x="4" y="12"/>
                  </a:lnTo>
                  <a:lnTo>
                    <a:pt x="4" y="12"/>
                  </a:lnTo>
                  <a:lnTo>
                    <a:pt x="4" y="12"/>
                  </a:lnTo>
                  <a:lnTo>
                    <a:pt x="4" y="8"/>
                  </a:lnTo>
                  <a:lnTo>
                    <a:pt x="4" y="8"/>
                  </a:lnTo>
                  <a:lnTo>
                    <a:pt x="4" y="8"/>
                  </a:lnTo>
                  <a:lnTo>
                    <a:pt x="4" y="4"/>
                  </a:lnTo>
                  <a:lnTo>
                    <a:pt x="4" y="4"/>
                  </a:lnTo>
                  <a:lnTo>
                    <a:pt x="4" y="4"/>
                  </a:lnTo>
                  <a:lnTo>
                    <a:pt x="4" y="4"/>
                  </a:lnTo>
                  <a:lnTo>
                    <a:pt x="4" y="4"/>
                  </a:lnTo>
                  <a:lnTo>
                    <a:pt x="4" y="4"/>
                  </a:lnTo>
                  <a:lnTo>
                    <a:pt x="6" y="0"/>
                  </a:lnTo>
                  <a:lnTo>
                    <a:pt x="6" y="0"/>
                  </a:lnTo>
                  <a:lnTo>
                    <a:pt x="6" y="0"/>
                  </a:lnTo>
                  <a:lnTo>
                    <a:pt x="6" y="0"/>
                  </a:lnTo>
                  <a:lnTo>
                    <a:pt x="6" y="0"/>
                  </a:lnTo>
                  <a:lnTo>
                    <a:pt x="6" y="0"/>
                  </a:lnTo>
                  <a:lnTo>
                    <a:pt x="6" y="0"/>
                  </a:lnTo>
                  <a:lnTo>
                    <a:pt x="6" y="4"/>
                  </a:lnTo>
                  <a:lnTo>
                    <a:pt x="10" y="4"/>
                  </a:lnTo>
                  <a:lnTo>
                    <a:pt x="10" y="4"/>
                  </a:lnTo>
                  <a:lnTo>
                    <a:pt x="10" y="4"/>
                  </a:lnTo>
                  <a:lnTo>
                    <a:pt x="10" y="8"/>
                  </a:lnTo>
                  <a:lnTo>
                    <a:pt x="10" y="8"/>
                  </a:lnTo>
                  <a:lnTo>
                    <a:pt x="10" y="8"/>
                  </a:lnTo>
                  <a:lnTo>
                    <a:pt x="10" y="8"/>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71" name="Freeform 64"/>
            <p:cNvSpPr>
              <a:spLocks noEditPoints="1"/>
            </p:cNvSpPr>
            <p:nvPr/>
          </p:nvSpPr>
          <p:spPr bwMode="auto">
            <a:xfrm>
              <a:off x="7417073" y="3947307"/>
              <a:ext cx="106757" cy="77147"/>
            </a:xfrm>
            <a:custGeom>
              <a:avLst/>
              <a:gdLst>
                <a:gd name="T0" fmla="*/ 64 w 170"/>
                <a:gd name="T1" fmla="*/ 92 h 118"/>
                <a:gd name="T2" fmla="*/ 56 w 170"/>
                <a:gd name="T3" fmla="*/ 96 h 118"/>
                <a:gd name="T4" fmla="*/ 44 w 170"/>
                <a:gd name="T5" fmla="*/ 96 h 118"/>
                <a:gd name="T6" fmla="*/ 40 w 170"/>
                <a:gd name="T7" fmla="*/ 100 h 118"/>
                <a:gd name="T8" fmla="*/ 40 w 170"/>
                <a:gd name="T9" fmla="*/ 104 h 118"/>
                <a:gd name="T10" fmla="*/ 38 w 170"/>
                <a:gd name="T11" fmla="*/ 108 h 118"/>
                <a:gd name="T12" fmla="*/ 34 w 170"/>
                <a:gd name="T13" fmla="*/ 108 h 118"/>
                <a:gd name="T14" fmla="*/ 30 w 170"/>
                <a:gd name="T15" fmla="*/ 108 h 118"/>
                <a:gd name="T16" fmla="*/ 26 w 170"/>
                <a:gd name="T17" fmla="*/ 108 h 118"/>
                <a:gd name="T18" fmla="*/ 18 w 170"/>
                <a:gd name="T19" fmla="*/ 108 h 118"/>
                <a:gd name="T20" fmla="*/ 14 w 170"/>
                <a:gd name="T21" fmla="*/ 108 h 118"/>
                <a:gd name="T22" fmla="*/ 14 w 170"/>
                <a:gd name="T23" fmla="*/ 100 h 118"/>
                <a:gd name="T24" fmla="*/ 10 w 170"/>
                <a:gd name="T25" fmla="*/ 92 h 118"/>
                <a:gd name="T26" fmla="*/ 10 w 170"/>
                <a:gd name="T27" fmla="*/ 90 h 118"/>
                <a:gd name="T28" fmla="*/ 10 w 170"/>
                <a:gd name="T29" fmla="*/ 82 h 118"/>
                <a:gd name="T30" fmla="*/ 8 w 170"/>
                <a:gd name="T31" fmla="*/ 70 h 118"/>
                <a:gd name="T32" fmla="*/ 8 w 170"/>
                <a:gd name="T33" fmla="*/ 66 h 118"/>
                <a:gd name="T34" fmla="*/ 4 w 170"/>
                <a:gd name="T35" fmla="*/ 62 h 118"/>
                <a:gd name="T36" fmla="*/ 4 w 170"/>
                <a:gd name="T37" fmla="*/ 60 h 118"/>
                <a:gd name="T38" fmla="*/ 4 w 170"/>
                <a:gd name="T39" fmla="*/ 56 h 118"/>
                <a:gd name="T40" fmla="*/ 8 w 170"/>
                <a:gd name="T41" fmla="*/ 48 h 118"/>
                <a:gd name="T42" fmla="*/ 8 w 170"/>
                <a:gd name="T43" fmla="*/ 44 h 118"/>
                <a:gd name="T44" fmla="*/ 10 w 170"/>
                <a:gd name="T45" fmla="*/ 40 h 118"/>
                <a:gd name="T46" fmla="*/ 10 w 170"/>
                <a:gd name="T47" fmla="*/ 26 h 118"/>
                <a:gd name="T48" fmla="*/ 14 w 170"/>
                <a:gd name="T49" fmla="*/ 26 h 118"/>
                <a:gd name="T50" fmla="*/ 18 w 170"/>
                <a:gd name="T51" fmla="*/ 26 h 118"/>
                <a:gd name="T52" fmla="*/ 30 w 170"/>
                <a:gd name="T53" fmla="*/ 26 h 118"/>
                <a:gd name="T54" fmla="*/ 60 w 170"/>
                <a:gd name="T55" fmla="*/ 30 h 118"/>
                <a:gd name="T56" fmla="*/ 78 w 170"/>
                <a:gd name="T57" fmla="*/ 22 h 118"/>
                <a:gd name="T58" fmla="*/ 144 w 170"/>
                <a:gd name="T59" fmla="*/ 26 h 118"/>
                <a:gd name="T60" fmla="*/ 148 w 170"/>
                <a:gd name="T61" fmla="*/ 40 h 118"/>
                <a:gd name="T62" fmla="*/ 140 w 170"/>
                <a:gd name="T63" fmla="*/ 44 h 118"/>
                <a:gd name="T64" fmla="*/ 136 w 170"/>
                <a:gd name="T65" fmla="*/ 48 h 118"/>
                <a:gd name="T66" fmla="*/ 134 w 170"/>
                <a:gd name="T67" fmla="*/ 60 h 118"/>
                <a:gd name="T68" fmla="*/ 126 w 170"/>
                <a:gd name="T69" fmla="*/ 62 h 118"/>
                <a:gd name="T70" fmla="*/ 120 w 170"/>
                <a:gd name="T71" fmla="*/ 66 h 118"/>
                <a:gd name="T72" fmla="*/ 112 w 170"/>
                <a:gd name="T73" fmla="*/ 66 h 118"/>
                <a:gd name="T74" fmla="*/ 104 w 170"/>
                <a:gd name="T75" fmla="*/ 70 h 118"/>
                <a:gd name="T76" fmla="*/ 94 w 170"/>
                <a:gd name="T77" fmla="*/ 78 h 118"/>
                <a:gd name="T78" fmla="*/ 90 w 170"/>
                <a:gd name="T79" fmla="*/ 86 h 118"/>
                <a:gd name="T80" fmla="*/ 82 w 170"/>
                <a:gd name="T81" fmla="*/ 86 h 118"/>
                <a:gd name="T82" fmla="*/ 78 w 170"/>
                <a:gd name="T83" fmla="*/ 86 h 118"/>
                <a:gd name="T84" fmla="*/ 78 w 170"/>
                <a:gd name="T85" fmla="*/ 86 h 118"/>
                <a:gd name="T86" fmla="*/ 74 w 170"/>
                <a:gd name="T87" fmla="*/ 90 h 118"/>
                <a:gd name="T88" fmla="*/ 66 w 170"/>
                <a:gd name="T89" fmla="*/ 92 h 118"/>
                <a:gd name="T90" fmla="*/ 136 w 170"/>
                <a:gd name="T91" fmla="*/ 118 h 118"/>
                <a:gd name="T92" fmla="*/ 136 w 170"/>
                <a:gd name="T93" fmla="*/ 116 h 118"/>
                <a:gd name="T94" fmla="*/ 136 w 170"/>
                <a:gd name="T95" fmla="*/ 116 h 118"/>
                <a:gd name="T96" fmla="*/ 140 w 170"/>
                <a:gd name="T97" fmla="*/ 118 h 118"/>
                <a:gd name="T98" fmla="*/ 4 w 170"/>
                <a:gd name="T99" fmla="*/ 62 h 118"/>
                <a:gd name="T100" fmla="*/ 4 w 170"/>
                <a:gd name="T101" fmla="*/ 60 h 118"/>
                <a:gd name="T102" fmla="*/ 4 w 170"/>
                <a:gd name="T103" fmla="*/ 62 h 118"/>
                <a:gd name="T104" fmla="*/ 4 w 170"/>
                <a:gd name="T105" fmla="*/ 86 h 118"/>
                <a:gd name="T106" fmla="*/ 4 w 170"/>
                <a:gd name="T107" fmla="*/ 86 h 118"/>
                <a:gd name="T108" fmla="*/ 170 w 170"/>
                <a:gd name="T109" fmla="*/ 112 h 118"/>
                <a:gd name="T110" fmla="*/ 164 w 170"/>
                <a:gd name="T111" fmla="*/ 116 h 118"/>
                <a:gd name="T112" fmla="*/ 156 w 170"/>
                <a:gd name="T113" fmla="*/ 116 h 118"/>
                <a:gd name="T114" fmla="*/ 156 w 170"/>
                <a:gd name="T115" fmla="*/ 108 h 118"/>
                <a:gd name="T116" fmla="*/ 160 w 170"/>
                <a:gd name="T117" fmla="*/ 112 h 118"/>
                <a:gd name="T118" fmla="*/ 166 w 170"/>
                <a:gd name="T119" fmla="*/ 10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0" h="118">
                  <a:moveTo>
                    <a:pt x="66" y="92"/>
                  </a:moveTo>
                  <a:lnTo>
                    <a:pt x="66" y="92"/>
                  </a:lnTo>
                  <a:lnTo>
                    <a:pt x="64" y="92"/>
                  </a:lnTo>
                  <a:lnTo>
                    <a:pt x="64" y="92"/>
                  </a:lnTo>
                  <a:lnTo>
                    <a:pt x="64" y="92"/>
                  </a:lnTo>
                  <a:lnTo>
                    <a:pt x="64" y="92"/>
                  </a:lnTo>
                  <a:lnTo>
                    <a:pt x="64" y="92"/>
                  </a:lnTo>
                  <a:lnTo>
                    <a:pt x="60" y="96"/>
                  </a:lnTo>
                  <a:lnTo>
                    <a:pt x="60" y="96"/>
                  </a:lnTo>
                  <a:lnTo>
                    <a:pt x="56" y="96"/>
                  </a:lnTo>
                  <a:lnTo>
                    <a:pt x="56" y="96"/>
                  </a:lnTo>
                  <a:lnTo>
                    <a:pt x="56" y="96"/>
                  </a:lnTo>
                  <a:lnTo>
                    <a:pt x="52" y="96"/>
                  </a:lnTo>
                  <a:lnTo>
                    <a:pt x="52" y="96"/>
                  </a:lnTo>
                  <a:lnTo>
                    <a:pt x="48" y="96"/>
                  </a:lnTo>
                  <a:lnTo>
                    <a:pt x="48" y="96"/>
                  </a:lnTo>
                  <a:lnTo>
                    <a:pt x="44" y="96"/>
                  </a:lnTo>
                  <a:lnTo>
                    <a:pt x="44" y="96"/>
                  </a:lnTo>
                  <a:lnTo>
                    <a:pt x="44" y="96"/>
                  </a:lnTo>
                  <a:lnTo>
                    <a:pt x="44" y="100"/>
                  </a:lnTo>
                  <a:lnTo>
                    <a:pt x="44" y="100"/>
                  </a:lnTo>
                  <a:lnTo>
                    <a:pt x="44" y="100"/>
                  </a:lnTo>
                  <a:lnTo>
                    <a:pt x="44" y="100"/>
                  </a:lnTo>
                  <a:lnTo>
                    <a:pt x="40" y="100"/>
                  </a:lnTo>
                  <a:lnTo>
                    <a:pt x="40" y="100"/>
                  </a:lnTo>
                  <a:lnTo>
                    <a:pt x="40" y="100"/>
                  </a:lnTo>
                  <a:lnTo>
                    <a:pt x="40" y="104"/>
                  </a:lnTo>
                  <a:lnTo>
                    <a:pt x="40" y="104"/>
                  </a:lnTo>
                  <a:lnTo>
                    <a:pt x="40" y="104"/>
                  </a:lnTo>
                  <a:lnTo>
                    <a:pt x="40" y="104"/>
                  </a:lnTo>
                  <a:lnTo>
                    <a:pt x="38" y="104"/>
                  </a:lnTo>
                  <a:lnTo>
                    <a:pt x="38" y="104"/>
                  </a:lnTo>
                  <a:lnTo>
                    <a:pt x="38" y="104"/>
                  </a:lnTo>
                  <a:lnTo>
                    <a:pt x="38" y="104"/>
                  </a:lnTo>
                  <a:lnTo>
                    <a:pt x="38" y="104"/>
                  </a:lnTo>
                  <a:lnTo>
                    <a:pt x="38" y="108"/>
                  </a:lnTo>
                  <a:lnTo>
                    <a:pt x="38" y="104"/>
                  </a:lnTo>
                  <a:lnTo>
                    <a:pt x="38" y="104"/>
                  </a:lnTo>
                  <a:lnTo>
                    <a:pt x="34" y="108"/>
                  </a:lnTo>
                  <a:lnTo>
                    <a:pt x="34" y="108"/>
                  </a:lnTo>
                  <a:lnTo>
                    <a:pt x="34" y="108"/>
                  </a:lnTo>
                  <a:lnTo>
                    <a:pt x="34" y="108"/>
                  </a:lnTo>
                  <a:lnTo>
                    <a:pt x="34" y="108"/>
                  </a:lnTo>
                  <a:lnTo>
                    <a:pt x="34" y="108"/>
                  </a:lnTo>
                  <a:lnTo>
                    <a:pt x="34" y="108"/>
                  </a:lnTo>
                  <a:lnTo>
                    <a:pt x="34" y="108"/>
                  </a:lnTo>
                  <a:lnTo>
                    <a:pt x="30" y="108"/>
                  </a:lnTo>
                  <a:lnTo>
                    <a:pt x="30" y="108"/>
                  </a:lnTo>
                  <a:lnTo>
                    <a:pt x="30" y="108"/>
                  </a:lnTo>
                  <a:lnTo>
                    <a:pt x="30" y="108"/>
                  </a:lnTo>
                  <a:lnTo>
                    <a:pt x="30" y="108"/>
                  </a:lnTo>
                  <a:lnTo>
                    <a:pt x="30" y="108"/>
                  </a:lnTo>
                  <a:lnTo>
                    <a:pt x="30" y="108"/>
                  </a:lnTo>
                  <a:lnTo>
                    <a:pt x="26" y="108"/>
                  </a:lnTo>
                  <a:lnTo>
                    <a:pt x="26" y="108"/>
                  </a:lnTo>
                  <a:lnTo>
                    <a:pt x="22" y="112"/>
                  </a:lnTo>
                  <a:lnTo>
                    <a:pt x="22" y="108"/>
                  </a:lnTo>
                  <a:lnTo>
                    <a:pt x="22" y="108"/>
                  </a:lnTo>
                  <a:lnTo>
                    <a:pt x="18" y="108"/>
                  </a:lnTo>
                  <a:lnTo>
                    <a:pt x="18" y="108"/>
                  </a:lnTo>
                  <a:lnTo>
                    <a:pt x="14" y="108"/>
                  </a:lnTo>
                  <a:lnTo>
                    <a:pt x="14" y="108"/>
                  </a:lnTo>
                  <a:lnTo>
                    <a:pt x="14" y="108"/>
                  </a:lnTo>
                  <a:lnTo>
                    <a:pt x="14" y="108"/>
                  </a:lnTo>
                  <a:lnTo>
                    <a:pt x="14" y="108"/>
                  </a:lnTo>
                  <a:lnTo>
                    <a:pt x="14" y="108"/>
                  </a:lnTo>
                  <a:lnTo>
                    <a:pt x="14" y="108"/>
                  </a:lnTo>
                  <a:lnTo>
                    <a:pt x="14" y="108"/>
                  </a:lnTo>
                  <a:lnTo>
                    <a:pt x="14" y="108"/>
                  </a:lnTo>
                  <a:lnTo>
                    <a:pt x="14" y="108"/>
                  </a:lnTo>
                  <a:lnTo>
                    <a:pt x="14" y="104"/>
                  </a:lnTo>
                  <a:lnTo>
                    <a:pt x="14" y="100"/>
                  </a:lnTo>
                  <a:lnTo>
                    <a:pt x="10" y="100"/>
                  </a:lnTo>
                  <a:lnTo>
                    <a:pt x="10" y="100"/>
                  </a:lnTo>
                  <a:lnTo>
                    <a:pt x="10" y="96"/>
                  </a:lnTo>
                  <a:lnTo>
                    <a:pt x="10" y="96"/>
                  </a:lnTo>
                  <a:lnTo>
                    <a:pt x="10" y="96"/>
                  </a:lnTo>
                  <a:lnTo>
                    <a:pt x="10" y="92"/>
                  </a:lnTo>
                  <a:lnTo>
                    <a:pt x="10" y="92"/>
                  </a:lnTo>
                  <a:lnTo>
                    <a:pt x="10" y="92"/>
                  </a:lnTo>
                  <a:lnTo>
                    <a:pt x="10" y="92"/>
                  </a:lnTo>
                  <a:lnTo>
                    <a:pt x="10" y="90"/>
                  </a:lnTo>
                  <a:lnTo>
                    <a:pt x="10" y="90"/>
                  </a:lnTo>
                  <a:lnTo>
                    <a:pt x="10" y="90"/>
                  </a:lnTo>
                  <a:lnTo>
                    <a:pt x="10" y="86"/>
                  </a:lnTo>
                  <a:lnTo>
                    <a:pt x="10" y="86"/>
                  </a:lnTo>
                  <a:lnTo>
                    <a:pt x="10" y="86"/>
                  </a:lnTo>
                  <a:lnTo>
                    <a:pt x="10" y="86"/>
                  </a:lnTo>
                  <a:lnTo>
                    <a:pt x="10" y="82"/>
                  </a:lnTo>
                  <a:lnTo>
                    <a:pt x="10" y="82"/>
                  </a:lnTo>
                  <a:lnTo>
                    <a:pt x="8" y="82"/>
                  </a:lnTo>
                  <a:lnTo>
                    <a:pt x="8" y="78"/>
                  </a:lnTo>
                  <a:lnTo>
                    <a:pt x="8" y="74"/>
                  </a:lnTo>
                  <a:lnTo>
                    <a:pt x="8" y="74"/>
                  </a:lnTo>
                  <a:lnTo>
                    <a:pt x="8" y="74"/>
                  </a:lnTo>
                  <a:lnTo>
                    <a:pt x="8" y="70"/>
                  </a:lnTo>
                  <a:lnTo>
                    <a:pt x="8" y="70"/>
                  </a:lnTo>
                  <a:lnTo>
                    <a:pt x="8" y="70"/>
                  </a:lnTo>
                  <a:lnTo>
                    <a:pt x="8" y="70"/>
                  </a:lnTo>
                  <a:lnTo>
                    <a:pt x="8" y="70"/>
                  </a:lnTo>
                  <a:lnTo>
                    <a:pt x="8" y="66"/>
                  </a:lnTo>
                  <a:lnTo>
                    <a:pt x="8" y="66"/>
                  </a:lnTo>
                  <a:lnTo>
                    <a:pt x="4" y="66"/>
                  </a:lnTo>
                  <a:lnTo>
                    <a:pt x="4" y="62"/>
                  </a:lnTo>
                  <a:lnTo>
                    <a:pt x="4" y="62"/>
                  </a:lnTo>
                  <a:lnTo>
                    <a:pt x="4" y="62"/>
                  </a:lnTo>
                  <a:lnTo>
                    <a:pt x="4" y="62"/>
                  </a:lnTo>
                  <a:lnTo>
                    <a:pt x="4" y="62"/>
                  </a:lnTo>
                  <a:lnTo>
                    <a:pt x="4" y="62"/>
                  </a:lnTo>
                  <a:lnTo>
                    <a:pt x="4" y="62"/>
                  </a:lnTo>
                  <a:lnTo>
                    <a:pt x="4" y="62"/>
                  </a:lnTo>
                  <a:lnTo>
                    <a:pt x="4" y="62"/>
                  </a:lnTo>
                  <a:lnTo>
                    <a:pt x="4" y="62"/>
                  </a:lnTo>
                  <a:lnTo>
                    <a:pt x="4" y="60"/>
                  </a:lnTo>
                  <a:lnTo>
                    <a:pt x="4" y="60"/>
                  </a:lnTo>
                  <a:lnTo>
                    <a:pt x="4" y="60"/>
                  </a:lnTo>
                  <a:lnTo>
                    <a:pt x="4" y="56"/>
                  </a:lnTo>
                  <a:lnTo>
                    <a:pt x="4" y="56"/>
                  </a:lnTo>
                  <a:lnTo>
                    <a:pt x="4" y="56"/>
                  </a:lnTo>
                  <a:lnTo>
                    <a:pt x="4" y="56"/>
                  </a:lnTo>
                  <a:lnTo>
                    <a:pt x="4" y="56"/>
                  </a:lnTo>
                  <a:lnTo>
                    <a:pt x="4" y="56"/>
                  </a:lnTo>
                  <a:lnTo>
                    <a:pt x="4" y="52"/>
                  </a:lnTo>
                  <a:lnTo>
                    <a:pt x="8" y="52"/>
                  </a:lnTo>
                  <a:lnTo>
                    <a:pt x="8" y="52"/>
                  </a:lnTo>
                  <a:lnTo>
                    <a:pt x="8" y="48"/>
                  </a:lnTo>
                  <a:lnTo>
                    <a:pt x="8" y="48"/>
                  </a:lnTo>
                  <a:lnTo>
                    <a:pt x="4" y="44"/>
                  </a:lnTo>
                  <a:lnTo>
                    <a:pt x="4" y="44"/>
                  </a:lnTo>
                  <a:lnTo>
                    <a:pt x="4" y="44"/>
                  </a:lnTo>
                  <a:lnTo>
                    <a:pt x="8" y="44"/>
                  </a:lnTo>
                  <a:lnTo>
                    <a:pt x="8" y="44"/>
                  </a:lnTo>
                  <a:lnTo>
                    <a:pt x="8" y="40"/>
                  </a:lnTo>
                  <a:lnTo>
                    <a:pt x="8" y="40"/>
                  </a:lnTo>
                  <a:lnTo>
                    <a:pt x="8" y="40"/>
                  </a:lnTo>
                  <a:lnTo>
                    <a:pt x="10" y="40"/>
                  </a:lnTo>
                  <a:lnTo>
                    <a:pt x="10" y="40"/>
                  </a:lnTo>
                  <a:lnTo>
                    <a:pt x="10" y="40"/>
                  </a:lnTo>
                  <a:lnTo>
                    <a:pt x="10" y="36"/>
                  </a:lnTo>
                  <a:lnTo>
                    <a:pt x="10" y="36"/>
                  </a:lnTo>
                  <a:lnTo>
                    <a:pt x="10" y="34"/>
                  </a:lnTo>
                  <a:lnTo>
                    <a:pt x="10" y="30"/>
                  </a:lnTo>
                  <a:lnTo>
                    <a:pt x="10" y="26"/>
                  </a:lnTo>
                  <a:lnTo>
                    <a:pt x="10" y="26"/>
                  </a:lnTo>
                  <a:lnTo>
                    <a:pt x="10" y="26"/>
                  </a:lnTo>
                  <a:lnTo>
                    <a:pt x="10" y="26"/>
                  </a:lnTo>
                  <a:lnTo>
                    <a:pt x="14" y="26"/>
                  </a:lnTo>
                  <a:lnTo>
                    <a:pt x="14" y="26"/>
                  </a:lnTo>
                  <a:lnTo>
                    <a:pt x="14" y="26"/>
                  </a:lnTo>
                  <a:lnTo>
                    <a:pt x="14" y="26"/>
                  </a:lnTo>
                  <a:lnTo>
                    <a:pt x="18" y="26"/>
                  </a:lnTo>
                  <a:lnTo>
                    <a:pt x="18" y="26"/>
                  </a:lnTo>
                  <a:lnTo>
                    <a:pt x="18" y="26"/>
                  </a:lnTo>
                  <a:lnTo>
                    <a:pt x="18" y="26"/>
                  </a:lnTo>
                  <a:lnTo>
                    <a:pt x="18" y="26"/>
                  </a:lnTo>
                  <a:lnTo>
                    <a:pt x="18" y="26"/>
                  </a:lnTo>
                  <a:lnTo>
                    <a:pt x="22" y="30"/>
                  </a:lnTo>
                  <a:lnTo>
                    <a:pt x="22" y="26"/>
                  </a:lnTo>
                  <a:lnTo>
                    <a:pt x="26" y="26"/>
                  </a:lnTo>
                  <a:lnTo>
                    <a:pt x="26" y="26"/>
                  </a:lnTo>
                  <a:lnTo>
                    <a:pt x="30" y="26"/>
                  </a:lnTo>
                  <a:lnTo>
                    <a:pt x="30" y="26"/>
                  </a:lnTo>
                  <a:lnTo>
                    <a:pt x="30" y="26"/>
                  </a:lnTo>
                  <a:lnTo>
                    <a:pt x="40" y="26"/>
                  </a:lnTo>
                  <a:lnTo>
                    <a:pt x="40" y="26"/>
                  </a:lnTo>
                  <a:lnTo>
                    <a:pt x="52" y="30"/>
                  </a:lnTo>
                  <a:lnTo>
                    <a:pt x="56" y="30"/>
                  </a:lnTo>
                  <a:lnTo>
                    <a:pt x="60" y="30"/>
                  </a:lnTo>
                  <a:lnTo>
                    <a:pt x="64" y="34"/>
                  </a:lnTo>
                  <a:lnTo>
                    <a:pt x="66" y="34"/>
                  </a:lnTo>
                  <a:lnTo>
                    <a:pt x="70" y="34"/>
                  </a:lnTo>
                  <a:lnTo>
                    <a:pt x="70" y="34"/>
                  </a:lnTo>
                  <a:lnTo>
                    <a:pt x="74" y="26"/>
                  </a:lnTo>
                  <a:lnTo>
                    <a:pt x="78" y="22"/>
                  </a:lnTo>
                  <a:lnTo>
                    <a:pt x="82" y="14"/>
                  </a:lnTo>
                  <a:lnTo>
                    <a:pt x="94" y="4"/>
                  </a:lnTo>
                  <a:lnTo>
                    <a:pt x="120" y="4"/>
                  </a:lnTo>
                  <a:lnTo>
                    <a:pt x="122" y="0"/>
                  </a:lnTo>
                  <a:lnTo>
                    <a:pt x="134" y="0"/>
                  </a:lnTo>
                  <a:lnTo>
                    <a:pt x="144" y="26"/>
                  </a:lnTo>
                  <a:lnTo>
                    <a:pt x="144" y="30"/>
                  </a:lnTo>
                  <a:lnTo>
                    <a:pt x="152" y="40"/>
                  </a:lnTo>
                  <a:lnTo>
                    <a:pt x="148" y="40"/>
                  </a:lnTo>
                  <a:lnTo>
                    <a:pt x="148" y="40"/>
                  </a:lnTo>
                  <a:lnTo>
                    <a:pt x="148" y="40"/>
                  </a:lnTo>
                  <a:lnTo>
                    <a:pt x="148" y="40"/>
                  </a:lnTo>
                  <a:lnTo>
                    <a:pt x="148" y="40"/>
                  </a:lnTo>
                  <a:lnTo>
                    <a:pt x="144" y="40"/>
                  </a:lnTo>
                  <a:lnTo>
                    <a:pt x="144" y="40"/>
                  </a:lnTo>
                  <a:lnTo>
                    <a:pt x="144" y="40"/>
                  </a:lnTo>
                  <a:lnTo>
                    <a:pt x="144" y="40"/>
                  </a:lnTo>
                  <a:lnTo>
                    <a:pt x="140" y="44"/>
                  </a:lnTo>
                  <a:lnTo>
                    <a:pt x="140" y="44"/>
                  </a:lnTo>
                  <a:lnTo>
                    <a:pt x="140" y="44"/>
                  </a:lnTo>
                  <a:lnTo>
                    <a:pt x="140" y="44"/>
                  </a:lnTo>
                  <a:lnTo>
                    <a:pt x="140" y="44"/>
                  </a:lnTo>
                  <a:lnTo>
                    <a:pt x="136" y="44"/>
                  </a:lnTo>
                  <a:lnTo>
                    <a:pt x="136" y="48"/>
                  </a:lnTo>
                  <a:lnTo>
                    <a:pt x="136" y="52"/>
                  </a:lnTo>
                  <a:lnTo>
                    <a:pt x="136" y="52"/>
                  </a:lnTo>
                  <a:lnTo>
                    <a:pt x="136" y="56"/>
                  </a:lnTo>
                  <a:lnTo>
                    <a:pt x="136" y="56"/>
                  </a:lnTo>
                  <a:lnTo>
                    <a:pt x="136" y="60"/>
                  </a:lnTo>
                  <a:lnTo>
                    <a:pt x="134" y="60"/>
                  </a:lnTo>
                  <a:lnTo>
                    <a:pt x="134" y="60"/>
                  </a:lnTo>
                  <a:lnTo>
                    <a:pt x="130" y="60"/>
                  </a:lnTo>
                  <a:lnTo>
                    <a:pt x="130" y="62"/>
                  </a:lnTo>
                  <a:lnTo>
                    <a:pt x="130" y="62"/>
                  </a:lnTo>
                  <a:lnTo>
                    <a:pt x="130" y="62"/>
                  </a:lnTo>
                  <a:lnTo>
                    <a:pt x="126" y="62"/>
                  </a:lnTo>
                  <a:lnTo>
                    <a:pt x="126" y="62"/>
                  </a:lnTo>
                  <a:lnTo>
                    <a:pt x="122" y="66"/>
                  </a:lnTo>
                  <a:lnTo>
                    <a:pt x="122" y="66"/>
                  </a:lnTo>
                  <a:lnTo>
                    <a:pt x="122" y="66"/>
                  </a:lnTo>
                  <a:lnTo>
                    <a:pt x="122" y="66"/>
                  </a:lnTo>
                  <a:lnTo>
                    <a:pt x="120" y="66"/>
                  </a:lnTo>
                  <a:lnTo>
                    <a:pt x="120" y="66"/>
                  </a:lnTo>
                  <a:lnTo>
                    <a:pt x="116" y="66"/>
                  </a:lnTo>
                  <a:lnTo>
                    <a:pt x="116" y="66"/>
                  </a:lnTo>
                  <a:lnTo>
                    <a:pt x="116" y="66"/>
                  </a:lnTo>
                  <a:lnTo>
                    <a:pt x="116" y="66"/>
                  </a:lnTo>
                  <a:lnTo>
                    <a:pt x="112" y="66"/>
                  </a:lnTo>
                  <a:lnTo>
                    <a:pt x="112" y="66"/>
                  </a:lnTo>
                  <a:lnTo>
                    <a:pt x="108" y="70"/>
                  </a:lnTo>
                  <a:lnTo>
                    <a:pt x="108" y="70"/>
                  </a:lnTo>
                  <a:lnTo>
                    <a:pt x="108" y="70"/>
                  </a:lnTo>
                  <a:lnTo>
                    <a:pt x="108" y="70"/>
                  </a:lnTo>
                  <a:lnTo>
                    <a:pt x="104" y="70"/>
                  </a:lnTo>
                  <a:lnTo>
                    <a:pt x="100" y="74"/>
                  </a:lnTo>
                  <a:lnTo>
                    <a:pt x="100" y="74"/>
                  </a:lnTo>
                  <a:lnTo>
                    <a:pt x="96" y="74"/>
                  </a:lnTo>
                  <a:lnTo>
                    <a:pt x="94" y="78"/>
                  </a:lnTo>
                  <a:lnTo>
                    <a:pt x="94" y="78"/>
                  </a:lnTo>
                  <a:lnTo>
                    <a:pt x="94" y="78"/>
                  </a:lnTo>
                  <a:lnTo>
                    <a:pt x="94" y="78"/>
                  </a:lnTo>
                  <a:lnTo>
                    <a:pt x="94" y="78"/>
                  </a:lnTo>
                  <a:lnTo>
                    <a:pt x="94" y="82"/>
                  </a:lnTo>
                  <a:lnTo>
                    <a:pt x="90" y="82"/>
                  </a:lnTo>
                  <a:lnTo>
                    <a:pt x="90" y="86"/>
                  </a:lnTo>
                  <a:lnTo>
                    <a:pt x="90" y="86"/>
                  </a:lnTo>
                  <a:lnTo>
                    <a:pt x="90" y="86"/>
                  </a:lnTo>
                  <a:lnTo>
                    <a:pt x="86" y="86"/>
                  </a:lnTo>
                  <a:lnTo>
                    <a:pt x="86" y="86"/>
                  </a:lnTo>
                  <a:lnTo>
                    <a:pt x="86" y="86"/>
                  </a:lnTo>
                  <a:lnTo>
                    <a:pt x="82" y="86"/>
                  </a:lnTo>
                  <a:lnTo>
                    <a:pt x="82" y="86"/>
                  </a:lnTo>
                  <a:lnTo>
                    <a:pt x="82" y="86"/>
                  </a:lnTo>
                  <a:lnTo>
                    <a:pt x="82" y="86"/>
                  </a:lnTo>
                  <a:lnTo>
                    <a:pt x="82" y="86"/>
                  </a:lnTo>
                  <a:lnTo>
                    <a:pt x="78" y="86"/>
                  </a:lnTo>
                  <a:lnTo>
                    <a:pt x="78" y="86"/>
                  </a:lnTo>
                  <a:lnTo>
                    <a:pt x="78" y="86"/>
                  </a:lnTo>
                  <a:lnTo>
                    <a:pt x="78" y="86"/>
                  </a:lnTo>
                  <a:lnTo>
                    <a:pt x="78" y="86"/>
                  </a:lnTo>
                  <a:lnTo>
                    <a:pt x="78" y="86"/>
                  </a:lnTo>
                  <a:lnTo>
                    <a:pt x="78" y="86"/>
                  </a:lnTo>
                  <a:lnTo>
                    <a:pt x="78" y="86"/>
                  </a:lnTo>
                  <a:lnTo>
                    <a:pt x="78" y="86"/>
                  </a:lnTo>
                  <a:lnTo>
                    <a:pt x="74" y="86"/>
                  </a:lnTo>
                  <a:lnTo>
                    <a:pt x="74" y="86"/>
                  </a:lnTo>
                  <a:lnTo>
                    <a:pt x="74" y="86"/>
                  </a:lnTo>
                  <a:lnTo>
                    <a:pt x="74" y="90"/>
                  </a:lnTo>
                  <a:lnTo>
                    <a:pt x="74" y="90"/>
                  </a:lnTo>
                  <a:lnTo>
                    <a:pt x="74" y="90"/>
                  </a:lnTo>
                  <a:lnTo>
                    <a:pt x="74" y="90"/>
                  </a:lnTo>
                  <a:lnTo>
                    <a:pt x="70" y="90"/>
                  </a:lnTo>
                  <a:lnTo>
                    <a:pt x="70" y="92"/>
                  </a:lnTo>
                  <a:lnTo>
                    <a:pt x="70" y="92"/>
                  </a:lnTo>
                  <a:lnTo>
                    <a:pt x="70" y="92"/>
                  </a:lnTo>
                  <a:lnTo>
                    <a:pt x="66" y="92"/>
                  </a:lnTo>
                  <a:lnTo>
                    <a:pt x="66" y="92"/>
                  </a:lnTo>
                  <a:lnTo>
                    <a:pt x="66" y="92"/>
                  </a:lnTo>
                  <a:lnTo>
                    <a:pt x="66" y="92"/>
                  </a:lnTo>
                  <a:close/>
                  <a:moveTo>
                    <a:pt x="140" y="118"/>
                  </a:moveTo>
                  <a:lnTo>
                    <a:pt x="136" y="118"/>
                  </a:lnTo>
                  <a:lnTo>
                    <a:pt x="136" y="118"/>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36" y="116"/>
                  </a:lnTo>
                  <a:lnTo>
                    <a:pt x="140" y="116"/>
                  </a:lnTo>
                  <a:lnTo>
                    <a:pt x="140" y="116"/>
                  </a:lnTo>
                  <a:lnTo>
                    <a:pt x="140" y="118"/>
                  </a:lnTo>
                  <a:lnTo>
                    <a:pt x="140" y="118"/>
                  </a:lnTo>
                  <a:lnTo>
                    <a:pt x="140" y="118"/>
                  </a:lnTo>
                  <a:lnTo>
                    <a:pt x="140" y="118"/>
                  </a:lnTo>
                  <a:lnTo>
                    <a:pt x="140" y="118"/>
                  </a:lnTo>
                  <a:close/>
                  <a:moveTo>
                    <a:pt x="4" y="62"/>
                  </a:moveTo>
                  <a:lnTo>
                    <a:pt x="4" y="62"/>
                  </a:lnTo>
                  <a:lnTo>
                    <a:pt x="4" y="62"/>
                  </a:lnTo>
                  <a:lnTo>
                    <a:pt x="0" y="62"/>
                  </a:lnTo>
                  <a:lnTo>
                    <a:pt x="4" y="62"/>
                  </a:lnTo>
                  <a:lnTo>
                    <a:pt x="4" y="60"/>
                  </a:lnTo>
                  <a:lnTo>
                    <a:pt x="4" y="60"/>
                  </a:lnTo>
                  <a:lnTo>
                    <a:pt x="4" y="60"/>
                  </a:lnTo>
                  <a:lnTo>
                    <a:pt x="4" y="60"/>
                  </a:lnTo>
                  <a:lnTo>
                    <a:pt x="4" y="62"/>
                  </a:lnTo>
                  <a:lnTo>
                    <a:pt x="4" y="62"/>
                  </a:lnTo>
                  <a:lnTo>
                    <a:pt x="4" y="62"/>
                  </a:lnTo>
                  <a:lnTo>
                    <a:pt x="4" y="62"/>
                  </a:lnTo>
                  <a:lnTo>
                    <a:pt x="4" y="62"/>
                  </a:lnTo>
                  <a:lnTo>
                    <a:pt x="4" y="62"/>
                  </a:lnTo>
                  <a:lnTo>
                    <a:pt x="4" y="62"/>
                  </a:lnTo>
                  <a:close/>
                  <a:moveTo>
                    <a:pt x="4" y="86"/>
                  </a:moveTo>
                  <a:lnTo>
                    <a:pt x="4"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66" y="108"/>
                  </a:moveTo>
                  <a:lnTo>
                    <a:pt x="166" y="108"/>
                  </a:lnTo>
                  <a:lnTo>
                    <a:pt x="170" y="112"/>
                  </a:lnTo>
                  <a:lnTo>
                    <a:pt x="170" y="112"/>
                  </a:lnTo>
                  <a:lnTo>
                    <a:pt x="166" y="112"/>
                  </a:lnTo>
                  <a:lnTo>
                    <a:pt x="166" y="112"/>
                  </a:lnTo>
                  <a:lnTo>
                    <a:pt x="166" y="116"/>
                  </a:lnTo>
                  <a:lnTo>
                    <a:pt x="164" y="116"/>
                  </a:lnTo>
                  <a:lnTo>
                    <a:pt x="164" y="116"/>
                  </a:lnTo>
                  <a:lnTo>
                    <a:pt x="164" y="116"/>
                  </a:lnTo>
                  <a:lnTo>
                    <a:pt x="160" y="116"/>
                  </a:lnTo>
                  <a:lnTo>
                    <a:pt x="160" y="116"/>
                  </a:lnTo>
                  <a:lnTo>
                    <a:pt x="160" y="116"/>
                  </a:lnTo>
                  <a:lnTo>
                    <a:pt x="156" y="116"/>
                  </a:lnTo>
                  <a:lnTo>
                    <a:pt x="156" y="116"/>
                  </a:lnTo>
                  <a:lnTo>
                    <a:pt x="156" y="112"/>
                  </a:lnTo>
                  <a:lnTo>
                    <a:pt x="152" y="112"/>
                  </a:lnTo>
                  <a:lnTo>
                    <a:pt x="156" y="112"/>
                  </a:lnTo>
                  <a:lnTo>
                    <a:pt x="156" y="112"/>
                  </a:lnTo>
                  <a:lnTo>
                    <a:pt x="156" y="112"/>
                  </a:lnTo>
                  <a:lnTo>
                    <a:pt x="156" y="108"/>
                  </a:lnTo>
                  <a:lnTo>
                    <a:pt x="156" y="108"/>
                  </a:lnTo>
                  <a:lnTo>
                    <a:pt x="156" y="108"/>
                  </a:lnTo>
                  <a:lnTo>
                    <a:pt x="160" y="108"/>
                  </a:lnTo>
                  <a:lnTo>
                    <a:pt x="160" y="108"/>
                  </a:lnTo>
                  <a:lnTo>
                    <a:pt x="160" y="108"/>
                  </a:lnTo>
                  <a:lnTo>
                    <a:pt x="160" y="112"/>
                  </a:lnTo>
                  <a:lnTo>
                    <a:pt x="164" y="108"/>
                  </a:lnTo>
                  <a:lnTo>
                    <a:pt x="164" y="108"/>
                  </a:lnTo>
                  <a:lnTo>
                    <a:pt x="164" y="108"/>
                  </a:lnTo>
                  <a:lnTo>
                    <a:pt x="164" y="108"/>
                  </a:lnTo>
                  <a:lnTo>
                    <a:pt x="164" y="108"/>
                  </a:lnTo>
                  <a:lnTo>
                    <a:pt x="166" y="108"/>
                  </a:lnTo>
                  <a:lnTo>
                    <a:pt x="166" y="108"/>
                  </a:lnTo>
                  <a:lnTo>
                    <a:pt x="166" y="108"/>
                  </a:lnTo>
                  <a:lnTo>
                    <a:pt x="166" y="10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72" name="Freeform 65"/>
            <p:cNvSpPr>
              <a:spLocks/>
            </p:cNvSpPr>
            <p:nvPr/>
          </p:nvSpPr>
          <p:spPr bwMode="auto">
            <a:xfrm>
              <a:off x="6417328" y="4017917"/>
              <a:ext cx="2512" cy="2615"/>
            </a:xfrm>
            <a:custGeom>
              <a:avLst/>
              <a:gdLst>
                <a:gd name="T0" fmla="*/ 4 w 4"/>
                <a:gd name="T1" fmla="*/ 4 h 4"/>
                <a:gd name="T2" fmla="*/ 4 w 4"/>
                <a:gd name="T3" fmla="*/ 4 h 4"/>
                <a:gd name="T4" fmla="*/ 0 w 4"/>
                <a:gd name="T5" fmla="*/ 4 h 4"/>
                <a:gd name="T6" fmla="*/ 0 w 4"/>
                <a:gd name="T7" fmla="*/ 0 h 4"/>
                <a:gd name="T8" fmla="*/ 0 w 4"/>
                <a:gd name="T9" fmla="*/ 0 h 4"/>
                <a:gd name="T10" fmla="*/ 4 w 4"/>
                <a:gd name="T11" fmla="*/ 4 h 4"/>
                <a:gd name="T12" fmla="*/ 4 w 4"/>
                <a:gd name="T13" fmla="*/ 4 h 4"/>
                <a:gd name="T14" fmla="*/ 4 w 4"/>
                <a:gd name="T15" fmla="*/ 4 h 4"/>
                <a:gd name="T16" fmla="*/ 4 w 4"/>
                <a:gd name="T17" fmla="*/ 4 h 4"/>
                <a:gd name="T18" fmla="*/ 4 w 4"/>
                <a:gd name="T19" fmla="*/ 4 h 4"/>
                <a:gd name="T20" fmla="*/ 4 w 4"/>
                <a:gd name="T21" fmla="*/ 4 h 4"/>
                <a:gd name="T22" fmla="*/ 4 w 4"/>
                <a:gd name="T23" fmla="*/ 4 h 4"/>
                <a:gd name="T24" fmla="*/ 4 w 4"/>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4" y="4"/>
                  </a:moveTo>
                  <a:lnTo>
                    <a:pt x="4" y="4"/>
                  </a:lnTo>
                  <a:lnTo>
                    <a:pt x="0" y="4"/>
                  </a:lnTo>
                  <a:lnTo>
                    <a:pt x="0" y="0"/>
                  </a:lnTo>
                  <a:lnTo>
                    <a:pt x="0" y="0"/>
                  </a:lnTo>
                  <a:lnTo>
                    <a:pt x="4" y="4"/>
                  </a:lnTo>
                  <a:lnTo>
                    <a:pt x="4" y="4"/>
                  </a:lnTo>
                  <a:lnTo>
                    <a:pt x="4" y="4"/>
                  </a:lnTo>
                  <a:lnTo>
                    <a:pt x="4" y="4"/>
                  </a:lnTo>
                  <a:lnTo>
                    <a:pt x="4" y="4"/>
                  </a:lnTo>
                  <a:lnTo>
                    <a:pt x="4" y="4"/>
                  </a:lnTo>
                  <a:lnTo>
                    <a:pt x="4" y="4"/>
                  </a:lnTo>
                  <a:lnTo>
                    <a:pt x="4" y="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73" name="Freeform 66"/>
            <p:cNvSpPr>
              <a:spLocks noEditPoints="1"/>
            </p:cNvSpPr>
            <p:nvPr/>
          </p:nvSpPr>
          <p:spPr bwMode="auto">
            <a:xfrm>
              <a:off x="6247773" y="3952538"/>
              <a:ext cx="12560" cy="28767"/>
            </a:xfrm>
            <a:custGeom>
              <a:avLst/>
              <a:gdLst>
                <a:gd name="T0" fmla="*/ 14 w 20"/>
                <a:gd name="T1" fmla="*/ 0 h 44"/>
                <a:gd name="T2" fmla="*/ 14 w 20"/>
                <a:gd name="T3" fmla="*/ 4 h 44"/>
                <a:gd name="T4" fmla="*/ 16 w 20"/>
                <a:gd name="T5" fmla="*/ 4 h 44"/>
                <a:gd name="T6" fmla="*/ 16 w 20"/>
                <a:gd name="T7" fmla="*/ 4 h 44"/>
                <a:gd name="T8" fmla="*/ 16 w 20"/>
                <a:gd name="T9" fmla="*/ 6 h 44"/>
                <a:gd name="T10" fmla="*/ 14 w 20"/>
                <a:gd name="T11" fmla="*/ 10 h 44"/>
                <a:gd name="T12" fmla="*/ 14 w 20"/>
                <a:gd name="T13" fmla="*/ 10 h 44"/>
                <a:gd name="T14" fmla="*/ 14 w 20"/>
                <a:gd name="T15" fmla="*/ 10 h 44"/>
                <a:gd name="T16" fmla="*/ 14 w 20"/>
                <a:gd name="T17" fmla="*/ 14 h 44"/>
                <a:gd name="T18" fmla="*/ 14 w 20"/>
                <a:gd name="T19" fmla="*/ 14 h 44"/>
                <a:gd name="T20" fmla="*/ 14 w 20"/>
                <a:gd name="T21" fmla="*/ 14 h 44"/>
                <a:gd name="T22" fmla="*/ 14 w 20"/>
                <a:gd name="T23" fmla="*/ 18 h 44"/>
                <a:gd name="T24" fmla="*/ 14 w 20"/>
                <a:gd name="T25" fmla="*/ 22 h 44"/>
                <a:gd name="T26" fmla="*/ 14 w 20"/>
                <a:gd name="T27" fmla="*/ 22 h 44"/>
                <a:gd name="T28" fmla="*/ 14 w 20"/>
                <a:gd name="T29" fmla="*/ 22 h 44"/>
                <a:gd name="T30" fmla="*/ 14 w 20"/>
                <a:gd name="T31" fmla="*/ 26 h 44"/>
                <a:gd name="T32" fmla="*/ 14 w 20"/>
                <a:gd name="T33" fmla="*/ 26 h 44"/>
                <a:gd name="T34" fmla="*/ 14 w 20"/>
                <a:gd name="T35" fmla="*/ 26 h 44"/>
                <a:gd name="T36" fmla="*/ 14 w 20"/>
                <a:gd name="T37" fmla="*/ 28 h 44"/>
                <a:gd name="T38" fmla="*/ 14 w 20"/>
                <a:gd name="T39" fmla="*/ 32 h 44"/>
                <a:gd name="T40" fmla="*/ 14 w 20"/>
                <a:gd name="T41" fmla="*/ 32 h 44"/>
                <a:gd name="T42" fmla="*/ 14 w 20"/>
                <a:gd name="T43" fmla="*/ 32 h 44"/>
                <a:gd name="T44" fmla="*/ 10 w 20"/>
                <a:gd name="T45" fmla="*/ 36 h 44"/>
                <a:gd name="T46" fmla="*/ 6 w 20"/>
                <a:gd name="T47" fmla="*/ 40 h 44"/>
                <a:gd name="T48" fmla="*/ 6 w 20"/>
                <a:gd name="T49" fmla="*/ 40 h 44"/>
                <a:gd name="T50" fmla="*/ 6 w 20"/>
                <a:gd name="T51" fmla="*/ 44 h 44"/>
                <a:gd name="T52" fmla="*/ 6 w 20"/>
                <a:gd name="T53" fmla="*/ 44 h 44"/>
                <a:gd name="T54" fmla="*/ 2 w 20"/>
                <a:gd name="T55" fmla="*/ 44 h 44"/>
                <a:gd name="T56" fmla="*/ 0 w 20"/>
                <a:gd name="T57" fmla="*/ 44 h 44"/>
                <a:gd name="T58" fmla="*/ 0 w 20"/>
                <a:gd name="T59" fmla="*/ 40 h 44"/>
                <a:gd name="T60" fmla="*/ 2 w 20"/>
                <a:gd name="T61" fmla="*/ 26 h 44"/>
                <a:gd name="T62" fmla="*/ 2 w 20"/>
                <a:gd name="T63" fmla="*/ 14 h 44"/>
                <a:gd name="T64" fmla="*/ 2 w 20"/>
                <a:gd name="T65" fmla="*/ 10 h 44"/>
                <a:gd name="T66" fmla="*/ 2 w 20"/>
                <a:gd name="T67" fmla="*/ 6 h 44"/>
                <a:gd name="T68" fmla="*/ 2 w 20"/>
                <a:gd name="T69" fmla="*/ 6 h 44"/>
                <a:gd name="T70" fmla="*/ 6 w 20"/>
                <a:gd name="T71" fmla="*/ 10 h 44"/>
                <a:gd name="T72" fmla="*/ 6 w 20"/>
                <a:gd name="T73" fmla="*/ 6 h 44"/>
                <a:gd name="T74" fmla="*/ 6 w 20"/>
                <a:gd name="T75" fmla="*/ 6 h 44"/>
                <a:gd name="T76" fmla="*/ 10 w 20"/>
                <a:gd name="T77" fmla="*/ 4 h 44"/>
                <a:gd name="T78" fmla="*/ 10 w 20"/>
                <a:gd name="T79" fmla="*/ 0 h 44"/>
                <a:gd name="T80" fmla="*/ 10 w 20"/>
                <a:gd name="T81" fmla="*/ 0 h 44"/>
                <a:gd name="T82" fmla="*/ 14 w 20"/>
                <a:gd name="T83" fmla="*/ 0 h 44"/>
                <a:gd name="T84" fmla="*/ 14 w 20"/>
                <a:gd name="T85" fmla="*/ 0 h 44"/>
                <a:gd name="T86" fmla="*/ 14 w 20"/>
                <a:gd name="T87" fmla="*/ 0 h 44"/>
                <a:gd name="T88" fmla="*/ 16 w 20"/>
                <a:gd name="T89" fmla="*/ 6 h 44"/>
                <a:gd name="T90" fmla="*/ 16 w 20"/>
                <a:gd name="T91" fmla="*/ 10 h 44"/>
                <a:gd name="T92" fmla="*/ 16 w 20"/>
                <a:gd name="T93" fmla="*/ 10 h 44"/>
                <a:gd name="T94" fmla="*/ 16 w 20"/>
                <a:gd name="T95" fmla="*/ 10 h 44"/>
                <a:gd name="T96" fmla="*/ 16 w 20"/>
                <a:gd name="T97" fmla="*/ 10 h 44"/>
                <a:gd name="T98" fmla="*/ 20 w 20"/>
                <a:gd name="T99" fmla="*/ 6 h 44"/>
                <a:gd name="T100" fmla="*/ 20 w 20"/>
                <a:gd name="T101" fmla="*/ 6 h 44"/>
                <a:gd name="T102" fmla="*/ 16 w 20"/>
                <a:gd name="T103" fmla="*/ 6 h 44"/>
                <a:gd name="T104" fmla="*/ 16 w 20"/>
                <a:gd name="T105" fmla="*/ 6 h 44"/>
                <a:gd name="T106" fmla="*/ 16 w 20"/>
                <a:gd name="T107" fmla="*/ 22 h 44"/>
                <a:gd name="T108" fmla="*/ 16 w 20"/>
                <a:gd name="T109" fmla="*/ 22 h 44"/>
                <a:gd name="T110" fmla="*/ 20 w 20"/>
                <a:gd name="T111" fmla="*/ 14 h 44"/>
                <a:gd name="T112" fmla="*/ 20 w 20"/>
                <a:gd name="T113" fmla="*/ 18 h 44"/>
                <a:gd name="T114" fmla="*/ 20 w 20"/>
                <a:gd name="T115" fmla="*/ 18 h 44"/>
                <a:gd name="T116" fmla="*/ 20 w 20"/>
                <a:gd name="T117" fmla="*/ 18 h 44"/>
                <a:gd name="T118" fmla="*/ 20 w 20"/>
                <a:gd name="T119" fmla="*/ 18 h 44"/>
                <a:gd name="T120" fmla="*/ 16 w 20"/>
                <a:gd name="T121" fmla="*/ 18 h 44"/>
                <a:gd name="T122" fmla="*/ 16 w 20"/>
                <a:gd name="T123" fmla="*/ 22 h 44"/>
                <a:gd name="T124" fmla="*/ 16 w 20"/>
                <a:gd name="T125"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 h="44">
                  <a:moveTo>
                    <a:pt x="14" y="0"/>
                  </a:moveTo>
                  <a:lnTo>
                    <a:pt x="14" y="0"/>
                  </a:lnTo>
                  <a:lnTo>
                    <a:pt x="14" y="0"/>
                  </a:lnTo>
                  <a:lnTo>
                    <a:pt x="14" y="4"/>
                  </a:lnTo>
                  <a:lnTo>
                    <a:pt x="14" y="4"/>
                  </a:lnTo>
                  <a:lnTo>
                    <a:pt x="16" y="4"/>
                  </a:lnTo>
                  <a:lnTo>
                    <a:pt x="16" y="4"/>
                  </a:lnTo>
                  <a:lnTo>
                    <a:pt x="16" y="4"/>
                  </a:lnTo>
                  <a:lnTo>
                    <a:pt x="16" y="6"/>
                  </a:lnTo>
                  <a:lnTo>
                    <a:pt x="16" y="6"/>
                  </a:lnTo>
                  <a:lnTo>
                    <a:pt x="14" y="10"/>
                  </a:lnTo>
                  <a:lnTo>
                    <a:pt x="14" y="10"/>
                  </a:lnTo>
                  <a:lnTo>
                    <a:pt x="14" y="10"/>
                  </a:lnTo>
                  <a:lnTo>
                    <a:pt x="14" y="10"/>
                  </a:lnTo>
                  <a:lnTo>
                    <a:pt x="14" y="10"/>
                  </a:lnTo>
                  <a:lnTo>
                    <a:pt x="14" y="10"/>
                  </a:lnTo>
                  <a:lnTo>
                    <a:pt x="14" y="14"/>
                  </a:lnTo>
                  <a:lnTo>
                    <a:pt x="14" y="14"/>
                  </a:lnTo>
                  <a:lnTo>
                    <a:pt x="14" y="14"/>
                  </a:lnTo>
                  <a:lnTo>
                    <a:pt x="14" y="14"/>
                  </a:lnTo>
                  <a:lnTo>
                    <a:pt x="14" y="14"/>
                  </a:lnTo>
                  <a:lnTo>
                    <a:pt x="14" y="14"/>
                  </a:lnTo>
                  <a:lnTo>
                    <a:pt x="14" y="18"/>
                  </a:lnTo>
                  <a:lnTo>
                    <a:pt x="14" y="18"/>
                  </a:lnTo>
                  <a:lnTo>
                    <a:pt x="14" y="18"/>
                  </a:lnTo>
                  <a:lnTo>
                    <a:pt x="14" y="22"/>
                  </a:lnTo>
                  <a:lnTo>
                    <a:pt x="14" y="22"/>
                  </a:lnTo>
                  <a:lnTo>
                    <a:pt x="14" y="22"/>
                  </a:lnTo>
                  <a:lnTo>
                    <a:pt x="14" y="22"/>
                  </a:lnTo>
                  <a:lnTo>
                    <a:pt x="14" y="22"/>
                  </a:lnTo>
                  <a:lnTo>
                    <a:pt x="14" y="26"/>
                  </a:lnTo>
                  <a:lnTo>
                    <a:pt x="14" y="26"/>
                  </a:lnTo>
                  <a:lnTo>
                    <a:pt x="14" y="26"/>
                  </a:lnTo>
                  <a:lnTo>
                    <a:pt x="14" y="26"/>
                  </a:lnTo>
                  <a:lnTo>
                    <a:pt x="14" y="26"/>
                  </a:lnTo>
                  <a:lnTo>
                    <a:pt x="14" y="26"/>
                  </a:lnTo>
                  <a:lnTo>
                    <a:pt x="14" y="28"/>
                  </a:lnTo>
                  <a:lnTo>
                    <a:pt x="14" y="28"/>
                  </a:lnTo>
                  <a:lnTo>
                    <a:pt x="14" y="32"/>
                  </a:lnTo>
                  <a:lnTo>
                    <a:pt x="14" y="32"/>
                  </a:lnTo>
                  <a:lnTo>
                    <a:pt x="14" y="32"/>
                  </a:lnTo>
                  <a:lnTo>
                    <a:pt x="14" y="32"/>
                  </a:lnTo>
                  <a:lnTo>
                    <a:pt x="14" y="32"/>
                  </a:lnTo>
                  <a:lnTo>
                    <a:pt x="14" y="32"/>
                  </a:lnTo>
                  <a:lnTo>
                    <a:pt x="14" y="32"/>
                  </a:lnTo>
                  <a:lnTo>
                    <a:pt x="10" y="36"/>
                  </a:lnTo>
                  <a:lnTo>
                    <a:pt x="10" y="36"/>
                  </a:lnTo>
                  <a:lnTo>
                    <a:pt x="6" y="40"/>
                  </a:lnTo>
                  <a:lnTo>
                    <a:pt x="6" y="40"/>
                  </a:lnTo>
                  <a:lnTo>
                    <a:pt x="6" y="40"/>
                  </a:lnTo>
                  <a:lnTo>
                    <a:pt x="6" y="40"/>
                  </a:lnTo>
                  <a:lnTo>
                    <a:pt x="6" y="44"/>
                  </a:lnTo>
                  <a:lnTo>
                    <a:pt x="6" y="44"/>
                  </a:lnTo>
                  <a:lnTo>
                    <a:pt x="6" y="44"/>
                  </a:lnTo>
                  <a:lnTo>
                    <a:pt x="2" y="44"/>
                  </a:lnTo>
                  <a:lnTo>
                    <a:pt x="2" y="44"/>
                  </a:lnTo>
                  <a:lnTo>
                    <a:pt x="2" y="44"/>
                  </a:lnTo>
                  <a:lnTo>
                    <a:pt x="0" y="44"/>
                  </a:lnTo>
                  <a:lnTo>
                    <a:pt x="0" y="44"/>
                  </a:lnTo>
                  <a:lnTo>
                    <a:pt x="0" y="40"/>
                  </a:lnTo>
                  <a:lnTo>
                    <a:pt x="2" y="36"/>
                  </a:lnTo>
                  <a:lnTo>
                    <a:pt x="2" y="26"/>
                  </a:lnTo>
                  <a:lnTo>
                    <a:pt x="2" y="18"/>
                  </a:lnTo>
                  <a:lnTo>
                    <a:pt x="2" y="14"/>
                  </a:lnTo>
                  <a:lnTo>
                    <a:pt x="2" y="10"/>
                  </a:lnTo>
                  <a:lnTo>
                    <a:pt x="2" y="10"/>
                  </a:lnTo>
                  <a:lnTo>
                    <a:pt x="2" y="6"/>
                  </a:lnTo>
                  <a:lnTo>
                    <a:pt x="2" y="6"/>
                  </a:lnTo>
                  <a:lnTo>
                    <a:pt x="2" y="6"/>
                  </a:lnTo>
                  <a:lnTo>
                    <a:pt x="2" y="6"/>
                  </a:lnTo>
                  <a:lnTo>
                    <a:pt x="2" y="10"/>
                  </a:lnTo>
                  <a:lnTo>
                    <a:pt x="6" y="10"/>
                  </a:lnTo>
                  <a:lnTo>
                    <a:pt x="6" y="10"/>
                  </a:lnTo>
                  <a:lnTo>
                    <a:pt x="6" y="6"/>
                  </a:lnTo>
                  <a:lnTo>
                    <a:pt x="6" y="6"/>
                  </a:lnTo>
                  <a:lnTo>
                    <a:pt x="6" y="6"/>
                  </a:lnTo>
                  <a:lnTo>
                    <a:pt x="6" y="4"/>
                  </a:lnTo>
                  <a:lnTo>
                    <a:pt x="10" y="4"/>
                  </a:lnTo>
                  <a:lnTo>
                    <a:pt x="10" y="4"/>
                  </a:lnTo>
                  <a:lnTo>
                    <a:pt x="10" y="0"/>
                  </a:lnTo>
                  <a:lnTo>
                    <a:pt x="10" y="0"/>
                  </a:lnTo>
                  <a:lnTo>
                    <a:pt x="10" y="0"/>
                  </a:lnTo>
                  <a:lnTo>
                    <a:pt x="14" y="0"/>
                  </a:lnTo>
                  <a:lnTo>
                    <a:pt x="14" y="0"/>
                  </a:lnTo>
                  <a:lnTo>
                    <a:pt x="14" y="0"/>
                  </a:lnTo>
                  <a:lnTo>
                    <a:pt x="14" y="0"/>
                  </a:lnTo>
                  <a:lnTo>
                    <a:pt x="14" y="0"/>
                  </a:lnTo>
                  <a:lnTo>
                    <a:pt x="14" y="0"/>
                  </a:lnTo>
                  <a:close/>
                  <a:moveTo>
                    <a:pt x="16" y="6"/>
                  </a:moveTo>
                  <a:lnTo>
                    <a:pt x="16" y="6"/>
                  </a:lnTo>
                  <a:lnTo>
                    <a:pt x="16" y="6"/>
                  </a:lnTo>
                  <a:lnTo>
                    <a:pt x="16" y="10"/>
                  </a:lnTo>
                  <a:lnTo>
                    <a:pt x="16" y="10"/>
                  </a:lnTo>
                  <a:lnTo>
                    <a:pt x="16" y="10"/>
                  </a:lnTo>
                  <a:lnTo>
                    <a:pt x="16" y="10"/>
                  </a:lnTo>
                  <a:lnTo>
                    <a:pt x="16" y="10"/>
                  </a:lnTo>
                  <a:lnTo>
                    <a:pt x="16" y="10"/>
                  </a:lnTo>
                  <a:lnTo>
                    <a:pt x="16" y="10"/>
                  </a:lnTo>
                  <a:lnTo>
                    <a:pt x="16" y="6"/>
                  </a:lnTo>
                  <a:lnTo>
                    <a:pt x="20" y="6"/>
                  </a:lnTo>
                  <a:lnTo>
                    <a:pt x="20" y="6"/>
                  </a:lnTo>
                  <a:lnTo>
                    <a:pt x="20" y="6"/>
                  </a:lnTo>
                  <a:lnTo>
                    <a:pt x="16" y="6"/>
                  </a:lnTo>
                  <a:lnTo>
                    <a:pt x="16" y="6"/>
                  </a:lnTo>
                  <a:lnTo>
                    <a:pt x="16" y="6"/>
                  </a:lnTo>
                  <a:lnTo>
                    <a:pt x="16" y="6"/>
                  </a:lnTo>
                  <a:close/>
                  <a:moveTo>
                    <a:pt x="16" y="22"/>
                  </a:moveTo>
                  <a:lnTo>
                    <a:pt x="16" y="22"/>
                  </a:lnTo>
                  <a:lnTo>
                    <a:pt x="16" y="22"/>
                  </a:lnTo>
                  <a:lnTo>
                    <a:pt x="16" y="22"/>
                  </a:lnTo>
                  <a:lnTo>
                    <a:pt x="16" y="18"/>
                  </a:lnTo>
                  <a:lnTo>
                    <a:pt x="20" y="14"/>
                  </a:lnTo>
                  <a:lnTo>
                    <a:pt x="20" y="14"/>
                  </a:lnTo>
                  <a:lnTo>
                    <a:pt x="20" y="18"/>
                  </a:lnTo>
                  <a:lnTo>
                    <a:pt x="20" y="18"/>
                  </a:lnTo>
                  <a:lnTo>
                    <a:pt x="20" y="18"/>
                  </a:lnTo>
                  <a:lnTo>
                    <a:pt x="20" y="18"/>
                  </a:lnTo>
                  <a:lnTo>
                    <a:pt x="20" y="18"/>
                  </a:lnTo>
                  <a:lnTo>
                    <a:pt x="20" y="18"/>
                  </a:lnTo>
                  <a:lnTo>
                    <a:pt x="20" y="18"/>
                  </a:lnTo>
                  <a:lnTo>
                    <a:pt x="20" y="18"/>
                  </a:lnTo>
                  <a:lnTo>
                    <a:pt x="16" y="18"/>
                  </a:lnTo>
                  <a:lnTo>
                    <a:pt x="16" y="18"/>
                  </a:lnTo>
                  <a:lnTo>
                    <a:pt x="16" y="22"/>
                  </a:lnTo>
                  <a:lnTo>
                    <a:pt x="16" y="22"/>
                  </a:lnTo>
                  <a:lnTo>
                    <a:pt x="16" y="22"/>
                  </a:lnTo>
                  <a:lnTo>
                    <a:pt x="16" y="2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74" name="Freeform 67"/>
            <p:cNvSpPr>
              <a:spLocks/>
            </p:cNvSpPr>
            <p:nvPr/>
          </p:nvSpPr>
          <p:spPr bwMode="auto">
            <a:xfrm>
              <a:off x="6463798" y="3789090"/>
              <a:ext cx="2512" cy="2615"/>
            </a:xfrm>
            <a:custGeom>
              <a:avLst/>
              <a:gdLst>
                <a:gd name="T0" fmla="*/ 0 w 4"/>
                <a:gd name="T1" fmla="*/ 4 h 4"/>
                <a:gd name="T2" fmla="*/ 0 w 4"/>
                <a:gd name="T3" fmla="*/ 4 h 4"/>
                <a:gd name="T4" fmla="*/ 0 w 4"/>
                <a:gd name="T5" fmla="*/ 4 h 4"/>
                <a:gd name="T6" fmla="*/ 0 w 4"/>
                <a:gd name="T7" fmla="*/ 0 h 4"/>
                <a:gd name="T8" fmla="*/ 0 w 4"/>
                <a:gd name="T9" fmla="*/ 0 h 4"/>
                <a:gd name="T10" fmla="*/ 0 w 4"/>
                <a:gd name="T11" fmla="*/ 0 h 4"/>
                <a:gd name="T12" fmla="*/ 4 w 4"/>
                <a:gd name="T13" fmla="*/ 0 h 4"/>
                <a:gd name="T14" fmla="*/ 0 w 4"/>
                <a:gd name="T15" fmla="*/ 0 h 4"/>
                <a:gd name="T16" fmla="*/ 0 w 4"/>
                <a:gd name="T17" fmla="*/ 0 h 4"/>
                <a:gd name="T18" fmla="*/ 0 w 4"/>
                <a:gd name="T19" fmla="*/ 4 h 4"/>
                <a:gd name="T20" fmla="*/ 0 w 4"/>
                <a:gd name="T21" fmla="*/ 4 h 4"/>
                <a:gd name="T22" fmla="*/ 0 w 4"/>
                <a:gd name="T23" fmla="*/ 4 h 4"/>
                <a:gd name="T24" fmla="*/ 0 w 4"/>
                <a:gd name="T25" fmla="*/ 4 h 4"/>
                <a:gd name="T26" fmla="*/ 0 w 4"/>
                <a:gd name="T27" fmla="*/ 4 h 4"/>
                <a:gd name="T28" fmla="*/ 0 w 4"/>
                <a:gd name="T29" fmla="*/ 4 h 4"/>
                <a:gd name="T30" fmla="*/ 0 w 4"/>
                <a:gd name="T31" fmla="*/ 4 h 4"/>
                <a:gd name="T32" fmla="*/ 0 w 4"/>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0" y="4"/>
                  </a:moveTo>
                  <a:lnTo>
                    <a:pt x="0" y="4"/>
                  </a:lnTo>
                  <a:lnTo>
                    <a:pt x="0" y="4"/>
                  </a:lnTo>
                  <a:lnTo>
                    <a:pt x="0" y="0"/>
                  </a:lnTo>
                  <a:lnTo>
                    <a:pt x="0" y="0"/>
                  </a:lnTo>
                  <a:lnTo>
                    <a:pt x="0" y="0"/>
                  </a:lnTo>
                  <a:lnTo>
                    <a:pt x="4" y="0"/>
                  </a:lnTo>
                  <a:lnTo>
                    <a:pt x="0" y="0"/>
                  </a:lnTo>
                  <a:lnTo>
                    <a:pt x="0" y="0"/>
                  </a:lnTo>
                  <a:lnTo>
                    <a:pt x="0" y="4"/>
                  </a:lnTo>
                  <a:lnTo>
                    <a:pt x="0" y="4"/>
                  </a:lnTo>
                  <a:lnTo>
                    <a:pt x="0" y="4"/>
                  </a:lnTo>
                  <a:lnTo>
                    <a:pt x="0" y="4"/>
                  </a:lnTo>
                  <a:lnTo>
                    <a:pt x="0" y="4"/>
                  </a:lnTo>
                  <a:lnTo>
                    <a:pt x="0" y="4"/>
                  </a:lnTo>
                  <a:lnTo>
                    <a:pt x="0" y="4"/>
                  </a:lnTo>
                  <a:lnTo>
                    <a:pt x="0" y="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75" name="Freeform 68"/>
            <p:cNvSpPr>
              <a:spLocks noEditPoints="1"/>
            </p:cNvSpPr>
            <p:nvPr/>
          </p:nvSpPr>
          <p:spPr bwMode="auto">
            <a:xfrm>
              <a:off x="5788091" y="3025461"/>
              <a:ext cx="783720" cy="648561"/>
            </a:xfrm>
            <a:custGeom>
              <a:avLst/>
              <a:gdLst>
                <a:gd name="T0" fmla="*/ 682 w 1248"/>
                <a:gd name="T1" fmla="*/ 556 h 992"/>
                <a:gd name="T2" fmla="*/ 876 w 1248"/>
                <a:gd name="T3" fmla="*/ 788 h 992"/>
                <a:gd name="T4" fmla="*/ 1006 w 1248"/>
                <a:gd name="T5" fmla="*/ 590 h 992"/>
                <a:gd name="T6" fmla="*/ 1106 w 1248"/>
                <a:gd name="T7" fmla="*/ 642 h 992"/>
                <a:gd name="T8" fmla="*/ 1144 w 1248"/>
                <a:gd name="T9" fmla="*/ 754 h 992"/>
                <a:gd name="T10" fmla="*/ 1018 w 1248"/>
                <a:gd name="T11" fmla="*/ 862 h 992"/>
                <a:gd name="T12" fmla="*/ 1080 w 1248"/>
                <a:gd name="T13" fmla="*/ 910 h 992"/>
                <a:gd name="T14" fmla="*/ 672 w 1248"/>
                <a:gd name="T15" fmla="*/ 854 h 992"/>
                <a:gd name="T16" fmla="*/ 194 w 1248"/>
                <a:gd name="T17" fmla="*/ 802 h 992"/>
                <a:gd name="T18" fmla="*/ 100 w 1248"/>
                <a:gd name="T19" fmla="*/ 638 h 992"/>
                <a:gd name="T20" fmla="*/ 124 w 1248"/>
                <a:gd name="T21" fmla="*/ 396 h 992"/>
                <a:gd name="T22" fmla="*/ 384 w 1248"/>
                <a:gd name="T23" fmla="*/ 422 h 992"/>
                <a:gd name="T24" fmla="*/ 596 w 1248"/>
                <a:gd name="T25" fmla="*/ 418 h 992"/>
                <a:gd name="T26" fmla="*/ 646 w 1248"/>
                <a:gd name="T27" fmla="*/ 332 h 992"/>
                <a:gd name="T28" fmla="*/ 790 w 1248"/>
                <a:gd name="T29" fmla="*/ 374 h 992"/>
                <a:gd name="T30" fmla="*/ 992 w 1248"/>
                <a:gd name="T31" fmla="*/ 550 h 992"/>
                <a:gd name="T32" fmla="*/ 790 w 1248"/>
                <a:gd name="T33" fmla="*/ 124 h 992"/>
                <a:gd name="T34" fmla="*/ 336 w 1248"/>
                <a:gd name="T35" fmla="*/ 350 h 992"/>
                <a:gd name="T36" fmla="*/ 1104 w 1248"/>
                <a:gd name="T37" fmla="*/ 440 h 992"/>
                <a:gd name="T38" fmla="*/ 206 w 1248"/>
                <a:gd name="T39" fmla="*/ 806 h 992"/>
                <a:gd name="T40" fmla="*/ 698 w 1248"/>
                <a:gd name="T41" fmla="*/ 116 h 992"/>
                <a:gd name="T42" fmla="*/ 694 w 1248"/>
                <a:gd name="T43" fmla="*/ 64 h 992"/>
                <a:gd name="T44" fmla="*/ 578 w 1248"/>
                <a:gd name="T45" fmla="*/ 132 h 992"/>
                <a:gd name="T46" fmla="*/ 536 w 1248"/>
                <a:gd name="T47" fmla="*/ 142 h 992"/>
                <a:gd name="T48" fmla="*/ 280 w 1248"/>
                <a:gd name="T49" fmla="*/ 208 h 992"/>
                <a:gd name="T50" fmla="*/ 820 w 1248"/>
                <a:gd name="T51" fmla="*/ 246 h 992"/>
                <a:gd name="T52" fmla="*/ 734 w 1248"/>
                <a:gd name="T53" fmla="*/ 202 h 992"/>
                <a:gd name="T54" fmla="*/ 352 w 1248"/>
                <a:gd name="T55" fmla="*/ 216 h 992"/>
                <a:gd name="T56" fmla="*/ 418 w 1248"/>
                <a:gd name="T57" fmla="*/ 246 h 992"/>
                <a:gd name="T58" fmla="*/ 552 w 1248"/>
                <a:gd name="T59" fmla="*/ 202 h 992"/>
                <a:gd name="T60" fmla="*/ 544 w 1248"/>
                <a:gd name="T61" fmla="*/ 208 h 992"/>
                <a:gd name="T62" fmla="*/ 284 w 1248"/>
                <a:gd name="T63" fmla="*/ 250 h 992"/>
                <a:gd name="T64" fmla="*/ 620 w 1248"/>
                <a:gd name="T65" fmla="*/ 280 h 992"/>
                <a:gd name="T66" fmla="*/ 988 w 1248"/>
                <a:gd name="T67" fmla="*/ 522 h 992"/>
                <a:gd name="T68" fmla="*/ 924 w 1248"/>
                <a:gd name="T69" fmla="*/ 396 h 992"/>
                <a:gd name="T70" fmla="*/ 756 w 1248"/>
                <a:gd name="T71" fmla="*/ 340 h 992"/>
                <a:gd name="T72" fmla="*/ 802 w 1248"/>
                <a:gd name="T73" fmla="*/ 288 h 992"/>
                <a:gd name="T74" fmla="*/ 948 w 1248"/>
                <a:gd name="T75" fmla="*/ 314 h 992"/>
                <a:gd name="T76" fmla="*/ 1014 w 1248"/>
                <a:gd name="T77" fmla="*/ 362 h 992"/>
                <a:gd name="T78" fmla="*/ 1056 w 1248"/>
                <a:gd name="T79" fmla="*/ 414 h 992"/>
                <a:gd name="T80" fmla="*/ 1092 w 1248"/>
                <a:gd name="T81" fmla="*/ 494 h 992"/>
                <a:gd name="T82" fmla="*/ 1076 w 1248"/>
                <a:gd name="T83" fmla="*/ 538 h 992"/>
                <a:gd name="T84" fmla="*/ 508 w 1248"/>
                <a:gd name="T85" fmla="*/ 292 h 992"/>
                <a:gd name="T86" fmla="*/ 448 w 1248"/>
                <a:gd name="T87" fmla="*/ 294 h 992"/>
                <a:gd name="T88" fmla="*/ 444 w 1248"/>
                <a:gd name="T89" fmla="*/ 400 h 992"/>
                <a:gd name="T90" fmla="*/ 574 w 1248"/>
                <a:gd name="T91" fmla="*/ 348 h 992"/>
                <a:gd name="T92" fmla="*/ 94 w 1248"/>
                <a:gd name="T93" fmla="*/ 388 h 992"/>
                <a:gd name="T94" fmla="*/ 932 w 1248"/>
                <a:gd name="T95" fmla="*/ 410 h 992"/>
                <a:gd name="T96" fmla="*/ 842 w 1248"/>
                <a:gd name="T97" fmla="*/ 512 h 992"/>
                <a:gd name="T98" fmla="*/ 832 w 1248"/>
                <a:gd name="T99" fmla="*/ 538 h 992"/>
                <a:gd name="T100" fmla="*/ 872 w 1248"/>
                <a:gd name="T101" fmla="*/ 698 h 992"/>
                <a:gd name="T102" fmla="*/ 168 w 1248"/>
                <a:gd name="T103" fmla="*/ 754 h 992"/>
                <a:gd name="T104" fmla="*/ 1208 w 1248"/>
                <a:gd name="T105" fmla="*/ 792 h 992"/>
                <a:gd name="T106" fmla="*/ 1208 w 1248"/>
                <a:gd name="T107" fmla="*/ 874 h 992"/>
                <a:gd name="T108" fmla="*/ 246 w 1248"/>
                <a:gd name="T109" fmla="*/ 852 h 992"/>
                <a:gd name="T110" fmla="*/ 772 w 1248"/>
                <a:gd name="T111" fmla="*/ 78 h 992"/>
                <a:gd name="T112" fmla="*/ 786 w 1248"/>
                <a:gd name="T113" fmla="*/ 34 h 992"/>
                <a:gd name="T114" fmla="*/ 918 w 1248"/>
                <a:gd name="T115" fmla="*/ 4 h 992"/>
                <a:gd name="T116" fmla="*/ 1040 w 1248"/>
                <a:gd name="T117" fmla="*/ 52 h 992"/>
                <a:gd name="T118" fmla="*/ 918 w 1248"/>
                <a:gd name="T119" fmla="*/ 116 h 992"/>
                <a:gd name="T120" fmla="*/ 894 w 1248"/>
                <a:gd name="T121" fmla="*/ 190 h 992"/>
                <a:gd name="T122" fmla="*/ 820 w 1248"/>
                <a:gd name="T123" fmla="*/ 158 h 992"/>
                <a:gd name="T124" fmla="*/ 794 w 1248"/>
                <a:gd name="T125" fmla="*/ 86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48" h="992">
                  <a:moveTo>
                    <a:pt x="600" y="254"/>
                  </a:moveTo>
                  <a:lnTo>
                    <a:pt x="596" y="254"/>
                  </a:lnTo>
                  <a:lnTo>
                    <a:pt x="600" y="250"/>
                  </a:lnTo>
                  <a:lnTo>
                    <a:pt x="600" y="254"/>
                  </a:lnTo>
                  <a:lnTo>
                    <a:pt x="600" y="254"/>
                  </a:lnTo>
                  <a:lnTo>
                    <a:pt x="600" y="254"/>
                  </a:lnTo>
                  <a:close/>
                  <a:moveTo>
                    <a:pt x="612" y="258"/>
                  </a:moveTo>
                  <a:lnTo>
                    <a:pt x="612" y="262"/>
                  </a:lnTo>
                  <a:lnTo>
                    <a:pt x="608" y="264"/>
                  </a:lnTo>
                  <a:lnTo>
                    <a:pt x="604" y="264"/>
                  </a:lnTo>
                  <a:lnTo>
                    <a:pt x="600" y="264"/>
                  </a:lnTo>
                  <a:lnTo>
                    <a:pt x="596" y="264"/>
                  </a:lnTo>
                  <a:lnTo>
                    <a:pt x="592" y="264"/>
                  </a:lnTo>
                  <a:lnTo>
                    <a:pt x="590" y="264"/>
                  </a:lnTo>
                  <a:lnTo>
                    <a:pt x="590" y="262"/>
                  </a:lnTo>
                  <a:lnTo>
                    <a:pt x="592" y="262"/>
                  </a:lnTo>
                  <a:lnTo>
                    <a:pt x="596" y="262"/>
                  </a:lnTo>
                  <a:lnTo>
                    <a:pt x="600" y="262"/>
                  </a:lnTo>
                  <a:lnTo>
                    <a:pt x="604" y="262"/>
                  </a:lnTo>
                  <a:lnTo>
                    <a:pt x="604" y="258"/>
                  </a:lnTo>
                  <a:lnTo>
                    <a:pt x="608" y="258"/>
                  </a:lnTo>
                  <a:lnTo>
                    <a:pt x="612" y="258"/>
                  </a:lnTo>
                  <a:lnTo>
                    <a:pt x="612" y="258"/>
                  </a:lnTo>
                  <a:lnTo>
                    <a:pt x="612" y="258"/>
                  </a:lnTo>
                  <a:close/>
                  <a:moveTo>
                    <a:pt x="764" y="478"/>
                  </a:moveTo>
                  <a:lnTo>
                    <a:pt x="760" y="478"/>
                  </a:lnTo>
                  <a:lnTo>
                    <a:pt x="760" y="482"/>
                  </a:lnTo>
                  <a:lnTo>
                    <a:pt x="756" y="482"/>
                  </a:lnTo>
                  <a:lnTo>
                    <a:pt x="752" y="482"/>
                  </a:lnTo>
                  <a:lnTo>
                    <a:pt x="748" y="482"/>
                  </a:lnTo>
                  <a:lnTo>
                    <a:pt x="746" y="478"/>
                  </a:lnTo>
                  <a:lnTo>
                    <a:pt x="742" y="474"/>
                  </a:lnTo>
                  <a:lnTo>
                    <a:pt x="738" y="474"/>
                  </a:lnTo>
                  <a:lnTo>
                    <a:pt x="742" y="474"/>
                  </a:lnTo>
                  <a:lnTo>
                    <a:pt x="738" y="474"/>
                  </a:lnTo>
                  <a:lnTo>
                    <a:pt x="734" y="474"/>
                  </a:lnTo>
                  <a:lnTo>
                    <a:pt x="734" y="470"/>
                  </a:lnTo>
                  <a:lnTo>
                    <a:pt x="732" y="470"/>
                  </a:lnTo>
                  <a:lnTo>
                    <a:pt x="728" y="466"/>
                  </a:lnTo>
                  <a:lnTo>
                    <a:pt x="724" y="466"/>
                  </a:lnTo>
                  <a:lnTo>
                    <a:pt x="720" y="466"/>
                  </a:lnTo>
                  <a:lnTo>
                    <a:pt x="724" y="466"/>
                  </a:lnTo>
                  <a:lnTo>
                    <a:pt x="724" y="470"/>
                  </a:lnTo>
                  <a:lnTo>
                    <a:pt x="720" y="466"/>
                  </a:lnTo>
                  <a:lnTo>
                    <a:pt x="720" y="470"/>
                  </a:lnTo>
                  <a:lnTo>
                    <a:pt x="716" y="470"/>
                  </a:lnTo>
                  <a:lnTo>
                    <a:pt x="716" y="466"/>
                  </a:lnTo>
                  <a:lnTo>
                    <a:pt x="720" y="466"/>
                  </a:lnTo>
                  <a:lnTo>
                    <a:pt x="716" y="466"/>
                  </a:lnTo>
                  <a:lnTo>
                    <a:pt x="712" y="466"/>
                  </a:lnTo>
                  <a:lnTo>
                    <a:pt x="708" y="466"/>
                  </a:lnTo>
                  <a:lnTo>
                    <a:pt x="706" y="466"/>
                  </a:lnTo>
                  <a:lnTo>
                    <a:pt x="702" y="466"/>
                  </a:lnTo>
                  <a:lnTo>
                    <a:pt x="706" y="470"/>
                  </a:lnTo>
                  <a:lnTo>
                    <a:pt x="708" y="470"/>
                  </a:lnTo>
                  <a:lnTo>
                    <a:pt x="706" y="470"/>
                  </a:lnTo>
                  <a:lnTo>
                    <a:pt x="706" y="466"/>
                  </a:lnTo>
                  <a:lnTo>
                    <a:pt x="708" y="466"/>
                  </a:lnTo>
                  <a:lnTo>
                    <a:pt x="712" y="466"/>
                  </a:lnTo>
                  <a:lnTo>
                    <a:pt x="720" y="470"/>
                  </a:lnTo>
                  <a:lnTo>
                    <a:pt x="724" y="470"/>
                  </a:lnTo>
                  <a:lnTo>
                    <a:pt x="728" y="470"/>
                  </a:lnTo>
                  <a:lnTo>
                    <a:pt x="728" y="474"/>
                  </a:lnTo>
                  <a:lnTo>
                    <a:pt x="732" y="478"/>
                  </a:lnTo>
                  <a:lnTo>
                    <a:pt x="734" y="482"/>
                  </a:lnTo>
                  <a:lnTo>
                    <a:pt x="738" y="482"/>
                  </a:lnTo>
                  <a:lnTo>
                    <a:pt x="742" y="482"/>
                  </a:lnTo>
                  <a:lnTo>
                    <a:pt x="746" y="482"/>
                  </a:lnTo>
                  <a:lnTo>
                    <a:pt x="748" y="482"/>
                  </a:lnTo>
                  <a:lnTo>
                    <a:pt x="752" y="482"/>
                  </a:lnTo>
                  <a:lnTo>
                    <a:pt x="756" y="482"/>
                  </a:lnTo>
                  <a:lnTo>
                    <a:pt x="760" y="482"/>
                  </a:lnTo>
                  <a:lnTo>
                    <a:pt x="764" y="486"/>
                  </a:lnTo>
                  <a:lnTo>
                    <a:pt x="764" y="490"/>
                  </a:lnTo>
                  <a:lnTo>
                    <a:pt x="760" y="490"/>
                  </a:lnTo>
                  <a:lnTo>
                    <a:pt x="756" y="496"/>
                  </a:lnTo>
                  <a:lnTo>
                    <a:pt x="756" y="500"/>
                  </a:lnTo>
                  <a:lnTo>
                    <a:pt x="752" y="500"/>
                  </a:lnTo>
                  <a:lnTo>
                    <a:pt x="752" y="504"/>
                  </a:lnTo>
                  <a:lnTo>
                    <a:pt x="748" y="508"/>
                  </a:lnTo>
                  <a:lnTo>
                    <a:pt x="748" y="512"/>
                  </a:lnTo>
                  <a:lnTo>
                    <a:pt x="746" y="512"/>
                  </a:lnTo>
                  <a:lnTo>
                    <a:pt x="742" y="512"/>
                  </a:lnTo>
                  <a:lnTo>
                    <a:pt x="738" y="516"/>
                  </a:lnTo>
                  <a:lnTo>
                    <a:pt x="734" y="516"/>
                  </a:lnTo>
                  <a:lnTo>
                    <a:pt x="734" y="512"/>
                  </a:lnTo>
                  <a:lnTo>
                    <a:pt x="732" y="512"/>
                  </a:lnTo>
                  <a:lnTo>
                    <a:pt x="732" y="508"/>
                  </a:lnTo>
                  <a:lnTo>
                    <a:pt x="732" y="512"/>
                  </a:lnTo>
                  <a:lnTo>
                    <a:pt x="734" y="512"/>
                  </a:lnTo>
                  <a:lnTo>
                    <a:pt x="734" y="516"/>
                  </a:lnTo>
                  <a:lnTo>
                    <a:pt x="732" y="516"/>
                  </a:lnTo>
                  <a:lnTo>
                    <a:pt x="732" y="512"/>
                  </a:lnTo>
                  <a:lnTo>
                    <a:pt x="728" y="512"/>
                  </a:lnTo>
                  <a:lnTo>
                    <a:pt x="728" y="516"/>
                  </a:lnTo>
                  <a:lnTo>
                    <a:pt x="728" y="512"/>
                  </a:lnTo>
                  <a:lnTo>
                    <a:pt x="724" y="512"/>
                  </a:lnTo>
                  <a:lnTo>
                    <a:pt x="724" y="508"/>
                  </a:lnTo>
                  <a:lnTo>
                    <a:pt x="724" y="512"/>
                  </a:lnTo>
                  <a:lnTo>
                    <a:pt x="724" y="508"/>
                  </a:lnTo>
                  <a:lnTo>
                    <a:pt x="720" y="512"/>
                  </a:lnTo>
                  <a:lnTo>
                    <a:pt x="724" y="512"/>
                  </a:lnTo>
                  <a:lnTo>
                    <a:pt x="724" y="516"/>
                  </a:lnTo>
                  <a:lnTo>
                    <a:pt x="720" y="516"/>
                  </a:lnTo>
                  <a:lnTo>
                    <a:pt x="724" y="516"/>
                  </a:lnTo>
                  <a:lnTo>
                    <a:pt x="720" y="516"/>
                  </a:lnTo>
                  <a:lnTo>
                    <a:pt x="720" y="512"/>
                  </a:lnTo>
                  <a:lnTo>
                    <a:pt x="716" y="512"/>
                  </a:lnTo>
                  <a:lnTo>
                    <a:pt x="720" y="516"/>
                  </a:lnTo>
                  <a:lnTo>
                    <a:pt x="724" y="520"/>
                  </a:lnTo>
                  <a:lnTo>
                    <a:pt x="720" y="520"/>
                  </a:lnTo>
                  <a:lnTo>
                    <a:pt x="720" y="522"/>
                  </a:lnTo>
                  <a:lnTo>
                    <a:pt x="716" y="522"/>
                  </a:lnTo>
                  <a:lnTo>
                    <a:pt x="712" y="520"/>
                  </a:lnTo>
                  <a:lnTo>
                    <a:pt x="712" y="522"/>
                  </a:lnTo>
                  <a:lnTo>
                    <a:pt x="708" y="522"/>
                  </a:lnTo>
                  <a:lnTo>
                    <a:pt x="706" y="522"/>
                  </a:lnTo>
                  <a:lnTo>
                    <a:pt x="702" y="522"/>
                  </a:lnTo>
                  <a:lnTo>
                    <a:pt x="702" y="520"/>
                  </a:lnTo>
                  <a:lnTo>
                    <a:pt x="698" y="520"/>
                  </a:lnTo>
                  <a:lnTo>
                    <a:pt x="694" y="520"/>
                  </a:lnTo>
                  <a:lnTo>
                    <a:pt x="690" y="520"/>
                  </a:lnTo>
                  <a:lnTo>
                    <a:pt x="686" y="520"/>
                  </a:lnTo>
                  <a:lnTo>
                    <a:pt x="682" y="520"/>
                  </a:lnTo>
                  <a:lnTo>
                    <a:pt x="682" y="516"/>
                  </a:lnTo>
                  <a:lnTo>
                    <a:pt x="678" y="516"/>
                  </a:lnTo>
                  <a:lnTo>
                    <a:pt x="676" y="516"/>
                  </a:lnTo>
                  <a:lnTo>
                    <a:pt x="672" y="512"/>
                  </a:lnTo>
                  <a:lnTo>
                    <a:pt x="668" y="508"/>
                  </a:lnTo>
                  <a:lnTo>
                    <a:pt x="672" y="512"/>
                  </a:lnTo>
                  <a:lnTo>
                    <a:pt x="672" y="516"/>
                  </a:lnTo>
                  <a:lnTo>
                    <a:pt x="668" y="516"/>
                  </a:lnTo>
                  <a:lnTo>
                    <a:pt x="672" y="516"/>
                  </a:lnTo>
                  <a:lnTo>
                    <a:pt x="672" y="520"/>
                  </a:lnTo>
                  <a:lnTo>
                    <a:pt x="676" y="520"/>
                  </a:lnTo>
                  <a:lnTo>
                    <a:pt x="676" y="516"/>
                  </a:lnTo>
                  <a:lnTo>
                    <a:pt x="672" y="516"/>
                  </a:lnTo>
                  <a:lnTo>
                    <a:pt x="676" y="516"/>
                  </a:lnTo>
                  <a:lnTo>
                    <a:pt x="678" y="516"/>
                  </a:lnTo>
                  <a:lnTo>
                    <a:pt x="682" y="520"/>
                  </a:lnTo>
                  <a:lnTo>
                    <a:pt x="686" y="520"/>
                  </a:lnTo>
                  <a:lnTo>
                    <a:pt x="690" y="520"/>
                  </a:lnTo>
                  <a:lnTo>
                    <a:pt x="690" y="522"/>
                  </a:lnTo>
                  <a:lnTo>
                    <a:pt x="686" y="522"/>
                  </a:lnTo>
                  <a:lnTo>
                    <a:pt x="690" y="522"/>
                  </a:lnTo>
                  <a:lnTo>
                    <a:pt x="694" y="522"/>
                  </a:lnTo>
                  <a:lnTo>
                    <a:pt x="698" y="520"/>
                  </a:lnTo>
                  <a:lnTo>
                    <a:pt x="698" y="522"/>
                  </a:lnTo>
                  <a:lnTo>
                    <a:pt x="702" y="526"/>
                  </a:lnTo>
                  <a:lnTo>
                    <a:pt x="706" y="526"/>
                  </a:lnTo>
                  <a:lnTo>
                    <a:pt x="708" y="526"/>
                  </a:lnTo>
                  <a:lnTo>
                    <a:pt x="712" y="530"/>
                  </a:lnTo>
                  <a:lnTo>
                    <a:pt x="712" y="534"/>
                  </a:lnTo>
                  <a:lnTo>
                    <a:pt x="712" y="538"/>
                  </a:lnTo>
                  <a:lnTo>
                    <a:pt x="708" y="538"/>
                  </a:lnTo>
                  <a:lnTo>
                    <a:pt x="706" y="538"/>
                  </a:lnTo>
                  <a:lnTo>
                    <a:pt x="706" y="542"/>
                  </a:lnTo>
                  <a:lnTo>
                    <a:pt x="702" y="542"/>
                  </a:lnTo>
                  <a:lnTo>
                    <a:pt x="698" y="542"/>
                  </a:lnTo>
                  <a:lnTo>
                    <a:pt x="694" y="542"/>
                  </a:lnTo>
                  <a:lnTo>
                    <a:pt x="690" y="542"/>
                  </a:lnTo>
                  <a:lnTo>
                    <a:pt x="686" y="542"/>
                  </a:lnTo>
                  <a:lnTo>
                    <a:pt x="690" y="546"/>
                  </a:lnTo>
                  <a:lnTo>
                    <a:pt x="694" y="546"/>
                  </a:lnTo>
                  <a:lnTo>
                    <a:pt x="694" y="550"/>
                  </a:lnTo>
                  <a:lnTo>
                    <a:pt x="690" y="546"/>
                  </a:lnTo>
                  <a:lnTo>
                    <a:pt x="690" y="550"/>
                  </a:lnTo>
                  <a:lnTo>
                    <a:pt x="686" y="550"/>
                  </a:lnTo>
                  <a:lnTo>
                    <a:pt x="682" y="550"/>
                  </a:lnTo>
                  <a:lnTo>
                    <a:pt x="682" y="552"/>
                  </a:lnTo>
                  <a:lnTo>
                    <a:pt x="686" y="552"/>
                  </a:lnTo>
                  <a:lnTo>
                    <a:pt x="686" y="556"/>
                  </a:lnTo>
                  <a:lnTo>
                    <a:pt x="682" y="556"/>
                  </a:lnTo>
                  <a:lnTo>
                    <a:pt x="682" y="552"/>
                  </a:lnTo>
                  <a:lnTo>
                    <a:pt x="678" y="552"/>
                  </a:lnTo>
                  <a:lnTo>
                    <a:pt x="682" y="552"/>
                  </a:lnTo>
                  <a:lnTo>
                    <a:pt x="682" y="556"/>
                  </a:lnTo>
                  <a:lnTo>
                    <a:pt x="678" y="556"/>
                  </a:lnTo>
                  <a:lnTo>
                    <a:pt x="678" y="560"/>
                  </a:lnTo>
                  <a:lnTo>
                    <a:pt x="676" y="560"/>
                  </a:lnTo>
                  <a:lnTo>
                    <a:pt x="676" y="564"/>
                  </a:lnTo>
                  <a:lnTo>
                    <a:pt x="672" y="564"/>
                  </a:lnTo>
                  <a:lnTo>
                    <a:pt x="672" y="560"/>
                  </a:lnTo>
                  <a:lnTo>
                    <a:pt x="672" y="564"/>
                  </a:lnTo>
                  <a:lnTo>
                    <a:pt x="676" y="564"/>
                  </a:lnTo>
                  <a:lnTo>
                    <a:pt x="676" y="566"/>
                  </a:lnTo>
                  <a:lnTo>
                    <a:pt x="672" y="566"/>
                  </a:lnTo>
                  <a:lnTo>
                    <a:pt x="668" y="570"/>
                  </a:lnTo>
                  <a:lnTo>
                    <a:pt x="664" y="570"/>
                  </a:lnTo>
                  <a:lnTo>
                    <a:pt x="664" y="574"/>
                  </a:lnTo>
                  <a:lnTo>
                    <a:pt x="668" y="574"/>
                  </a:lnTo>
                  <a:lnTo>
                    <a:pt x="664" y="578"/>
                  </a:lnTo>
                  <a:lnTo>
                    <a:pt x="664" y="582"/>
                  </a:lnTo>
                  <a:lnTo>
                    <a:pt x="660" y="586"/>
                  </a:lnTo>
                  <a:lnTo>
                    <a:pt x="660" y="590"/>
                  </a:lnTo>
                  <a:lnTo>
                    <a:pt x="656" y="594"/>
                  </a:lnTo>
                  <a:lnTo>
                    <a:pt x="656" y="596"/>
                  </a:lnTo>
                  <a:lnTo>
                    <a:pt x="656" y="600"/>
                  </a:lnTo>
                  <a:lnTo>
                    <a:pt x="656" y="604"/>
                  </a:lnTo>
                  <a:lnTo>
                    <a:pt x="652" y="604"/>
                  </a:lnTo>
                  <a:lnTo>
                    <a:pt x="652" y="608"/>
                  </a:lnTo>
                  <a:lnTo>
                    <a:pt x="652" y="612"/>
                  </a:lnTo>
                  <a:lnTo>
                    <a:pt x="652" y="616"/>
                  </a:lnTo>
                  <a:lnTo>
                    <a:pt x="652" y="620"/>
                  </a:lnTo>
                  <a:lnTo>
                    <a:pt x="656" y="620"/>
                  </a:lnTo>
                  <a:lnTo>
                    <a:pt x="656" y="622"/>
                  </a:lnTo>
                  <a:lnTo>
                    <a:pt x="652" y="622"/>
                  </a:lnTo>
                  <a:lnTo>
                    <a:pt x="652" y="626"/>
                  </a:lnTo>
                  <a:lnTo>
                    <a:pt x="656" y="630"/>
                  </a:lnTo>
                  <a:lnTo>
                    <a:pt x="656" y="634"/>
                  </a:lnTo>
                  <a:lnTo>
                    <a:pt x="660" y="634"/>
                  </a:lnTo>
                  <a:lnTo>
                    <a:pt x="660" y="638"/>
                  </a:lnTo>
                  <a:lnTo>
                    <a:pt x="660" y="642"/>
                  </a:lnTo>
                  <a:lnTo>
                    <a:pt x="660" y="646"/>
                  </a:lnTo>
                  <a:lnTo>
                    <a:pt x="660" y="642"/>
                  </a:lnTo>
                  <a:lnTo>
                    <a:pt x="660" y="638"/>
                  </a:lnTo>
                  <a:lnTo>
                    <a:pt x="664" y="634"/>
                  </a:lnTo>
                  <a:lnTo>
                    <a:pt x="668" y="634"/>
                  </a:lnTo>
                  <a:lnTo>
                    <a:pt x="672" y="634"/>
                  </a:lnTo>
                  <a:lnTo>
                    <a:pt x="676" y="634"/>
                  </a:lnTo>
                  <a:lnTo>
                    <a:pt x="678" y="634"/>
                  </a:lnTo>
                  <a:lnTo>
                    <a:pt x="678" y="638"/>
                  </a:lnTo>
                  <a:lnTo>
                    <a:pt x="678" y="642"/>
                  </a:lnTo>
                  <a:lnTo>
                    <a:pt x="678" y="646"/>
                  </a:lnTo>
                  <a:lnTo>
                    <a:pt x="682" y="650"/>
                  </a:lnTo>
                  <a:lnTo>
                    <a:pt x="682" y="652"/>
                  </a:lnTo>
                  <a:lnTo>
                    <a:pt x="682" y="656"/>
                  </a:lnTo>
                  <a:lnTo>
                    <a:pt x="686" y="660"/>
                  </a:lnTo>
                  <a:lnTo>
                    <a:pt x="686" y="664"/>
                  </a:lnTo>
                  <a:lnTo>
                    <a:pt x="686" y="668"/>
                  </a:lnTo>
                  <a:lnTo>
                    <a:pt x="686" y="672"/>
                  </a:lnTo>
                  <a:lnTo>
                    <a:pt x="682" y="676"/>
                  </a:lnTo>
                  <a:lnTo>
                    <a:pt x="686" y="676"/>
                  </a:lnTo>
                  <a:lnTo>
                    <a:pt x="686" y="672"/>
                  </a:lnTo>
                  <a:lnTo>
                    <a:pt x="690" y="672"/>
                  </a:lnTo>
                  <a:lnTo>
                    <a:pt x="690" y="676"/>
                  </a:lnTo>
                  <a:lnTo>
                    <a:pt x="686" y="676"/>
                  </a:lnTo>
                  <a:lnTo>
                    <a:pt x="690" y="676"/>
                  </a:lnTo>
                  <a:lnTo>
                    <a:pt x="690" y="672"/>
                  </a:lnTo>
                  <a:lnTo>
                    <a:pt x="694" y="672"/>
                  </a:lnTo>
                  <a:lnTo>
                    <a:pt x="698" y="672"/>
                  </a:lnTo>
                  <a:lnTo>
                    <a:pt x="706" y="668"/>
                  </a:lnTo>
                  <a:lnTo>
                    <a:pt x="708" y="668"/>
                  </a:lnTo>
                  <a:lnTo>
                    <a:pt x="712" y="668"/>
                  </a:lnTo>
                  <a:lnTo>
                    <a:pt x="716" y="668"/>
                  </a:lnTo>
                  <a:lnTo>
                    <a:pt x="716" y="672"/>
                  </a:lnTo>
                  <a:lnTo>
                    <a:pt x="720" y="672"/>
                  </a:lnTo>
                  <a:lnTo>
                    <a:pt x="724" y="672"/>
                  </a:lnTo>
                  <a:lnTo>
                    <a:pt x="724" y="676"/>
                  </a:lnTo>
                  <a:lnTo>
                    <a:pt x="728" y="676"/>
                  </a:lnTo>
                  <a:lnTo>
                    <a:pt x="732" y="676"/>
                  </a:lnTo>
                  <a:lnTo>
                    <a:pt x="734" y="676"/>
                  </a:lnTo>
                  <a:lnTo>
                    <a:pt x="738" y="680"/>
                  </a:lnTo>
                  <a:lnTo>
                    <a:pt x="742" y="680"/>
                  </a:lnTo>
                  <a:lnTo>
                    <a:pt x="742" y="682"/>
                  </a:lnTo>
                  <a:lnTo>
                    <a:pt x="746" y="682"/>
                  </a:lnTo>
                  <a:lnTo>
                    <a:pt x="746" y="686"/>
                  </a:lnTo>
                  <a:lnTo>
                    <a:pt x="748" y="686"/>
                  </a:lnTo>
                  <a:lnTo>
                    <a:pt x="752" y="690"/>
                  </a:lnTo>
                  <a:lnTo>
                    <a:pt x="756" y="694"/>
                  </a:lnTo>
                  <a:lnTo>
                    <a:pt x="760" y="698"/>
                  </a:lnTo>
                  <a:lnTo>
                    <a:pt x="764" y="698"/>
                  </a:lnTo>
                  <a:lnTo>
                    <a:pt x="768" y="698"/>
                  </a:lnTo>
                  <a:lnTo>
                    <a:pt x="772" y="698"/>
                  </a:lnTo>
                  <a:lnTo>
                    <a:pt x="772" y="702"/>
                  </a:lnTo>
                  <a:lnTo>
                    <a:pt x="776" y="702"/>
                  </a:lnTo>
                  <a:lnTo>
                    <a:pt x="778" y="702"/>
                  </a:lnTo>
                  <a:lnTo>
                    <a:pt x="782" y="706"/>
                  </a:lnTo>
                  <a:lnTo>
                    <a:pt x="786" y="708"/>
                  </a:lnTo>
                  <a:lnTo>
                    <a:pt x="790" y="708"/>
                  </a:lnTo>
                  <a:lnTo>
                    <a:pt x="790" y="712"/>
                  </a:lnTo>
                  <a:lnTo>
                    <a:pt x="786" y="712"/>
                  </a:lnTo>
                  <a:lnTo>
                    <a:pt x="786" y="716"/>
                  </a:lnTo>
                  <a:lnTo>
                    <a:pt x="786" y="712"/>
                  </a:lnTo>
                  <a:lnTo>
                    <a:pt x="790" y="712"/>
                  </a:lnTo>
                  <a:lnTo>
                    <a:pt x="794" y="712"/>
                  </a:lnTo>
                  <a:lnTo>
                    <a:pt x="798" y="712"/>
                  </a:lnTo>
                  <a:lnTo>
                    <a:pt x="802" y="712"/>
                  </a:lnTo>
                  <a:lnTo>
                    <a:pt x="806" y="712"/>
                  </a:lnTo>
                  <a:lnTo>
                    <a:pt x="806" y="708"/>
                  </a:lnTo>
                  <a:lnTo>
                    <a:pt x="808" y="708"/>
                  </a:lnTo>
                  <a:lnTo>
                    <a:pt x="812" y="712"/>
                  </a:lnTo>
                  <a:lnTo>
                    <a:pt x="808" y="712"/>
                  </a:lnTo>
                  <a:lnTo>
                    <a:pt x="812" y="712"/>
                  </a:lnTo>
                  <a:lnTo>
                    <a:pt x="816" y="712"/>
                  </a:lnTo>
                  <a:lnTo>
                    <a:pt x="820" y="712"/>
                  </a:lnTo>
                  <a:lnTo>
                    <a:pt x="824" y="712"/>
                  </a:lnTo>
                  <a:lnTo>
                    <a:pt x="828" y="712"/>
                  </a:lnTo>
                  <a:lnTo>
                    <a:pt x="828" y="716"/>
                  </a:lnTo>
                  <a:lnTo>
                    <a:pt x="832" y="716"/>
                  </a:lnTo>
                  <a:lnTo>
                    <a:pt x="832" y="712"/>
                  </a:lnTo>
                  <a:lnTo>
                    <a:pt x="832" y="716"/>
                  </a:lnTo>
                  <a:lnTo>
                    <a:pt x="832" y="720"/>
                  </a:lnTo>
                  <a:lnTo>
                    <a:pt x="832" y="728"/>
                  </a:lnTo>
                  <a:lnTo>
                    <a:pt x="828" y="732"/>
                  </a:lnTo>
                  <a:lnTo>
                    <a:pt x="828" y="736"/>
                  </a:lnTo>
                  <a:lnTo>
                    <a:pt x="832" y="736"/>
                  </a:lnTo>
                  <a:lnTo>
                    <a:pt x="832" y="738"/>
                  </a:lnTo>
                  <a:lnTo>
                    <a:pt x="832" y="742"/>
                  </a:lnTo>
                  <a:lnTo>
                    <a:pt x="832" y="746"/>
                  </a:lnTo>
                  <a:lnTo>
                    <a:pt x="832" y="750"/>
                  </a:lnTo>
                  <a:lnTo>
                    <a:pt x="832" y="754"/>
                  </a:lnTo>
                  <a:lnTo>
                    <a:pt x="832" y="758"/>
                  </a:lnTo>
                  <a:lnTo>
                    <a:pt x="832" y="762"/>
                  </a:lnTo>
                  <a:lnTo>
                    <a:pt x="834" y="766"/>
                  </a:lnTo>
                  <a:lnTo>
                    <a:pt x="838" y="768"/>
                  </a:lnTo>
                  <a:lnTo>
                    <a:pt x="838" y="772"/>
                  </a:lnTo>
                  <a:lnTo>
                    <a:pt x="842" y="772"/>
                  </a:lnTo>
                  <a:lnTo>
                    <a:pt x="842" y="776"/>
                  </a:lnTo>
                  <a:lnTo>
                    <a:pt x="838" y="776"/>
                  </a:lnTo>
                  <a:lnTo>
                    <a:pt x="834" y="776"/>
                  </a:lnTo>
                  <a:lnTo>
                    <a:pt x="838" y="776"/>
                  </a:lnTo>
                  <a:lnTo>
                    <a:pt x="842" y="776"/>
                  </a:lnTo>
                  <a:lnTo>
                    <a:pt x="842" y="780"/>
                  </a:lnTo>
                  <a:lnTo>
                    <a:pt x="846" y="780"/>
                  </a:lnTo>
                  <a:lnTo>
                    <a:pt x="850" y="780"/>
                  </a:lnTo>
                  <a:lnTo>
                    <a:pt x="850" y="784"/>
                  </a:lnTo>
                  <a:lnTo>
                    <a:pt x="854" y="788"/>
                  </a:lnTo>
                  <a:lnTo>
                    <a:pt x="854" y="792"/>
                  </a:lnTo>
                  <a:lnTo>
                    <a:pt x="858" y="792"/>
                  </a:lnTo>
                  <a:lnTo>
                    <a:pt x="858" y="794"/>
                  </a:lnTo>
                  <a:lnTo>
                    <a:pt x="854" y="794"/>
                  </a:lnTo>
                  <a:lnTo>
                    <a:pt x="854" y="798"/>
                  </a:lnTo>
                  <a:lnTo>
                    <a:pt x="850" y="798"/>
                  </a:lnTo>
                  <a:lnTo>
                    <a:pt x="850" y="802"/>
                  </a:lnTo>
                  <a:lnTo>
                    <a:pt x="850" y="798"/>
                  </a:lnTo>
                  <a:lnTo>
                    <a:pt x="854" y="798"/>
                  </a:lnTo>
                  <a:lnTo>
                    <a:pt x="854" y="794"/>
                  </a:lnTo>
                  <a:lnTo>
                    <a:pt x="858" y="794"/>
                  </a:lnTo>
                  <a:lnTo>
                    <a:pt x="862" y="794"/>
                  </a:lnTo>
                  <a:lnTo>
                    <a:pt x="862" y="798"/>
                  </a:lnTo>
                  <a:lnTo>
                    <a:pt x="864" y="798"/>
                  </a:lnTo>
                  <a:lnTo>
                    <a:pt x="864" y="802"/>
                  </a:lnTo>
                  <a:lnTo>
                    <a:pt x="868" y="802"/>
                  </a:lnTo>
                  <a:lnTo>
                    <a:pt x="868" y="806"/>
                  </a:lnTo>
                  <a:lnTo>
                    <a:pt x="872" y="806"/>
                  </a:lnTo>
                  <a:lnTo>
                    <a:pt x="872" y="810"/>
                  </a:lnTo>
                  <a:lnTo>
                    <a:pt x="872" y="806"/>
                  </a:lnTo>
                  <a:lnTo>
                    <a:pt x="868" y="806"/>
                  </a:lnTo>
                  <a:lnTo>
                    <a:pt x="868" y="802"/>
                  </a:lnTo>
                  <a:lnTo>
                    <a:pt x="864" y="798"/>
                  </a:lnTo>
                  <a:lnTo>
                    <a:pt x="868" y="798"/>
                  </a:lnTo>
                  <a:lnTo>
                    <a:pt x="868" y="794"/>
                  </a:lnTo>
                  <a:lnTo>
                    <a:pt x="868" y="792"/>
                  </a:lnTo>
                  <a:lnTo>
                    <a:pt x="872" y="792"/>
                  </a:lnTo>
                  <a:lnTo>
                    <a:pt x="872" y="788"/>
                  </a:lnTo>
                  <a:lnTo>
                    <a:pt x="872" y="792"/>
                  </a:lnTo>
                  <a:lnTo>
                    <a:pt x="876" y="792"/>
                  </a:lnTo>
                  <a:lnTo>
                    <a:pt x="876" y="794"/>
                  </a:lnTo>
                  <a:lnTo>
                    <a:pt x="876" y="798"/>
                  </a:lnTo>
                  <a:lnTo>
                    <a:pt x="880" y="798"/>
                  </a:lnTo>
                  <a:lnTo>
                    <a:pt x="880" y="794"/>
                  </a:lnTo>
                  <a:lnTo>
                    <a:pt x="880" y="792"/>
                  </a:lnTo>
                  <a:lnTo>
                    <a:pt x="876" y="788"/>
                  </a:lnTo>
                  <a:lnTo>
                    <a:pt x="880" y="788"/>
                  </a:lnTo>
                  <a:lnTo>
                    <a:pt x="880" y="784"/>
                  </a:lnTo>
                  <a:lnTo>
                    <a:pt x="880" y="780"/>
                  </a:lnTo>
                  <a:lnTo>
                    <a:pt x="884" y="780"/>
                  </a:lnTo>
                  <a:lnTo>
                    <a:pt x="884" y="776"/>
                  </a:lnTo>
                  <a:lnTo>
                    <a:pt x="884" y="772"/>
                  </a:lnTo>
                  <a:lnTo>
                    <a:pt x="884" y="768"/>
                  </a:lnTo>
                  <a:lnTo>
                    <a:pt x="880" y="768"/>
                  </a:lnTo>
                  <a:lnTo>
                    <a:pt x="880" y="766"/>
                  </a:lnTo>
                  <a:lnTo>
                    <a:pt x="880" y="762"/>
                  </a:lnTo>
                  <a:lnTo>
                    <a:pt x="880" y="758"/>
                  </a:lnTo>
                  <a:lnTo>
                    <a:pt x="880" y="754"/>
                  </a:lnTo>
                  <a:lnTo>
                    <a:pt x="876" y="754"/>
                  </a:lnTo>
                  <a:lnTo>
                    <a:pt x="876" y="750"/>
                  </a:lnTo>
                  <a:lnTo>
                    <a:pt x="880" y="750"/>
                  </a:lnTo>
                  <a:lnTo>
                    <a:pt x="876" y="746"/>
                  </a:lnTo>
                  <a:lnTo>
                    <a:pt x="876" y="742"/>
                  </a:lnTo>
                  <a:lnTo>
                    <a:pt x="880" y="742"/>
                  </a:lnTo>
                  <a:lnTo>
                    <a:pt x="876" y="742"/>
                  </a:lnTo>
                  <a:lnTo>
                    <a:pt x="876" y="738"/>
                  </a:lnTo>
                  <a:lnTo>
                    <a:pt x="876" y="736"/>
                  </a:lnTo>
                  <a:lnTo>
                    <a:pt x="872" y="736"/>
                  </a:lnTo>
                  <a:lnTo>
                    <a:pt x="872" y="732"/>
                  </a:lnTo>
                  <a:lnTo>
                    <a:pt x="868" y="732"/>
                  </a:lnTo>
                  <a:lnTo>
                    <a:pt x="868" y="728"/>
                  </a:lnTo>
                  <a:lnTo>
                    <a:pt x="868" y="724"/>
                  </a:lnTo>
                  <a:lnTo>
                    <a:pt x="864" y="724"/>
                  </a:lnTo>
                  <a:lnTo>
                    <a:pt x="868" y="724"/>
                  </a:lnTo>
                  <a:lnTo>
                    <a:pt x="872" y="724"/>
                  </a:lnTo>
                  <a:lnTo>
                    <a:pt x="876" y="720"/>
                  </a:lnTo>
                  <a:lnTo>
                    <a:pt x="880" y="720"/>
                  </a:lnTo>
                  <a:lnTo>
                    <a:pt x="884" y="716"/>
                  </a:lnTo>
                  <a:lnTo>
                    <a:pt x="888" y="716"/>
                  </a:lnTo>
                  <a:lnTo>
                    <a:pt x="890" y="712"/>
                  </a:lnTo>
                  <a:lnTo>
                    <a:pt x="894" y="708"/>
                  </a:lnTo>
                  <a:lnTo>
                    <a:pt x="898" y="706"/>
                  </a:lnTo>
                  <a:lnTo>
                    <a:pt x="902" y="706"/>
                  </a:lnTo>
                  <a:lnTo>
                    <a:pt x="902" y="702"/>
                  </a:lnTo>
                  <a:lnTo>
                    <a:pt x="906" y="702"/>
                  </a:lnTo>
                  <a:lnTo>
                    <a:pt x="910" y="698"/>
                  </a:lnTo>
                  <a:lnTo>
                    <a:pt x="910" y="694"/>
                  </a:lnTo>
                  <a:lnTo>
                    <a:pt x="914" y="690"/>
                  </a:lnTo>
                  <a:lnTo>
                    <a:pt x="914" y="686"/>
                  </a:lnTo>
                  <a:lnTo>
                    <a:pt x="914" y="682"/>
                  </a:lnTo>
                  <a:lnTo>
                    <a:pt x="914" y="680"/>
                  </a:lnTo>
                  <a:lnTo>
                    <a:pt x="914" y="676"/>
                  </a:lnTo>
                  <a:lnTo>
                    <a:pt x="910" y="672"/>
                  </a:lnTo>
                  <a:lnTo>
                    <a:pt x="914" y="672"/>
                  </a:lnTo>
                  <a:lnTo>
                    <a:pt x="910" y="668"/>
                  </a:lnTo>
                  <a:lnTo>
                    <a:pt x="910" y="664"/>
                  </a:lnTo>
                  <a:lnTo>
                    <a:pt x="910" y="660"/>
                  </a:lnTo>
                  <a:lnTo>
                    <a:pt x="906" y="656"/>
                  </a:lnTo>
                  <a:lnTo>
                    <a:pt x="902" y="650"/>
                  </a:lnTo>
                  <a:lnTo>
                    <a:pt x="898" y="650"/>
                  </a:lnTo>
                  <a:lnTo>
                    <a:pt x="898" y="646"/>
                  </a:lnTo>
                  <a:lnTo>
                    <a:pt x="894" y="646"/>
                  </a:lnTo>
                  <a:lnTo>
                    <a:pt x="890" y="642"/>
                  </a:lnTo>
                  <a:lnTo>
                    <a:pt x="888" y="638"/>
                  </a:lnTo>
                  <a:lnTo>
                    <a:pt x="884" y="638"/>
                  </a:lnTo>
                  <a:lnTo>
                    <a:pt x="888" y="638"/>
                  </a:lnTo>
                  <a:lnTo>
                    <a:pt x="884" y="638"/>
                  </a:lnTo>
                  <a:lnTo>
                    <a:pt x="884" y="634"/>
                  </a:lnTo>
                  <a:lnTo>
                    <a:pt x="884" y="630"/>
                  </a:lnTo>
                  <a:lnTo>
                    <a:pt x="888" y="630"/>
                  </a:lnTo>
                  <a:lnTo>
                    <a:pt x="888" y="626"/>
                  </a:lnTo>
                  <a:lnTo>
                    <a:pt x="890" y="626"/>
                  </a:lnTo>
                  <a:lnTo>
                    <a:pt x="890" y="622"/>
                  </a:lnTo>
                  <a:lnTo>
                    <a:pt x="894" y="622"/>
                  </a:lnTo>
                  <a:lnTo>
                    <a:pt x="894" y="620"/>
                  </a:lnTo>
                  <a:lnTo>
                    <a:pt x="890" y="620"/>
                  </a:lnTo>
                  <a:lnTo>
                    <a:pt x="894" y="616"/>
                  </a:lnTo>
                  <a:lnTo>
                    <a:pt x="894" y="612"/>
                  </a:lnTo>
                  <a:lnTo>
                    <a:pt x="898" y="612"/>
                  </a:lnTo>
                  <a:lnTo>
                    <a:pt x="898" y="616"/>
                  </a:lnTo>
                  <a:lnTo>
                    <a:pt x="902" y="616"/>
                  </a:lnTo>
                  <a:lnTo>
                    <a:pt x="898" y="616"/>
                  </a:lnTo>
                  <a:lnTo>
                    <a:pt x="898" y="612"/>
                  </a:lnTo>
                  <a:lnTo>
                    <a:pt x="902" y="612"/>
                  </a:lnTo>
                  <a:lnTo>
                    <a:pt x="898" y="608"/>
                  </a:lnTo>
                  <a:lnTo>
                    <a:pt x="902" y="604"/>
                  </a:lnTo>
                  <a:lnTo>
                    <a:pt x="906" y="604"/>
                  </a:lnTo>
                  <a:lnTo>
                    <a:pt x="910" y="604"/>
                  </a:lnTo>
                  <a:lnTo>
                    <a:pt x="910" y="600"/>
                  </a:lnTo>
                  <a:lnTo>
                    <a:pt x="906" y="600"/>
                  </a:lnTo>
                  <a:lnTo>
                    <a:pt x="906" y="604"/>
                  </a:lnTo>
                  <a:lnTo>
                    <a:pt x="902" y="604"/>
                  </a:lnTo>
                  <a:lnTo>
                    <a:pt x="898" y="604"/>
                  </a:lnTo>
                  <a:lnTo>
                    <a:pt x="898" y="600"/>
                  </a:lnTo>
                  <a:lnTo>
                    <a:pt x="898" y="596"/>
                  </a:lnTo>
                  <a:lnTo>
                    <a:pt x="894" y="596"/>
                  </a:lnTo>
                  <a:lnTo>
                    <a:pt x="898" y="594"/>
                  </a:lnTo>
                  <a:lnTo>
                    <a:pt x="894" y="594"/>
                  </a:lnTo>
                  <a:lnTo>
                    <a:pt x="894" y="590"/>
                  </a:lnTo>
                  <a:lnTo>
                    <a:pt x="898" y="586"/>
                  </a:lnTo>
                  <a:lnTo>
                    <a:pt x="894" y="590"/>
                  </a:lnTo>
                  <a:lnTo>
                    <a:pt x="890" y="590"/>
                  </a:lnTo>
                  <a:lnTo>
                    <a:pt x="890" y="586"/>
                  </a:lnTo>
                  <a:lnTo>
                    <a:pt x="890" y="590"/>
                  </a:lnTo>
                  <a:lnTo>
                    <a:pt x="888" y="590"/>
                  </a:lnTo>
                  <a:lnTo>
                    <a:pt x="888" y="586"/>
                  </a:lnTo>
                  <a:lnTo>
                    <a:pt x="890" y="582"/>
                  </a:lnTo>
                  <a:lnTo>
                    <a:pt x="894" y="582"/>
                  </a:lnTo>
                  <a:lnTo>
                    <a:pt x="894" y="578"/>
                  </a:lnTo>
                  <a:lnTo>
                    <a:pt x="894" y="574"/>
                  </a:lnTo>
                  <a:lnTo>
                    <a:pt x="894" y="570"/>
                  </a:lnTo>
                  <a:lnTo>
                    <a:pt x="898" y="570"/>
                  </a:lnTo>
                  <a:lnTo>
                    <a:pt x="894" y="570"/>
                  </a:lnTo>
                  <a:lnTo>
                    <a:pt x="898" y="570"/>
                  </a:lnTo>
                  <a:lnTo>
                    <a:pt x="894" y="570"/>
                  </a:lnTo>
                  <a:lnTo>
                    <a:pt x="894" y="566"/>
                  </a:lnTo>
                  <a:lnTo>
                    <a:pt x="890" y="566"/>
                  </a:lnTo>
                  <a:lnTo>
                    <a:pt x="890" y="564"/>
                  </a:lnTo>
                  <a:lnTo>
                    <a:pt x="890" y="560"/>
                  </a:lnTo>
                  <a:lnTo>
                    <a:pt x="888" y="560"/>
                  </a:lnTo>
                  <a:lnTo>
                    <a:pt x="888" y="556"/>
                  </a:lnTo>
                  <a:lnTo>
                    <a:pt x="888" y="552"/>
                  </a:lnTo>
                  <a:lnTo>
                    <a:pt x="890" y="552"/>
                  </a:lnTo>
                  <a:lnTo>
                    <a:pt x="894" y="550"/>
                  </a:lnTo>
                  <a:lnTo>
                    <a:pt x="898" y="550"/>
                  </a:lnTo>
                  <a:lnTo>
                    <a:pt x="906" y="550"/>
                  </a:lnTo>
                  <a:lnTo>
                    <a:pt x="910" y="550"/>
                  </a:lnTo>
                  <a:lnTo>
                    <a:pt x="914" y="550"/>
                  </a:lnTo>
                  <a:lnTo>
                    <a:pt x="914" y="552"/>
                  </a:lnTo>
                  <a:lnTo>
                    <a:pt x="918" y="552"/>
                  </a:lnTo>
                  <a:lnTo>
                    <a:pt x="924" y="552"/>
                  </a:lnTo>
                  <a:lnTo>
                    <a:pt x="924" y="556"/>
                  </a:lnTo>
                  <a:lnTo>
                    <a:pt x="920" y="556"/>
                  </a:lnTo>
                  <a:lnTo>
                    <a:pt x="924" y="556"/>
                  </a:lnTo>
                  <a:lnTo>
                    <a:pt x="924" y="552"/>
                  </a:lnTo>
                  <a:lnTo>
                    <a:pt x="928" y="552"/>
                  </a:lnTo>
                  <a:lnTo>
                    <a:pt x="932" y="552"/>
                  </a:lnTo>
                  <a:lnTo>
                    <a:pt x="936" y="556"/>
                  </a:lnTo>
                  <a:lnTo>
                    <a:pt x="940" y="556"/>
                  </a:lnTo>
                  <a:lnTo>
                    <a:pt x="936" y="556"/>
                  </a:lnTo>
                  <a:lnTo>
                    <a:pt x="940" y="556"/>
                  </a:lnTo>
                  <a:lnTo>
                    <a:pt x="944" y="556"/>
                  </a:lnTo>
                  <a:lnTo>
                    <a:pt x="944" y="552"/>
                  </a:lnTo>
                  <a:lnTo>
                    <a:pt x="948" y="552"/>
                  </a:lnTo>
                  <a:lnTo>
                    <a:pt x="950" y="550"/>
                  </a:lnTo>
                  <a:lnTo>
                    <a:pt x="954" y="550"/>
                  </a:lnTo>
                  <a:lnTo>
                    <a:pt x="954" y="552"/>
                  </a:lnTo>
                  <a:lnTo>
                    <a:pt x="958" y="552"/>
                  </a:lnTo>
                  <a:lnTo>
                    <a:pt x="958" y="556"/>
                  </a:lnTo>
                  <a:lnTo>
                    <a:pt x="962" y="556"/>
                  </a:lnTo>
                  <a:lnTo>
                    <a:pt x="966" y="556"/>
                  </a:lnTo>
                  <a:lnTo>
                    <a:pt x="970" y="560"/>
                  </a:lnTo>
                  <a:lnTo>
                    <a:pt x="966" y="560"/>
                  </a:lnTo>
                  <a:lnTo>
                    <a:pt x="966" y="564"/>
                  </a:lnTo>
                  <a:lnTo>
                    <a:pt x="970" y="564"/>
                  </a:lnTo>
                  <a:lnTo>
                    <a:pt x="966" y="564"/>
                  </a:lnTo>
                  <a:lnTo>
                    <a:pt x="970" y="564"/>
                  </a:lnTo>
                  <a:lnTo>
                    <a:pt x="974" y="564"/>
                  </a:lnTo>
                  <a:lnTo>
                    <a:pt x="976" y="566"/>
                  </a:lnTo>
                  <a:lnTo>
                    <a:pt x="974" y="570"/>
                  </a:lnTo>
                  <a:lnTo>
                    <a:pt x="974" y="566"/>
                  </a:lnTo>
                  <a:lnTo>
                    <a:pt x="974" y="570"/>
                  </a:lnTo>
                  <a:lnTo>
                    <a:pt x="976" y="570"/>
                  </a:lnTo>
                  <a:lnTo>
                    <a:pt x="976" y="566"/>
                  </a:lnTo>
                  <a:lnTo>
                    <a:pt x="980" y="566"/>
                  </a:lnTo>
                  <a:lnTo>
                    <a:pt x="980" y="570"/>
                  </a:lnTo>
                  <a:lnTo>
                    <a:pt x="976" y="574"/>
                  </a:lnTo>
                  <a:lnTo>
                    <a:pt x="980" y="574"/>
                  </a:lnTo>
                  <a:lnTo>
                    <a:pt x="980" y="578"/>
                  </a:lnTo>
                  <a:lnTo>
                    <a:pt x="984" y="578"/>
                  </a:lnTo>
                  <a:lnTo>
                    <a:pt x="988" y="578"/>
                  </a:lnTo>
                  <a:lnTo>
                    <a:pt x="992" y="582"/>
                  </a:lnTo>
                  <a:lnTo>
                    <a:pt x="996" y="582"/>
                  </a:lnTo>
                  <a:lnTo>
                    <a:pt x="1000" y="582"/>
                  </a:lnTo>
                  <a:lnTo>
                    <a:pt x="1004" y="582"/>
                  </a:lnTo>
                  <a:lnTo>
                    <a:pt x="1004" y="586"/>
                  </a:lnTo>
                  <a:lnTo>
                    <a:pt x="1006" y="586"/>
                  </a:lnTo>
                  <a:lnTo>
                    <a:pt x="1010" y="586"/>
                  </a:lnTo>
                  <a:lnTo>
                    <a:pt x="1010" y="582"/>
                  </a:lnTo>
                  <a:lnTo>
                    <a:pt x="1014" y="586"/>
                  </a:lnTo>
                  <a:lnTo>
                    <a:pt x="1014" y="590"/>
                  </a:lnTo>
                  <a:lnTo>
                    <a:pt x="1010" y="590"/>
                  </a:lnTo>
                  <a:lnTo>
                    <a:pt x="1006" y="590"/>
                  </a:lnTo>
                  <a:lnTo>
                    <a:pt x="1010" y="590"/>
                  </a:lnTo>
                  <a:lnTo>
                    <a:pt x="1010" y="594"/>
                  </a:lnTo>
                  <a:lnTo>
                    <a:pt x="1006" y="594"/>
                  </a:lnTo>
                  <a:lnTo>
                    <a:pt x="1006" y="596"/>
                  </a:lnTo>
                  <a:lnTo>
                    <a:pt x="1006" y="600"/>
                  </a:lnTo>
                  <a:lnTo>
                    <a:pt x="1010" y="600"/>
                  </a:lnTo>
                  <a:lnTo>
                    <a:pt x="1010" y="604"/>
                  </a:lnTo>
                  <a:lnTo>
                    <a:pt x="1006" y="604"/>
                  </a:lnTo>
                  <a:lnTo>
                    <a:pt x="1004" y="604"/>
                  </a:lnTo>
                  <a:lnTo>
                    <a:pt x="1000" y="604"/>
                  </a:lnTo>
                  <a:lnTo>
                    <a:pt x="996" y="604"/>
                  </a:lnTo>
                  <a:lnTo>
                    <a:pt x="992" y="604"/>
                  </a:lnTo>
                  <a:lnTo>
                    <a:pt x="996" y="608"/>
                  </a:lnTo>
                  <a:lnTo>
                    <a:pt x="1000" y="608"/>
                  </a:lnTo>
                  <a:lnTo>
                    <a:pt x="1004" y="608"/>
                  </a:lnTo>
                  <a:lnTo>
                    <a:pt x="1006" y="608"/>
                  </a:lnTo>
                  <a:lnTo>
                    <a:pt x="1010" y="608"/>
                  </a:lnTo>
                  <a:lnTo>
                    <a:pt x="1010" y="612"/>
                  </a:lnTo>
                  <a:lnTo>
                    <a:pt x="1010" y="616"/>
                  </a:lnTo>
                  <a:lnTo>
                    <a:pt x="1006" y="616"/>
                  </a:lnTo>
                  <a:lnTo>
                    <a:pt x="1006" y="620"/>
                  </a:lnTo>
                  <a:lnTo>
                    <a:pt x="1010" y="620"/>
                  </a:lnTo>
                  <a:lnTo>
                    <a:pt x="1006" y="620"/>
                  </a:lnTo>
                  <a:lnTo>
                    <a:pt x="1006" y="622"/>
                  </a:lnTo>
                  <a:lnTo>
                    <a:pt x="1010" y="622"/>
                  </a:lnTo>
                  <a:lnTo>
                    <a:pt x="1010" y="620"/>
                  </a:lnTo>
                  <a:lnTo>
                    <a:pt x="1014" y="620"/>
                  </a:lnTo>
                  <a:lnTo>
                    <a:pt x="1014" y="622"/>
                  </a:lnTo>
                  <a:lnTo>
                    <a:pt x="1010" y="622"/>
                  </a:lnTo>
                  <a:lnTo>
                    <a:pt x="1010" y="626"/>
                  </a:lnTo>
                  <a:lnTo>
                    <a:pt x="1014" y="626"/>
                  </a:lnTo>
                  <a:lnTo>
                    <a:pt x="1010" y="626"/>
                  </a:lnTo>
                  <a:lnTo>
                    <a:pt x="1010" y="630"/>
                  </a:lnTo>
                  <a:lnTo>
                    <a:pt x="1010" y="634"/>
                  </a:lnTo>
                  <a:lnTo>
                    <a:pt x="1006" y="630"/>
                  </a:lnTo>
                  <a:lnTo>
                    <a:pt x="1010" y="630"/>
                  </a:lnTo>
                  <a:lnTo>
                    <a:pt x="1006" y="630"/>
                  </a:lnTo>
                  <a:lnTo>
                    <a:pt x="1006" y="626"/>
                  </a:lnTo>
                  <a:lnTo>
                    <a:pt x="1006" y="630"/>
                  </a:lnTo>
                  <a:lnTo>
                    <a:pt x="1006" y="634"/>
                  </a:lnTo>
                  <a:lnTo>
                    <a:pt x="1004" y="634"/>
                  </a:lnTo>
                  <a:lnTo>
                    <a:pt x="1006" y="634"/>
                  </a:lnTo>
                  <a:lnTo>
                    <a:pt x="1006" y="638"/>
                  </a:lnTo>
                  <a:lnTo>
                    <a:pt x="1010" y="634"/>
                  </a:lnTo>
                  <a:lnTo>
                    <a:pt x="1014" y="634"/>
                  </a:lnTo>
                  <a:lnTo>
                    <a:pt x="1014" y="630"/>
                  </a:lnTo>
                  <a:lnTo>
                    <a:pt x="1018" y="630"/>
                  </a:lnTo>
                  <a:lnTo>
                    <a:pt x="1022" y="630"/>
                  </a:lnTo>
                  <a:lnTo>
                    <a:pt x="1026" y="630"/>
                  </a:lnTo>
                  <a:lnTo>
                    <a:pt x="1026" y="634"/>
                  </a:lnTo>
                  <a:lnTo>
                    <a:pt x="1030" y="634"/>
                  </a:lnTo>
                  <a:lnTo>
                    <a:pt x="1030" y="638"/>
                  </a:lnTo>
                  <a:lnTo>
                    <a:pt x="1030" y="642"/>
                  </a:lnTo>
                  <a:lnTo>
                    <a:pt x="1030" y="646"/>
                  </a:lnTo>
                  <a:lnTo>
                    <a:pt x="1030" y="650"/>
                  </a:lnTo>
                  <a:lnTo>
                    <a:pt x="1026" y="650"/>
                  </a:lnTo>
                  <a:lnTo>
                    <a:pt x="1022" y="652"/>
                  </a:lnTo>
                  <a:lnTo>
                    <a:pt x="1018" y="652"/>
                  </a:lnTo>
                  <a:lnTo>
                    <a:pt x="1014" y="652"/>
                  </a:lnTo>
                  <a:lnTo>
                    <a:pt x="1014" y="656"/>
                  </a:lnTo>
                  <a:lnTo>
                    <a:pt x="1014" y="652"/>
                  </a:lnTo>
                  <a:lnTo>
                    <a:pt x="1018" y="652"/>
                  </a:lnTo>
                  <a:lnTo>
                    <a:pt x="1022" y="652"/>
                  </a:lnTo>
                  <a:lnTo>
                    <a:pt x="1026" y="652"/>
                  </a:lnTo>
                  <a:lnTo>
                    <a:pt x="1026" y="650"/>
                  </a:lnTo>
                  <a:lnTo>
                    <a:pt x="1030" y="650"/>
                  </a:lnTo>
                  <a:lnTo>
                    <a:pt x="1030" y="646"/>
                  </a:lnTo>
                  <a:lnTo>
                    <a:pt x="1030" y="642"/>
                  </a:lnTo>
                  <a:lnTo>
                    <a:pt x="1030" y="638"/>
                  </a:lnTo>
                  <a:lnTo>
                    <a:pt x="1032" y="638"/>
                  </a:lnTo>
                  <a:lnTo>
                    <a:pt x="1032" y="642"/>
                  </a:lnTo>
                  <a:lnTo>
                    <a:pt x="1032" y="646"/>
                  </a:lnTo>
                  <a:lnTo>
                    <a:pt x="1032" y="650"/>
                  </a:lnTo>
                  <a:lnTo>
                    <a:pt x="1032" y="646"/>
                  </a:lnTo>
                  <a:lnTo>
                    <a:pt x="1036" y="646"/>
                  </a:lnTo>
                  <a:lnTo>
                    <a:pt x="1036" y="642"/>
                  </a:lnTo>
                  <a:lnTo>
                    <a:pt x="1036" y="646"/>
                  </a:lnTo>
                  <a:lnTo>
                    <a:pt x="1036" y="652"/>
                  </a:lnTo>
                  <a:lnTo>
                    <a:pt x="1036" y="650"/>
                  </a:lnTo>
                  <a:lnTo>
                    <a:pt x="1040" y="646"/>
                  </a:lnTo>
                  <a:lnTo>
                    <a:pt x="1044" y="642"/>
                  </a:lnTo>
                  <a:lnTo>
                    <a:pt x="1048" y="642"/>
                  </a:lnTo>
                  <a:lnTo>
                    <a:pt x="1052" y="642"/>
                  </a:lnTo>
                  <a:lnTo>
                    <a:pt x="1052" y="638"/>
                  </a:lnTo>
                  <a:lnTo>
                    <a:pt x="1052" y="634"/>
                  </a:lnTo>
                  <a:lnTo>
                    <a:pt x="1056" y="634"/>
                  </a:lnTo>
                  <a:lnTo>
                    <a:pt x="1056" y="630"/>
                  </a:lnTo>
                  <a:lnTo>
                    <a:pt x="1060" y="634"/>
                  </a:lnTo>
                  <a:lnTo>
                    <a:pt x="1060" y="638"/>
                  </a:lnTo>
                  <a:lnTo>
                    <a:pt x="1062" y="638"/>
                  </a:lnTo>
                  <a:lnTo>
                    <a:pt x="1060" y="642"/>
                  </a:lnTo>
                  <a:lnTo>
                    <a:pt x="1060" y="646"/>
                  </a:lnTo>
                  <a:lnTo>
                    <a:pt x="1060" y="642"/>
                  </a:lnTo>
                  <a:lnTo>
                    <a:pt x="1062" y="642"/>
                  </a:lnTo>
                  <a:lnTo>
                    <a:pt x="1062" y="638"/>
                  </a:lnTo>
                  <a:lnTo>
                    <a:pt x="1060" y="634"/>
                  </a:lnTo>
                  <a:lnTo>
                    <a:pt x="1060" y="630"/>
                  </a:lnTo>
                  <a:lnTo>
                    <a:pt x="1062" y="630"/>
                  </a:lnTo>
                  <a:lnTo>
                    <a:pt x="1062" y="634"/>
                  </a:lnTo>
                  <a:lnTo>
                    <a:pt x="1062" y="630"/>
                  </a:lnTo>
                  <a:lnTo>
                    <a:pt x="1062" y="626"/>
                  </a:lnTo>
                  <a:lnTo>
                    <a:pt x="1066" y="626"/>
                  </a:lnTo>
                  <a:lnTo>
                    <a:pt x="1066" y="630"/>
                  </a:lnTo>
                  <a:lnTo>
                    <a:pt x="1066" y="626"/>
                  </a:lnTo>
                  <a:lnTo>
                    <a:pt x="1070" y="626"/>
                  </a:lnTo>
                  <a:lnTo>
                    <a:pt x="1066" y="626"/>
                  </a:lnTo>
                  <a:lnTo>
                    <a:pt x="1066" y="622"/>
                  </a:lnTo>
                  <a:lnTo>
                    <a:pt x="1066" y="620"/>
                  </a:lnTo>
                  <a:lnTo>
                    <a:pt x="1070" y="620"/>
                  </a:lnTo>
                  <a:lnTo>
                    <a:pt x="1070" y="622"/>
                  </a:lnTo>
                  <a:lnTo>
                    <a:pt x="1070" y="620"/>
                  </a:lnTo>
                  <a:lnTo>
                    <a:pt x="1066" y="620"/>
                  </a:lnTo>
                  <a:lnTo>
                    <a:pt x="1070" y="620"/>
                  </a:lnTo>
                  <a:lnTo>
                    <a:pt x="1074" y="620"/>
                  </a:lnTo>
                  <a:lnTo>
                    <a:pt x="1070" y="620"/>
                  </a:lnTo>
                  <a:lnTo>
                    <a:pt x="1070" y="616"/>
                  </a:lnTo>
                  <a:lnTo>
                    <a:pt x="1066" y="616"/>
                  </a:lnTo>
                  <a:lnTo>
                    <a:pt x="1066" y="612"/>
                  </a:lnTo>
                  <a:lnTo>
                    <a:pt x="1070" y="612"/>
                  </a:lnTo>
                  <a:lnTo>
                    <a:pt x="1070" y="608"/>
                  </a:lnTo>
                  <a:lnTo>
                    <a:pt x="1070" y="612"/>
                  </a:lnTo>
                  <a:lnTo>
                    <a:pt x="1074" y="612"/>
                  </a:lnTo>
                  <a:lnTo>
                    <a:pt x="1074" y="608"/>
                  </a:lnTo>
                  <a:lnTo>
                    <a:pt x="1070" y="608"/>
                  </a:lnTo>
                  <a:lnTo>
                    <a:pt x="1074" y="608"/>
                  </a:lnTo>
                  <a:lnTo>
                    <a:pt x="1074" y="604"/>
                  </a:lnTo>
                  <a:lnTo>
                    <a:pt x="1076" y="600"/>
                  </a:lnTo>
                  <a:lnTo>
                    <a:pt x="1076" y="596"/>
                  </a:lnTo>
                  <a:lnTo>
                    <a:pt x="1080" y="596"/>
                  </a:lnTo>
                  <a:lnTo>
                    <a:pt x="1080" y="600"/>
                  </a:lnTo>
                  <a:lnTo>
                    <a:pt x="1076" y="600"/>
                  </a:lnTo>
                  <a:lnTo>
                    <a:pt x="1080" y="600"/>
                  </a:lnTo>
                  <a:lnTo>
                    <a:pt x="1084" y="600"/>
                  </a:lnTo>
                  <a:lnTo>
                    <a:pt x="1080" y="604"/>
                  </a:lnTo>
                  <a:lnTo>
                    <a:pt x="1076" y="604"/>
                  </a:lnTo>
                  <a:lnTo>
                    <a:pt x="1076" y="608"/>
                  </a:lnTo>
                  <a:lnTo>
                    <a:pt x="1076" y="604"/>
                  </a:lnTo>
                  <a:lnTo>
                    <a:pt x="1080" y="604"/>
                  </a:lnTo>
                  <a:lnTo>
                    <a:pt x="1084" y="604"/>
                  </a:lnTo>
                  <a:lnTo>
                    <a:pt x="1084" y="608"/>
                  </a:lnTo>
                  <a:lnTo>
                    <a:pt x="1080" y="608"/>
                  </a:lnTo>
                  <a:lnTo>
                    <a:pt x="1084" y="608"/>
                  </a:lnTo>
                  <a:lnTo>
                    <a:pt x="1084" y="604"/>
                  </a:lnTo>
                  <a:lnTo>
                    <a:pt x="1088" y="604"/>
                  </a:lnTo>
                  <a:lnTo>
                    <a:pt x="1088" y="608"/>
                  </a:lnTo>
                  <a:lnTo>
                    <a:pt x="1084" y="612"/>
                  </a:lnTo>
                  <a:lnTo>
                    <a:pt x="1088" y="612"/>
                  </a:lnTo>
                  <a:lnTo>
                    <a:pt x="1088" y="616"/>
                  </a:lnTo>
                  <a:lnTo>
                    <a:pt x="1092" y="616"/>
                  </a:lnTo>
                  <a:lnTo>
                    <a:pt x="1092" y="620"/>
                  </a:lnTo>
                  <a:lnTo>
                    <a:pt x="1088" y="620"/>
                  </a:lnTo>
                  <a:lnTo>
                    <a:pt x="1092" y="620"/>
                  </a:lnTo>
                  <a:lnTo>
                    <a:pt x="1092" y="622"/>
                  </a:lnTo>
                  <a:lnTo>
                    <a:pt x="1092" y="620"/>
                  </a:lnTo>
                  <a:lnTo>
                    <a:pt x="1096" y="620"/>
                  </a:lnTo>
                  <a:lnTo>
                    <a:pt x="1096" y="622"/>
                  </a:lnTo>
                  <a:lnTo>
                    <a:pt x="1100" y="622"/>
                  </a:lnTo>
                  <a:lnTo>
                    <a:pt x="1096" y="626"/>
                  </a:lnTo>
                  <a:lnTo>
                    <a:pt x="1092" y="626"/>
                  </a:lnTo>
                  <a:lnTo>
                    <a:pt x="1088" y="626"/>
                  </a:lnTo>
                  <a:lnTo>
                    <a:pt x="1088" y="630"/>
                  </a:lnTo>
                  <a:lnTo>
                    <a:pt x="1092" y="626"/>
                  </a:lnTo>
                  <a:lnTo>
                    <a:pt x="1096" y="626"/>
                  </a:lnTo>
                  <a:lnTo>
                    <a:pt x="1100" y="626"/>
                  </a:lnTo>
                  <a:lnTo>
                    <a:pt x="1100" y="630"/>
                  </a:lnTo>
                  <a:lnTo>
                    <a:pt x="1104" y="630"/>
                  </a:lnTo>
                  <a:lnTo>
                    <a:pt x="1104" y="634"/>
                  </a:lnTo>
                  <a:lnTo>
                    <a:pt x="1106" y="634"/>
                  </a:lnTo>
                  <a:lnTo>
                    <a:pt x="1106" y="638"/>
                  </a:lnTo>
                  <a:lnTo>
                    <a:pt x="1104" y="638"/>
                  </a:lnTo>
                  <a:lnTo>
                    <a:pt x="1100" y="642"/>
                  </a:lnTo>
                  <a:lnTo>
                    <a:pt x="1096" y="642"/>
                  </a:lnTo>
                  <a:lnTo>
                    <a:pt x="1096" y="646"/>
                  </a:lnTo>
                  <a:lnTo>
                    <a:pt x="1096" y="642"/>
                  </a:lnTo>
                  <a:lnTo>
                    <a:pt x="1100" y="642"/>
                  </a:lnTo>
                  <a:lnTo>
                    <a:pt x="1104" y="642"/>
                  </a:lnTo>
                  <a:lnTo>
                    <a:pt x="1106" y="642"/>
                  </a:lnTo>
                  <a:lnTo>
                    <a:pt x="1110" y="642"/>
                  </a:lnTo>
                  <a:lnTo>
                    <a:pt x="1106" y="642"/>
                  </a:lnTo>
                  <a:lnTo>
                    <a:pt x="1106" y="646"/>
                  </a:lnTo>
                  <a:lnTo>
                    <a:pt x="1110" y="646"/>
                  </a:lnTo>
                  <a:lnTo>
                    <a:pt x="1106" y="646"/>
                  </a:lnTo>
                  <a:lnTo>
                    <a:pt x="1106" y="650"/>
                  </a:lnTo>
                  <a:lnTo>
                    <a:pt x="1106" y="646"/>
                  </a:lnTo>
                  <a:lnTo>
                    <a:pt x="1104" y="650"/>
                  </a:lnTo>
                  <a:lnTo>
                    <a:pt x="1100" y="650"/>
                  </a:lnTo>
                  <a:lnTo>
                    <a:pt x="1100" y="652"/>
                  </a:lnTo>
                  <a:lnTo>
                    <a:pt x="1104" y="650"/>
                  </a:lnTo>
                  <a:lnTo>
                    <a:pt x="1106" y="650"/>
                  </a:lnTo>
                  <a:lnTo>
                    <a:pt x="1110" y="650"/>
                  </a:lnTo>
                  <a:lnTo>
                    <a:pt x="1110" y="646"/>
                  </a:lnTo>
                  <a:lnTo>
                    <a:pt x="1110" y="650"/>
                  </a:lnTo>
                  <a:lnTo>
                    <a:pt x="1114" y="650"/>
                  </a:lnTo>
                  <a:lnTo>
                    <a:pt x="1110" y="650"/>
                  </a:lnTo>
                  <a:lnTo>
                    <a:pt x="1110" y="652"/>
                  </a:lnTo>
                  <a:lnTo>
                    <a:pt x="1110" y="650"/>
                  </a:lnTo>
                  <a:lnTo>
                    <a:pt x="1110" y="652"/>
                  </a:lnTo>
                  <a:lnTo>
                    <a:pt x="1106" y="652"/>
                  </a:lnTo>
                  <a:lnTo>
                    <a:pt x="1110" y="652"/>
                  </a:lnTo>
                  <a:lnTo>
                    <a:pt x="1114" y="652"/>
                  </a:lnTo>
                  <a:lnTo>
                    <a:pt x="1114" y="656"/>
                  </a:lnTo>
                  <a:lnTo>
                    <a:pt x="1118" y="656"/>
                  </a:lnTo>
                  <a:lnTo>
                    <a:pt x="1118" y="660"/>
                  </a:lnTo>
                  <a:lnTo>
                    <a:pt x="1114" y="660"/>
                  </a:lnTo>
                  <a:lnTo>
                    <a:pt x="1114" y="664"/>
                  </a:lnTo>
                  <a:lnTo>
                    <a:pt x="1110" y="664"/>
                  </a:lnTo>
                  <a:lnTo>
                    <a:pt x="1110" y="660"/>
                  </a:lnTo>
                  <a:lnTo>
                    <a:pt x="1110" y="664"/>
                  </a:lnTo>
                  <a:lnTo>
                    <a:pt x="1114" y="664"/>
                  </a:lnTo>
                  <a:lnTo>
                    <a:pt x="1118" y="664"/>
                  </a:lnTo>
                  <a:lnTo>
                    <a:pt x="1118" y="668"/>
                  </a:lnTo>
                  <a:lnTo>
                    <a:pt x="1118" y="672"/>
                  </a:lnTo>
                  <a:lnTo>
                    <a:pt x="1122" y="672"/>
                  </a:lnTo>
                  <a:lnTo>
                    <a:pt x="1126" y="672"/>
                  </a:lnTo>
                  <a:lnTo>
                    <a:pt x="1126" y="676"/>
                  </a:lnTo>
                  <a:lnTo>
                    <a:pt x="1122" y="676"/>
                  </a:lnTo>
                  <a:lnTo>
                    <a:pt x="1122" y="680"/>
                  </a:lnTo>
                  <a:lnTo>
                    <a:pt x="1118" y="680"/>
                  </a:lnTo>
                  <a:lnTo>
                    <a:pt x="1122" y="680"/>
                  </a:lnTo>
                  <a:lnTo>
                    <a:pt x="1118" y="680"/>
                  </a:lnTo>
                  <a:lnTo>
                    <a:pt x="1122" y="680"/>
                  </a:lnTo>
                  <a:lnTo>
                    <a:pt x="1122" y="682"/>
                  </a:lnTo>
                  <a:lnTo>
                    <a:pt x="1118" y="682"/>
                  </a:lnTo>
                  <a:lnTo>
                    <a:pt x="1118" y="680"/>
                  </a:lnTo>
                  <a:lnTo>
                    <a:pt x="1114" y="680"/>
                  </a:lnTo>
                  <a:lnTo>
                    <a:pt x="1110" y="680"/>
                  </a:lnTo>
                  <a:lnTo>
                    <a:pt x="1114" y="680"/>
                  </a:lnTo>
                  <a:lnTo>
                    <a:pt x="1114" y="676"/>
                  </a:lnTo>
                  <a:lnTo>
                    <a:pt x="1110" y="676"/>
                  </a:lnTo>
                  <a:lnTo>
                    <a:pt x="1110" y="680"/>
                  </a:lnTo>
                  <a:lnTo>
                    <a:pt x="1114" y="680"/>
                  </a:lnTo>
                  <a:lnTo>
                    <a:pt x="1118" y="682"/>
                  </a:lnTo>
                  <a:lnTo>
                    <a:pt x="1114" y="682"/>
                  </a:lnTo>
                  <a:lnTo>
                    <a:pt x="1118" y="682"/>
                  </a:lnTo>
                  <a:lnTo>
                    <a:pt x="1122" y="682"/>
                  </a:lnTo>
                  <a:lnTo>
                    <a:pt x="1122" y="686"/>
                  </a:lnTo>
                  <a:lnTo>
                    <a:pt x="1118" y="686"/>
                  </a:lnTo>
                  <a:lnTo>
                    <a:pt x="1118" y="682"/>
                  </a:lnTo>
                  <a:lnTo>
                    <a:pt x="1114" y="686"/>
                  </a:lnTo>
                  <a:lnTo>
                    <a:pt x="1118" y="686"/>
                  </a:lnTo>
                  <a:lnTo>
                    <a:pt x="1114" y="686"/>
                  </a:lnTo>
                  <a:lnTo>
                    <a:pt x="1118" y="686"/>
                  </a:lnTo>
                  <a:lnTo>
                    <a:pt x="1122" y="686"/>
                  </a:lnTo>
                  <a:lnTo>
                    <a:pt x="1122" y="690"/>
                  </a:lnTo>
                  <a:lnTo>
                    <a:pt x="1118" y="690"/>
                  </a:lnTo>
                  <a:lnTo>
                    <a:pt x="1114" y="690"/>
                  </a:lnTo>
                  <a:lnTo>
                    <a:pt x="1118" y="690"/>
                  </a:lnTo>
                  <a:lnTo>
                    <a:pt x="1122" y="690"/>
                  </a:lnTo>
                  <a:lnTo>
                    <a:pt x="1126" y="690"/>
                  </a:lnTo>
                  <a:lnTo>
                    <a:pt x="1126" y="694"/>
                  </a:lnTo>
                  <a:lnTo>
                    <a:pt x="1130" y="694"/>
                  </a:lnTo>
                  <a:lnTo>
                    <a:pt x="1126" y="694"/>
                  </a:lnTo>
                  <a:lnTo>
                    <a:pt x="1126" y="698"/>
                  </a:lnTo>
                  <a:lnTo>
                    <a:pt x="1130" y="698"/>
                  </a:lnTo>
                  <a:lnTo>
                    <a:pt x="1132" y="698"/>
                  </a:lnTo>
                  <a:lnTo>
                    <a:pt x="1136" y="698"/>
                  </a:lnTo>
                  <a:lnTo>
                    <a:pt x="1136" y="702"/>
                  </a:lnTo>
                  <a:lnTo>
                    <a:pt x="1132" y="702"/>
                  </a:lnTo>
                  <a:lnTo>
                    <a:pt x="1136" y="702"/>
                  </a:lnTo>
                  <a:lnTo>
                    <a:pt x="1136" y="698"/>
                  </a:lnTo>
                  <a:lnTo>
                    <a:pt x="1136" y="702"/>
                  </a:lnTo>
                  <a:lnTo>
                    <a:pt x="1136" y="706"/>
                  </a:lnTo>
                  <a:lnTo>
                    <a:pt x="1136" y="702"/>
                  </a:lnTo>
                  <a:lnTo>
                    <a:pt x="1140" y="702"/>
                  </a:lnTo>
                  <a:lnTo>
                    <a:pt x="1136" y="702"/>
                  </a:lnTo>
                  <a:lnTo>
                    <a:pt x="1136" y="706"/>
                  </a:lnTo>
                  <a:lnTo>
                    <a:pt x="1140" y="706"/>
                  </a:lnTo>
                  <a:lnTo>
                    <a:pt x="1140" y="708"/>
                  </a:lnTo>
                  <a:lnTo>
                    <a:pt x="1136" y="708"/>
                  </a:lnTo>
                  <a:lnTo>
                    <a:pt x="1140" y="708"/>
                  </a:lnTo>
                  <a:lnTo>
                    <a:pt x="1140" y="706"/>
                  </a:lnTo>
                  <a:lnTo>
                    <a:pt x="1144" y="706"/>
                  </a:lnTo>
                  <a:lnTo>
                    <a:pt x="1144" y="708"/>
                  </a:lnTo>
                  <a:lnTo>
                    <a:pt x="1140" y="708"/>
                  </a:lnTo>
                  <a:lnTo>
                    <a:pt x="1140" y="712"/>
                  </a:lnTo>
                  <a:lnTo>
                    <a:pt x="1136" y="712"/>
                  </a:lnTo>
                  <a:lnTo>
                    <a:pt x="1140" y="712"/>
                  </a:lnTo>
                  <a:lnTo>
                    <a:pt x="1136" y="716"/>
                  </a:lnTo>
                  <a:lnTo>
                    <a:pt x="1140" y="716"/>
                  </a:lnTo>
                  <a:lnTo>
                    <a:pt x="1140" y="712"/>
                  </a:lnTo>
                  <a:lnTo>
                    <a:pt x="1144" y="712"/>
                  </a:lnTo>
                  <a:lnTo>
                    <a:pt x="1144" y="716"/>
                  </a:lnTo>
                  <a:lnTo>
                    <a:pt x="1140" y="716"/>
                  </a:lnTo>
                  <a:lnTo>
                    <a:pt x="1144" y="716"/>
                  </a:lnTo>
                  <a:lnTo>
                    <a:pt x="1144" y="712"/>
                  </a:lnTo>
                  <a:lnTo>
                    <a:pt x="1148" y="712"/>
                  </a:lnTo>
                  <a:lnTo>
                    <a:pt x="1148" y="708"/>
                  </a:lnTo>
                  <a:lnTo>
                    <a:pt x="1148" y="712"/>
                  </a:lnTo>
                  <a:lnTo>
                    <a:pt x="1144" y="712"/>
                  </a:lnTo>
                  <a:lnTo>
                    <a:pt x="1144" y="716"/>
                  </a:lnTo>
                  <a:lnTo>
                    <a:pt x="1148" y="716"/>
                  </a:lnTo>
                  <a:lnTo>
                    <a:pt x="1152" y="712"/>
                  </a:lnTo>
                  <a:lnTo>
                    <a:pt x="1152" y="716"/>
                  </a:lnTo>
                  <a:lnTo>
                    <a:pt x="1148" y="720"/>
                  </a:lnTo>
                  <a:lnTo>
                    <a:pt x="1148" y="724"/>
                  </a:lnTo>
                  <a:lnTo>
                    <a:pt x="1148" y="720"/>
                  </a:lnTo>
                  <a:lnTo>
                    <a:pt x="1152" y="720"/>
                  </a:lnTo>
                  <a:lnTo>
                    <a:pt x="1156" y="716"/>
                  </a:lnTo>
                  <a:lnTo>
                    <a:pt x="1156" y="712"/>
                  </a:lnTo>
                  <a:lnTo>
                    <a:pt x="1160" y="712"/>
                  </a:lnTo>
                  <a:lnTo>
                    <a:pt x="1156" y="712"/>
                  </a:lnTo>
                  <a:lnTo>
                    <a:pt x="1156" y="716"/>
                  </a:lnTo>
                  <a:lnTo>
                    <a:pt x="1160" y="716"/>
                  </a:lnTo>
                  <a:lnTo>
                    <a:pt x="1160" y="712"/>
                  </a:lnTo>
                  <a:lnTo>
                    <a:pt x="1160" y="716"/>
                  </a:lnTo>
                  <a:lnTo>
                    <a:pt x="1160" y="720"/>
                  </a:lnTo>
                  <a:lnTo>
                    <a:pt x="1162" y="720"/>
                  </a:lnTo>
                  <a:lnTo>
                    <a:pt x="1166" y="724"/>
                  </a:lnTo>
                  <a:lnTo>
                    <a:pt x="1166" y="720"/>
                  </a:lnTo>
                  <a:lnTo>
                    <a:pt x="1170" y="720"/>
                  </a:lnTo>
                  <a:lnTo>
                    <a:pt x="1170" y="724"/>
                  </a:lnTo>
                  <a:lnTo>
                    <a:pt x="1174" y="724"/>
                  </a:lnTo>
                  <a:lnTo>
                    <a:pt x="1178" y="724"/>
                  </a:lnTo>
                  <a:lnTo>
                    <a:pt x="1182" y="724"/>
                  </a:lnTo>
                  <a:lnTo>
                    <a:pt x="1182" y="728"/>
                  </a:lnTo>
                  <a:lnTo>
                    <a:pt x="1178" y="728"/>
                  </a:lnTo>
                  <a:lnTo>
                    <a:pt x="1182" y="728"/>
                  </a:lnTo>
                  <a:lnTo>
                    <a:pt x="1182" y="732"/>
                  </a:lnTo>
                  <a:lnTo>
                    <a:pt x="1178" y="732"/>
                  </a:lnTo>
                  <a:lnTo>
                    <a:pt x="1174" y="732"/>
                  </a:lnTo>
                  <a:lnTo>
                    <a:pt x="1170" y="732"/>
                  </a:lnTo>
                  <a:lnTo>
                    <a:pt x="1174" y="732"/>
                  </a:lnTo>
                  <a:lnTo>
                    <a:pt x="1170" y="736"/>
                  </a:lnTo>
                  <a:lnTo>
                    <a:pt x="1166" y="736"/>
                  </a:lnTo>
                  <a:lnTo>
                    <a:pt x="1162" y="736"/>
                  </a:lnTo>
                  <a:lnTo>
                    <a:pt x="1160" y="736"/>
                  </a:lnTo>
                  <a:lnTo>
                    <a:pt x="1156" y="738"/>
                  </a:lnTo>
                  <a:lnTo>
                    <a:pt x="1152" y="738"/>
                  </a:lnTo>
                  <a:lnTo>
                    <a:pt x="1156" y="738"/>
                  </a:lnTo>
                  <a:lnTo>
                    <a:pt x="1160" y="738"/>
                  </a:lnTo>
                  <a:lnTo>
                    <a:pt x="1162" y="736"/>
                  </a:lnTo>
                  <a:lnTo>
                    <a:pt x="1166" y="736"/>
                  </a:lnTo>
                  <a:lnTo>
                    <a:pt x="1166" y="738"/>
                  </a:lnTo>
                  <a:lnTo>
                    <a:pt x="1162" y="738"/>
                  </a:lnTo>
                  <a:lnTo>
                    <a:pt x="1160" y="738"/>
                  </a:lnTo>
                  <a:lnTo>
                    <a:pt x="1156" y="738"/>
                  </a:lnTo>
                  <a:lnTo>
                    <a:pt x="1156" y="742"/>
                  </a:lnTo>
                  <a:lnTo>
                    <a:pt x="1152" y="742"/>
                  </a:lnTo>
                  <a:lnTo>
                    <a:pt x="1148" y="742"/>
                  </a:lnTo>
                  <a:lnTo>
                    <a:pt x="1144" y="742"/>
                  </a:lnTo>
                  <a:lnTo>
                    <a:pt x="1144" y="746"/>
                  </a:lnTo>
                  <a:lnTo>
                    <a:pt x="1144" y="750"/>
                  </a:lnTo>
                  <a:lnTo>
                    <a:pt x="1140" y="746"/>
                  </a:lnTo>
                  <a:lnTo>
                    <a:pt x="1136" y="746"/>
                  </a:lnTo>
                  <a:lnTo>
                    <a:pt x="1132" y="742"/>
                  </a:lnTo>
                  <a:lnTo>
                    <a:pt x="1132" y="746"/>
                  </a:lnTo>
                  <a:lnTo>
                    <a:pt x="1136" y="746"/>
                  </a:lnTo>
                  <a:lnTo>
                    <a:pt x="1140" y="746"/>
                  </a:lnTo>
                  <a:lnTo>
                    <a:pt x="1140" y="750"/>
                  </a:lnTo>
                  <a:lnTo>
                    <a:pt x="1144" y="750"/>
                  </a:lnTo>
                  <a:lnTo>
                    <a:pt x="1140" y="754"/>
                  </a:lnTo>
                  <a:lnTo>
                    <a:pt x="1144" y="754"/>
                  </a:lnTo>
                  <a:lnTo>
                    <a:pt x="1140" y="754"/>
                  </a:lnTo>
                  <a:lnTo>
                    <a:pt x="1144" y="754"/>
                  </a:lnTo>
                  <a:lnTo>
                    <a:pt x="1144" y="750"/>
                  </a:lnTo>
                  <a:lnTo>
                    <a:pt x="1148" y="750"/>
                  </a:lnTo>
                  <a:lnTo>
                    <a:pt x="1152" y="750"/>
                  </a:lnTo>
                  <a:lnTo>
                    <a:pt x="1152" y="746"/>
                  </a:lnTo>
                  <a:lnTo>
                    <a:pt x="1156" y="746"/>
                  </a:lnTo>
                  <a:lnTo>
                    <a:pt x="1160" y="746"/>
                  </a:lnTo>
                  <a:lnTo>
                    <a:pt x="1160" y="742"/>
                  </a:lnTo>
                  <a:lnTo>
                    <a:pt x="1162" y="742"/>
                  </a:lnTo>
                  <a:lnTo>
                    <a:pt x="1166" y="738"/>
                  </a:lnTo>
                  <a:lnTo>
                    <a:pt x="1170" y="738"/>
                  </a:lnTo>
                  <a:lnTo>
                    <a:pt x="1174" y="738"/>
                  </a:lnTo>
                  <a:lnTo>
                    <a:pt x="1178" y="738"/>
                  </a:lnTo>
                  <a:lnTo>
                    <a:pt x="1174" y="736"/>
                  </a:lnTo>
                  <a:lnTo>
                    <a:pt x="1170" y="736"/>
                  </a:lnTo>
                  <a:lnTo>
                    <a:pt x="1166" y="736"/>
                  </a:lnTo>
                  <a:lnTo>
                    <a:pt x="1170" y="736"/>
                  </a:lnTo>
                  <a:lnTo>
                    <a:pt x="1174" y="736"/>
                  </a:lnTo>
                  <a:lnTo>
                    <a:pt x="1178" y="736"/>
                  </a:lnTo>
                  <a:lnTo>
                    <a:pt x="1182" y="736"/>
                  </a:lnTo>
                  <a:lnTo>
                    <a:pt x="1182" y="738"/>
                  </a:lnTo>
                  <a:lnTo>
                    <a:pt x="1186" y="742"/>
                  </a:lnTo>
                  <a:lnTo>
                    <a:pt x="1186" y="746"/>
                  </a:lnTo>
                  <a:lnTo>
                    <a:pt x="1182" y="746"/>
                  </a:lnTo>
                  <a:lnTo>
                    <a:pt x="1186" y="750"/>
                  </a:lnTo>
                  <a:lnTo>
                    <a:pt x="1182" y="750"/>
                  </a:lnTo>
                  <a:lnTo>
                    <a:pt x="1186" y="750"/>
                  </a:lnTo>
                  <a:lnTo>
                    <a:pt x="1186" y="746"/>
                  </a:lnTo>
                  <a:lnTo>
                    <a:pt x="1188" y="746"/>
                  </a:lnTo>
                  <a:lnTo>
                    <a:pt x="1192" y="746"/>
                  </a:lnTo>
                  <a:lnTo>
                    <a:pt x="1192" y="742"/>
                  </a:lnTo>
                  <a:lnTo>
                    <a:pt x="1196" y="742"/>
                  </a:lnTo>
                  <a:lnTo>
                    <a:pt x="1196" y="746"/>
                  </a:lnTo>
                  <a:lnTo>
                    <a:pt x="1192" y="746"/>
                  </a:lnTo>
                  <a:lnTo>
                    <a:pt x="1196" y="746"/>
                  </a:lnTo>
                  <a:lnTo>
                    <a:pt x="1200" y="746"/>
                  </a:lnTo>
                  <a:lnTo>
                    <a:pt x="1204" y="750"/>
                  </a:lnTo>
                  <a:lnTo>
                    <a:pt x="1200" y="750"/>
                  </a:lnTo>
                  <a:lnTo>
                    <a:pt x="1204" y="750"/>
                  </a:lnTo>
                  <a:lnTo>
                    <a:pt x="1200" y="754"/>
                  </a:lnTo>
                  <a:lnTo>
                    <a:pt x="1204" y="754"/>
                  </a:lnTo>
                  <a:lnTo>
                    <a:pt x="1204" y="758"/>
                  </a:lnTo>
                  <a:lnTo>
                    <a:pt x="1204" y="762"/>
                  </a:lnTo>
                  <a:lnTo>
                    <a:pt x="1200" y="762"/>
                  </a:lnTo>
                  <a:lnTo>
                    <a:pt x="1204" y="762"/>
                  </a:lnTo>
                  <a:lnTo>
                    <a:pt x="1204" y="766"/>
                  </a:lnTo>
                  <a:lnTo>
                    <a:pt x="1200" y="766"/>
                  </a:lnTo>
                  <a:lnTo>
                    <a:pt x="1204" y="768"/>
                  </a:lnTo>
                  <a:lnTo>
                    <a:pt x="1200" y="768"/>
                  </a:lnTo>
                  <a:lnTo>
                    <a:pt x="1204" y="768"/>
                  </a:lnTo>
                  <a:lnTo>
                    <a:pt x="1200" y="768"/>
                  </a:lnTo>
                  <a:lnTo>
                    <a:pt x="1196" y="768"/>
                  </a:lnTo>
                  <a:lnTo>
                    <a:pt x="1200" y="768"/>
                  </a:lnTo>
                  <a:lnTo>
                    <a:pt x="1204" y="772"/>
                  </a:lnTo>
                  <a:lnTo>
                    <a:pt x="1208" y="772"/>
                  </a:lnTo>
                  <a:lnTo>
                    <a:pt x="1204" y="776"/>
                  </a:lnTo>
                  <a:lnTo>
                    <a:pt x="1204" y="772"/>
                  </a:lnTo>
                  <a:lnTo>
                    <a:pt x="1200" y="772"/>
                  </a:lnTo>
                  <a:lnTo>
                    <a:pt x="1204" y="772"/>
                  </a:lnTo>
                  <a:lnTo>
                    <a:pt x="1204" y="776"/>
                  </a:lnTo>
                  <a:lnTo>
                    <a:pt x="1208" y="776"/>
                  </a:lnTo>
                  <a:lnTo>
                    <a:pt x="1208" y="780"/>
                  </a:lnTo>
                  <a:lnTo>
                    <a:pt x="1204" y="784"/>
                  </a:lnTo>
                  <a:lnTo>
                    <a:pt x="1200" y="784"/>
                  </a:lnTo>
                  <a:lnTo>
                    <a:pt x="1200" y="788"/>
                  </a:lnTo>
                  <a:lnTo>
                    <a:pt x="1196" y="788"/>
                  </a:lnTo>
                  <a:lnTo>
                    <a:pt x="1192" y="792"/>
                  </a:lnTo>
                  <a:lnTo>
                    <a:pt x="1188" y="792"/>
                  </a:lnTo>
                  <a:lnTo>
                    <a:pt x="1188" y="794"/>
                  </a:lnTo>
                  <a:lnTo>
                    <a:pt x="1186" y="794"/>
                  </a:lnTo>
                  <a:lnTo>
                    <a:pt x="1186" y="792"/>
                  </a:lnTo>
                  <a:lnTo>
                    <a:pt x="1182" y="792"/>
                  </a:lnTo>
                  <a:lnTo>
                    <a:pt x="1182" y="794"/>
                  </a:lnTo>
                  <a:lnTo>
                    <a:pt x="1178" y="794"/>
                  </a:lnTo>
                  <a:lnTo>
                    <a:pt x="1178" y="792"/>
                  </a:lnTo>
                  <a:lnTo>
                    <a:pt x="1174" y="794"/>
                  </a:lnTo>
                  <a:lnTo>
                    <a:pt x="1170" y="798"/>
                  </a:lnTo>
                  <a:lnTo>
                    <a:pt x="1166" y="794"/>
                  </a:lnTo>
                  <a:lnTo>
                    <a:pt x="1166" y="798"/>
                  </a:lnTo>
                  <a:lnTo>
                    <a:pt x="1162" y="798"/>
                  </a:lnTo>
                  <a:lnTo>
                    <a:pt x="1166" y="798"/>
                  </a:lnTo>
                  <a:lnTo>
                    <a:pt x="1162" y="802"/>
                  </a:lnTo>
                  <a:lnTo>
                    <a:pt x="1160" y="802"/>
                  </a:lnTo>
                  <a:lnTo>
                    <a:pt x="1160" y="806"/>
                  </a:lnTo>
                  <a:lnTo>
                    <a:pt x="1160" y="810"/>
                  </a:lnTo>
                  <a:lnTo>
                    <a:pt x="1160" y="806"/>
                  </a:lnTo>
                  <a:lnTo>
                    <a:pt x="1156" y="810"/>
                  </a:lnTo>
                  <a:lnTo>
                    <a:pt x="1152" y="810"/>
                  </a:lnTo>
                  <a:lnTo>
                    <a:pt x="1152" y="814"/>
                  </a:lnTo>
                  <a:lnTo>
                    <a:pt x="1148" y="814"/>
                  </a:lnTo>
                  <a:lnTo>
                    <a:pt x="1148" y="818"/>
                  </a:lnTo>
                  <a:lnTo>
                    <a:pt x="1144" y="818"/>
                  </a:lnTo>
                  <a:lnTo>
                    <a:pt x="1140" y="818"/>
                  </a:lnTo>
                  <a:lnTo>
                    <a:pt x="1136" y="818"/>
                  </a:lnTo>
                  <a:lnTo>
                    <a:pt x="1136" y="822"/>
                  </a:lnTo>
                  <a:lnTo>
                    <a:pt x="1136" y="818"/>
                  </a:lnTo>
                  <a:lnTo>
                    <a:pt x="1132" y="822"/>
                  </a:lnTo>
                  <a:lnTo>
                    <a:pt x="1130" y="822"/>
                  </a:lnTo>
                  <a:lnTo>
                    <a:pt x="1126" y="822"/>
                  </a:lnTo>
                  <a:lnTo>
                    <a:pt x="1122" y="822"/>
                  </a:lnTo>
                  <a:lnTo>
                    <a:pt x="1118" y="822"/>
                  </a:lnTo>
                  <a:lnTo>
                    <a:pt x="1118" y="818"/>
                  </a:lnTo>
                  <a:lnTo>
                    <a:pt x="1114" y="818"/>
                  </a:lnTo>
                  <a:lnTo>
                    <a:pt x="1110" y="818"/>
                  </a:lnTo>
                  <a:lnTo>
                    <a:pt x="1106" y="818"/>
                  </a:lnTo>
                  <a:lnTo>
                    <a:pt x="1100" y="818"/>
                  </a:lnTo>
                  <a:lnTo>
                    <a:pt x="1096" y="818"/>
                  </a:lnTo>
                  <a:lnTo>
                    <a:pt x="1092" y="818"/>
                  </a:lnTo>
                  <a:lnTo>
                    <a:pt x="1088" y="818"/>
                  </a:lnTo>
                  <a:lnTo>
                    <a:pt x="1084" y="818"/>
                  </a:lnTo>
                  <a:lnTo>
                    <a:pt x="1080" y="818"/>
                  </a:lnTo>
                  <a:lnTo>
                    <a:pt x="1076" y="818"/>
                  </a:lnTo>
                  <a:lnTo>
                    <a:pt x="1074" y="818"/>
                  </a:lnTo>
                  <a:lnTo>
                    <a:pt x="1070" y="818"/>
                  </a:lnTo>
                  <a:lnTo>
                    <a:pt x="1066" y="818"/>
                  </a:lnTo>
                  <a:lnTo>
                    <a:pt x="1062" y="818"/>
                  </a:lnTo>
                  <a:lnTo>
                    <a:pt x="1060" y="818"/>
                  </a:lnTo>
                  <a:lnTo>
                    <a:pt x="1060" y="822"/>
                  </a:lnTo>
                  <a:lnTo>
                    <a:pt x="1056" y="822"/>
                  </a:lnTo>
                  <a:lnTo>
                    <a:pt x="1056" y="818"/>
                  </a:lnTo>
                  <a:lnTo>
                    <a:pt x="1052" y="822"/>
                  </a:lnTo>
                  <a:lnTo>
                    <a:pt x="1048" y="824"/>
                  </a:lnTo>
                  <a:lnTo>
                    <a:pt x="1048" y="828"/>
                  </a:lnTo>
                  <a:lnTo>
                    <a:pt x="1044" y="828"/>
                  </a:lnTo>
                  <a:lnTo>
                    <a:pt x="1044" y="832"/>
                  </a:lnTo>
                  <a:lnTo>
                    <a:pt x="1044" y="836"/>
                  </a:lnTo>
                  <a:lnTo>
                    <a:pt x="1040" y="836"/>
                  </a:lnTo>
                  <a:lnTo>
                    <a:pt x="1036" y="840"/>
                  </a:lnTo>
                  <a:lnTo>
                    <a:pt x="1032" y="840"/>
                  </a:lnTo>
                  <a:lnTo>
                    <a:pt x="1030" y="840"/>
                  </a:lnTo>
                  <a:lnTo>
                    <a:pt x="1030" y="844"/>
                  </a:lnTo>
                  <a:lnTo>
                    <a:pt x="1026" y="844"/>
                  </a:lnTo>
                  <a:lnTo>
                    <a:pt x="1022" y="848"/>
                  </a:lnTo>
                  <a:lnTo>
                    <a:pt x="1018" y="852"/>
                  </a:lnTo>
                  <a:lnTo>
                    <a:pt x="1018" y="854"/>
                  </a:lnTo>
                  <a:lnTo>
                    <a:pt x="1014" y="854"/>
                  </a:lnTo>
                  <a:lnTo>
                    <a:pt x="1014" y="858"/>
                  </a:lnTo>
                  <a:lnTo>
                    <a:pt x="1010" y="858"/>
                  </a:lnTo>
                  <a:lnTo>
                    <a:pt x="1010" y="862"/>
                  </a:lnTo>
                  <a:lnTo>
                    <a:pt x="1006" y="862"/>
                  </a:lnTo>
                  <a:lnTo>
                    <a:pt x="1004" y="858"/>
                  </a:lnTo>
                  <a:lnTo>
                    <a:pt x="1000" y="858"/>
                  </a:lnTo>
                  <a:lnTo>
                    <a:pt x="996" y="858"/>
                  </a:lnTo>
                  <a:lnTo>
                    <a:pt x="996" y="854"/>
                  </a:lnTo>
                  <a:lnTo>
                    <a:pt x="992" y="854"/>
                  </a:lnTo>
                  <a:lnTo>
                    <a:pt x="988" y="854"/>
                  </a:lnTo>
                  <a:lnTo>
                    <a:pt x="992" y="854"/>
                  </a:lnTo>
                  <a:lnTo>
                    <a:pt x="992" y="858"/>
                  </a:lnTo>
                  <a:lnTo>
                    <a:pt x="996" y="858"/>
                  </a:lnTo>
                  <a:lnTo>
                    <a:pt x="1000" y="858"/>
                  </a:lnTo>
                  <a:lnTo>
                    <a:pt x="1004" y="858"/>
                  </a:lnTo>
                  <a:lnTo>
                    <a:pt x="1006" y="862"/>
                  </a:lnTo>
                  <a:lnTo>
                    <a:pt x="1006" y="866"/>
                  </a:lnTo>
                  <a:lnTo>
                    <a:pt x="1006" y="870"/>
                  </a:lnTo>
                  <a:lnTo>
                    <a:pt x="1004" y="870"/>
                  </a:lnTo>
                  <a:lnTo>
                    <a:pt x="1004" y="874"/>
                  </a:lnTo>
                  <a:lnTo>
                    <a:pt x="1004" y="878"/>
                  </a:lnTo>
                  <a:lnTo>
                    <a:pt x="1000" y="878"/>
                  </a:lnTo>
                  <a:lnTo>
                    <a:pt x="996" y="878"/>
                  </a:lnTo>
                  <a:lnTo>
                    <a:pt x="996" y="880"/>
                  </a:lnTo>
                  <a:lnTo>
                    <a:pt x="996" y="884"/>
                  </a:lnTo>
                  <a:lnTo>
                    <a:pt x="992" y="884"/>
                  </a:lnTo>
                  <a:lnTo>
                    <a:pt x="988" y="888"/>
                  </a:lnTo>
                  <a:lnTo>
                    <a:pt x="984" y="892"/>
                  </a:lnTo>
                  <a:lnTo>
                    <a:pt x="988" y="888"/>
                  </a:lnTo>
                  <a:lnTo>
                    <a:pt x="992" y="888"/>
                  </a:lnTo>
                  <a:lnTo>
                    <a:pt x="996" y="888"/>
                  </a:lnTo>
                  <a:lnTo>
                    <a:pt x="996" y="884"/>
                  </a:lnTo>
                  <a:lnTo>
                    <a:pt x="1000" y="884"/>
                  </a:lnTo>
                  <a:lnTo>
                    <a:pt x="1000" y="880"/>
                  </a:lnTo>
                  <a:lnTo>
                    <a:pt x="1004" y="878"/>
                  </a:lnTo>
                  <a:lnTo>
                    <a:pt x="1004" y="874"/>
                  </a:lnTo>
                  <a:lnTo>
                    <a:pt x="1006" y="874"/>
                  </a:lnTo>
                  <a:lnTo>
                    <a:pt x="1010" y="870"/>
                  </a:lnTo>
                  <a:lnTo>
                    <a:pt x="1010" y="866"/>
                  </a:lnTo>
                  <a:lnTo>
                    <a:pt x="1014" y="866"/>
                  </a:lnTo>
                  <a:lnTo>
                    <a:pt x="1014" y="862"/>
                  </a:lnTo>
                  <a:lnTo>
                    <a:pt x="1018" y="862"/>
                  </a:lnTo>
                  <a:lnTo>
                    <a:pt x="1018" y="858"/>
                  </a:lnTo>
                  <a:lnTo>
                    <a:pt x="1022" y="858"/>
                  </a:lnTo>
                  <a:lnTo>
                    <a:pt x="1026" y="854"/>
                  </a:lnTo>
                  <a:lnTo>
                    <a:pt x="1030" y="854"/>
                  </a:lnTo>
                  <a:lnTo>
                    <a:pt x="1030" y="852"/>
                  </a:lnTo>
                  <a:lnTo>
                    <a:pt x="1032" y="852"/>
                  </a:lnTo>
                  <a:lnTo>
                    <a:pt x="1036" y="848"/>
                  </a:lnTo>
                  <a:lnTo>
                    <a:pt x="1040" y="848"/>
                  </a:lnTo>
                  <a:lnTo>
                    <a:pt x="1044" y="848"/>
                  </a:lnTo>
                  <a:lnTo>
                    <a:pt x="1044" y="844"/>
                  </a:lnTo>
                  <a:lnTo>
                    <a:pt x="1048" y="844"/>
                  </a:lnTo>
                  <a:lnTo>
                    <a:pt x="1052" y="844"/>
                  </a:lnTo>
                  <a:lnTo>
                    <a:pt x="1056" y="840"/>
                  </a:lnTo>
                  <a:lnTo>
                    <a:pt x="1060" y="840"/>
                  </a:lnTo>
                  <a:lnTo>
                    <a:pt x="1062" y="840"/>
                  </a:lnTo>
                  <a:lnTo>
                    <a:pt x="1066" y="840"/>
                  </a:lnTo>
                  <a:lnTo>
                    <a:pt x="1070" y="840"/>
                  </a:lnTo>
                  <a:lnTo>
                    <a:pt x="1074" y="840"/>
                  </a:lnTo>
                  <a:lnTo>
                    <a:pt x="1076" y="840"/>
                  </a:lnTo>
                  <a:lnTo>
                    <a:pt x="1080" y="844"/>
                  </a:lnTo>
                  <a:lnTo>
                    <a:pt x="1084" y="844"/>
                  </a:lnTo>
                  <a:lnTo>
                    <a:pt x="1084" y="848"/>
                  </a:lnTo>
                  <a:lnTo>
                    <a:pt x="1088" y="852"/>
                  </a:lnTo>
                  <a:lnTo>
                    <a:pt x="1084" y="848"/>
                  </a:lnTo>
                  <a:lnTo>
                    <a:pt x="1080" y="848"/>
                  </a:lnTo>
                  <a:lnTo>
                    <a:pt x="1084" y="848"/>
                  </a:lnTo>
                  <a:lnTo>
                    <a:pt x="1084" y="852"/>
                  </a:lnTo>
                  <a:lnTo>
                    <a:pt x="1088" y="852"/>
                  </a:lnTo>
                  <a:lnTo>
                    <a:pt x="1084" y="852"/>
                  </a:lnTo>
                  <a:lnTo>
                    <a:pt x="1084" y="854"/>
                  </a:lnTo>
                  <a:lnTo>
                    <a:pt x="1084" y="858"/>
                  </a:lnTo>
                  <a:lnTo>
                    <a:pt x="1080" y="858"/>
                  </a:lnTo>
                  <a:lnTo>
                    <a:pt x="1076" y="858"/>
                  </a:lnTo>
                  <a:lnTo>
                    <a:pt x="1076" y="862"/>
                  </a:lnTo>
                  <a:lnTo>
                    <a:pt x="1074" y="862"/>
                  </a:lnTo>
                  <a:lnTo>
                    <a:pt x="1074" y="866"/>
                  </a:lnTo>
                  <a:lnTo>
                    <a:pt x="1070" y="866"/>
                  </a:lnTo>
                  <a:lnTo>
                    <a:pt x="1066" y="866"/>
                  </a:lnTo>
                  <a:lnTo>
                    <a:pt x="1066" y="862"/>
                  </a:lnTo>
                  <a:lnTo>
                    <a:pt x="1062" y="862"/>
                  </a:lnTo>
                  <a:lnTo>
                    <a:pt x="1060" y="862"/>
                  </a:lnTo>
                  <a:lnTo>
                    <a:pt x="1056" y="862"/>
                  </a:lnTo>
                  <a:lnTo>
                    <a:pt x="1052" y="866"/>
                  </a:lnTo>
                  <a:lnTo>
                    <a:pt x="1048" y="866"/>
                  </a:lnTo>
                  <a:lnTo>
                    <a:pt x="1052" y="866"/>
                  </a:lnTo>
                  <a:lnTo>
                    <a:pt x="1056" y="862"/>
                  </a:lnTo>
                  <a:lnTo>
                    <a:pt x="1060" y="866"/>
                  </a:lnTo>
                  <a:lnTo>
                    <a:pt x="1062" y="866"/>
                  </a:lnTo>
                  <a:lnTo>
                    <a:pt x="1066" y="870"/>
                  </a:lnTo>
                  <a:lnTo>
                    <a:pt x="1066" y="874"/>
                  </a:lnTo>
                  <a:lnTo>
                    <a:pt x="1070" y="870"/>
                  </a:lnTo>
                  <a:lnTo>
                    <a:pt x="1074" y="870"/>
                  </a:lnTo>
                  <a:lnTo>
                    <a:pt x="1076" y="870"/>
                  </a:lnTo>
                  <a:lnTo>
                    <a:pt x="1080" y="870"/>
                  </a:lnTo>
                  <a:lnTo>
                    <a:pt x="1076" y="870"/>
                  </a:lnTo>
                  <a:lnTo>
                    <a:pt x="1076" y="874"/>
                  </a:lnTo>
                  <a:lnTo>
                    <a:pt x="1076" y="878"/>
                  </a:lnTo>
                  <a:lnTo>
                    <a:pt x="1074" y="880"/>
                  </a:lnTo>
                  <a:lnTo>
                    <a:pt x="1070" y="884"/>
                  </a:lnTo>
                  <a:lnTo>
                    <a:pt x="1074" y="884"/>
                  </a:lnTo>
                  <a:lnTo>
                    <a:pt x="1076" y="884"/>
                  </a:lnTo>
                  <a:lnTo>
                    <a:pt x="1076" y="888"/>
                  </a:lnTo>
                  <a:lnTo>
                    <a:pt x="1076" y="892"/>
                  </a:lnTo>
                  <a:lnTo>
                    <a:pt x="1080" y="896"/>
                  </a:lnTo>
                  <a:lnTo>
                    <a:pt x="1080" y="900"/>
                  </a:lnTo>
                  <a:lnTo>
                    <a:pt x="1084" y="900"/>
                  </a:lnTo>
                  <a:lnTo>
                    <a:pt x="1088" y="904"/>
                  </a:lnTo>
                  <a:lnTo>
                    <a:pt x="1092" y="904"/>
                  </a:lnTo>
                  <a:lnTo>
                    <a:pt x="1088" y="904"/>
                  </a:lnTo>
                  <a:lnTo>
                    <a:pt x="1088" y="908"/>
                  </a:lnTo>
                  <a:lnTo>
                    <a:pt x="1092" y="908"/>
                  </a:lnTo>
                  <a:lnTo>
                    <a:pt x="1092" y="910"/>
                  </a:lnTo>
                  <a:lnTo>
                    <a:pt x="1096" y="908"/>
                  </a:lnTo>
                  <a:lnTo>
                    <a:pt x="1096" y="910"/>
                  </a:lnTo>
                  <a:lnTo>
                    <a:pt x="1100" y="910"/>
                  </a:lnTo>
                  <a:lnTo>
                    <a:pt x="1104" y="910"/>
                  </a:lnTo>
                  <a:lnTo>
                    <a:pt x="1106" y="910"/>
                  </a:lnTo>
                  <a:lnTo>
                    <a:pt x="1110" y="910"/>
                  </a:lnTo>
                  <a:lnTo>
                    <a:pt x="1110" y="914"/>
                  </a:lnTo>
                  <a:lnTo>
                    <a:pt x="1114" y="910"/>
                  </a:lnTo>
                  <a:lnTo>
                    <a:pt x="1118" y="910"/>
                  </a:lnTo>
                  <a:lnTo>
                    <a:pt x="1118" y="908"/>
                  </a:lnTo>
                  <a:lnTo>
                    <a:pt x="1118" y="910"/>
                  </a:lnTo>
                  <a:lnTo>
                    <a:pt x="1122" y="914"/>
                  </a:lnTo>
                  <a:lnTo>
                    <a:pt x="1122" y="910"/>
                  </a:lnTo>
                  <a:lnTo>
                    <a:pt x="1126" y="910"/>
                  </a:lnTo>
                  <a:lnTo>
                    <a:pt x="1126" y="914"/>
                  </a:lnTo>
                  <a:lnTo>
                    <a:pt x="1130" y="914"/>
                  </a:lnTo>
                  <a:lnTo>
                    <a:pt x="1130" y="918"/>
                  </a:lnTo>
                  <a:lnTo>
                    <a:pt x="1126" y="918"/>
                  </a:lnTo>
                  <a:lnTo>
                    <a:pt x="1130" y="918"/>
                  </a:lnTo>
                  <a:lnTo>
                    <a:pt x="1132" y="918"/>
                  </a:lnTo>
                  <a:lnTo>
                    <a:pt x="1132" y="922"/>
                  </a:lnTo>
                  <a:lnTo>
                    <a:pt x="1130" y="922"/>
                  </a:lnTo>
                  <a:lnTo>
                    <a:pt x="1126" y="922"/>
                  </a:lnTo>
                  <a:lnTo>
                    <a:pt x="1122" y="922"/>
                  </a:lnTo>
                  <a:lnTo>
                    <a:pt x="1122" y="926"/>
                  </a:lnTo>
                  <a:lnTo>
                    <a:pt x="1118" y="926"/>
                  </a:lnTo>
                  <a:lnTo>
                    <a:pt x="1114" y="926"/>
                  </a:lnTo>
                  <a:lnTo>
                    <a:pt x="1110" y="930"/>
                  </a:lnTo>
                  <a:lnTo>
                    <a:pt x="1106" y="930"/>
                  </a:lnTo>
                  <a:lnTo>
                    <a:pt x="1104" y="934"/>
                  </a:lnTo>
                  <a:lnTo>
                    <a:pt x="1104" y="930"/>
                  </a:lnTo>
                  <a:lnTo>
                    <a:pt x="1104" y="934"/>
                  </a:lnTo>
                  <a:lnTo>
                    <a:pt x="1100" y="934"/>
                  </a:lnTo>
                  <a:lnTo>
                    <a:pt x="1096" y="934"/>
                  </a:lnTo>
                  <a:lnTo>
                    <a:pt x="1092" y="934"/>
                  </a:lnTo>
                  <a:lnTo>
                    <a:pt x="1096" y="934"/>
                  </a:lnTo>
                  <a:lnTo>
                    <a:pt x="1096" y="938"/>
                  </a:lnTo>
                  <a:lnTo>
                    <a:pt x="1088" y="938"/>
                  </a:lnTo>
                  <a:lnTo>
                    <a:pt x="1088" y="934"/>
                  </a:lnTo>
                  <a:lnTo>
                    <a:pt x="1088" y="938"/>
                  </a:lnTo>
                  <a:lnTo>
                    <a:pt x="1088" y="934"/>
                  </a:lnTo>
                  <a:lnTo>
                    <a:pt x="1084" y="934"/>
                  </a:lnTo>
                  <a:lnTo>
                    <a:pt x="1084" y="938"/>
                  </a:lnTo>
                  <a:lnTo>
                    <a:pt x="1084" y="940"/>
                  </a:lnTo>
                  <a:lnTo>
                    <a:pt x="1080" y="940"/>
                  </a:lnTo>
                  <a:lnTo>
                    <a:pt x="1080" y="944"/>
                  </a:lnTo>
                  <a:lnTo>
                    <a:pt x="1076" y="948"/>
                  </a:lnTo>
                  <a:lnTo>
                    <a:pt x="1074" y="952"/>
                  </a:lnTo>
                  <a:lnTo>
                    <a:pt x="1070" y="952"/>
                  </a:lnTo>
                  <a:lnTo>
                    <a:pt x="1070" y="956"/>
                  </a:lnTo>
                  <a:lnTo>
                    <a:pt x="1066" y="956"/>
                  </a:lnTo>
                  <a:lnTo>
                    <a:pt x="1062" y="956"/>
                  </a:lnTo>
                  <a:lnTo>
                    <a:pt x="1062" y="952"/>
                  </a:lnTo>
                  <a:lnTo>
                    <a:pt x="1062" y="948"/>
                  </a:lnTo>
                  <a:lnTo>
                    <a:pt x="1062" y="952"/>
                  </a:lnTo>
                  <a:lnTo>
                    <a:pt x="1060" y="952"/>
                  </a:lnTo>
                  <a:lnTo>
                    <a:pt x="1060" y="948"/>
                  </a:lnTo>
                  <a:lnTo>
                    <a:pt x="1060" y="944"/>
                  </a:lnTo>
                  <a:lnTo>
                    <a:pt x="1060" y="940"/>
                  </a:lnTo>
                  <a:lnTo>
                    <a:pt x="1060" y="938"/>
                  </a:lnTo>
                  <a:lnTo>
                    <a:pt x="1062" y="938"/>
                  </a:lnTo>
                  <a:lnTo>
                    <a:pt x="1062" y="934"/>
                  </a:lnTo>
                  <a:lnTo>
                    <a:pt x="1062" y="938"/>
                  </a:lnTo>
                  <a:lnTo>
                    <a:pt x="1060" y="938"/>
                  </a:lnTo>
                  <a:lnTo>
                    <a:pt x="1062" y="934"/>
                  </a:lnTo>
                  <a:lnTo>
                    <a:pt x="1066" y="934"/>
                  </a:lnTo>
                  <a:lnTo>
                    <a:pt x="1066" y="930"/>
                  </a:lnTo>
                  <a:lnTo>
                    <a:pt x="1066" y="934"/>
                  </a:lnTo>
                  <a:lnTo>
                    <a:pt x="1066" y="930"/>
                  </a:lnTo>
                  <a:lnTo>
                    <a:pt x="1070" y="926"/>
                  </a:lnTo>
                  <a:lnTo>
                    <a:pt x="1074" y="926"/>
                  </a:lnTo>
                  <a:lnTo>
                    <a:pt x="1076" y="926"/>
                  </a:lnTo>
                  <a:lnTo>
                    <a:pt x="1076" y="922"/>
                  </a:lnTo>
                  <a:lnTo>
                    <a:pt x="1080" y="922"/>
                  </a:lnTo>
                  <a:lnTo>
                    <a:pt x="1084" y="922"/>
                  </a:lnTo>
                  <a:lnTo>
                    <a:pt x="1084" y="918"/>
                  </a:lnTo>
                  <a:lnTo>
                    <a:pt x="1080" y="918"/>
                  </a:lnTo>
                  <a:lnTo>
                    <a:pt x="1084" y="918"/>
                  </a:lnTo>
                  <a:lnTo>
                    <a:pt x="1084" y="922"/>
                  </a:lnTo>
                  <a:lnTo>
                    <a:pt x="1084" y="926"/>
                  </a:lnTo>
                  <a:lnTo>
                    <a:pt x="1084" y="922"/>
                  </a:lnTo>
                  <a:lnTo>
                    <a:pt x="1088" y="926"/>
                  </a:lnTo>
                  <a:lnTo>
                    <a:pt x="1084" y="922"/>
                  </a:lnTo>
                  <a:lnTo>
                    <a:pt x="1088" y="922"/>
                  </a:lnTo>
                  <a:lnTo>
                    <a:pt x="1092" y="918"/>
                  </a:lnTo>
                  <a:lnTo>
                    <a:pt x="1096" y="918"/>
                  </a:lnTo>
                  <a:lnTo>
                    <a:pt x="1100" y="918"/>
                  </a:lnTo>
                  <a:lnTo>
                    <a:pt x="1092" y="918"/>
                  </a:lnTo>
                  <a:lnTo>
                    <a:pt x="1088" y="918"/>
                  </a:lnTo>
                  <a:lnTo>
                    <a:pt x="1084" y="918"/>
                  </a:lnTo>
                  <a:lnTo>
                    <a:pt x="1080" y="918"/>
                  </a:lnTo>
                  <a:lnTo>
                    <a:pt x="1076" y="918"/>
                  </a:lnTo>
                  <a:lnTo>
                    <a:pt x="1076" y="914"/>
                  </a:lnTo>
                  <a:lnTo>
                    <a:pt x="1080" y="914"/>
                  </a:lnTo>
                  <a:lnTo>
                    <a:pt x="1080" y="910"/>
                  </a:lnTo>
                  <a:lnTo>
                    <a:pt x="1084" y="910"/>
                  </a:lnTo>
                  <a:lnTo>
                    <a:pt x="1084" y="908"/>
                  </a:lnTo>
                  <a:lnTo>
                    <a:pt x="1084" y="910"/>
                  </a:lnTo>
                  <a:lnTo>
                    <a:pt x="1080" y="910"/>
                  </a:lnTo>
                  <a:lnTo>
                    <a:pt x="1080" y="908"/>
                  </a:lnTo>
                  <a:lnTo>
                    <a:pt x="1080" y="904"/>
                  </a:lnTo>
                  <a:lnTo>
                    <a:pt x="1076" y="904"/>
                  </a:lnTo>
                  <a:lnTo>
                    <a:pt x="1076" y="908"/>
                  </a:lnTo>
                  <a:lnTo>
                    <a:pt x="1080" y="908"/>
                  </a:lnTo>
                  <a:lnTo>
                    <a:pt x="1080" y="910"/>
                  </a:lnTo>
                  <a:lnTo>
                    <a:pt x="1076" y="914"/>
                  </a:lnTo>
                  <a:lnTo>
                    <a:pt x="1074" y="914"/>
                  </a:lnTo>
                  <a:lnTo>
                    <a:pt x="1070" y="918"/>
                  </a:lnTo>
                  <a:lnTo>
                    <a:pt x="1066" y="918"/>
                  </a:lnTo>
                  <a:lnTo>
                    <a:pt x="1062" y="922"/>
                  </a:lnTo>
                  <a:lnTo>
                    <a:pt x="1060" y="918"/>
                  </a:lnTo>
                  <a:lnTo>
                    <a:pt x="1062" y="918"/>
                  </a:lnTo>
                  <a:lnTo>
                    <a:pt x="1060" y="918"/>
                  </a:lnTo>
                  <a:lnTo>
                    <a:pt x="1060" y="922"/>
                  </a:lnTo>
                  <a:lnTo>
                    <a:pt x="1056" y="926"/>
                  </a:lnTo>
                  <a:lnTo>
                    <a:pt x="1056" y="922"/>
                  </a:lnTo>
                  <a:lnTo>
                    <a:pt x="1052" y="922"/>
                  </a:lnTo>
                  <a:lnTo>
                    <a:pt x="1052" y="926"/>
                  </a:lnTo>
                  <a:lnTo>
                    <a:pt x="1048" y="922"/>
                  </a:lnTo>
                  <a:lnTo>
                    <a:pt x="1044" y="922"/>
                  </a:lnTo>
                  <a:lnTo>
                    <a:pt x="1040" y="922"/>
                  </a:lnTo>
                  <a:lnTo>
                    <a:pt x="1040" y="918"/>
                  </a:lnTo>
                  <a:lnTo>
                    <a:pt x="1040" y="914"/>
                  </a:lnTo>
                  <a:lnTo>
                    <a:pt x="1036" y="914"/>
                  </a:lnTo>
                  <a:lnTo>
                    <a:pt x="1036" y="910"/>
                  </a:lnTo>
                  <a:lnTo>
                    <a:pt x="1036" y="908"/>
                  </a:lnTo>
                  <a:lnTo>
                    <a:pt x="1036" y="900"/>
                  </a:lnTo>
                  <a:lnTo>
                    <a:pt x="1036" y="888"/>
                  </a:lnTo>
                  <a:lnTo>
                    <a:pt x="1036" y="884"/>
                  </a:lnTo>
                  <a:lnTo>
                    <a:pt x="1032" y="884"/>
                  </a:lnTo>
                  <a:lnTo>
                    <a:pt x="1032" y="880"/>
                  </a:lnTo>
                  <a:lnTo>
                    <a:pt x="1030" y="878"/>
                  </a:lnTo>
                  <a:lnTo>
                    <a:pt x="1026" y="880"/>
                  </a:lnTo>
                  <a:lnTo>
                    <a:pt x="1022" y="880"/>
                  </a:lnTo>
                  <a:lnTo>
                    <a:pt x="1018" y="880"/>
                  </a:lnTo>
                  <a:lnTo>
                    <a:pt x="1018" y="878"/>
                  </a:lnTo>
                  <a:lnTo>
                    <a:pt x="1014" y="878"/>
                  </a:lnTo>
                  <a:lnTo>
                    <a:pt x="1014" y="880"/>
                  </a:lnTo>
                  <a:lnTo>
                    <a:pt x="1010" y="884"/>
                  </a:lnTo>
                  <a:lnTo>
                    <a:pt x="1006" y="884"/>
                  </a:lnTo>
                  <a:lnTo>
                    <a:pt x="1006" y="888"/>
                  </a:lnTo>
                  <a:lnTo>
                    <a:pt x="1004" y="892"/>
                  </a:lnTo>
                  <a:lnTo>
                    <a:pt x="1004" y="896"/>
                  </a:lnTo>
                  <a:lnTo>
                    <a:pt x="1004" y="900"/>
                  </a:lnTo>
                  <a:lnTo>
                    <a:pt x="1000" y="900"/>
                  </a:lnTo>
                  <a:lnTo>
                    <a:pt x="1000" y="904"/>
                  </a:lnTo>
                  <a:lnTo>
                    <a:pt x="1000" y="908"/>
                  </a:lnTo>
                  <a:lnTo>
                    <a:pt x="1000" y="910"/>
                  </a:lnTo>
                  <a:lnTo>
                    <a:pt x="996" y="910"/>
                  </a:lnTo>
                  <a:lnTo>
                    <a:pt x="996" y="914"/>
                  </a:lnTo>
                  <a:lnTo>
                    <a:pt x="996" y="918"/>
                  </a:lnTo>
                  <a:lnTo>
                    <a:pt x="992" y="922"/>
                  </a:lnTo>
                  <a:lnTo>
                    <a:pt x="988" y="918"/>
                  </a:lnTo>
                  <a:lnTo>
                    <a:pt x="988" y="922"/>
                  </a:lnTo>
                  <a:lnTo>
                    <a:pt x="988" y="918"/>
                  </a:lnTo>
                  <a:lnTo>
                    <a:pt x="984" y="918"/>
                  </a:lnTo>
                  <a:lnTo>
                    <a:pt x="984" y="922"/>
                  </a:lnTo>
                  <a:lnTo>
                    <a:pt x="984" y="926"/>
                  </a:lnTo>
                  <a:lnTo>
                    <a:pt x="980" y="926"/>
                  </a:lnTo>
                  <a:lnTo>
                    <a:pt x="976" y="926"/>
                  </a:lnTo>
                  <a:lnTo>
                    <a:pt x="974" y="926"/>
                  </a:lnTo>
                  <a:lnTo>
                    <a:pt x="970" y="926"/>
                  </a:lnTo>
                  <a:lnTo>
                    <a:pt x="966" y="926"/>
                  </a:lnTo>
                  <a:lnTo>
                    <a:pt x="962" y="926"/>
                  </a:lnTo>
                  <a:lnTo>
                    <a:pt x="958" y="926"/>
                  </a:lnTo>
                  <a:lnTo>
                    <a:pt x="954" y="926"/>
                  </a:lnTo>
                  <a:lnTo>
                    <a:pt x="950" y="926"/>
                  </a:lnTo>
                  <a:lnTo>
                    <a:pt x="944" y="926"/>
                  </a:lnTo>
                  <a:lnTo>
                    <a:pt x="940" y="926"/>
                  </a:lnTo>
                  <a:lnTo>
                    <a:pt x="936" y="926"/>
                  </a:lnTo>
                  <a:lnTo>
                    <a:pt x="932" y="926"/>
                  </a:lnTo>
                  <a:lnTo>
                    <a:pt x="932" y="930"/>
                  </a:lnTo>
                  <a:lnTo>
                    <a:pt x="928" y="930"/>
                  </a:lnTo>
                  <a:lnTo>
                    <a:pt x="924" y="934"/>
                  </a:lnTo>
                  <a:lnTo>
                    <a:pt x="924" y="938"/>
                  </a:lnTo>
                  <a:lnTo>
                    <a:pt x="920" y="938"/>
                  </a:lnTo>
                  <a:lnTo>
                    <a:pt x="920" y="940"/>
                  </a:lnTo>
                  <a:lnTo>
                    <a:pt x="918" y="940"/>
                  </a:lnTo>
                  <a:lnTo>
                    <a:pt x="914" y="944"/>
                  </a:lnTo>
                  <a:lnTo>
                    <a:pt x="914" y="948"/>
                  </a:lnTo>
                  <a:lnTo>
                    <a:pt x="910" y="948"/>
                  </a:lnTo>
                  <a:lnTo>
                    <a:pt x="910" y="952"/>
                  </a:lnTo>
                  <a:lnTo>
                    <a:pt x="906" y="952"/>
                  </a:lnTo>
                  <a:lnTo>
                    <a:pt x="902" y="952"/>
                  </a:lnTo>
                  <a:lnTo>
                    <a:pt x="898" y="952"/>
                  </a:lnTo>
                  <a:lnTo>
                    <a:pt x="894" y="952"/>
                  </a:lnTo>
                  <a:lnTo>
                    <a:pt x="890" y="952"/>
                  </a:lnTo>
                  <a:lnTo>
                    <a:pt x="888" y="952"/>
                  </a:lnTo>
                  <a:lnTo>
                    <a:pt x="880" y="952"/>
                  </a:lnTo>
                  <a:lnTo>
                    <a:pt x="876" y="956"/>
                  </a:lnTo>
                  <a:lnTo>
                    <a:pt x="876" y="960"/>
                  </a:lnTo>
                  <a:lnTo>
                    <a:pt x="876" y="964"/>
                  </a:lnTo>
                  <a:lnTo>
                    <a:pt x="876" y="966"/>
                  </a:lnTo>
                  <a:lnTo>
                    <a:pt x="880" y="966"/>
                  </a:lnTo>
                  <a:lnTo>
                    <a:pt x="876" y="966"/>
                  </a:lnTo>
                  <a:lnTo>
                    <a:pt x="876" y="970"/>
                  </a:lnTo>
                  <a:lnTo>
                    <a:pt x="872" y="970"/>
                  </a:lnTo>
                  <a:lnTo>
                    <a:pt x="868" y="974"/>
                  </a:lnTo>
                  <a:lnTo>
                    <a:pt x="864" y="974"/>
                  </a:lnTo>
                  <a:lnTo>
                    <a:pt x="862" y="978"/>
                  </a:lnTo>
                  <a:lnTo>
                    <a:pt x="854" y="978"/>
                  </a:lnTo>
                  <a:lnTo>
                    <a:pt x="850" y="980"/>
                  </a:lnTo>
                  <a:lnTo>
                    <a:pt x="846" y="980"/>
                  </a:lnTo>
                  <a:lnTo>
                    <a:pt x="842" y="980"/>
                  </a:lnTo>
                  <a:lnTo>
                    <a:pt x="838" y="984"/>
                  </a:lnTo>
                  <a:lnTo>
                    <a:pt x="834" y="984"/>
                  </a:lnTo>
                  <a:lnTo>
                    <a:pt x="832" y="988"/>
                  </a:lnTo>
                  <a:lnTo>
                    <a:pt x="828" y="992"/>
                  </a:lnTo>
                  <a:lnTo>
                    <a:pt x="824" y="992"/>
                  </a:lnTo>
                  <a:lnTo>
                    <a:pt x="820" y="988"/>
                  </a:lnTo>
                  <a:lnTo>
                    <a:pt x="820" y="984"/>
                  </a:lnTo>
                  <a:lnTo>
                    <a:pt x="816" y="984"/>
                  </a:lnTo>
                  <a:lnTo>
                    <a:pt x="820" y="980"/>
                  </a:lnTo>
                  <a:lnTo>
                    <a:pt x="820" y="978"/>
                  </a:lnTo>
                  <a:lnTo>
                    <a:pt x="824" y="978"/>
                  </a:lnTo>
                  <a:lnTo>
                    <a:pt x="824" y="974"/>
                  </a:lnTo>
                  <a:lnTo>
                    <a:pt x="828" y="974"/>
                  </a:lnTo>
                  <a:lnTo>
                    <a:pt x="828" y="970"/>
                  </a:lnTo>
                  <a:lnTo>
                    <a:pt x="828" y="966"/>
                  </a:lnTo>
                  <a:lnTo>
                    <a:pt x="828" y="964"/>
                  </a:lnTo>
                  <a:lnTo>
                    <a:pt x="832" y="964"/>
                  </a:lnTo>
                  <a:lnTo>
                    <a:pt x="832" y="960"/>
                  </a:lnTo>
                  <a:lnTo>
                    <a:pt x="832" y="956"/>
                  </a:lnTo>
                  <a:lnTo>
                    <a:pt x="832" y="948"/>
                  </a:lnTo>
                  <a:lnTo>
                    <a:pt x="832" y="938"/>
                  </a:lnTo>
                  <a:lnTo>
                    <a:pt x="828" y="930"/>
                  </a:lnTo>
                  <a:lnTo>
                    <a:pt x="828" y="918"/>
                  </a:lnTo>
                  <a:lnTo>
                    <a:pt x="824" y="918"/>
                  </a:lnTo>
                  <a:lnTo>
                    <a:pt x="820" y="914"/>
                  </a:lnTo>
                  <a:lnTo>
                    <a:pt x="816" y="910"/>
                  </a:lnTo>
                  <a:lnTo>
                    <a:pt x="812" y="910"/>
                  </a:lnTo>
                  <a:lnTo>
                    <a:pt x="812" y="908"/>
                  </a:lnTo>
                  <a:lnTo>
                    <a:pt x="812" y="904"/>
                  </a:lnTo>
                  <a:lnTo>
                    <a:pt x="808" y="904"/>
                  </a:lnTo>
                  <a:lnTo>
                    <a:pt x="806" y="904"/>
                  </a:lnTo>
                  <a:lnTo>
                    <a:pt x="806" y="900"/>
                  </a:lnTo>
                  <a:lnTo>
                    <a:pt x="806" y="896"/>
                  </a:lnTo>
                  <a:lnTo>
                    <a:pt x="802" y="896"/>
                  </a:lnTo>
                  <a:lnTo>
                    <a:pt x="798" y="896"/>
                  </a:lnTo>
                  <a:lnTo>
                    <a:pt x="794" y="892"/>
                  </a:lnTo>
                  <a:lnTo>
                    <a:pt x="794" y="888"/>
                  </a:lnTo>
                  <a:lnTo>
                    <a:pt x="786" y="884"/>
                  </a:lnTo>
                  <a:lnTo>
                    <a:pt x="786" y="880"/>
                  </a:lnTo>
                  <a:lnTo>
                    <a:pt x="782" y="880"/>
                  </a:lnTo>
                  <a:lnTo>
                    <a:pt x="778" y="880"/>
                  </a:lnTo>
                  <a:lnTo>
                    <a:pt x="778" y="878"/>
                  </a:lnTo>
                  <a:lnTo>
                    <a:pt x="776" y="878"/>
                  </a:lnTo>
                  <a:lnTo>
                    <a:pt x="772" y="874"/>
                  </a:lnTo>
                  <a:lnTo>
                    <a:pt x="768" y="874"/>
                  </a:lnTo>
                  <a:lnTo>
                    <a:pt x="764" y="870"/>
                  </a:lnTo>
                  <a:lnTo>
                    <a:pt x="760" y="870"/>
                  </a:lnTo>
                  <a:lnTo>
                    <a:pt x="760" y="866"/>
                  </a:lnTo>
                  <a:lnTo>
                    <a:pt x="756" y="866"/>
                  </a:lnTo>
                  <a:lnTo>
                    <a:pt x="746" y="858"/>
                  </a:lnTo>
                  <a:lnTo>
                    <a:pt x="742" y="858"/>
                  </a:lnTo>
                  <a:lnTo>
                    <a:pt x="738" y="858"/>
                  </a:lnTo>
                  <a:lnTo>
                    <a:pt x="734" y="862"/>
                  </a:lnTo>
                  <a:lnTo>
                    <a:pt x="732" y="866"/>
                  </a:lnTo>
                  <a:lnTo>
                    <a:pt x="728" y="866"/>
                  </a:lnTo>
                  <a:lnTo>
                    <a:pt x="724" y="866"/>
                  </a:lnTo>
                  <a:lnTo>
                    <a:pt x="720" y="866"/>
                  </a:lnTo>
                  <a:lnTo>
                    <a:pt x="720" y="862"/>
                  </a:lnTo>
                  <a:lnTo>
                    <a:pt x="716" y="862"/>
                  </a:lnTo>
                  <a:lnTo>
                    <a:pt x="712" y="862"/>
                  </a:lnTo>
                  <a:lnTo>
                    <a:pt x="708" y="862"/>
                  </a:lnTo>
                  <a:lnTo>
                    <a:pt x="708" y="858"/>
                  </a:lnTo>
                  <a:lnTo>
                    <a:pt x="708" y="862"/>
                  </a:lnTo>
                  <a:lnTo>
                    <a:pt x="706" y="862"/>
                  </a:lnTo>
                  <a:lnTo>
                    <a:pt x="702" y="862"/>
                  </a:lnTo>
                  <a:lnTo>
                    <a:pt x="702" y="866"/>
                  </a:lnTo>
                  <a:lnTo>
                    <a:pt x="702" y="862"/>
                  </a:lnTo>
                  <a:lnTo>
                    <a:pt x="698" y="862"/>
                  </a:lnTo>
                  <a:lnTo>
                    <a:pt x="694" y="862"/>
                  </a:lnTo>
                  <a:lnTo>
                    <a:pt x="694" y="858"/>
                  </a:lnTo>
                  <a:lnTo>
                    <a:pt x="690" y="858"/>
                  </a:lnTo>
                  <a:lnTo>
                    <a:pt x="690" y="862"/>
                  </a:lnTo>
                  <a:lnTo>
                    <a:pt x="686" y="858"/>
                  </a:lnTo>
                  <a:lnTo>
                    <a:pt x="686" y="854"/>
                  </a:lnTo>
                  <a:lnTo>
                    <a:pt x="682" y="854"/>
                  </a:lnTo>
                  <a:lnTo>
                    <a:pt x="678" y="852"/>
                  </a:lnTo>
                  <a:lnTo>
                    <a:pt x="676" y="852"/>
                  </a:lnTo>
                  <a:lnTo>
                    <a:pt x="672" y="854"/>
                  </a:lnTo>
                  <a:lnTo>
                    <a:pt x="668" y="854"/>
                  </a:lnTo>
                  <a:lnTo>
                    <a:pt x="668" y="852"/>
                  </a:lnTo>
                  <a:lnTo>
                    <a:pt x="664" y="852"/>
                  </a:lnTo>
                  <a:lnTo>
                    <a:pt x="660" y="852"/>
                  </a:lnTo>
                  <a:lnTo>
                    <a:pt x="656" y="852"/>
                  </a:lnTo>
                  <a:lnTo>
                    <a:pt x="656" y="848"/>
                  </a:lnTo>
                  <a:lnTo>
                    <a:pt x="656" y="844"/>
                  </a:lnTo>
                  <a:lnTo>
                    <a:pt x="652" y="844"/>
                  </a:lnTo>
                  <a:lnTo>
                    <a:pt x="652" y="840"/>
                  </a:lnTo>
                  <a:lnTo>
                    <a:pt x="652" y="836"/>
                  </a:lnTo>
                  <a:lnTo>
                    <a:pt x="650" y="836"/>
                  </a:lnTo>
                  <a:lnTo>
                    <a:pt x="650" y="840"/>
                  </a:lnTo>
                  <a:lnTo>
                    <a:pt x="650" y="844"/>
                  </a:lnTo>
                  <a:lnTo>
                    <a:pt x="646" y="844"/>
                  </a:lnTo>
                  <a:lnTo>
                    <a:pt x="620" y="844"/>
                  </a:lnTo>
                  <a:lnTo>
                    <a:pt x="616" y="844"/>
                  </a:lnTo>
                  <a:lnTo>
                    <a:pt x="612" y="844"/>
                  </a:lnTo>
                  <a:lnTo>
                    <a:pt x="608" y="844"/>
                  </a:lnTo>
                  <a:lnTo>
                    <a:pt x="604" y="844"/>
                  </a:lnTo>
                  <a:lnTo>
                    <a:pt x="600" y="844"/>
                  </a:lnTo>
                  <a:lnTo>
                    <a:pt x="596" y="844"/>
                  </a:lnTo>
                  <a:lnTo>
                    <a:pt x="590" y="844"/>
                  </a:lnTo>
                  <a:lnTo>
                    <a:pt x="582" y="844"/>
                  </a:lnTo>
                  <a:lnTo>
                    <a:pt x="574" y="844"/>
                  </a:lnTo>
                  <a:lnTo>
                    <a:pt x="564" y="844"/>
                  </a:lnTo>
                  <a:lnTo>
                    <a:pt x="560" y="844"/>
                  </a:lnTo>
                  <a:lnTo>
                    <a:pt x="548" y="844"/>
                  </a:lnTo>
                  <a:lnTo>
                    <a:pt x="544" y="844"/>
                  </a:lnTo>
                  <a:lnTo>
                    <a:pt x="540" y="844"/>
                  </a:lnTo>
                  <a:lnTo>
                    <a:pt x="536" y="844"/>
                  </a:lnTo>
                  <a:lnTo>
                    <a:pt x="534" y="844"/>
                  </a:lnTo>
                  <a:lnTo>
                    <a:pt x="530" y="844"/>
                  </a:lnTo>
                  <a:lnTo>
                    <a:pt x="526" y="844"/>
                  </a:lnTo>
                  <a:lnTo>
                    <a:pt x="522" y="844"/>
                  </a:lnTo>
                  <a:lnTo>
                    <a:pt x="518" y="844"/>
                  </a:lnTo>
                  <a:lnTo>
                    <a:pt x="510" y="844"/>
                  </a:lnTo>
                  <a:lnTo>
                    <a:pt x="508" y="844"/>
                  </a:lnTo>
                  <a:lnTo>
                    <a:pt x="500" y="844"/>
                  </a:lnTo>
                  <a:lnTo>
                    <a:pt x="496" y="844"/>
                  </a:lnTo>
                  <a:lnTo>
                    <a:pt x="492" y="844"/>
                  </a:lnTo>
                  <a:lnTo>
                    <a:pt x="488" y="844"/>
                  </a:lnTo>
                  <a:lnTo>
                    <a:pt x="484" y="844"/>
                  </a:lnTo>
                  <a:lnTo>
                    <a:pt x="478" y="844"/>
                  </a:lnTo>
                  <a:lnTo>
                    <a:pt x="474" y="844"/>
                  </a:lnTo>
                  <a:lnTo>
                    <a:pt x="470" y="844"/>
                  </a:lnTo>
                  <a:lnTo>
                    <a:pt x="466" y="844"/>
                  </a:lnTo>
                  <a:lnTo>
                    <a:pt x="462" y="844"/>
                  </a:lnTo>
                  <a:lnTo>
                    <a:pt x="458" y="844"/>
                  </a:lnTo>
                  <a:lnTo>
                    <a:pt x="454" y="844"/>
                  </a:lnTo>
                  <a:lnTo>
                    <a:pt x="448" y="844"/>
                  </a:lnTo>
                  <a:lnTo>
                    <a:pt x="444" y="844"/>
                  </a:lnTo>
                  <a:lnTo>
                    <a:pt x="440" y="844"/>
                  </a:lnTo>
                  <a:lnTo>
                    <a:pt x="436" y="844"/>
                  </a:lnTo>
                  <a:lnTo>
                    <a:pt x="432" y="844"/>
                  </a:lnTo>
                  <a:lnTo>
                    <a:pt x="428" y="844"/>
                  </a:lnTo>
                  <a:lnTo>
                    <a:pt x="418" y="844"/>
                  </a:lnTo>
                  <a:lnTo>
                    <a:pt x="414" y="844"/>
                  </a:lnTo>
                  <a:lnTo>
                    <a:pt x="410" y="844"/>
                  </a:lnTo>
                  <a:lnTo>
                    <a:pt x="408" y="844"/>
                  </a:lnTo>
                  <a:lnTo>
                    <a:pt x="404" y="844"/>
                  </a:lnTo>
                  <a:lnTo>
                    <a:pt x="396" y="844"/>
                  </a:lnTo>
                  <a:lnTo>
                    <a:pt x="392" y="844"/>
                  </a:lnTo>
                  <a:lnTo>
                    <a:pt x="388" y="844"/>
                  </a:lnTo>
                  <a:lnTo>
                    <a:pt x="380" y="844"/>
                  </a:lnTo>
                  <a:lnTo>
                    <a:pt x="378" y="844"/>
                  </a:lnTo>
                  <a:lnTo>
                    <a:pt x="374" y="844"/>
                  </a:lnTo>
                  <a:lnTo>
                    <a:pt x="370" y="844"/>
                  </a:lnTo>
                  <a:lnTo>
                    <a:pt x="366" y="844"/>
                  </a:lnTo>
                  <a:lnTo>
                    <a:pt x="362" y="844"/>
                  </a:lnTo>
                  <a:lnTo>
                    <a:pt x="358" y="844"/>
                  </a:lnTo>
                  <a:lnTo>
                    <a:pt x="354" y="844"/>
                  </a:lnTo>
                  <a:lnTo>
                    <a:pt x="340" y="844"/>
                  </a:lnTo>
                  <a:lnTo>
                    <a:pt x="336" y="844"/>
                  </a:lnTo>
                  <a:lnTo>
                    <a:pt x="332" y="844"/>
                  </a:lnTo>
                  <a:lnTo>
                    <a:pt x="328" y="844"/>
                  </a:lnTo>
                  <a:lnTo>
                    <a:pt x="324" y="844"/>
                  </a:lnTo>
                  <a:lnTo>
                    <a:pt x="322" y="844"/>
                  </a:lnTo>
                  <a:lnTo>
                    <a:pt x="314" y="844"/>
                  </a:lnTo>
                  <a:lnTo>
                    <a:pt x="310" y="844"/>
                  </a:lnTo>
                  <a:lnTo>
                    <a:pt x="306" y="844"/>
                  </a:lnTo>
                  <a:lnTo>
                    <a:pt x="298" y="844"/>
                  </a:lnTo>
                  <a:lnTo>
                    <a:pt x="294" y="844"/>
                  </a:lnTo>
                  <a:lnTo>
                    <a:pt x="292" y="844"/>
                  </a:lnTo>
                  <a:lnTo>
                    <a:pt x="284" y="844"/>
                  </a:lnTo>
                  <a:lnTo>
                    <a:pt x="268" y="844"/>
                  </a:lnTo>
                  <a:lnTo>
                    <a:pt x="266" y="844"/>
                  </a:lnTo>
                  <a:lnTo>
                    <a:pt x="262" y="844"/>
                  </a:lnTo>
                  <a:lnTo>
                    <a:pt x="258" y="844"/>
                  </a:lnTo>
                  <a:lnTo>
                    <a:pt x="254" y="844"/>
                  </a:lnTo>
                  <a:lnTo>
                    <a:pt x="250" y="844"/>
                  </a:lnTo>
                  <a:lnTo>
                    <a:pt x="250" y="840"/>
                  </a:lnTo>
                  <a:lnTo>
                    <a:pt x="254" y="840"/>
                  </a:lnTo>
                  <a:lnTo>
                    <a:pt x="258" y="840"/>
                  </a:lnTo>
                  <a:lnTo>
                    <a:pt x="258" y="836"/>
                  </a:lnTo>
                  <a:lnTo>
                    <a:pt x="254" y="836"/>
                  </a:lnTo>
                  <a:lnTo>
                    <a:pt x="254" y="840"/>
                  </a:lnTo>
                  <a:lnTo>
                    <a:pt x="250" y="836"/>
                  </a:lnTo>
                  <a:lnTo>
                    <a:pt x="250" y="832"/>
                  </a:lnTo>
                  <a:lnTo>
                    <a:pt x="254" y="828"/>
                  </a:lnTo>
                  <a:lnTo>
                    <a:pt x="250" y="832"/>
                  </a:lnTo>
                  <a:lnTo>
                    <a:pt x="246" y="832"/>
                  </a:lnTo>
                  <a:lnTo>
                    <a:pt x="246" y="836"/>
                  </a:lnTo>
                  <a:lnTo>
                    <a:pt x="242" y="836"/>
                  </a:lnTo>
                  <a:lnTo>
                    <a:pt x="242" y="832"/>
                  </a:lnTo>
                  <a:lnTo>
                    <a:pt x="238" y="832"/>
                  </a:lnTo>
                  <a:lnTo>
                    <a:pt x="238" y="828"/>
                  </a:lnTo>
                  <a:lnTo>
                    <a:pt x="242" y="828"/>
                  </a:lnTo>
                  <a:lnTo>
                    <a:pt x="242" y="832"/>
                  </a:lnTo>
                  <a:lnTo>
                    <a:pt x="246" y="832"/>
                  </a:lnTo>
                  <a:lnTo>
                    <a:pt x="246" y="828"/>
                  </a:lnTo>
                  <a:lnTo>
                    <a:pt x="246" y="832"/>
                  </a:lnTo>
                  <a:lnTo>
                    <a:pt x="242" y="832"/>
                  </a:lnTo>
                  <a:lnTo>
                    <a:pt x="242" y="828"/>
                  </a:lnTo>
                  <a:lnTo>
                    <a:pt x="242" y="824"/>
                  </a:lnTo>
                  <a:lnTo>
                    <a:pt x="242" y="822"/>
                  </a:lnTo>
                  <a:lnTo>
                    <a:pt x="238" y="822"/>
                  </a:lnTo>
                  <a:lnTo>
                    <a:pt x="242" y="822"/>
                  </a:lnTo>
                  <a:lnTo>
                    <a:pt x="242" y="824"/>
                  </a:lnTo>
                  <a:lnTo>
                    <a:pt x="238" y="824"/>
                  </a:lnTo>
                  <a:lnTo>
                    <a:pt x="242" y="824"/>
                  </a:lnTo>
                  <a:lnTo>
                    <a:pt x="242" y="828"/>
                  </a:lnTo>
                  <a:lnTo>
                    <a:pt x="238" y="828"/>
                  </a:lnTo>
                  <a:lnTo>
                    <a:pt x="238" y="824"/>
                  </a:lnTo>
                  <a:lnTo>
                    <a:pt x="238" y="828"/>
                  </a:lnTo>
                  <a:lnTo>
                    <a:pt x="236" y="828"/>
                  </a:lnTo>
                  <a:lnTo>
                    <a:pt x="232" y="828"/>
                  </a:lnTo>
                  <a:lnTo>
                    <a:pt x="232" y="824"/>
                  </a:lnTo>
                  <a:lnTo>
                    <a:pt x="228" y="824"/>
                  </a:lnTo>
                  <a:lnTo>
                    <a:pt x="228" y="822"/>
                  </a:lnTo>
                  <a:lnTo>
                    <a:pt x="232" y="824"/>
                  </a:lnTo>
                  <a:lnTo>
                    <a:pt x="232" y="822"/>
                  </a:lnTo>
                  <a:lnTo>
                    <a:pt x="232" y="818"/>
                  </a:lnTo>
                  <a:lnTo>
                    <a:pt x="232" y="814"/>
                  </a:lnTo>
                  <a:lnTo>
                    <a:pt x="232" y="818"/>
                  </a:lnTo>
                  <a:lnTo>
                    <a:pt x="232" y="814"/>
                  </a:lnTo>
                  <a:lnTo>
                    <a:pt x="236" y="814"/>
                  </a:lnTo>
                  <a:lnTo>
                    <a:pt x="232" y="814"/>
                  </a:lnTo>
                  <a:lnTo>
                    <a:pt x="232" y="818"/>
                  </a:lnTo>
                  <a:lnTo>
                    <a:pt x="228" y="818"/>
                  </a:lnTo>
                  <a:lnTo>
                    <a:pt x="224" y="818"/>
                  </a:lnTo>
                  <a:lnTo>
                    <a:pt x="224" y="814"/>
                  </a:lnTo>
                  <a:lnTo>
                    <a:pt x="228" y="814"/>
                  </a:lnTo>
                  <a:lnTo>
                    <a:pt x="228" y="810"/>
                  </a:lnTo>
                  <a:lnTo>
                    <a:pt x="228" y="806"/>
                  </a:lnTo>
                  <a:lnTo>
                    <a:pt x="228" y="810"/>
                  </a:lnTo>
                  <a:lnTo>
                    <a:pt x="228" y="814"/>
                  </a:lnTo>
                  <a:lnTo>
                    <a:pt x="224" y="814"/>
                  </a:lnTo>
                  <a:lnTo>
                    <a:pt x="220" y="814"/>
                  </a:lnTo>
                  <a:lnTo>
                    <a:pt x="220" y="810"/>
                  </a:lnTo>
                  <a:lnTo>
                    <a:pt x="216" y="810"/>
                  </a:lnTo>
                  <a:lnTo>
                    <a:pt x="216" y="814"/>
                  </a:lnTo>
                  <a:lnTo>
                    <a:pt x="212" y="814"/>
                  </a:lnTo>
                  <a:lnTo>
                    <a:pt x="210" y="814"/>
                  </a:lnTo>
                  <a:lnTo>
                    <a:pt x="210" y="810"/>
                  </a:lnTo>
                  <a:lnTo>
                    <a:pt x="212" y="810"/>
                  </a:lnTo>
                  <a:lnTo>
                    <a:pt x="216" y="810"/>
                  </a:lnTo>
                  <a:lnTo>
                    <a:pt x="220" y="806"/>
                  </a:lnTo>
                  <a:lnTo>
                    <a:pt x="220" y="802"/>
                  </a:lnTo>
                  <a:lnTo>
                    <a:pt x="216" y="802"/>
                  </a:lnTo>
                  <a:lnTo>
                    <a:pt x="216" y="806"/>
                  </a:lnTo>
                  <a:lnTo>
                    <a:pt x="216" y="810"/>
                  </a:lnTo>
                  <a:lnTo>
                    <a:pt x="212" y="810"/>
                  </a:lnTo>
                  <a:lnTo>
                    <a:pt x="210" y="810"/>
                  </a:lnTo>
                  <a:lnTo>
                    <a:pt x="210" y="806"/>
                  </a:lnTo>
                  <a:lnTo>
                    <a:pt x="206" y="806"/>
                  </a:lnTo>
                  <a:lnTo>
                    <a:pt x="210" y="806"/>
                  </a:lnTo>
                  <a:lnTo>
                    <a:pt x="210" y="802"/>
                  </a:lnTo>
                  <a:lnTo>
                    <a:pt x="210" y="806"/>
                  </a:lnTo>
                  <a:lnTo>
                    <a:pt x="206" y="802"/>
                  </a:lnTo>
                  <a:lnTo>
                    <a:pt x="206" y="806"/>
                  </a:lnTo>
                  <a:lnTo>
                    <a:pt x="202" y="806"/>
                  </a:lnTo>
                  <a:lnTo>
                    <a:pt x="198" y="806"/>
                  </a:lnTo>
                  <a:lnTo>
                    <a:pt x="194" y="806"/>
                  </a:lnTo>
                  <a:lnTo>
                    <a:pt x="198" y="806"/>
                  </a:lnTo>
                  <a:lnTo>
                    <a:pt x="194" y="806"/>
                  </a:lnTo>
                  <a:lnTo>
                    <a:pt x="190" y="802"/>
                  </a:lnTo>
                  <a:lnTo>
                    <a:pt x="194" y="802"/>
                  </a:lnTo>
                  <a:lnTo>
                    <a:pt x="198" y="802"/>
                  </a:lnTo>
                  <a:lnTo>
                    <a:pt x="202" y="802"/>
                  </a:lnTo>
                  <a:lnTo>
                    <a:pt x="202" y="798"/>
                  </a:lnTo>
                  <a:lnTo>
                    <a:pt x="202" y="802"/>
                  </a:lnTo>
                  <a:lnTo>
                    <a:pt x="198" y="802"/>
                  </a:lnTo>
                  <a:lnTo>
                    <a:pt x="194" y="802"/>
                  </a:lnTo>
                  <a:lnTo>
                    <a:pt x="190" y="798"/>
                  </a:lnTo>
                  <a:lnTo>
                    <a:pt x="190" y="802"/>
                  </a:lnTo>
                  <a:lnTo>
                    <a:pt x="186" y="798"/>
                  </a:lnTo>
                  <a:lnTo>
                    <a:pt x="190" y="794"/>
                  </a:lnTo>
                  <a:lnTo>
                    <a:pt x="194" y="798"/>
                  </a:lnTo>
                  <a:lnTo>
                    <a:pt x="194" y="794"/>
                  </a:lnTo>
                  <a:lnTo>
                    <a:pt x="198" y="794"/>
                  </a:lnTo>
                  <a:lnTo>
                    <a:pt x="194" y="794"/>
                  </a:lnTo>
                  <a:lnTo>
                    <a:pt x="190" y="794"/>
                  </a:lnTo>
                  <a:lnTo>
                    <a:pt x="186" y="794"/>
                  </a:lnTo>
                  <a:lnTo>
                    <a:pt x="190" y="794"/>
                  </a:lnTo>
                  <a:lnTo>
                    <a:pt x="190" y="792"/>
                  </a:lnTo>
                  <a:lnTo>
                    <a:pt x="194" y="788"/>
                  </a:lnTo>
                  <a:lnTo>
                    <a:pt x="198" y="788"/>
                  </a:lnTo>
                  <a:lnTo>
                    <a:pt x="202" y="792"/>
                  </a:lnTo>
                  <a:lnTo>
                    <a:pt x="202" y="788"/>
                  </a:lnTo>
                  <a:lnTo>
                    <a:pt x="206" y="788"/>
                  </a:lnTo>
                  <a:lnTo>
                    <a:pt x="202" y="788"/>
                  </a:lnTo>
                  <a:lnTo>
                    <a:pt x="198" y="788"/>
                  </a:lnTo>
                  <a:lnTo>
                    <a:pt x="194" y="788"/>
                  </a:lnTo>
                  <a:lnTo>
                    <a:pt x="190" y="788"/>
                  </a:lnTo>
                  <a:lnTo>
                    <a:pt x="194" y="788"/>
                  </a:lnTo>
                  <a:lnTo>
                    <a:pt x="194" y="784"/>
                  </a:lnTo>
                  <a:lnTo>
                    <a:pt x="190" y="788"/>
                  </a:lnTo>
                  <a:lnTo>
                    <a:pt x="190" y="792"/>
                  </a:lnTo>
                  <a:lnTo>
                    <a:pt x="190" y="794"/>
                  </a:lnTo>
                  <a:lnTo>
                    <a:pt x="186" y="794"/>
                  </a:lnTo>
                  <a:lnTo>
                    <a:pt x="186" y="792"/>
                  </a:lnTo>
                  <a:lnTo>
                    <a:pt x="186" y="788"/>
                  </a:lnTo>
                  <a:lnTo>
                    <a:pt x="186" y="784"/>
                  </a:lnTo>
                  <a:lnTo>
                    <a:pt x="190" y="784"/>
                  </a:lnTo>
                  <a:lnTo>
                    <a:pt x="190" y="780"/>
                  </a:lnTo>
                  <a:lnTo>
                    <a:pt x="190" y="776"/>
                  </a:lnTo>
                  <a:lnTo>
                    <a:pt x="194" y="776"/>
                  </a:lnTo>
                  <a:lnTo>
                    <a:pt x="198" y="776"/>
                  </a:lnTo>
                  <a:lnTo>
                    <a:pt x="202" y="780"/>
                  </a:lnTo>
                  <a:lnTo>
                    <a:pt x="202" y="784"/>
                  </a:lnTo>
                  <a:lnTo>
                    <a:pt x="202" y="780"/>
                  </a:lnTo>
                  <a:lnTo>
                    <a:pt x="202" y="776"/>
                  </a:lnTo>
                  <a:lnTo>
                    <a:pt x="198" y="776"/>
                  </a:lnTo>
                  <a:lnTo>
                    <a:pt x="202" y="772"/>
                  </a:lnTo>
                  <a:lnTo>
                    <a:pt x="198" y="772"/>
                  </a:lnTo>
                  <a:lnTo>
                    <a:pt x="198" y="776"/>
                  </a:lnTo>
                  <a:lnTo>
                    <a:pt x="194" y="772"/>
                  </a:lnTo>
                  <a:lnTo>
                    <a:pt x="194" y="768"/>
                  </a:lnTo>
                  <a:lnTo>
                    <a:pt x="198" y="768"/>
                  </a:lnTo>
                  <a:lnTo>
                    <a:pt x="198" y="766"/>
                  </a:lnTo>
                  <a:lnTo>
                    <a:pt x="198" y="768"/>
                  </a:lnTo>
                  <a:lnTo>
                    <a:pt x="194" y="768"/>
                  </a:lnTo>
                  <a:lnTo>
                    <a:pt x="194" y="772"/>
                  </a:lnTo>
                  <a:lnTo>
                    <a:pt x="190" y="772"/>
                  </a:lnTo>
                  <a:lnTo>
                    <a:pt x="190" y="776"/>
                  </a:lnTo>
                  <a:lnTo>
                    <a:pt x="186" y="776"/>
                  </a:lnTo>
                  <a:lnTo>
                    <a:pt x="186" y="772"/>
                  </a:lnTo>
                  <a:lnTo>
                    <a:pt x="182" y="776"/>
                  </a:lnTo>
                  <a:lnTo>
                    <a:pt x="182" y="772"/>
                  </a:lnTo>
                  <a:lnTo>
                    <a:pt x="186" y="768"/>
                  </a:lnTo>
                  <a:lnTo>
                    <a:pt x="182" y="768"/>
                  </a:lnTo>
                  <a:lnTo>
                    <a:pt x="182" y="772"/>
                  </a:lnTo>
                  <a:lnTo>
                    <a:pt x="180" y="776"/>
                  </a:lnTo>
                  <a:lnTo>
                    <a:pt x="180" y="772"/>
                  </a:lnTo>
                  <a:lnTo>
                    <a:pt x="180" y="768"/>
                  </a:lnTo>
                  <a:lnTo>
                    <a:pt x="182" y="768"/>
                  </a:lnTo>
                  <a:lnTo>
                    <a:pt x="182" y="766"/>
                  </a:lnTo>
                  <a:lnTo>
                    <a:pt x="182" y="762"/>
                  </a:lnTo>
                  <a:lnTo>
                    <a:pt x="182" y="766"/>
                  </a:lnTo>
                  <a:lnTo>
                    <a:pt x="180" y="766"/>
                  </a:lnTo>
                  <a:lnTo>
                    <a:pt x="176" y="762"/>
                  </a:lnTo>
                  <a:lnTo>
                    <a:pt x="176" y="758"/>
                  </a:lnTo>
                  <a:lnTo>
                    <a:pt x="172" y="754"/>
                  </a:lnTo>
                  <a:lnTo>
                    <a:pt x="172" y="750"/>
                  </a:lnTo>
                  <a:lnTo>
                    <a:pt x="176" y="750"/>
                  </a:lnTo>
                  <a:lnTo>
                    <a:pt x="176" y="754"/>
                  </a:lnTo>
                  <a:lnTo>
                    <a:pt x="180" y="750"/>
                  </a:lnTo>
                  <a:lnTo>
                    <a:pt x="182" y="750"/>
                  </a:lnTo>
                  <a:lnTo>
                    <a:pt x="182" y="754"/>
                  </a:lnTo>
                  <a:lnTo>
                    <a:pt x="186" y="754"/>
                  </a:lnTo>
                  <a:lnTo>
                    <a:pt x="182" y="754"/>
                  </a:lnTo>
                  <a:lnTo>
                    <a:pt x="182" y="750"/>
                  </a:lnTo>
                  <a:lnTo>
                    <a:pt x="180" y="750"/>
                  </a:lnTo>
                  <a:lnTo>
                    <a:pt x="176" y="750"/>
                  </a:lnTo>
                  <a:lnTo>
                    <a:pt x="172" y="746"/>
                  </a:lnTo>
                  <a:lnTo>
                    <a:pt x="172" y="742"/>
                  </a:lnTo>
                  <a:lnTo>
                    <a:pt x="176" y="742"/>
                  </a:lnTo>
                  <a:lnTo>
                    <a:pt x="176" y="738"/>
                  </a:lnTo>
                  <a:lnTo>
                    <a:pt x="172" y="742"/>
                  </a:lnTo>
                  <a:lnTo>
                    <a:pt x="168" y="746"/>
                  </a:lnTo>
                  <a:lnTo>
                    <a:pt x="168" y="750"/>
                  </a:lnTo>
                  <a:lnTo>
                    <a:pt x="164" y="754"/>
                  </a:lnTo>
                  <a:lnTo>
                    <a:pt x="164" y="750"/>
                  </a:lnTo>
                  <a:lnTo>
                    <a:pt x="160" y="750"/>
                  </a:lnTo>
                  <a:lnTo>
                    <a:pt x="160" y="746"/>
                  </a:lnTo>
                  <a:lnTo>
                    <a:pt x="156" y="742"/>
                  </a:lnTo>
                  <a:lnTo>
                    <a:pt x="152" y="742"/>
                  </a:lnTo>
                  <a:lnTo>
                    <a:pt x="152" y="738"/>
                  </a:lnTo>
                  <a:lnTo>
                    <a:pt x="152" y="736"/>
                  </a:lnTo>
                  <a:lnTo>
                    <a:pt x="156" y="736"/>
                  </a:lnTo>
                  <a:lnTo>
                    <a:pt x="160" y="736"/>
                  </a:lnTo>
                  <a:lnTo>
                    <a:pt x="164" y="736"/>
                  </a:lnTo>
                  <a:lnTo>
                    <a:pt x="160" y="736"/>
                  </a:lnTo>
                  <a:lnTo>
                    <a:pt x="156" y="736"/>
                  </a:lnTo>
                  <a:lnTo>
                    <a:pt x="152" y="736"/>
                  </a:lnTo>
                  <a:lnTo>
                    <a:pt x="152" y="732"/>
                  </a:lnTo>
                  <a:lnTo>
                    <a:pt x="150" y="732"/>
                  </a:lnTo>
                  <a:lnTo>
                    <a:pt x="150" y="728"/>
                  </a:lnTo>
                  <a:lnTo>
                    <a:pt x="150" y="724"/>
                  </a:lnTo>
                  <a:lnTo>
                    <a:pt x="150" y="728"/>
                  </a:lnTo>
                  <a:lnTo>
                    <a:pt x="152" y="728"/>
                  </a:lnTo>
                  <a:lnTo>
                    <a:pt x="152" y="732"/>
                  </a:lnTo>
                  <a:lnTo>
                    <a:pt x="156" y="732"/>
                  </a:lnTo>
                  <a:lnTo>
                    <a:pt x="152" y="728"/>
                  </a:lnTo>
                  <a:lnTo>
                    <a:pt x="150" y="728"/>
                  </a:lnTo>
                  <a:lnTo>
                    <a:pt x="150" y="724"/>
                  </a:lnTo>
                  <a:lnTo>
                    <a:pt x="152" y="724"/>
                  </a:lnTo>
                  <a:lnTo>
                    <a:pt x="156" y="724"/>
                  </a:lnTo>
                  <a:lnTo>
                    <a:pt x="156" y="728"/>
                  </a:lnTo>
                  <a:lnTo>
                    <a:pt x="156" y="724"/>
                  </a:lnTo>
                  <a:lnTo>
                    <a:pt x="152" y="724"/>
                  </a:lnTo>
                  <a:lnTo>
                    <a:pt x="152" y="720"/>
                  </a:lnTo>
                  <a:lnTo>
                    <a:pt x="152" y="716"/>
                  </a:lnTo>
                  <a:lnTo>
                    <a:pt x="156" y="716"/>
                  </a:lnTo>
                  <a:lnTo>
                    <a:pt x="160" y="716"/>
                  </a:lnTo>
                  <a:lnTo>
                    <a:pt x="156" y="716"/>
                  </a:lnTo>
                  <a:lnTo>
                    <a:pt x="156" y="712"/>
                  </a:lnTo>
                  <a:lnTo>
                    <a:pt x="160" y="708"/>
                  </a:lnTo>
                  <a:lnTo>
                    <a:pt x="164" y="708"/>
                  </a:lnTo>
                  <a:lnTo>
                    <a:pt x="164" y="706"/>
                  </a:lnTo>
                  <a:lnTo>
                    <a:pt x="160" y="708"/>
                  </a:lnTo>
                  <a:lnTo>
                    <a:pt x="160" y="706"/>
                  </a:lnTo>
                  <a:lnTo>
                    <a:pt x="160" y="708"/>
                  </a:lnTo>
                  <a:lnTo>
                    <a:pt x="156" y="706"/>
                  </a:lnTo>
                  <a:lnTo>
                    <a:pt x="160" y="706"/>
                  </a:lnTo>
                  <a:lnTo>
                    <a:pt x="160" y="708"/>
                  </a:lnTo>
                  <a:lnTo>
                    <a:pt x="156" y="712"/>
                  </a:lnTo>
                  <a:lnTo>
                    <a:pt x="156" y="716"/>
                  </a:lnTo>
                  <a:lnTo>
                    <a:pt x="152" y="716"/>
                  </a:lnTo>
                  <a:lnTo>
                    <a:pt x="152" y="712"/>
                  </a:lnTo>
                  <a:lnTo>
                    <a:pt x="156" y="712"/>
                  </a:lnTo>
                  <a:lnTo>
                    <a:pt x="156" y="708"/>
                  </a:lnTo>
                  <a:lnTo>
                    <a:pt x="152" y="706"/>
                  </a:lnTo>
                  <a:lnTo>
                    <a:pt x="152" y="702"/>
                  </a:lnTo>
                  <a:lnTo>
                    <a:pt x="152" y="698"/>
                  </a:lnTo>
                  <a:lnTo>
                    <a:pt x="156" y="698"/>
                  </a:lnTo>
                  <a:lnTo>
                    <a:pt x="156" y="694"/>
                  </a:lnTo>
                  <a:lnTo>
                    <a:pt x="152" y="694"/>
                  </a:lnTo>
                  <a:lnTo>
                    <a:pt x="150" y="694"/>
                  </a:lnTo>
                  <a:lnTo>
                    <a:pt x="150" y="690"/>
                  </a:lnTo>
                  <a:lnTo>
                    <a:pt x="146" y="690"/>
                  </a:lnTo>
                  <a:lnTo>
                    <a:pt x="146" y="686"/>
                  </a:lnTo>
                  <a:lnTo>
                    <a:pt x="142" y="686"/>
                  </a:lnTo>
                  <a:lnTo>
                    <a:pt x="138" y="686"/>
                  </a:lnTo>
                  <a:lnTo>
                    <a:pt x="138" y="682"/>
                  </a:lnTo>
                  <a:lnTo>
                    <a:pt x="134" y="682"/>
                  </a:lnTo>
                  <a:lnTo>
                    <a:pt x="130" y="682"/>
                  </a:lnTo>
                  <a:lnTo>
                    <a:pt x="130" y="680"/>
                  </a:lnTo>
                  <a:lnTo>
                    <a:pt x="126" y="676"/>
                  </a:lnTo>
                  <a:lnTo>
                    <a:pt x="126" y="672"/>
                  </a:lnTo>
                  <a:lnTo>
                    <a:pt x="124" y="672"/>
                  </a:lnTo>
                  <a:lnTo>
                    <a:pt x="124" y="668"/>
                  </a:lnTo>
                  <a:lnTo>
                    <a:pt x="124" y="664"/>
                  </a:lnTo>
                  <a:lnTo>
                    <a:pt x="120" y="664"/>
                  </a:lnTo>
                  <a:lnTo>
                    <a:pt x="120" y="660"/>
                  </a:lnTo>
                  <a:lnTo>
                    <a:pt x="116" y="656"/>
                  </a:lnTo>
                  <a:lnTo>
                    <a:pt x="116" y="652"/>
                  </a:lnTo>
                  <a:lnTo>
                    <a:pt x="112" y="652"/>
                  </a:lnTo>
                  <a:lnTo>
                    <a:pt x="112" y="650"/>
                  </a:lnTo>
                  <a:lnTo>
                    <a:pt x="112" y="646"/>
                  </a:lnTo>
                  <a:lnTo>
                    <a:pt x="108" y="646"/>
                  </a:lnTo>
                  <a:lnTo>
                    <a:pt x="108" y="642"/>
                  </a:lnTo>
                  <a:lnTo>
                    <a:pt x="104" y="638"/>
                  </a:lnTo>
                  <a:lnTo>
                    <a:pt x="100" y="638"/>
                  </a:lnTo>
                  <a:lnTo>
                    <a:pt x="100" y="634"/>
                  </a:lnTo>
                  <a:lnTo>
                    <a:pt x="96" y="634"/>
                  </a:lnTo>
                  <a:lnTo>
                    <a:pt x="96" y="630"/>
                  </a:lnTo>
                  <a:lnTo>
                    <a:pt x="94" y="630"/>
                  </a:lnTo>
                  <a:lnTo>
                    <a:pt x="94" y="626"/>
                  </a:lnTo>
                  <a:lnTo>
                    <a:pt x="90" y="626"/>
                  </a:lnTo>
                  <a:lnTo>
                    <a:pt x="90" y="622"/>
                  </a:lnTo>
                  <a:lnTo>
                    <a:pt x="86" y="622"/>
                  </a:lnTo>
                  <a:lnTo>
                    <a:pt x="82" y="620"/>
                  </a:lnTo>
                  <a:lnTo>
                    <a:pt x="86" y="620"/>
                  </a:lnTo>
                  <a:lnTo>
                    <a:pt x="86" y="616"/>
                  </a:lnTo>
                  <a:lnTo>
                    <a:pt x="82" y="616"/>
                  </a:lnTo>
                  <a:lnTo>
                    <a:pt x="80" y="612"/>
                  </a:lnTo>
                  <a:lnTo>
                    <a:pt x="76" y="612"/>
                  </a:lnTo>
                  <a:lnTo>
                    <a:pt x="72" y="612"/>
                  </a:lnTo>
                  <a:lnTo>
                    <a:pt x="72" y="616"/>
                  </a:lnTo>
                  <a:lnTo>
                    <a:pt x="68" y="616"/>
                  </a:lnTo>
                  <a:lnTo>
                    <a:pt x="68" y="620"/>
                  </a:lnTo>
                  <a:lnTo>
                    <a:pt x="64" y="620"/>
                  </a:lnTo>
                  <a:lnTo>
                    <a:pt x="64" y="622"/>
                  </a:lnTo>
                  <a:lnTo>
                    <a:pt x="64" y="626"/>
                  </a:lnTo>
                  <a:lnTo>
                    <a:pt x="60" y="626"/>
                  </a:lnTo>
                  <a:lnTo>
                    <a:pt x="56" y="626"/>
                  </a:lnTo>
                  <a:lnTo>
                    <a:pt x="54" y="626"/>
                  </a:lnTo>
                  <a:lnTo>
                    <a:pt x="54" y="630"/>
                  </a:lnTo>
                  <a:lnTo>
                    <a:pt x="50" y="630"/>
                  </a:lnTo>
                  <a:lnTo>
                    <a:pt x="50" y="626"/>
                  </a:lnTo>
                  <a:lnTo>
                    <a:pt x="50" y="622"/>
                  </a:lnTo>
                  <a:lnTo>
                    <a:pt x="46" y="620"/>
                  </a:lnTo>
                  <a:lnTo>
                    <a:pt x="42" y="616"/>
                  </a:lnTo>
                  <a:lnTo>
                    <a:pt x="38" y="616"/>
                  </a:lnTo>
                  <a:lnTo>
                    <a:pt x="34" y="612"/>
                  </a:lnTo>
                  <a:lnTo>
                    <a:pt x="34" y="608"/>
                  </a:lnTo>
                  <a:lnTo>
                    <a:pt x="30" y="608"/>
                  </a:lnTo>
                  <a:lnTo>
                    <a:pt x="26" y="604"/>
                  </a:lnTo>
                  <a:lnTo>
                    <a:pt x="26" y="600"/>
                  </a:lnTo>
                  <a:lnTo>
                    <a:pt x="26" y="596"/>
                  </a:lnTo>
                  <a:lnTo>
                    <a:pt x="24" y="596"/>
                  </a:lnTo>
                  <a:lnTo>
                    <a:pt x="20" y="596"/>
                  </a:lnTo>
                  <a:lnTo>
                    <a:pt x="20" y="600"/>
                  </a:lnTo>
                  <a:lnTo>
                    <a:pt x="16" y="600"/>
                  </a:lnTo>
                  <a:lnTo>
                    <a:pt x="8" y="600"/>
                  </a:lnTo>
                  <a:lnTo>
                    <a:pt x="0" y="600"/>
                  </a:lnTo>
                  <a:lnTo>
                    <a:pt x="0" y="596"/>
                  </a:lnTo>
                  <a:lnTo>
                    <a:pt x="0" y="586"/>
                  </a:lnTo>
                  <a:lnTo>
                    <a:pt x="0" y="546"/>
                  </a:lnTo>
                  <a:lnTo>
                    <a:pt x="0" y="534"/>
                  </a:lnTo>
                  <a:lnTo>
                    <a:pt x="0" y="520"/>
                  </a:lnTo>
                  <a:lnTo>
                    <a:pt x="0" y="516"/>
                  </a:lnTo>
                  <a:lnTo>
                    <a:pt x="0" y="508"/>
                  </a:lnTo>
                  <a:lnTo>
                    <a:pt x="0" y="486"/>
                  </a:lnTo>
                  <a:lnTo>
                    <a:pt x="0" y="474"/>
                  </a:lnTo>
                  <a:lnTo>
                    <a:pt x="0" y="464"/>
                  </a:lnTo>
                  <a:lnTo>
                    <a:pt x="0" y="452"/>
                  </a:lnTo>
                  <a:lnTo>
                    <a:pt x="0" y="448"/>
                  </a:lnTo>
                  <a:lnTo>
                    <a:pt x="0" y="444"/>
                  </a:lnTo>
                  <a:lnTo>
                    <a:pt x="0" y="440"/>
                  </a:lnTo>
                  <a:lnTo>
                    <a:pt x="0" y="434"/>
                  </a:lnTo>
                  <a:lnTo>
                    <a:pt x="0" y="430"/>
                  </a:lnTo>
                  <a:lnTo>
                    <a:pt x="0" y="422"/>
                  </a:lnTo>
                  <a:lnTo>
                    <a:pt x="0" y="418"/>
                  </a:lnTo>
                  <a:lnTo>
                    <a:pt x="0" y="414"/>
                  </a:lnTo>
                  <a:lnTo>
                    <a:pt x="0" y="410"/>
                  </a:lnTo>
                  <a:lnTo>
                    <a:pt x="0" y="404"/>
                  </a:lnTo>
                  <a:lnTo>
                    <a:pt x="0" y="392"/>
                  </a:lnTo>
                  <a:lnTo>
                    <a:pt x="0" y="380"/>
                  </a:lnTo>
                  <a:lnTo>
                    <a:pt x="0" y="378"/>
                  </a:lnTo>
                  <a:lnTo>
                    <a:pt x="0" y="374"/>
                  </a:lnTo>
                  <a:lnTo>
                    <a:pt x="4" y="374"/>
                  </a:lnTo>
                  <a:lnTo>
                    <a:pt x="4" y="378"/>
                  </a:lnTo>
                  <a:lnTo>
                    <a:pt x="8" y="378"/>
                  </a:lnTo>
                  <a:lnTo>
                    <a:pt x="12" y="378"/>
                  </a:lnTo>
                  <a:lnTo>
                    <a:pt x="16" y="378"/>
                  </a:lnTo>
                  <a:lnTo>
                    <a:pt x="20" y="378"/>
                  </a:lnTo>
                  <a:lnTo>
                    <a:pt x="24" y="378"/>
                  </a:lnTo>
                  <a:lnTo>
                    <a:pt x="26" y="378"/>
                  </a:lnTo>
                  <a:lnTo>
                    <a:pt x="26" y="380"/>
                  </a:lnTo>
                  <a:lnTo>
                    <a:pt x="30" y="380"/>
                  </a:lnTo>
                  <a:lnTo>
                    <a:pt x="34" y="384"/>
                  </a:lnTo>
                  <a:lnTo>
                    <a:pt x="38" y="384"/>
                  </a:lnTo>
                  <a:lnTo>
                    <a:pt x="38" y="388"/>
                  </a:lnTo>
                  <a:lnTo>
                    <a:pt x="42" y="388"/>
                  </a:lnTo>
                  <a:lnTo>
                    <a:pt x="46" y="388"/>
                  </a:lnTo>
                  <a:lnTo>
                    <a:pt x="50" y="392"/>
                  </a:lnTo>
                  <a:lnTo>
                    <a:pt x="54" y="392"/>
                  </a:lnTo>
                  <a:lnTo>
                    <a:pt x="56" y="392"/>
                  </a:lnTo>
                  <a:lnTo>
                    <a:pt x="60" y="396"/>
                  </a:lnTo>
                  <a:lnTo>
                    <a:pt x="64" y="392"/>
                  </a:lnTo>
                  <a:lnTo>
                    <a:pt x="68" y="392"/>
                  </a:lnTo>
                  <a:lnTo>
                    <a:pt x="68" y="396"/>
                  </a:lnTo>
                  <a:lnTo>
                    <a:pt x="72" y="396"/>
                  </a:lnTo>
                  <a:lnTo>
                    <a:pt x="76" y="396"/>
                  </a:lnTo>
                  <a:lnTo>
                    <a:pt x="80" y="396"/>
                  </a:lnTo>
                  <a:lnTo>
                    <a:pt x="80" y="400"/>
                  </a:lnTo>
                  <a:lnTo>
                    <a:pt x="82" y="400"/>
                  </a:lnTo>
                  <a:lnTo>
                    <a:pt x="80" y="396"/>
                  </a:lnTo>
                  <a:lnTo>
                    <a:pt x="76" y="396"/>
                  </a:lnTo>
                  <a:lnTo>
                    <a:pt x="76" y="392"/>
                  </a:lnTo>
                  <a:lnTo>
                    <a:pt x="80" y="392"/>
                  </a:lnTo>
                  <a:lnTo>
                    <a:pt x="82" y="392"/>
                  </a:lnTo>
                  <a:lnTo>
                    <a:pt x="86" y="396"/>
                  </a:lnTo>
                  <a:lnTo>
                    <a:pt x="86" y="392"/>
                  </a:lnTo>
                  <a:lnTo>
                    <a:pt x="90" y="392"/>
                  </a:lnTo>
                  <a:lnTo>
                    <a:pt x="90" y="396"/>
                  </a:lnTo>
                  <a:lnTo>
                    <a:pt x="94" y="400"/>
                  </a:lnTo>
                  <a:lnTo>
                    <a:pt x="96" y="400"/>
                  </a:lnTo>
                  <a:lnTo>
                    <a:pt x="94" y="400"/>
                  </a:lnTo>
                  <a:lnTo>
                    <a:pt x="94" y="396"/>
                  </a:lnTo>
                  <a:lnTo>
                    <a:pt x="90" y="392"/>
                  </a:lnTo>
                  <a:lnTo>
                    <a:pt x="90" y="388"/>
                  </a:lnTo>
                  <a:lnTo>
                    <a:pt x="94" y="388"/>
                  </a:lnTo>
                  <a:lnTo>
                    <a:pt x="96" y="384"/>
                  </a:lnTo>
                  <a:lnTo>
                    <a:pt x="100" y="384"/>
                  </a:lnTo>
                  <a:lnTo>
                    <a:pt x="104" y="380"/>
                  </a:lnTo>
                  <a:lnTo>
                    <a:pt x="108" y="380"/>
                  </a:lnTo>
                  <a:lnTo>
                    <a:pt x="112" y="380"/>
                  </a:lnTo>
                  <a:lnTo>
                    <a:pt x="112" y="378"/>
                  </a:lnTo>
                  <a:lnTo>
                    <a:pt x="116" y="374"/>
                  </a:lnTo>
                  <a:lnTo>
                    <a:pt x="120" y="374"/>
                  </a:lnTo>
                  <a:lnTo>
                    <a:pt x="124" y="374"/>
                  </a:lnTo>
                  <a:lnTo>
                    <a:pt x="120" y="374"/>
                  </a:lnTo>
                  <a:lnTo>
                    <a:pt x="124" y="374"/>
                  </a:lnTo>
                  <a:lnTo>
                    <a:pt x="126" y="374"/>
                  </a:lnTo>
                  <a:lnTo>
                    <a:pt x="130" y="374"/>
                  </a:lnTo>
                  <a:lnTo>
                    <a:pt x="130" y="370"/>
                  </a:lnTo>
                  <a:lnTo>
                    <a:pt x="134" y="370"/>
                  </a:lnTo>
                  <a:lnTo>
                    <a:pt x="134" y="366"/>
                  </a:lnTo>
                  <a:lnTo>
                    <a:pt x="138" y="366"/>
                  </a:lnTo>
                  <a:lnTo>
                    <a:pt x="138" y="370"/>
                  </a:lnTo>
                  <a:lnTo>
                    <a:pt x="142" y="370"/>
                  </a:lnTo>
                  <a:lnTo>
                    <a:pt x="142" y="366"/>
                  </a:lnTo>
                  <a:lnTo>
                    <a:pt x="142" y="362"/>
                  </a:lnTo>
                  <a:lnTo>
                    <a:pt x="146" y="362"/>
                  </a:lnTo>
                  <a:lnTo>
                    <a:pt x="150" y="362"/>
                  </a:lnTo>
                  <a:lnTo>
                    <a:pt x="152" y="366"/>
                  </a:lnTo>
                  <a:lnTo>
                    <a:pt x="156" y="362"/>
                  </a:lnTo>
                  <a:lnTo>
                    <a:pt x="156" y="358"/>
                  </a:lnTo>
                  <a:lnTo>
                    <a:pt x="160" y="358"/>
                  </a:lnTo>
                  <a:lnTo>
                    <a:pt x="164" y="362"/>
                  </a:lnTo>
                  <a:lnTo>
                    <a:pt x="164" y="366"/>
                  </a:lnTo>
                  <a:lnTo>
                    <a:pt x="160" y="366"/>
                  </a:lnTo>
                  <a:lnTo>
                    <a:pt x="156" y="370"/>
                  </a:lnTo>
                  <a:lnTo>
                    <a:pt x="152" y="370"/>
                  </a:lnTo>
                  <a:lnTo>
                    <a:pt x="150" y="370"/>
                  </a:lnTo>
                  <a:lnTo>
                    <a:pt x="150" y="374"/>
                  </a:lnTo>
                  <a:lnTo>
                    <a:pt x="146" y="374"/>
                  </a:lnTo>
                  <a:lnTo>
                    <a:pt x="142" y="378"/>
                  </a:lnTo>
                  <a:lnTo>
                    <a:pt x="142" y="374"/>
                  </a:lnTo>
                  <a:lnTo>
                    <a:pt x="138" y="374"/>
                  </a:lnTo>
                  <a:lnTo>
                    <a:pt x="138" y="378"/>
                  </a:lnTo>
                  <a:lnTo>
                    <a:pt x="134" y="378"/>
                  </a:lnTo>
                  <a:lnTo>
                    <a:pt x="130" y="378"/>
                  </a:lnTo>
                  <a:lnTo>
                    <a:pt x="126" y="378"/>
                  </a:lnTo>
                  <a:lnTo>
                    <a:pt x="126" y="380"/>
                  </a:lnTo>
                  <a:lnTo>
                    <a:pt x="124" y="384"/>
                  </a:lnTo>
                  <a:lnTo>
                    <a:pt x="120" y="384"/>
                  </a:lnTo>
                  <a:lnTo>
                    <a:pt x="116" y="384"/>
                  </a:lnTo>
                  <a:lnTo>
                    <a:pt x="116" y="388"/>
                  </a:lnTo>
                  <a:lnTo>
                    <a:pt x="112" y="388"/>
                  </a:lnTo>
                  <a:lnTo>
                    <a:pt x="112" y="392"/>
                  </a:lnTo>
                  <a:lnTo>
                    <a:pt x="108" y="392"/>
                  </a:lnTo>
                  <a:lnTo>
                    <a:pt x="112" y="392"/>
                  </a:lnTo>
                  <a:lnTo>
                    <a:pt x="108" y="392"/>
                  </a:lnTo>
                  <a:lnTo>
                    <a:pt x="108" y="396"/>
                  </a:lnTo>
                  <a:lnTo>
                    <a:pt x="108" y="392"/>
                  </a:lnTo>
                  <a:lnTo>
                    <a:pt x="104" y="396"/>
                  </a:lnTo>
                  <a:lnTo>
                    <a:pt x="108" y="396"/>
                  </a:lnTo>
                  <a:lnTo>
                    <a:pt x="112" y="400"/>
                  </a:lnTo>
                  <a:lnTo>
                    <a:pt x="116" y="400"/>
                  </a:lnTo>
                  <a:lnTo>
                    <a:pt x="112" y="400"/>
                  </a:lnTo>
                  <a:lnTo>
                    <a:pt x="108" y="396"/>
                  </a:lnTo>
                  <a:lnTo>
                    <a:pt x="112" y="396"/>
                  </a:lnTo>
                  <a:lnTo>
                    <a:pt x="108" y="396"/>
                  </a:lnTo>
                  <a:lnTo>
                    <a:pt x="112" y="396"/>
                  </a:lnTo>
                  <a:lnTo>
                    <a:pt x="116" y="396"/>
                  </a:lnTo>
                  <a:lnTo>
                    <a:pt x="120" y="396"/>
                  </a:lnTo>
                  <a:lnTo>
                    <a:pt x="124" y="396"/>
                  </a:lnTo>
                  <a:lnTo>
                    <a:pt x="120" y="392"/>
                  </a:lnTo>
                  <a:lnTo>
                    <a:pt x="120" y="396"/>
                  </a:lnTo>
                  <a:lnTo>
                    <a:pt x="116" y="396"/>
                  </a:lnTo>
                  <a:lnTo>
                    <a:pt x="116" y="392"/>
                  </a:lnTo>
                  <a:lnTo>
                    <a:pt x="116" y="388"/>
                  </a:lnTo>
                  <a:lnTo>
                    <a:pt x="120" y="388"/>
                  </a:lnTo>
                  <a:lnTo>
                    <a:pt x="124" y="388"/>
                  </a:lnTo>
                  <a:lnTo>
                    <a:pt x="124" y="384"/>
                  </a:lnTo>
                  <a:lnTo>
                    <a:pt x="124" y="388"/>
                  </a:lnTo>
                  <a:lnTo>
                    <a:pt x="124" y="384"/>
                  </a:lnTo>
                  <a:lnTo>
                    <a:pt x="126" y="384"/>
                  </a:lnTo>
                  <a:lnTo>
                    <a:pt x="130" y="384"/>
                  </a:lnTo>
                  <a:lnTo>
                    <a:pt x="130" y="380"/>
                  </a:lnTo>
                  <a:lnTo>
                    <a:pt x="126" y="380"/>
                  </a:lnTo>
                  <a:lnTo>
                    <a:pt x="130" y="380"/>
                  </a:lnTo>
                  <a:lnTo>
                    <a:pt x="134" y="380"/>
                  </a:lnTo>
                  <a:lnTo>
                    <a:pt x="138" y="378"/>
                  </a:lnTo>
                  <a:lnTo>
                    <a:pt x="138" y="380"/>
                  </a:lnTo>
                  <a:lnTo>
                    <a:pt x="134" y="384"/>
                  </a:lnTo>
                  <a:lnTo>
                    <a:pt x="138" y="384"/>
                  </a:lnTo>
                  <a:lnTo>
                    <a:pt x="138" y="380"/>
                  </a:lnTo>
                  <a:lnTo>
                    <a:pt x="138" y="378"/>
                  </a:lnTo>
                  <a:lnTo>
                    <a:pt x="138" y="380"/>
                  </a:lnTo>
                  <a:lnTo>
                    <a:pt x="142" y="380"/>
                  </a:lnTo>
                  <a:lnTo>
                    <a:pt x="142" y="378"/>
                  </a:lnTo>
                  <a:lnTo>
                    <a:pt x="138" y="378"/>
                  </a:lnTo>
                  <a:lnTo>
                    <a:pt x="142" y="378"/>
                  </a:lnTo>
                  <a:lnTo>
                    <a:pt x="142" y="380"/>
                  </a:lnTo>
                  <a:lnTo>
                    <a:pt x="138" y="384"/>
                  </a:lnTo>
                  <a:lnTo>
                    <a:pt x="142" y="380"/>
                  </a:lnTo>
                  <a:lnTo>
                    <a:pt x="142" y="378"/>
                  </a:lnTo>
                  <a:lnTo>
                    <a:pt x="142" y="380"/>
                  </a:lnTo>
                  <a:lnTo>
                    <a:pt x="142" y="384"/>
                  </a:lnTo>
                  <a:lnTo>
                    <a:pt x="142" y="380"/>
                  </a:lnTo>
                  <a:lnTo>
                    <a:pt x="142" y="384"/>
                  </a:lnTo>
                  <a:lnTo>
                    <a:pt x="142" y="388"/>
                  </a:lnTo>
                  <a:lnTo>
                    <a:pt x="142" y="384"/>
                  </a:lnTo>
                  <a:lnTo>
                    <a:pt x="146" y="380"/>
                  </a:lnTo>
                  <a:lnTo>
                    <a:pt x="150" y="378"/>
                  </a:lnTo>
                  <a:lnTo>
                    <a:pt x="150" y="374"/>
                  </a:lnTo>
                  <a:lnTo>
                    <a:pt x="152" y="374"/>
                  </a:lnTo>
                  <a:lnTo>
                    <a:pt x="156" y="374"/>
                  </a:lnTo>
                  <a:lnTo>
                    <a:pt x="160" y="370"/>
                  </a:lnTo>
                  <a:lnTo>
                    <a:pt x="164" y="370"/>
                  </a:lnTo>
                  <a:lnTo>
                    <a:pt x="168" y="370"/>
                  </a:lnTo>
                  <a:lnTo>
                    <a:pt x="168" y="366"/>
                  </a:lnTo>
                  <a:lnTo>
                    <a:pt x="172" y="366"/>
                  </a:lnTo>
                  <a:lnTo>
                    <a:pt x="172" y="370"/>
                  </a:lnTo>
                  <a:lnTo>
                    <a:pt x="168" y="370"/>
                  </a:lnTo>
                  <a:lnTo>
                    <a:pt x="168" y="374"/>
                  </a:lnTo>
                  <a:lnTo>
                    <a:pt x="172" y="374"/>
                  </a:lnTo>
                  <a:lnTo>
                    <a:pt x="176" y="370"/>
                  </a:lnTo>
                  <a:lnTo>
                    <a:pt x="180" y="366"/>
                  </a:lnTo>
                  <a:lnTo>
                    <a:pt x="180" y="362"/>
                  </a:lnTo>
                  <a:lnTo>
                    <a:pt x="182" y="362"/>
                  </a:lnTo>
                  <a:lnTo>
                    <a:pt x="186" y="362"/>
                  </a:lnTo>
                  <a:lnTo>
                    <a:pt x="190" y="358"/>
                  </a:lnTo>
                  <a:lnTo>
                    <a:pt x="186" y="358"/>
                  </a:lnTo>
                  <a:lnTo>
                    <a:pt x="182" y="358"/>
                  </a:lnTo>
                  <a:lnTo>
                    <a:pt x="186" y="354"/>
                  </a:lnTo>
                  <a:lnTo>
                    <a:pt x="182" y="354"/>
                  </a:lnTo>
                  <a:lnTo>
                    <a:pt x="182" y="350"/>
                  </a:lnTo>
                  <a:lnTo>
                    <a:pt x="186" y="350"/>
                  </a:lnTo>
                  <a:lnTo>
                    <a:pt x="186" y="354"/>
                  </a:lnTo>
                  <a:lnTo>
                    <a:pt x="190" y="354"/>
                  </a:lnTo>
                  <a:lnTo>
                    <a:pt x="194" y="358"/>
                  </a:lnTo>
                  <a:lnTo>
                    <a:pt x="198" y="358"/>
                  </a:lnTo>
                  <a:lnTo>
                    <a:pt x="198" y="362"/>
                  </a:lnTo>
                  <a:lnTo>
                    <a:pt x="198" y="366"/>
                  </a:lnTo>
                  <a:lnTo>
                    <a:pt x="202" y="370"/>
                  </a:lnTo>
                  <a:lnTo>
                    <a:pt x="202" y="374"/>
                  </a:lnTo>
                  <a:lnTo>
                    <a:pt x="206" y="374"/>
                  </a:lnTo>
                  <a:lnTo>
                    <a:pt x="210" y="378"/>
                  </a:lnTo>
                  <a:lnTo>
                    <a:pt x="210" y="380"/>
                  </a:lnTo>
                  <a:lnTo>
                    <a:pt x="212" y="380"/>
                  </a:lnTo>
                  <a:lnTo>
                    <a:pt x="220" y="380"/>
                  </a:lnTo>
                  <a:lnTo>
                    <a:pt x="220" y="384"/>
                  </a:lnTo>
                  <a:lnTo>
                    <a:pt x="220" y="380"/>
                  </a:lnTo>
                  <a:lnTo>
                    <a:pt x="224" y="380"/>
                  </a:lnTo>
                  <a:lnTo>
                    <a:pt x="220" y="380"/>
                  </a:lnTo>
                  <a:lnTo>
                    <a:pt x="216" y="380"/>
                  </a:lnTo>
                  <a:lnTo>
                    <a:pt x="220" y="378"/>
                  </a:lnTo>
                  <a:lnTo>
                    <a:pt x="224" y="378"/>
                  </a:lnTo>
                  <a:lnTo>
                    <a:pt x="220" y="374"/>
                  </a:lnTo>
                  <a:lnTo>
                    <a:pt x="224" y="374"/>
                  </a:lnTo>
                  <a:lnTo>
                    <a:pt x="228" y="374"/>
                  </a:lnTo>
                  <a:lnTo>
                    <a:pt x="224" y="374"/>
                  </a:lnTo>
                  <a:lnTo>
                    <a:pt x="224" y="370"/>
                  </a:lnTo>
                  <a:lnTo>
                    <a:pt x="228" y="370"/>
                  </a:lnTo>
                  <a:lnTo>
                    <a:pt x="228" y="366"/>
                  </a:lnTo>
                  <a:lnTo>
                    <a:pt x="232" y="366"/>
                  </a:lnTo>
                  <a:lnTo>
                    <a:pt x="228" y="366"/>
                  </a:lnTo>
                  <a:lnTo>
                    <a:pt x="224" y="366"/>
                  </a:lnTo>
                  <a:lnTo>
                    <a:pt x="228" y="362"/>
                  </a:lnTo>
                  <a:lnTo>
                    <a:pt x="228" y="366"/>
                  </a:lnTo>
                  <a:lnTo>
                    <a:pt x="232" y="362"/>
                  </a:lnTo>
                  <a:lnTo>
                    <a:pt x="232" y="366"/>
                  </a:lnTo>
                  <a:lnTo>
                    <a:pt x="236" y="366"/>
                  </a:lnTo>
                  <a:lnTo>
                    <a:pt x="236" y="362"/>
                  </a:lnTo>
                  <a:lnTo>
                    <a:pt x="232" y="362"/>
                  </a:lnTo>
                  <a:lnTo>
                    <a:pt x="236" y="362"/>
                  </a:lnTo>
                  <a:lnTo>
                    <a:pt x="236" y="366"/>
                  </a:lnTo>
                  <a:lnTo>
                    <a:pt x="236" y="370"/>
                  </a:lnTo>
                  <a:lnTo>
                    <a:pt x="236" y="374"/>
                  </a:lnTo>
                  <a:lnTo>
                    <a:pt x="238" y="374"/>
                  </a:lnTo>
                  <a:lnTo>
                    <a:pt x="238" y="378"/>
                  </a:lnTo>
                  <a:lnTo>
                    <a:pt x="236" y="378"/>
                  </a:lnTo>
                  <a:lnTo>
                    <a:pt x="232" y="380"/>
                  </a:lnTo>
                  <a:lnTo>
                    <a:pt x="236" y="380"/>
                  </a:lnTo>
                  <a:lnTo>
                    <a:pt x="238" y="380"/>
                  </a:lnTo>
                  <a:lnTo>
                    <a:pt x="242" y="380"/>
                  </a:lnTo>
                  <a:lnTo>
                    <a:pt x="246" y="380"/>
                  </a:lnTo>
                  <a:lnTo>
                    <a:pt x="250" y="380"/>
                  </a:lnTo>
                  <a:lnTo>
                    <a:pt x="250" y="378"/>
                  </a:lnTo>
                  <a:lnTo>
                    <a:pt x="254" y="378"/>
                  </a:lnTo>
                  <a:lnTo>
                    <a:pt x="254" y="374"/>
                  </a:lnTo>
                  <a:lnTo>
                    <a:pt x="254" y="370"/>
                  </a:lnTo>
                  <a:lnTo>
                    <a:pt x="258" y="370"/>
                  </a:lnTo>
                  <a:lnTo>
                    <a:pt x="262" y="370"/>
                  </a:lnTo>
                  <a:lnTo>
                    <a:pt x="266" y="370"/>
                  </a:lnTo>
                  <a:lnTo>
                    <a:pt x="268" y="370"/>
                  </a:lnTo>
                  <a:lnTo>
                    <a:pt x="272" y="370"/>
                  </a:lnTo>
                  <a:lnTo>
                    <a:pt x="276" y="374"/>
                  </a:lnTo>
                  <a:lnTo>
                    <a:pt x="280" y="374"/>
                  </a:lnTo>
                  <a:lnTo>
                    <a:pt x="284" y="374"/>
                  </a:lnTo>
                  <a:lnTo>
                    <a:pt x="284" y="378"/>
                  </a:lnTo>
                  <a:lnTo>
                    <a:pt x="288" y="378"/>
                  </a:lnTo>
                  <a:lnTo>
                    <a:pt x="292" y="380"/>
                  </a:lnTo>
                  <a:lnTo>
                    <a:pt x="294" y="380"/>
                  </a:lnTo>
                  <a:lnTo>
                    <a:pt x="298" y="380"/>
                  </a:lnTo>
                  <a:lnTo>
                    <a:pt x="302" y="384"/>
                  </a:lnTo>
                  <a:lnTo>
                    <a:pt x="306" y="384"/>
                  </a:lnTo>
                  <a:lnTo>
                    <a:pt x="310" y="384"/>
                  </a:lnTo>
                  <a:lnTo>
                    <a:pt x="314" y="384"/>
                  </a:lnTo>
                  <a:lnTo>
                    <a:pt x="318" y="384"/>
                  </a:lnTo>
                  <a:lnTo>
                    <a:pt x="318" y="388"/>
                  </a:lnTo>
                  <a:lnTo>
                    <a:pt x="322" y="388"/>
                  </a:lnTo>
                  <a:lnTo>
                    <a:pt x="324" y="388"/>
                  </a:lnTo>
                  <a:lnTo>
                    <a:pt x="324" y="392"/>
                  </a:lnTo>
                  <a:lnTo>
                    <a:pt x="328" y="392"/>
                  </a:lnTo>
                  <a:lnTo>
                    <a:pt x="332" y="392"/>
                  </a:lnTo>
                  <a:lnTo>
                    <a:pt x="336" y="392"/>
                  </a:lnTo>
                  <a:lnTo>
                    <a:pt x="336" y="396"/>
                  </a:lnTo>
                  <a:lnTo>
                    <a:pt x="340" y="392"/>
                  </a:lnTo>
                  <a:lnTo>
                    <a:pt x="344" y="396"/>
                  </a:lnTo>
                  <a:lnTo>
                    <a:pt x="348" y="396"/>
                  </a:lnTo>
                  <a:lnTo>
                    <a:pt x="352" y="396"/>
                  </a:lnTo>
                  <a:lnTo>
                    <a:pt x="354" y="396"/>
                  </a:lnTo>
                  <a:lnTo>
                    <a:pt x="352" y="396"/>
                  </a:lnTo>
                  <a:lnTo>
                    <a:pt x="352" y="392"/>
                  </a:lnTo>
                  <a:lnTo>
                    <a:pt x="354" y="392"/>
                  </a:lnTo>
                  <a:lnTo>
                    <a:pt x="358" y="392"/>
                  </a:lnTo>
                  <a:lnTo>
                    <a:pt x="354" y="392"/>
                  </a:lnTo>
                  <a:lnTo>
                    <a:pt x="358" y="392"/>
                  </a:lnTo>
                  <a:lnTo>
                    <a:pt x="362" y="392"/>
                  </a:lnTo>
                  <a:lnTo>
                    <a:pt x="366" y="396"/>
                  </a:lnTo>
                  <a:lnTo>
                    <a:pt x="370" y="396"/>
                  </a:lnTo>
                  <a:lnTo>
                    <a:pt x="374" y="396"/>
                  </a:lnTo>
                  <a:lnTo>
                    <a:pt x="374" y="400"/>
                  </a:lnTo>
                  <a:lnTo>
                    <a:pt x="378" y="400"/>
                  </a:lnTo>
                  <a:lnTo>
                    <a:pt x="378" y="404"/>
                  </a:lnTo>
                  <a:lnTo>
                    <a:pt x="380" y="404"/>
                  </a:lnTo>
                  <a:lnTo>
                    <a:pt x="380" y="410"/>
                  </a:lnTo>
                  <a:lnTo>
                    <a:pt x="378" y="410"/>
                  </a:lnTo>
                  <a:lnTo>
                    <a:pt x="374" y="410"/>
                  </a:lnTo>
                  <a:lnTo>
                    <a:pt x="370" y="410"/>
                  </a:lnTo>
                  <a:lnTo>
                    <a:pt x="366" y="410"/>
                  </a:lnTo>
                  <a:lnTo>
                    <a:pt x="366" y="414"/>
                  </a:lnTo>
                  <a:lnTo>
                    <a:pt x="366" y="418"/>
                  </a:lnTo>
                  <a:lnTo>
                    <a:pt x="362" y="418"/>
                  </a:lnTo>
                  <a:lnTo>
                    <a:pt x="366" y="418"/>
                  </a:lnTo>
                  <a:lnTo>
                    <a:pt x="366" y="422"/>
                  </a:lnTo>
                  <a:lnTo>
                    <a:pt x="370" y="422"/>
                  </a:lnTo>
                  <a:lnTo>
                    <a:pt x="374" y="422"/>
                  </a:lnTo>
                  <a:lnTo>
                    <a:pt x="378" y="422"/>
                  </a:lnTo>
                  <a:lnTo>
                    <a:pt x="380" y="422"/>
                  </a:lnTo>
                  <a:lnTo>
                    <a:pt x="384" y="422"/>
                  </a:lnTo>
                  <a:lnTo>
                    <a:pt x="388" y="422"/>
                  </a:lnTo>
                  <a:lnTo>
                    <a:pt x="392" y="422"/>
                  </a:lnTo>
                  <a:lnTo>
                    <a:pt x="396" y="422"/>
                  </a:lnTo>
                  <a:lnTo>
                    <a:pt x="396" y="426"/>
                  </a:lnTo>
                  <a:lnTo>
                    <a:pt x="400" y="426"/>
                  </a:lnTo>
                  <a:lnTo>
                    <a:pt x="404" y="426"/>
                  </a:lnTo>
                  <a:lnTo>
                    <a:pt x="408" y="426"/>
                  </a:lnTo>
                  <a:lnTo>
                    <a:pt x="408" y="422"/>
                  </a:lnTo>
                  <a:lnTo>
                    <a:pt x="410" y="422"/>
                  </a:lnTo>
                  <a:lnTo>
                    <a:pt x="414" y="422"/>
                  </a:lnTo>
                  <a:lnTo>
                    <a:pt x="418" y="422"/>
                  </a:lnTo>
                  <a:lnTo>
                    <a:pt x="422" y="422"/>
                  </a:lnTo>
                  <a:lnTo>
                    <a:pt x="424" y="422"/>
                  </a:lnTo>
                  <a:lnTo>
                    <a:pt x="428" y="422"/>
                  </a:lnTo>
                  <a:lnTo>
                    <a:pt x="428" y="418"/>
                  </a:lnTo>
                  <a:lnTo>
                    <a:pt x="432" y="418"/>
                  </a:lnTo>
                  <a:lnTo>
                    <a:pt x="436" y="418"/>
                  </a:lnTo>
                  <a:lnTo>
                    <a:pt x="436" y="414"/>
                  </a:lnTo>
                  <a:lnTo>
                    <a:pt x="440" y="418"/>
                  </a:lnTo>
                  <a:lnTo>
                    <a:pt x="440" y="422"/>
                  </a:lnTo>
                  <a:lnTo>
                    <a:pt x="440" y="418"/>
                  </a:lnTo>
                  <a:lnTo>
                    <a:pt x="440" y="422"/>
                  </a:lnTo>
                  <a:lnTo>
                    <a:pt x="444" y="422"/>
                  </a:lnTo>
                  <a:lnTo>
                    <a:pt x="444" y="426"/>
                  </a:lnTo>
                  <a:lnTo>
                    <a:pt x="444" y="422"/>
                  </a:lnTo>
                  <a:lnTo>
                    <a:pt x="448" y="422"/>
                  </a:lnTo>
                  <a:lnTo>
                    <a:pt x="450" y="422"/>
                  </a:lnTo>
                  <a:lnTo>
                    <a:pt x="450" y="426"/>
                  </a:lnTo>
                  <a:lnTo>
                    <a:pt x="454" y="430"/>
                  </a:lnTo>
                  <a:lnTo>
                    <a:pt x="450" y="430"/>
                  </a:lnTo>
                  <a:lnTo>
                    <a:pt x="454" y="430"/>
                  </a:lnTo>
                  <a:lnTo>
                    <a:pt x="454" y="434"/>
                  </a:lnTo>
                  <a:lnTo>
                    <a:pt x="454" y="430"/>
                  </a:lnTo>
                  <a:lnTo>
                    <a:pt x="454" y="426"/>
                  </a:lnTo>
                  <a:lnTo>
                    <a:pt x="458" y="426"/>
                  </a:lnTo>
                  <a:lnTo>
                    <a:pt x="458" y="430"/>
                  </a:lnTo>
                  <a:lnTo>
                    <a:pt x="458" y="434"/>
                  </a:lnTo>
                  <a:lnTo>
                    <a:pt x="462" y="434"/>
                  </a:lnTo>
                  <a:lnTo>
                    <a:pt x="458" y="430"/>
                  </a:lnTo>
                  <a:lnTo>
                    <a:pt x="462" y="430"/>
                  </a:lnTo>
                  <a:lnTo>
                    <a:pt x="466" y="434"/>
                  </a:lnTo>
                  <a:lnTo>
                    <a:pt x="466" y="436"/>
                  </a:lnTo>
                  <a:lnTo>
                    <a:pt x="470" y="436"/>
                  </a:lnTo>
                  <a:lnTo>
                    <a:pt x="470" y="440"/>
                  </a:lnTo>
                  <a:lnTo>
                    <a:pt x="466" y="440"/>
                  </a:lnTo>
                  <a:lnTo>
                    <a:pt x="462" y="440"/>
                  </a:lnTo>
                  <a:lnTo>
                    <a:pt x="458" y="440"/>
                  </a:lnTo>
                  <a:lnTo>
                    <a:pt x="458" y="436"/>
                  </a:lnTo>
                  <a:lnTo>
                    <a:pt x="458" y="440"/>
                  </a:lnTo>
                  <a:lnTo>
                    <a:pt x="462" y="440"/>
                  </a:lnTo>
                  <a:lnTo>
                    <a:pt x="466" y="440"/>
                  </a:lnTo>
                  <a:lnTo>
                    <a:pt x="466" y="444"/>
                  </a:lnTo>
                  <a:lnTo>
                    <a:pt x="466" y="448"/>
                  </a:lnTo>
                  <a:lnTo>
                    <a:pt x="470" y="448"/>
                  </a:lnTo>
                  <a:lnTo>
                    <a:pt x="470" y="452"/>
                  </a:lnTo>
                  <a:lnTo>
                    <a:pt x="474" y="452"/>
                  </a:lnTo>
                  <a:lnTo>
                    <a:pt x="474" y="456"/>
                  </a:lnTo>
                  <a:lnTo>
                    <a:pt x="478" y="456"/>
                  </a:lnTo>
                  <a:lnTo>
                    <a:pt x="474" y="452"/>
                  </a:lnTo>
                  <a:lnTo>
                    <a:pt x="474" y="448"/>
                  </a:lnTo>
                  <a:lnTo>
                    <a:pt x="470" y="448"/>
                  </a:lnTo>
                  <a:lnTo>
                    <a:pt x="470" y="444"/>
                  </a:lnTo>
                  <a:lnTo>
                    <a:pt x="470" y="440"/>
                  </a:lnTo>
                  <a:lnTo>
                    <a:pt x="474" y="440"/>
                  </a:lnTo>
                  <a:lnTo>
                    <a:pt x="470" y="440"/>
                  </a:lnTo>
                  <a:lnTo>
                    <a:pt x="474" y="440"/>
                  </a:lnTo>
                  <a:lnTo>
                    <a:pt x="474" y="444"/>
                  </a:lnTo>
                  <a:lnTo>
                    <a:pt x="474" y="440"/>
                  </a:lnTo>
                  <a:lnTo>
                    <a:pt x="470" y="440"/>
                  </a:lnTo>
                  <a:lnTo>
                    <a:pt x="474" y="444"/>
                  </a:lnTo>
                  <a:lnTo>
                    <a:pt x="474" y="440"/>
                  </a:lnTo>
                  <a:lnTo>
                    <a:pt x="478" y="440"/>
                  </a:lnTo>
                  <a:lnTo>
                    <a:pt x="478" y="444"/>
                  </a:lnTo>
                  <a:lnTo>
                    <a:pt x="480" y="444"/>
                  </a:lnTo>
                  <a:lnTo>
                    <a:pt x="478" y="444"/>
                  </a:lnTo>
                  <a:lnTo>
                    <a:pt x="478" y="440"/>
                  </a:lnTo>
                  <a:lnTo>
                    <a:pt x="478" y="436"/>
                  </a:lnTo>
                  <a:lnTo>
                    <a:pt x="474" y="436"/>
                  </a:lnTo>
                  <a:lnTo>
                    <a:pt x="470" y="434"/>
                  </a:lnTo>
                  <a:lnTo>
                    <a:pt x="474" y="430"/>
                  </a:lnTo>
                  <a:lnTo>
                    <a:pt x="470" y="426"/>
                  </a:lnTo>
                  <a:lnTo>
                    <a:pt x="466" y="426"/>
                  </a:lnTo>
                  <a:lnTo>
                    <a:pt x="466" y="422"/>
                  </a:lnTo>
                  <a:lnTo>
                    <a:pt x="466" y="418"/>
                  </a:lnTo>
                  <a:lnTo>
                    <a:pt x="470" y="418"/>
                  </a:lnTo>
                  <a:lnTo>
                    <a:pt x="466" y="414"/>
                  </a:lnTo>
                  <a:lnTo>
                    <a:pt x="470" y="414"/>
                  </a:lnTo>
                  <a:lnTo>
                    <a:pt x="474" y="414"/>
                  </a:lnTo>
                  <a:lnTo>
                    <a:pt x="478" y="414"/>
                  </a:lnTo>
                  <a:lnTo>
                    <a:pt x="480" y="414"/>
                  </a:lnTo>
                  <a:lnTo>
                    <a:pt x="484" y="414"/>
                  </a:lnTo>
                  <a:lnTo>
                    <a:pt x="484" y="410"/>
                  </a:lnTo>
                  <a:lnTo>
                    <a:pt x="488" y="410"/>
                  </a:lnTo>
                  <a:lnTo>
                    <a:pt x="488" y="408"/>
                  </a:lnTo>
                  <a:lnTo>
                    <a:pt x="492" y="408"/>
                  </a:lnTo>
                  <a:lnTo>
                    <a:pt x="500" y="408"/>
                  </a:lnTo>
                  <a:lnTo>
                    <a:pt x="500" y="404"/>
                  </a:lnTo>
                  <a:lnTo>
                    <a:pt x="500" y="400"/>
                  </a:lnTo>
                  <a:lnTo>
                    <a:pt x="496" y="400"/>
                  </a:lnTo>
                  <a:lnTo>
                    <a:pt x="492" y="404"/>
                  </a:lnTo>
                  <a:lnTo>
                    <a:pt x="488" y="404"/>
                  </a:lnTo>
                  <a:lnTo>
                    <a:pt x="484" y="404"/>
                  </a:lnTo>
                  <a:lnTo>
                    <a:pt x="488" y="408"/>
                  </a:lnTo>
                  <a:lnTo>
                    <a:pt x="484" y="408"/>
                  </a:lnTo>
                  <a:lnTo>
                    <a:pt x="480" y="408"/>
                  </a:lnTo>
                  <a:lnTo>
                    <a:pt x="478" y="410"/>
                  </a:lnTo>
                  <a:lnTo>
                    <a:pt x="478" y="408"/>
                  </a:lnTo>
                  <a:lnTo>
                    <a:pt x="474" y="408"/>
                  </a:lnTo>
                  <a:lnTo>
                    <a:pt x="470" y="408"/>
                  </a:lnTo>
                  <a:lnTo>
                    <a:pt x="470" y="410"/>
                  </a:lnTo>
                  <a:lnTo>
                    <a:pt x="474" y="410"/>
                  </a:lnTo>
                  <a:lnTo>
                    <a:pt x="470" y="410"/>
                  </a:lnTo>
                  <a:lnTo>
                    <a:pt x="466" y="410"/>
                  </a:lnTo>
                  <a:lnTo>
                    <a:pt x="462" y="410"/>
                  </a:lnTo>
                  <a:lnTo>
                    <a:pt x="462" y="414"/>
                  </a:lnTo>
                  <a:lnTo>
                    <a:pt x="462" y="410"/>
                  </a:lnTo>
                  <a:lnTo>
                    <a:pt x="462" y="414"/>
                  </a:lnTo>
                  <a:lnTo>
                    <a:pt x="462" y="410"/>
                  </a:lnTo>
                  <a:lnTo>
                    <a:pt x="462" y="408"/>
                  </a:lnTo>
                  <a:lnTo>
                    <a:pt x="458" y="408"/>
                  </a:lnTo>
                  <a:lnTo>
                    <a:pt x="458" y="410"/>
                  </a:lnTo>
                  <a:lnTo>
                    <a:pt x="454" y="410"/>
                  </a:lnTo>
                  <a:lnTo>
                    <a:pt x="454" y="408"/>
                  </a:lnTo>
                  <a:lnTo>
                    <a:pt x="458" y="408"/>
                  </a:lnTo>
                  <a:lnTo>
                    <a:pt x="458" y="404"/>
                  </a:lnTo>
                  <a:lnTo>
                    <a:pt x="462" y="404"/>
                  </a:lnTo>
                  <a:lnTo>
                    <a:pt x="462" y="400"/>
                  </a:lnTo>
                  <a:lnTo>
                    <a:pt x="466" y="400"/>
                  </a:lnTo>
                  <a:lnTo>
                    <a:pt x="470" y="400"/>
                  </a:lnTo>
                  <a:lnTo>
                    <a:pt x="474" y="400"/>
                  </a:lnTo>
                  <a:lnTo>
                    <a:pt x="478" y="400"/>
                  </a:lnTo>
                  <a:lnTo>
                    <a:pt x="480" y="396"/>
                  </a:lnTo>
                  <a:lnTo>
                    <a:pt x="484" y="396"/>
                  </a:lnTo>
                  <a:lnTo>
                    <a:pt x="492" y="392"/>
                  </a:lnTo>
                  <a:lnTo>
                    <a:pt x="496" y="396"/>
                  </a:lnTo>
                  <a:lnTo>
                    <a:pt x="500" y="396"/>
                  </a:lnTo>
                  <a:lnTo>
                    <a:pt x="504" y="400"/>
                  </a:lnTo>
                  <a:lnTo>
                    <a:pt x="504" y="404"/>
                  </a:lnTo>
                  <a:lnTo>
                    <a:pt x="500" y="408"/>
                  </a:lnTo>
                  <a:lnTo>
                    <a:pt x="504" y="408"/>
                  </a:lnTo>
                  <a:lnTo>
                    <a:pt x="508" y="410"/>
                  </a:lnTo>
                  <a:lnTo>
                    <a:pt x="508" y="408"/>
                  </a:lnTo>
                  <a:lnTo>
                    <a:pt x="510" y="408"/>
                  </a:lnTo>
                  <a:lnTo>
                    <a:pt x="510" y="410"/>
                  </a:lnTo>
                  <a:lnTo>
                    <a:pt x="514" y="410"/>
                  </a:lnTo>
                  <a:lnTo>
                    <a:pt x="514" y="414"/>
                  </a:lnTo>
                  <a:lnTo>
                    <a:pt x="518" y="414"/>
                  </a:lnTo>
                  <a:lnTo>
                    <a:pt x="522" y="414"/>
                  </a:lnTo>
                  <a:lnTo>
                    <a:pt x="526" y="414"/>
                  </a:lnTo>
                  <a:lnTo>
                    <a:pt x="530" y="414"/>
                  </a:lnTo>
                  <a:lnTo>
                    <a:pt x="530" y="410"/>
                  </a:lnTo>
                  <a:lnTo>
                    <a:pt x="534" y="410"/>
                  </a:lnTo>
                  <a:lnTo>
                    <a:pt x="534" y="414"/>
                  </a:lnTo>
                  <a:lnTo>
                    <a:pt x="534" y="418"/>
                  </a:lnTo>
                  <a:lnTo>
                    <a:pt x="536" y="418"/>
                  </a:lnTo>
                  <a:lnTo>
                    <a:pt x="540" y="422"/>
                  </a:lnTo>
                  <a:lnTo>
                    <a:pt x="544" y="422"/>
                  </a:lnTo>
                  <a:lnTo>
                    <a:pt x="548" y="422"/>
                  </a:lnTo>
                  <a:lnTo>
                    <a:pt x="552" y="422"/>
                  </a:lnTo>
                  <a:lnTo>
                    <a:pt x="556" y="422"/>
                  </a:lnTo>
                  <a:lnTo>
                    <a:pt x="560" y="426"/>
                  </a:lnTo>
                  <a:lnTo>
                    <a:pt x="560" y="422"/>
                  </a:lnTo>
                  <a:lnTo>
                    <a:pt x="564" y="422"/>
                  </a:lnTo>
                  <a:lnTo>
                    <a:pt x="566" y="422"/>
                  </a:lnTo>
                  <a:lnTo>
                    <a:pt x="570" y="422"/>
                  </a:lnTo>
                  <a:lnTo>
                    <a:pt x="574" y="418"/>
                  </a:lnTo>
                  <a:lnTo>
                    <a:pt x="578" y="418"/>
                  </a:lnTo>
                  <a:lnTo>
                    <a:pt x="578" y="422"/>
                  </a:lnTo>
                  <a:lnTo>
                    <a:pt x="582" y="422"/>
                  </a:lnTo>
                  <a:lnTo>
                    <a:pt x="586" y="422"/>
                  </a:lnTo>
                  <a:lnTo>
                    <a:pt x="590" y="422"/>
                  </a:lnTo>
                  <a:lnTo>
                    <a:pt x="592" y="422"/>
                  </a:lnTo>
                  <a:lnTo>
                    <a:pt x="596" y="422"/>
                  </a:lnTo>
                  <a:lnTo>
                    <a:pt x="600" y="422"/>
                  </a:lnTo>
                  <a:lnTo>
                    <a:pt x="604" y="422"/>
                  </a:lnTo>
                  <a:lnTo>
                    <a:pt x="600" y="418"/>
                  </a:lnTo>
                  <a:lnTo>
                    <a:pt x="596" y="418"/>
                  </a:lnTo>
                  <a:lnTo>
                    <a:pt x="596" y="414"/>
                  </a:lnTo>
                  <a:lnTo>
                    <a:pt x="600" y="414"/>
                  </a:lnTo>
                  <a:lnTo>
                    <a:pt x="604" y="418"/>
                  </a:lnTo>
                  <a:lnTo>
                    <a:pt x="608" y="422"/>
                  </a:lnTo>
                  <a:lnTo>
                    <a:pt x="612" y="426"/>
                  </a:lnTo>
                  <a:lnTo>
                    <a:pt x="616" y="426"/>
                  </a:lnTo>
                  <a:lnTo>
                    <a:pt x="620" y="426"/>
                  </a:lnTo>
                  <a:lnTo>
                    <a:pt x="620" y="422"/>
                  </a:lnTo>
                  <a:lnTo>
                    <a:pt x="620" y="418"/>
                  </a:lnTo>
                  <a:lnTo>
                    <a:pt x="616" y="418"/>
                  </a:lnTo>
                  <a:lnTo>
                    <a:pt x="612" y="414"/>
                  </a:lnTo>
                  <a:lnTo>
                    <a:pt x="612" y="418"/>
                  </a:lnTo>
                  <a:lnTo>
                    <a:pt x="608" y="418"/>
                  </a:lnTo>
                  <a:lnTo>
                    <a:pt x="608" y="422"/>
                  </a:lnTo>
                  <a:lnTo>
                    <a:pt x="604" y="418"/>
                  </a:lnTo>
                  <a:lnTo>
                    <a:pt x="604" y="414"/>
                  </a:lnTo>
                  <a:lnTo>
                    <a:pt x="600" y="410"/>
                  </a:lnTo>
                  <a:lnTo>
                    <a:pt x="600" y="414"/>
                  </a:lnTo>
                  <a:lnTo>
                    <a:pt x="604" y="414"/>
                  </a:lnTo>
                  <a:lnTo>
                    <a:pt x="604" y="410"/>
                  </a:lnTo>
                  <a:lnTo>
                    <a:pt x="600" y="410"/>
                  </a:lnTo>
                  <a:lnTo>
                    <a:pt x="600" y="408"/>
                  </a:lnTo>
                  <a:lnTo>
                    <a:pt x="596" y="408"/>
                  </a:lnTo>
                  <a:lnTo>
                    <a:pt x="600" y="408"/>
                  </a:lnTo>
                  <a:lnTo>
                    <a:pt x="604" y="408"/>
                  </a:lnTo>
                  <a:lnTo>
                    <a:pt x="608" y="408"/>
                  </a:lnTo>
                  <a:lnTo>
                    <a:pt x="612" y="408"/>
                  </a:lnTo>
                  <a:lnTo>
                    <a:pt x="608" y="408"/>
                  </a:lnTo>
                  <a:lnTo>
                    <a:pt x="608" y="404"/>
                  </a:lnTo>
                  <a:lnTo>
                    <a:pt x="612" y="404"/>
                  </a:lnTo>
                  <a:lnTo>
                    <a:pt x="616" y="408"/>
                  </a:lnTo>
                  <a:lnTo>
                    <a:pt x="616" y="404"/>
                  </a:lnTo>
                  <a:lnTo>
                    <a:pt x="620" y="404"/>
                  </a:lnTo>
                  <a:lnTo>
                    <a:pt x="620" y="408"/>
                  </a:lnTo>
                  <a:lnTo>
                    <a:pt x="622" y="408"/>
                  </a:lnTo>
                  <a:lnTo>
                    <a:pt x="622" y="410"/>
                  </a:lnTo>
                  <a:lnTo>
                    <a:pt x="626" y="410"/>
                  </a:lnTo>
                  <a:lnTo>
                    <a:pt x="630" y="410"/>
                  </a:lnTo>
                  <a:lnTo>
                    <a:pt x="630" y="408"/>
                  </a:lnTo>
                  <a:lnTo>
                    <a:pt x="630" y="410"/>
                  </a:lnTo>
                  <a:lnTo>
                    <a:pt x="626" y="414"/>
                  </a:lnTo>
                  <a:lnTo>
                    <a:pt x="630" y="414"/>
                  </a:lnTo>
                  <a:lnTo>
                    <a:pt x="630" y="410"/>
                  </a:lnTo>
                  <a:lnTo>
                    <a:pt x="634" y="410"/>
                  </a:lnTo>
                  <a:lnTo>
                    <a:pt x="638" y="410"/>
                  </a:lnTo>
                  <a:lnTo>
                    <a:pt x="634" y="410"/>
                  </a:lnTo>
                  <a:lnTo>
                    <a:pt x="638" y="414"/>
                  </a:lnTo>
                  <a:lnTo>
                    <a:pt x="634" y="414"/>
                  </a:lnTo>
                  <a:lnTo>
                    <a:pt x="634" y="418"/>
                  </a:lnTo>
                  <a:lnTo>
                    <a:pt x="634" y="422"/>
                  </a:lnTo>
                  <a:lnTo>
                    <a:pt x="634" y="426"/>
                  </a:lnTo>
                  <a:lnTo>
                    <a:pt x="630" y="426"/>
                  </a:lnTo>
                  <a:lnTo>
                    <a:pt x="630" y="430"/>
                  </a:lnTo>
                  <a:lnTo>
                    <a:pt x="634" y="430"/>
                  </a:lnTo>
                  <a:lnTo>
                    <a:pt x="634" y="434"/>
                  </a:lnTo>
                  <a:lnTo>
                    <a:pt x="634" y="436"/>
                  </a:lnTo>
                  <a:lnTo>
                    <a:pt x="638" y="434"/>
                  </a:lnTo>
                  <a:lnTo>
                    <a:pt x="642" y="434"/>
                  </a:lnTo>
                  <a:lnTo>
                    <a:pt x="642" y="436"/>
                  </a:lnTo>
                  <a:lnTo>
                    <a:pt x="638" y="436"/>
                  </a:lnTo>
                  <a:lnTo>
                    <a:pt x="642" y="436"/>
                  </a:lnTo>
                  <a:lnTo>
                    <a:pt x="646" y="436"/>
                  </a:lnTo>
                  <a:lnTo>
                    <a:pt x="646" y="440"/>
                  </a:lnTo>
                  <a:lnTo>
                    <a:pt x="642" y="440"/>
                  </a:lnTo>
                  <a:lnTo>
                    <a:pt x="638" y="440"/>
                  </a:lnTo>
                  <a:lnTo>
                    <a:pt x="634" y="440"/>
                  </a:lnTo>
                  <a:lnTo>
                    <a:pt x="630" y="440"/>
                  </a:lnTo>
                  <a:lnTo>
                    <a:pt x="630" y="436"/>
                  </a:lnTo>
                  <a:lnTo>
                    <a:pt x="630" y="440"/>
                  </a:lnTo>
                  <a:lnTo>
                    <a:pt x="634" y="440"/>
                  </a:lnTo>
                  <a:lnTo>
                    <a:pt x="634" y="444"/>
                  </a:lnTo>
                  <a:lnTo>
                    <a:pt x="638" y="444"/>
                  </a:lnTo>
                  <a:lnTo>
                    <a:pt x="638" y="448"/>
                  </a:lnTo>
                  <a:lnTo>
                    <a:pt x="642" y="448"/>
                  </a:lnTo>
                  <a:lnTo>
                    <a:pt x="638" y="444"/>
                  </a:lnTo>
                  <a:lnTo>
                    <a:pt x="634" y="444"/>
                  </a:lnTo>
                  <a:lnTo>
                    <a:pt x="634" y="440"/>
                  </a:lnTo>
                  <a:lnTo>
                    <a:pt x="638" y="440"/>
                  </a:lnTo>
                  <a:lnTo>
                    <a:pt x="642" y="440"/>
                  </a:lnTo>
                  <a:lnTo>
                    <a:pt x="642" y="444"/>
                  </a:lnTo>
                  <a:lnTo>
                    <a:pt x="646" y="444"/>
                  </a:lnTo>
                  <a:lnTo>
                    <a:pt x="650" y="440"/>
                  </a:lnTo>
                  <a:lnTo>
                    <a:pt x="646" y="440"/>
                  </a:lnTo>
                  <a:lnTo>
                    <a:pt x="646" y="436"/>
                  </a:lnTo>
                  <a:lnTo>
                    <a:pt x="650" y="434"/>
                  </a:lnTo>
                  <a:lnTo>
                    <a:pt x="646" y="434"/>
                  </a:lnTo>
                  <a:lnTo>
                    <a:pt x="646" y="430"/>
                  </a:lnTo>
                  <a:lnTo>
                    <a:pt x="646" y="426"/>
                  </a:lnTo>
                  <a:lnTo>
                    <a:pt x="642" y="426"/>
                  </a:lnTo>
                  <a:lnTo>
                    <a:pt x="642" y="422"/>
                  </a:lnTo>
                  <a:lnTo>
                    <a:pt x="646" y="418"/>
                  </a:lnTo>
                  <a:lnTo>
                    <a:pt x="642" y="418"/>
                  </a:lnTo>
                  <a:lnTo>
                    <a:pt x="646" y="418"/>
                  </a:lnTo>
                  <a:lnTo>
                    <a:pt x="646" y="414"/>
                  </a:lnTo>
                  <a:lnTo>
                    <a:pt x="650" y="414"/>
                  </a:lnTo>
                  <a:lnTo>
                    <a:pt x="652" y="414"/>
                  </a:lnTo>
                  <a:lnTo>
                    <a:pt x="656" y="414"/>
                  </a:lnTo>
                  <a:lnTo>
                    <a:pt x="660" y="410"/>
                  </a:lnTo>
                  <a:lnTo>
                    <a:pt x="664" y="410"/>
                  </a:lnTo>
                  <a:lnTo>
                    <a:pt x="664" y="408"/>
                  </a:lnTo>
                  <a:lnTo>
                    <a:pt x="660" y="408"/>
                  </a:lnTo>
                  <a:lnTo>
                    <a:pt x="664" y="408"/>
                  </a:lnTo>
                  <a:lnTo>
                    <a:pt x="664" y="404"/>
                  </a:lnTo>
                  <a:lnTo>
                    <a:pt x="668" y="404"/>
                  </a:lnTo>
                  <a:lnTo>
                    <a:pt x="672" y="404"/>
                  </a:lnTo>
                  <a:lnTo>
                    <a:pt x="672" y="400"/>
                  </a:lnTo>
                  <a:lnTo>
                    <a:pt x="668" y="400"/>
                  </a:lnTo>
                  <a:lnTo>
                    <a:pt x="668" y="396"/>
                  </a:lnTo>
                  <a:lnTo>
                    <a:pt x="672" y="396"/>
                  </a:lnTo>
                  <a:lnTo>
                    <a:pt x="672" y="392"/>
                  </a:lnTo>
                  <a:lnTo>
                    <a:pt x="668" y="392"/>
                  </a:lnTo>
                  <a:lnTo>
                    <a:pt x="664" y="392"/>
                  </a:lnTo>
                  <a:lnTo>
                    <a:pt x="664" y="396"/>
                  </a:lnTo>
                  <a:lnTo>
                    <a:pt x="668" y="396"/>
                  </a:lnTo>
                  <a:lnTo>
                    <a:pt x="668" y="392"/>
                  </a:lnTo>
                  <a:lnTo>
                    <a:pt x="668" y="396"/>
                  </a:lnTo>
                  <a:lnTo>
                    <a:pt x="664" y="396"/>
                  </a:lnTo>
                  <a:lnTo>
                    <a:pt x="660" y="400"/>
                  </a:lnTo>
                  <a:lnTo>
                    <a:pt x="656" y="400"/>
                  </a:lnTo>
                  <a:lnTo>
                    <a:pt x="656" y="396"/>
                  </a:lnTo>
                  <a:lnTo>
                    <a:pt x="656" y="392"/>
                  </a:lnTo>
                  <a:lnTo>
                    <a:pt x="660" y="392"/>
                  </a:lnTo>
                  <a:lnTo>
                    <a:pt x="664" y="388"/>
                  </a:lnTo>
                  <a:lnTo>
                    <a:pt x="660" y="388"/>
                  </a:lnTo>
                  <a:lnTo>
                    <a:pt x="660" y="384"/>
                  </a:lnTo>
                  <a:lnTo>
                    <a:pt x="664" y="380"/>
                  </a:lnTo>
                  <a:lnTo>
                    <a:pt x="668" y="380"/>
                  </a:lnTo>
                  <a:lnTo>
                    <a:pt x="672" y="380"/>
                  </a:lnTo>
                  <a:lnTo>
                    <a:pt x="668" y="380"/>
                  </a:lnTo>
                  <a:lnTo>
                    <a:pt x="668" y="384"/>
                  </a:lnTo>
                  <a:lnTo>
                    <a:pt x="668" y="388"/>
                  </a:lnTo>
                  <a:lnTo>
                    <a:pt x="672" y="384"/>
                  </a:lnTo>
                  <a:lnTo>
                    <a:pt x="676" y="380"/>
                  </a:lnTo>
                  <a:lnTo>
                    <a:pt x="672" y="380"/>
                  </a:lnTo>
                  <a:lnTo>
                    <a:pt x="672" y="378"/>
                  </a:lnTo>
                  <a:lnTo>
                    <a:pt x="668" y="378"/>
                  </a:lnTo>
                  <a:lnTo>
                    <a:pt x="668" y="380"/>
                  </a:lnTo>
                  <a:lnTo>
                    <a:pt x="664" y="380"/>
                  </a:lnTo>
                  <a:lnTo>
                    <a:pt x="660" y="380"/>
                  </a:lnTo>
                  <a:lnTo>
                    <a:pt x="660" y="378"/>
                  </a:lnTo>
                  <a:lnTo>
                    <a:pt x="656" y="378"/>
                  </a:lnTo>
                  <a:lnTo>
                    <a:pt x="656" y="374"/>
                  </a:lnTo>
                  <a:lnTo>
                    <a:pt x="652" y="374"/>
                  </a:lnTo>
                  <a:lnTo>
                    <a:pt x="656" y="378"/>
                  </a:lnTo>
                  <a:lnTo>
                    <a:pt x="652" y="378"/>
                  </a:lnTo>
                  <a:lnTo>
                    <a:pt x="650" y="378"/>
                  </a:lnTo>
                  <a:lnTo>
                    <a:pt x="650" y="374"/>
                  </a:lnTo>
                  <a:lnTo>
                    <a:pt x="646" y="374"/>
                  </a:lnTo>
                  <a:lnTo>
                    <a:pt x="642" y="374"/>
                  </a:lnTo>
                  <a:lnTo>
                    <a:pt x="642" y="370"/>
                  </a:lnTo>
                  <a:lnTo>
                    <a:pt x="638" y="370"/>
                  </a:lnTo>
                  <a:lnTo>
                    <a:pt x="634" y="370"/>
                  </a:lnTo>
                  <a:lnTo>
                    <a:pt x="634" y="366"/>
                  </a:lnTo>
                  <a:lnTo>
                    <a:pt x="630" y="366"/>
                  </a:lnTo>
                  <a:lnTo>
                    <a:pt x="630" y="362"/>
                  </a:lnTo>
                  <a:lnTo>
                    <a:pt x="630" y="358"/>
                  </a:lnTo>
                  <a:lnTo>
                    <a:pt x="634" y="350"/>
                  </a:lnTo>
                  <a:lnTo>
                    <a:pt x="638" y="350"/>
                  </a:lnTo>
                  <a:lnTo>
                    <a:pt x="634" y="350"/>
                  </a:lnTo>
                  <a:lnTo>
                    <a:pt x="638" y="348"/>
                  </a:lnTo>
                  <a:lnTo>
                    <a:pt x="634" y="348"/>
                  </a:lnTo>
                  <a:lnTo>
                    <a:pt x="634" y="350"/>
                  </a:lnTo>
                  <a:lnTo>
                    <a:pt x="630" y="348"/>
                  </a:lnTo>
                  <a:lnTo>
                    <a:pt x="626" y="348"/>
                  </a:lnTo>
                  <a:lnTo>
                    <a:pt x="626" y="344"/>
                  </a:lnTo>
                  <a:lnTo>
                    <a:pt x="630" y="344"/>
                  </a:lnTo>
                  <a:lnTo>
                    <a:pt x="630" y="340"/>
                  </a:lnTo>
                  <a:lnTo>
                    <a:pt x="630" y="336"/>
                  </a:lnTo>
                  <a:lnTo>
                    <a:pt x="630" y="340"/>
                  </a:lnTo>
                  <a:lnTo>
                    <a:pt x="630" y="336"/>
                  </a:lnTo>
                  <a:lnTo>
                    <a:pt x="630" y="332"/>
                  </a:lnTo>
                  <a:lnTo>
                    <a:pt x="634" y="332"/>
                  </a:lnTo>
                  <a:lnTo>
                    <a:pt x="634" y="328"/>
                  </a:lnTo>
                  <a:lnTo>
                    <a:pt x="638" y="328"/>
                  </a:lnTo>
                  <a:lnTo>
                    <a:pt x="638" y="332"/>
                  </a:lnTo>
                  <a:lnTo>
                    <a:pt x="642" y="332"/>
                  </a:lnTo>
                  <a:lnTo>
                    <a:pt x="646" y="332"/>
                  </a:lnTo>
                  <a:lnTo>
                    <a:pt x="642" y="328"/>
                  </a:lnTo>
                  <a:lnTo>
                    <a:pt x="638" y="328"/>
                  </a:lnTo>
                  <a:lnTo>
                    <a:pt x="638" y="324"/>
                  </a:lnTo>
                  <a:lnTo>
                    <a:pt x="642" y="324"/>
                  </a:lnTo>
                  <a:lnTo>
                    <a:pt x="642" y="322"/>
                  </a:lnTo>
                  <a:lnTo>
                    <a:pt x="646" y="322"/>
                  </a:lnTo>
                  <a:lnTo>
                    <a:pt x="650" y="318"/>
                  </a:lnTo>
                  <a:lnTo>
                    <a:pt x="652" y="318"/>
                  </a:lnTo>
                  <a:lnTo>
                    <a:pt x="656" y="318"/>
                  </a:lnTo>
                  <a:lnTo>
                    <a:pt x="652" y="318"/>
                  </a:lnTo>
                  <a:lnTo>
                    <a:pt x="650" y="318"/>
                  </a:lnTo>
                  <a:lnTo>
                    <a:pt x="652" y="314"/>
                  </a:lnTo>
                  <a:lnTo>
                    <a:pt x="656" y="314"/>
                  </a:lnTo>
                  <a:lnTo>
                    <a:pt x="660" y="318"/>
                  </a:lnTo>
                  <a:lnTo>
                    <a:pt x="656" y="318"/>
                  </a:lnTo>
                  <a:lnTo>
                    <a:pt x="656" y="322"/>
                  </a:lnTo>
                  <a:lnTo>
                    <a:pt x="656" y="318"/>
                  </a:lnTo>
                  <a:lnTo>
                    <a:pt x="660" y="318"/>
                  </a:lnTo>
                  <a:lnTo>
                    <a:pt x="660" y="322"/>
                  </a:lnTo>
                  <a:lnTo>
                    <a:pt x="664" y="322"/>
                  </a:lnTo>
                  <a:lnTo>
                    <a:pt x="668" y="322"/>
                  </a:lnTo>
                  <a:lnTo>
                    <a:pt x="668" y="324"/>
                  </a:lnTo>
                  <a:lnTo>
                    <a:pt x="672" y="324"/>
                  </a:lnTo>
                  <a:lnTo>
                    <a:pt x="676" y="328"/>
                  </a:lnTo>
                  <a:lnTo>
                    <a:pt x="678" y="332"/>
                  </a:lnTo>
                  <a:lnTo>
                    <a:pt x="678" y="336"/>
                  </a:lnTo>
                  <a:lnTo>
                    <a:pt x="682" y="336"/>
                  </a:lnTo>
                  <a:lnTo>
                    <a:pt x="682" y="340"/>
                  </a:lnTo>
                  <a:lnTo>
                    <a:pt x="678" y="344"/>
                  </a:lnTo>
                  <a:lnTo>
                    <a:pt x="682" y="344"/>
                  </a:lnTo>
                  <a:lnTo>
                    <a:pt x="682" y="348"/>
                  </a:lnTo>
                  <a:lnTo>
                    <a:pt x="686" y="348"/>
                  </a:lnTo>
                  <a:lnTo>
                    <a:pt x="690" y="350"/>
                  </a:lnTo>
                  <a:lnTo>
                    <a:pt x="690" y="354"/>
                  </a:lnTo>
                  <a:lnTo>
                    <a:pt x="694" y="354"/>
                  </a:lnTo>
                  <a:lnTo>
                    <a:pt x="694" y="358"/>
                  </a:lnTo>
                  <a:lnTo>
                    <a:pt x="694" y="354"/>
                  </a:lnTo>
                  <a:lnTo>
                    <a:pt x="698" y="354"/>
                  </a:lnTo>
                  <a:lnTo>
                    <a:pt x="698" y="358"/>
                  </a:lnTo>
                  <a:lnTo>
                    <a:pt x="702" y="362"/>
                  </a:lnTo>
                  <a:lnTo>
                    <a:pt x="698" y="362"/>
                  </a:lnTo>
                  <a:lnTo>
                    <a:pt x="694" y="362"/>
                  </a:lnTo>
                  <a:lnTo>
                    <a:pt x="690" y="358"/>
                  </a:lnTo>
                  <a:lnTo>
                    <a:pt x="690" y="362"/>
                  </a:lnTo>
                  <a:lnTo>
                    <a:pt x="686" y="362"/>
                  </a:lnTo>
                  <a:lnTo>
                    <a:pt x="690" y="362"/>
                  </a:lnTo>
                  <a:lnTo>
                    <a:pt x="694" y="362"/>
                  </a:lnTo>
                  <a:lnTo>
                    <a:pt x="694" y="366"/>
                  </a:lnTo>
                  <a:lnTo>
                    <a:pt x="690" y="366"/>
                  </a:lnTo>
                  <a:lnTo>
                    <a:pt x="686" y="370"/>
                  </a:lnTo>
                  <a:lnTo>
                    <a:pt x="682" y="374"/>
                  </a:lnTo>
                  <a:lnTo>
                    <a:pt x="686" y="374"/>
                  </a:lnTo>
                  <a:lnTo>
                    <a:pt x="682" y="374"/>
                  </a:lnTo>
                  <a:lnTo>
                    <a:pt x="678" y="374"/>
                  </a:lnTo>
                  <a:lnTo>
                    <a:pt x="682" y="374"/>
                  </a:lnTo>
                  <a:lnTo>
                    <a:pt x="686" y="374"/>
                  </a:lnTo>
                  <a:lnTo>
                    <a:pt x="690" y="374"/>
                  </a:lnTo>
                  <a:lnTo>
                    <a:pt x="694" y="378"/>
                  </a:lnTo>
                  <a:lnTo>
                    <a:pt x="690" y="378"/>
                  </a:lnTo>
                  <a:lnTo>
                    <a:pt x="690" y="374"/>
                  </a:lnTo>
                  <a:lnTo>
                    <a:pt x="690" y="378"/>
                  </a:lnTo>
                  <a:lnTo>
                    <a:pt x="694" y="378"/>
                  </a:lnTo>
                  <a:lnTo>
                    <a:pt x="698" y="378"/>
                  </a:lnTo>
                  <a:lnTo>
                    <a:pt x="702" y="374"/>
                  </a:lnTo>
                  <a:lnTo>
                    <a:pt x="706" y="374"/>
                  </a:lnTo>
                  <a:lnTo>
                    <a:pt x="702" y="378"/>
                  </a:lnTo>
                  <a:lnTo>
                    <a:pt x="706" y="378"/>
                  </a:lnTo>
                  <a:lnTo>
                    <a:pt x="708" y="378"/>
                  </a:lnTo>
                  <a:lnTo>
                    <a:pt x="712" y="378"/>
                  </a:lnTo>
                  <a:lnTo>
                    <a:pt x="716" y="378"/>
                  </a:lnTo>
                  <a:lnTo>
                    <a:pt x="716" y="380"/>
                  </a:lnTo>
                  <a:lnTo>
                    <a:pt x="712" y="380"/>
                  </a:lnTo>
                  <a:lnTo>
                    <a:pt x="708" y="380"/>
                  </a:lnTo>
                  <a:lnTo>
                    <a:pt x="708" y="384"/>
                  </a:lnTo>
                  <a:lnTo>
                    <a:pt x="706" y="384"/>
                  </a:lnTo>
                  <a:lnTo>
                    <a:pt x="702" y="384"/>
                  </a:lnTo>
                  <a:lnTo>
                    <a:pt x="702" y="380"/>
                  </a:lnTo>
                  <a:lnTo>
                    <a:pt x="702" y="384"/>
                  </a:lnTo>
                  <a:lnTo>
                    <a:pt x="706" y="384"/>
                  </a:lnTo>
                  <a:lnTo>
                    <a:pt x="708" y="384"/>
                  </a:lnTo>
                  <a:lnTo>
                    <a:pt x="708" y="388"/>
                  </a:lnTo>
                  <a:lnTo>
                    <a:pt x="712" y="388"/>
                  </a:lnTo>
                  <a:lnTo>
                    <a:pt x="712" y="392"/>
                  </a:lnTo>
                  <a:lnTo>
                    <a:pt x="716" y="392"/>
                  </a:lnTo>
                  <a:lnTo>
                    <a:pt x="716" y="396"/>
                  </a:lnTo>
                  <a:lnTo>
                    <a:pt x="712" y="396"/>
                  </a:lnTo>
                  <a:lnTo>
                    <a:pt x="716" y="400"/>
                  </a:lnTo>
                  <a:lnTo>
                    <a:pt x="716" y="404"/>
                  </a:lnTo>
                  <a:lnTo>
                    <a:pt x="712" y="404"/>
                  </a:lnTo>
                  <a:lnTo>
                    <a:pt x="712" y="408"/>
                  </a:lnTo>
                  <a:lnTo>
                    <a:pt x="716" y="408"/>
                  </a:lnTo>
                  <a:lnTo>
                    <a:pt x="716" y="410"/>
                  </a:lnTo>
                  <a:lnTo>
                    <a:pt x="720" y="410"/>
                  </a:lnTo>
                  <a:lnTo>
                    <a:pt x="720" y="408"/>
                  </a:lnTo>
                  <a:lnTo>
                    <a:pt x="724" y="408"/>
                  </a:lnTo>
                  <a:lnTo>
                    <a:pt x="724" y="404"/>
                  </a:lnTo>
                  <a:lnTo>
                    <a:pt x="724" y="400"/>
                  </a:lnTo>
                  <a:lnTo>
                    <a:pt x="728" y="396"/>
                  </a:lnTo>
                  <a:lnTo>
                    <a:pt x="724" y="392"/>
                  </a:lnTo>
                  <a:lnTo>
                    <a:pt x="728" y="392"/>
                  </a:lnTo>
                  <a:lnTo>
                    <a:pt x="728" y="388"/>
                  </a:lnTo>
                  <a:lnTo>
                    <a:pt x="732" y="388"/>
                  </a:lnTo>
                  <a:lnTo>
                    <a:pt x="732" y="384"/>
                  </a:lnTo>
                  <a:lnTo>
                    <a:pt x="734" y="384"/>
                  </a:lnTo>
                  <a:lnTo>
                    <a:pt x="738" y="388"/>
                  </a:lnTo>
                  <a:lnTo>
                    <a:pt x="742" y="388"/>
                  </a:lnTo>
                  <a:lnTo>
                    <a:pt x="742" y="392"/>
                  </a:lnTo>
                  <a:lnTo>
                    <a:pt x="746" y="392"/>
                  </a:lnTo>
                  <a:lnTo>
                    <a:pt x="748" y="396"/>
                  </a:lnTo>
                  <a:lnTo>
                    <a:pt x="748" y="400"/>
                  </a:lnTo>
                  <a:lnTo>
                    <a:pt x="748" y="404"/>
                  </a:lnTo>
                  <a:lnTo>
                    <a:pt x="752" y="404"/>
                  </a:lnTo>
                  <a:lnTo>
                    <a:pt x="752" y="408"/>
                  </a:lnTo>
                  <a:lnTo>
                    <a:pt x="752" y="410"/>
                  </a:lnTo>
                  <a:lnTo>
                    <a:pt x="748" y="410"/>
                  </a:lnTo>
                  <a:lnTo>
                    <a:pt x="746" y="408"/>
                  </a:lnTo>
                  <a:lnTo>
                    <a:pt x="746" y="410"/>
                  </a:lnTo>
                  <a:lnTo>
                    <a:pt x="746" y="414"/>
                  </a:lnTo>
                  <a:lnTo>
                    <a:pt x="746" y="418"/>
                  </a:lnTo>
                  <a:lnTo>
                    <a:pt x="746" y="422"/>
                  </a:lnTo>
                  <a:lnTo>
                    <a:pt x="746" y="426"/>
                  </a:lnTo>
                  <a:lnTo>
                    <a:pt x="748" y="426"/>
                  </a:lnTo>
                  <a:lnTo>
                    <a:pt x="752" y="426"/>
                  </a:lnTo>
                  <a:lnTo>
                    <a:pt x="752" y="430"/>
                  </a:lnTo>
                  <a:lnTo>
                    <a:pt x="756" y="430"/>
                  </a:lnTo>
                  <a:lnTo>
                    <a:pt x="756" y="434"/>
                  </a:lnTo>
                  <a:lnTo>
                    <a:pt x="756" y="436"/>
                  </a:lnTo>
                  <a:lnTo>
                    <a:pt x="760" y="436"/>
                  </a:lnTo>
                  <a:lnTo>
                    <a:pt x="764" y="436"/>
                  </a:lnTo>
                  <a:lnTo>
                    <a:pt x="764" y="434"/>
                  </a:lnTo>
                  <a:lnTo>
                    <a:pt x="764" y="430"/>
                  </a:lnTo>
                  <a:lnTo>
                    <a:pt x="768" y="430"/>
                  </a:lnTo>
                  <a:lnTo>
                    <a:pt x="768" y="434"/>
                  </a:lnTo>
                  <a:lnTo>
                    <a:pt x="772" y="434"/>
                  </a:lnTo>
                  <a:lnTo>
                    <a:pt x="772" y="430"/>
                  </a:lnTo>
                  <a:lnTo>
                    <a:pt x="772" y="426"/>
                  </a:lnTo>
                  <a:lnTo>
                    <a:pt x="772" y="422"/>
                  </a:lnTo>
                  <a:lnTo>
                    <a:pt x="776" y="418"/>
                  </a:lnTo>
                  <a:lnTo>
                    <a:pt x="778" y="414"/>
                  </a:lnTo>
                  <a:lnTo>
                    <a:pt x="778" y="410"/>
                  </a:lnTo>
                  <a:lnTo>
                    <a:pt x="778" y="408"/>
                  </a:lnTo>
                  <a:lnTo>
                    <a:pt x="782" y="408"/>
                  </a:lnTo>
                  <a:lnTo>
                    <a:pt x="782" y="404"/>
                  </a:lnTo>
                  <a:lnTo>
                    <a:pt x="782" y="400"/>
                  </a:lnTo>
                  <a:lnTo>
                    <a:pt x="782" y="396"/>
                  </a:lnTo>
                  <a:lnTo>
                    <a:pt x="782" y="400"/>
                  </a:lnTo>
                  <a:lnTo>
                    <a:pt x="786" y="400"/>
                  </a:lnTo>
                  <a:lnTo>
                    <a:pt x="786" y="396"/>
                  </a:lnTo>
                  <a:lnTo>
                    <a:pt x="782" y="396"/>
                  </a:lnTo>
                  <a:lnTo>
                    <a:pt x="786" y="396"/>
                  </a:lnTo>
                  <a:lnTo>
                    <a:pt x="786" y="400"/>
                  </a:lnTo>
                  <a:lnTo>
                    <a:pt x="790" y="400"/>
                  </a:lnTo>
                  <a:lnTo>
                    <a:pt x="790" y="396"/>
                  </a:lnTo>
                  <a:lnTo>
                    <a:pt x="794" y="396"/>
                  </a:lnTo>
                  <a:lnTo>
                    <a:pt x="794" y="400"/>
                  </a:lnTo>
                  <a:lnTo>
                    <a:pt x="794" y="396"/>
                  </a:lnTo>
                  <a:lnTo>
                    <a:pt x="790" y="396"/>
                  </a:lnTo>
                  <a:lnTo>
                    <a:pt x="790" y="392"/>
                  </a:lnTo>
                  <a:lnTo>
                    <a:pt x="794" y="392"/>
                  </a:lnTo>
                  <a:lnTo>
                    <a:pt x="790" y="392"/>
                  </a:lnTo>
                  <a:lnTo>
                    <a:pt x="794" y="392"/>
                  </a:lnTo>
                  <a:lnTo>
                    <a:pt x="798" y="392"/>
                  </a:lnTo>
                  <a:lnTo>
                    <a:pt x="794" y="388"/>
                  </a:lnTo>
                  <a:lnTo>
                    <a:pt x="790" y="388"/>
                  </a:lnTo>
                  <a:lnTo>
                    <a:pt x="786" y="388"/>
                  </a:lnTo>
                  <a:lnTo>
                    <a:pt x="790" y="388"/>
                  </a:lnTo>
                  <a:lnTo>
                    <a:pt x="786" y="384"/>
                  </a:lnTo>
                  <a:lnTo>
                    <a:pt x="786" y="380"/>
                  </a:lnTo>
                  <a:lnTo>
                    <a:pt x="782" y="380"/>
                  </a:lnTo>
                  <a:lnTo>
                    <a:pt x="782" y="374"/>
                  </a:lnTo>
                  <a:lnTo>
                    <a:pt x="786" y="370"/>
                  </a:lnTo>
                  <a:lnTo>
                    <a:pt x="786" y="374"/>
                  </a:lnTo>
                  <a:lnTo>
                    <a:pt x="786" y="370"/>
                  </a:lnTo>
                  <a:lnTo>
                    <a:pt x="782" y="370"/>
                  </a:lnTo>
                  <a:lnTo>
                    <a:pt x="786" y="370"/>
                  </a:lnTo>
                  <a:lnTo>
                    <a:pt x="790" y="370"/>
                  </a:lnTo>
                  <a:lnTo>
                    <a:pt x="790" y="374"/>
                  </a:lnTo>
                  <a:lnTo>
                    <a:pt x="794" y="370"/>
                  </a:lnTo>
                  <a:lnTo>
                    <a:pt x="798" y="370"/>
                  </a:lnTo>
                  <a:lnTo>
                    <a:pt x="802" y="370"/>
                  </a:lnTo>
                  <a:lnTo>
                    <a:pt x="806" y="370"/>
                  </a:lnTo>
                  <a:lnTo>
                    <a:pt x="806" y="374"/>
                  </a:lnTo>
                  <a:lnTo>
                    <a:pt x="808" y="374"/>
                  </a:lnTo>
                  <a:lnTo>
                    <a:pt x="812" y="374"/>
                  </a:lnTo>
                  <a:lnTo>
                    <a:pt x="816" y="374"/>
                  </a:lnTo>
                  <a:lnTo>
                    <a:pt x="820" y="374"/>
                  </a:lnTo>
                  <a:lnTo>
                    <a:pt x="824" y="374"/>
                  </a:lnTo>
                  <a:lnTo>
                    <a:pt x="828" y="374"/>
                  </a:lnTo>
                  <a:lnTo>
                    <a:pt x="832" y="374"/>
                  </a:lnTo>
                  <a:lnTo>
                    <a:pt x="832" y="378"/>
                  </a:lnTo>
                  <a:lnTo>
                    <a:pt x="828" y="378"/>
                  </a:lnTo>
                  <a:lnTo>
                    <a:pt x="828" y="374"/>
                  </a:lnTo>
                  <a:lnTo>
                    <a:pt x="824" y="378"/>
                  </a:lnTo>
                  <a:lnTo>
                    <a:pt x="828" y="378"/>
                  </a:lnTo>
                  <a:lnTo>
                    <a:pt x="824" y="378"/>
                  </a:lnTo>
                  <a:lnTo>
                    <a:pt x="820" y="378"/>
                  </a:lnTo>
                  <a:lnTo>
                    <a:pt x="816" y="378"/>
                  </a:lnTo>
                  <a:lnTo>
                    <a:pt x="820" y="378"/>
                  </a:lnTo>
                  <a:lnTo>
                    <a:pt x="824" y="378"/>
                  </a:lnTo>
                  <a:lnTo>
                    <a:pt x="832" y="380"/>
                  </a:lnTo>
                  <a:lnTo>
                    <a:pt x="832" y="384"/>
                  </a:lnTo>
                  <a:lnTo>
                    <a:pt x="834" y="384"/>
                  </a:lnTo>
                  <a:lnTo>
                    <a:pt x="838" y="384"/>
                  </a:lnTo>
                  <a:lnTo>
                    <a:pt x="842" y="384"/>
                  </a:lnTo>
                  <a:lnTo>
                    <a:pt x="842" y="388"/>
                  </a:lnTo>
                  <a:lnTo>
                    <a:pt x="838" y="392"/>
                  </a:lnTo>
                  <a:lnTo>
                    <a:pt x="834" y="392"/>
                  </a:lnTo>
                  <a:lnTo>
                    <a:pt x="834" y="396"/>
                  </a:lnTo>
                  <a:lnTo>
                    <a:pt x="834" y="392"/>
                  </a:lnTo>
                  <a:lnTo>
                    <a:pt x="838" y="392"/>
                  </a:lnTo>
                  <a:lnTo>
                    <a:pt x="838" y="396"/>
                  </a:lnTo>
                  <a:lnTo>
                    <a:pt x="842" y="396"/>
                  </a:lnTo>
                  <a:lnTo>
                    <a:pt x="846" y="396"/>
                  </a:lnTo>
                  <a:lnTo>
                    <a:pt x="846" y="400"/>
                  </a:lnTo>
                  <a:lnTo>
                    <a:pt x="842" y="400"/>
                  </a:lnTo>
                  <a:lnTo>
                    <a:pt x="838" y="404"/>
                  </a:lnTo>
                  <a:lnTo>
                    <a:pt x="834" y="404"/>
                  </a:lnTo>
                  <a:lnTo>
                    <a:pt x="834" y="408"/>
                  </a:lnTo>
                  <a:lnTo>
                    <a:pt x="834" y="404"/>
                  </a:lnTo>
                  <a:lnTo>
                    <a:pt x="832" y="404"/>
                  </a:lnTo>
                  <a:lnTo>
                    <a:pt x="828" y="404"/>
                  </a:lnTo>
                  <a:lnTo>
                    <a:pt x="824" y="404"/>
                  </a:lnTo>
                  <a:lnTo>
                    <a:pt x="828" y="404"/>
                  </a:lnTo>
                  <a:lnTo>
                    <a:pt x="828" y="408"/>
                  </a:lnTo>
                  <a:lnTo>
                    <a:pt x="828" y="410"/>
                  </a:lnTo>
                  <a:lnTo>
                    <a:pt x="832" y="410"/>
                  </a:lnTo>
                  <a:lnTo>
                    <a:pt x="832" y="414"/>
                  </a:lnTo>
                  <a:lnTo>
                    <a:pt x="832" y="410"/>
                  </a:lnTo>
                  <a:lnTo>
                    <a:pt x="834" y="410"/>
                  </a:lnTo>
                  <a:lnTo>
                    <a:pt x="834" y="414"/>
                  </a:lnTo>
                  <a:lnTo>
                    <a:pt x="832" y="414"/>
                  </a:lnTo>
                  <a:lnTo>
                    <a:pt x="832" y="418"/>
                  </a:lnTo>
                  <a:lnTo>
                    <a:pt x="834" y="418"/>
                  </a:lnTo>
                  <a:lnTo>
                    <a:pt x="834" y="422"/>
                  </a:lnTo>
                  <a:lnTo>
                    <a:pt x="838" y="422"/>
                  </a:lnTo>
                  <a:lnTo>
                    <a:pt x="838" y="426"/>
                  </a:lnTo>
                  <a:lnTo>
                    <a:pt x="842" y="426"/>
                  </a:lnTo>
                  <a:lnTo>
                    <a:pt x="846" y="430"/>
                  </a:lnTo>
                  <a:lnTo>
                    <a:pt x="842" y="430"/>
                  </a:lnTo>
                  <a:lnTo>
                    <a:pt x="842" y="434"/>
                  </a:lnTo>
                  <a:lnTo>
                    <a:pt x="842" y="436"/>
                  </a:lnTo>
                  <a:lnTo>
                    <a:pt x="842" y="440"/>
                  </a:lnTo>
                  <a:lnTo>
                    <a:pt x="838" y="440"/>
                  </a:lnTo>
                  <a:lnTo>
                    <a:pt x="834" y="440"/>
                  </a:lnTo>
                  <a:lnTo>
                    <a:pt x="834" y="444"/>
                  </a:lnTo>
                  <a:lnTo>
                    <a:pt x="832" y="448"/>
                  </a:lnTo>
                  <a:lnTo>
                    <a:pt x="828" y="448"/>
                  </a:lnTo>
                  <a:lnTo>
                    <a:pt x="828" y="452"/>
                  </a:lnTo>
                  <a:lnTo>
                    <a:pt x="824" y="452"/>
                  </a:lnTo>
                  <a:lnTo>
                    <a:pt x="820" y="452"/>
                  </a:lnTo>
                  <a:lnTo>
                    <a:pt x="820" y="456"/>
                  </a:lnTo>
                  <a:lnTo>
                    <a:pt x="816" y="456"/>
                  </a:lnTo>
                  <a:lnTo>
                    <a:pt x="812" y="456"/>
                  </a:lnTo>
                  <a:lnTo>
                    <a:pt x="808" y="452"/>
                  </a:lnTo>
                  <a:lnTo>
                    <a:pt x="806" y="452"/>
                  </a:lnTo>
                  <a:lnTo>
                    <a:pt x="806" y="448"/>
                  </a:lnTo>
                  <a:lnTo>
                    <a:pt x="808" y="444"/>
                  </a:lnTo>
                  <a:lnTo>
                    <a:pt x="806" y="444"/>
                  </a:lnTo>
                  <a:lnTo>
                    <a:pt x="806" y="448"/>
                  </a:lnTo>
                  <a:lnTo>
                    <a:pt x="802" y="448"/>
                  </a:lnTo>
                  <a:lnTo>
                    <a:pt x="802" y="444"/>
                  </a:lnTo>
                  <a:lnTo>
                    <a:pt x="802" y="440"/>
                  </a:lnTo>
                  <a:lnTo>
                    <a:pt x="798" y="440"/>
                  </a:lnTo>
                  <a:lnTo>
                    <a:pt x="794" y="440"/>
                  </a:lnTo>
                  <a:lnTo>
                    <a:pt x="798" y="440"/>
                  </a:lnTo>
                  <a:lnTo>
                    <a:pt x="794" y="440"/>
                  </a:lnTo>
                  <a:lnTo>
                    <a:pt x="790" y="440"/>
                  </a:lnTo>
                  <a:lnTo>
                    <a:pt x="790" y="444"/>
                  </a:lnTo>
                  <a:lnTo>
                    <a:pt x="794" y="444"/>
                  </a:lnTo>
                  <a:lnTo>
                    <a:pt x="794" y="440"/>
                  </a:lnTo>
                  <a:lnTo>
                    <a:pt x="798" y="440"/>
                  </a:lnTo>
                  <a:lnTo>
                    <a:pt x="798" y="444"/>
                  </a:lnTo>
                  <a:lnTo>
                    <a:pt x="794" y="444"/>
                  </a:lnTo>
                  <a:lnTo>
                    <a:pt x="798" y="444"/>
                  </a:lnTo>
                  <a:lnTo>
                    <a:pt x="802" y="448"/>
                  </a:lnTo>
                  <a:lnTo>
                    <a:pt x="806" y="448"/>
                  </a:lnTo>
                  <a:lnTo>
                    <a:pt x="806" y="452"/>
                  </a:lnTo>
                  <a:lnTo>
                    <a:pt x="806" y="456"/>
                  </a:lnTo>
                  <a:lnTo>
                    <a:pt x="808" y="456"/>
                  </a:lnTo>
                  <a:lnTo>
                    <a:pt x="808" y="460"/>
                  </a:lnTo>
                  <a:lnTo>
                    <a:pt x="808" y="464"/>
                  </a:lnTo>
                  <a:lnTo>
                    <a:pt x="806" y="460"/>
                  </a:lnTo>
                  <a:lnTo>
                    <a:pt x="802" y="460"/>
                  </a:lnTo>
                  <a:lnTo>
                    <a:pt x="802" y="456"/>
                  </a:lnTo>
                  <a:lnTo>
                    <a:pt x="798" y="456"/>
                  </a:lnTo>
                  <a:lnTo>
                    <a:pt x="798" y="460"/>
                  </a:lnTo>
                  <a:lnTo>
                    <a:pt x="802" y="460"/>
                  </a:lnTo>
                  <a:lnTo>
                    <a:pt x="802" y="464"/>
                  </a:lnTo>
                  <a:lnTo>
                    <a:pt x="798" y="464"/>
                  </a:lnTo>
                  <a:lnTo>
                    <a:pt x="798" y="460"/>
                  </a:lnTo>
                  <a:lnTo>
                    <a:pt x="794" y="460"/>
                  </a:lnTo>
                  <a:lnTo>
                    <a:pt x="790" y="460"/>
                  </a:lnTo>
                  <a:lnTo>
                    <a:pt x="786" y="460"/>
                  </a:lnTo>
                  <a:lnTo>
                    <a:pt x="786" y="456"/>
                  </a:lnTo>
                  <a:lnTo>
                    <a:pt x="786" y="452"/>
                  </a:lnTo>
                  <a:lnTo>
                    <a:pt x="782" y="452"/>
                  </a:lnTo>
                  <a:lnTo>
                    <a:pt x="778" y="452"/>
                  </a:lnTo>
                  <a:lnTo>
                    <a:pt x="776" y="452"/>
                  </a:lnTo>
                  <a:lnTo>
                    <a:pt x="768" y="452"/>
                  </a:lnTo>
                  <a:lnTo>
                    <a:pt x="768" y="456"/>
                  </a:lnTo>
                  <a:lnTo>
                    <a:pt x="768" y="460"/>
                  </a:lnTo>
                  <a:lnTo>
                    <a:pt x="772" y="460"/>
                  </a:lnTo>
                  <a:lnTo>
                    <a:pt x="776" y="460"/>
                  </a:lnTo>
                  <a:lnTo>
                    <a:pt x="778" y="460"/>
                  </a:lnTo>
                  <a:lnTo>
                    <a:pt x="778" y="464"/>
                  </a:lnTo>
                  <a:lnTo>
                    <a:pt x="776" y="466"/>
                  </a:lnTo>
                  <a:lnTo>
                    <a:pt x="772" y="466"/>
                  </a:lnTo>
                  <a:lnTo>
                    <a:pt x="772" y="470"/>
                  </a:lnTo>
                  <a:lnTo>
                    <a:pt x="772" y="474"/>
                  </a:lnTo>
                  <a:lnTo>
                    <a:pt x="768" y="474"/>
                  </a:lnTo>
                  <a:lnTo>
                    <a:pt x="764" y="474"/>
                  </a:lnTo>
                  <a:lnTo>
                    <a:pt x="764" y="478"/>
                  </a:lnTo>
                  <a:lnTo>
                    <a:pt x="764" y="478"/>
                  </a:lnTo>
                  <a:lnTo>
                    <a:pt x="764" y="478"/>
                  </a:lnTo>
                  <a:close/>
                  <a:moveTo>
                    <a:pt x="408" y="354"/>
                  </a:moveTo>
                  <a:lnTo>
                    <a:pt x="410" y="358"/>
                  </a:lnTo>
                  <a:lnTo>
                    <a:pt x="414" y="358"/>
                  </a:lnTo>
                  <a:lnTo>
                    <a:pt x="410" y="358"/>
                  </a:lnTo>
                  <a:lnTo>
                    <a:pt x="408" y="358"/>
                  </a:lnTo>
                  <a:lnTo>
                    <a:pt x="408" y="354"/>
                  </a:lnTo>
                  <a:lnTo>
                    <a:pt x="408" y="354"/>
                  </a:lnTo>
                  <a:lnTo>
                    <a:pt x="408" y="354"/>
                  </a:lnTo>
                  <a:close/>
                  <a:moveTo>
                    <a:pt x="560" y="384"/>
                  </a:moveTo>
                  <a:lnTo>
                    <a:pt x="560" y="388"/>
                  </a:lnTo>
                  <a:lnTo>
                    <a:pt x="556" y="388"/>
                  </a:lnTo>
                  <a:lnTo>
                    <a:pt x="556" y="384"/>
                  </a:lnTo>
                  <a:lnTo>
                    <a:pt x="560" y="384"/>
                  </a:lnTo>
                  <a:lnTo>
                    <a:pt x="560" y="384"/>
                  </a:lnTo>
                  <a:lnTo>
                    <a:pt x="560" y="384"/>
                  </a:lnTo>
                  <a:close/>
                  <a:moveTo>
                    <a:pt x="1056" y="410"/>
                  </a:moveTo>
                  <a:lnTo>
                    <a:pt x="1052" y="410"/>
                  </a:lnTo>
                  <a:lnTo>
                    <a:pt x="1056" y="410"/>
                  </a:lnTo>
                  <a:lnTo>
                    <a:pt x="1060" y="410"/>
                  </a:lnTo>
                  <a:lnTo>
                    <a:pt x="1056" y="410"/>
                  </a:lnTo>
                  <a:lnTo>
                    <a:pt x="1056" y="410"/>
                  </a:lnTo>
                  <a:lnTo>
                    <a:pt x="1056" y="410"/>
                  </a:lnTo>
                  <a:close/>
                  <a:moveTo>
                    <a:pt x="466" y="418"/>
                  </a:moveTo>
                  <a:lnTo>
                    <a:pt x="462" y="418"/>
                  </a:lnTo>
                  <a:lnTo>
                    <a:pt x="466" y="418"/>
                  </a:lnTo>
                  <a:lnTo>
                    <a:pt x="466" y="418"/>
                  </a:lnTo>
                  <a:lnTo>
                    <a:pt x="466" y="418"/>
                  </a:lnTo>
                  <a:close/>
                  <a:moveTo>
                    <a:pt x="1088" y="426"/>
                  </a:moveTo>
                  <a:lnTo>
                    <a:pt x="1092" y="426"/>
                  </a:lnTo>
                  <a:lnTo>
                    <a:pt x="1092" y="430"/>
                  </a:lnTo>
                  <a:lnTo>
                    <a:pt x="1088" y="430"/>
                  </a:lnTo>
                  <a:lnTo>
                    <a:pt x="1088" y="426"/>
                  </a:lnTo>
                  <a:lnTo>
                    <a:pt x="1088" y="426"/>
                  </a:lnTo>
                  <a:lnTo>
                    <a:pt x="1088" y="426"/>
                  </a:lnTo>
                  <a:close/>
                  <a:moveTo>
                    <a:pt x="996" y="542"/>
                  </a:moveTo>
                  <a:lnTo>
                    <a:pt x="1000" y="546"/>
                  </a:lnTo>
                  <a:lnTo>
                    <a:pt x="1004" y="546"/>
                  </a:lnTo>
                  <a:lnTo>
                    <a:pt x="1000" y="550"/>
                  </a:lnTo>
                  <a:lnTo>
                    <a:pt x="996" y="550"/>
                  </a:lnTo>
                  <a:lnTo>
                    <a:pt x="992" y="550"/>
                  </a:lnTo>
                  <a:lnTo>
                    <a:pt x="992" y="546"/>
                  </a:lnTo>
                  <a:lnTo>
                    <a:pt x="992" y="542"/>
                  </a:lnTo>
                  <a:lnTo>
                    <a:pt x="988" y="542"/>
                  </a:lnTo>
                  <a:lnTo>
                    <a:pt x="992" y="542"/>
                  </a:lnTo>
                  <a:lnTo>
                    <a:pt x="996" y="542"/>
                  </a:lnTo>
                  <a:lnTo>
                    <a:pt x="996" y="542"/>
                  </a:lnTo>
                  <a:lnTo>
                    <a:pt x="996" y="542"/>
                  </a:lnTo>
                  <a:close/>
                  <a:moveTo>
                    <a:pt x="1084" y="596"/>
                  </a:moveTo>
                  <a:lnTo>
                    <a:pt x="1080" y="596"/>
                  </a:lnTo>
                  <a:lnTo>
                    <a:pt x="1080" y="600"/>
                  </a:lnTo>
                  <a:lnTo>
                    <a:pt x="1084" y="600"/>
                  </a:lnTo>
                  <a:lnTo>
                    <a:pt x="1080" y="600"/>
                  </a:lnTo>
                  <a:lnTo>
                    <a:pt x="1080" y="596"/>
                  </a:lnTo>
                  <a:lnTo>
                    <a:pt x="1076" y="596"/>
                  </a:lnTo>
                  <a:lnTo>
                    <a:pt x="1076" y="594"/>
                  </a:lnTo>
                  <a:lnTo>
                    <a:pt x="1080" y="594"/>
                  </a:lnTo>
                  <a:lnTo>
                    <a:pt x="1080" y="596"/>
                  </a:lnTo>
                  <a:lnTo>
                    <a:pt x="1084" y="596"/>
                  </a:lnTo>
                  <a:lnTo>
                    <a:pt x="1084" y="596"/>
                  </a:lnTo>
                  <a:lnTo>
                    <a:pt x="1084" y="596"/>
                  </a:lnTo>
                  <a:close/>
                  <a:moveTo>
                    <a:pt x="862" y="612"/>
                  </a:moveTo>
                  <a:lnTo>
                    <a:pt x="862" y="616"/>
                  </a:lnTo>
                  <a:lnTo>
                    <a:pt x="858" y="616"/>
                  </a:lnTo>
                  <a:lnTo>
                    <a:pt x="858" y="612"/>
                  </a:lnTo>
                  <a:lnTo>
                    <a:pt x="862" y="612"/>
                  </a:lnTo>
                  <a:lnTo>
                    <a:pt x="862" y="612"/>
                  </a:lnTo>
                  <a:lnTo>
                    <a:pt x="862" y="612"/>
                  </a:lnTo>
                  <a:close/>
                  <a:moveTo>
                    <a:pt x="1130" y="682"/>
                  </a:moveTo>
                  <a:lnTo>
                    <a:pt x="1130" y="680"/>
                  </a:lnTo>
                  <a:lnTo>
                    <a:pt x="1130" y="682"/>
                  </a:lnTo>
                  <a:lnTo>
                    <a:pt x="1130" y="682"/>
                  </a:lnTo>
                  <a:lnTo>
                    <a:pt x="1130" y="682"/>
                  </a:lnTo>
                  <a:close/>
                  <a:moveTo>
                    <a:pt x="1122" y="682"/>
                  </a:moveTo>
                  <a:lnTo>
                    <a:pt x="1126" y="682"/>
                  </a:lnTo>
                  <a:lnTo>
                    <a:pt x="1130" y="686"/>
                  </a:lnTo>
                  <a:lnTo>
                    <a:pt x="1126" y="686"/>
                  </a:lnTo>
                  <a:lnTo>
                    <a:pt x="1122" y="686"/>
                  </a:lnTo>
                  <a:lnTo>
                    <a:pt x="1126" y="686"/>
                  </a:lnTo>
                  <a:lnTo>
                    <a:pt x="1126" y="682"/>
                  </a:lnTo>
                  <a:lnTo>
                    <a:pt x="1122" y="682"/>
                  </a:lnTo>
                  <a:lnTo>
                    <a:pt x="1122" y="682"/>
                  </a:lnTo>
                  <a:lnTo>
                    <a:pt x="1122" y="682"/>
                  </a:lnTo>
                  <a:close/>
                  <a:moveTo>
                    <a:pt x="160" y="758"/>
                  </a:moveTo>
                  <a:lnTo>
                    <a:pt x="160" y="754"/>
                  </a:lnTo>
                  <a:lnTo>
                    <a:pt x="156" y="754"/>
                  </a:lnTo>
                  <a:lnTo>
                    <a:pt x="156" y="750"/>
                  </a:lnTo>
                  <a:lnTo>
                    <a:pt x="156" y="746"/>
                  </a:lnTo>
                  <a:lnTo>
                    <a:pt x="152" y="746"/>
                  </a:lnTo>
                  <a:lnTo>
                    <a:pt x="156" y="746"/>
                  </a:lnTo>
                  <a:lnTo>
                    <a:pt x="152" y="746"/>
                  </a:lnTo>
                  <a:lnTo>
                    <a:pt x="152" y="742"/>
                  </a:lnTo>
                  <a:lnTo>
                    <a:pt x="156" y="742"/>
                  </a:lnTo>
                  <a:lnTo>
                    <a:pt x="156" y="746"/>
                  </a:lnTo>
                  <a:lnTo>
                    <a:pt x="160" y="750"/>
                  </a:lnTo>
                  <a:lnTo>
                    <a:pt x="164" y="750"/>
                  </a:lnTo>
                  <a:lnTo>
                    <a:pt x="164" y="754"/>
                  </a:lnTo>
                  <a:lnTo>
                    <a:pt x="164" y="758"/>
                  </a:lnTo>
                  <a:lnTo>
                    <a:pt x="160" y="758"/>
                  </a:lnTo>
                  <a:lnTo>
                    <a:pt x="160" y="758"/>
                  </a:lnTo>
                  <a:lnTo>
                    <a:pt x="160" y="758"/>
                  </a:lnTo>
                  <a:close/>
                  <a:moveTo>
                    <a:pt x="168" y="766"/>
                  </a:moveTo>
                  <a:lnTo>
                    <a:pt x="168" y="762"/>
                  </a:lnTo>
                  <a:lnTo>
                    <a:pt x="172" y="762"/>
                  </a:lnTo>
                  <a:lnTo>
                    <a:pt x="172" y="758"/>
                  </a:lnTo>
                  <a:lnTo>
                    <a:pt x="168" y="758"/>
                  </a:lnTo>
                  <a:lnTo>
                    <a:pt x="172" y="758"/>
                  </a:lnTo>
                  <a:lnTo>
                    <a:pt x="172" y="762"/>
                  </a:lnTo>
                  <a:lnTo>
                    <a:pt x="168" y="762"/>
                  </a:lnTo>
                  <a:lnTo>
                    <a:pt x="168" y="758"/>
                  </a:lnTo>
                  <a:lnTo>
                    <a:pt x="168" y="754"/>
                  </a:lnTo>
                  <a:lnTo>
                    <a:pt x="172" y="754"/>
                  </a:lnTo>
                  <a:lnTo>
                    <a:pt x="172" y="758"/>
                  </a:lnTo>
                  <a:lnTo>
                    <a:pt x="176" y="758"/>
                  </a:lnTo>
                  <a:lnTo>
                    <a:pt x="176" y="762"/>
                  </a:lnTo>
                  <a:lnTo>
                    <a:pt x="176" y="768"/>
                  </a:lnTo>
                  <a:lnTo>
                    <a:pt x="172" y="768"/>
                  </a:lnTo>
                  <a:lnTo>
                    <a:pt x="172" y="766"/>
                  </a:lnTo>
                  <a:lnTo>
                    <a:pt x="176" y="766"/>
                  </a:lnTo>
                  <a:lnTo>
                    <a:pt x="176" y="762"/>
                  </a:lnTo>
                  <a:lnTo>
                    <a:pt x="172" y="766"/>
                  </a:lnTo>
                  <a:lnTo>
                    <a:pt x="172" y="768"/>
                  </a:lnTo>
                  <a:lnTo>
                    <a:pt x="168" y="768"/>
                  </a:lnTo>
                  <a:lnTo>
                    <a:pt x="168" y="766"/>
                  </a:lnTo>
                  <a:lnTo>
                    <a:pt x="168" y="766"/>
                  </a:lnTo>
                  <a:lnTo>
                    <a:pt x="168" y="766"/>
                  </a:lnTo>
                  <a:close/>
                  <a:moveTo>
                    <a:pt x="138" y="780"/>
                  </a:moveTo>
                  <a:lnTo>
                    <a:pt x="134" y="776"/>
                  </a:lnTo>
                  <a:lnTo>
                    <a:pt x="134" y="772"/>
                  </a:lnTo>
                  <a:lnTo>
                    <a:pt x="130" y="772"/>
                  </a:lnTo>
                  <a:lnTo>
                    <a:pt x="126" y="768"/>
                  </a:lnTo>
                  <a:lnTo>
                    <a:pt x="126" y="766"/>
                  </a:lnTo>
                  <a:lnTo>
                    <a:pt x="124" y="766"/>
                  </a:lnTo>
                  <a:lnTo>
                    <a:pt x="124" y="762"/>
                  </a:lnTo>
                  <a:lnTo>
                    <a:pt x="126" y="762"/>
                  </a:lnTo>
                  <a:lnTo>
                    <a:pt x="124" y="762"/>
                  </a:lnTo>
                  <a:lnTo>
                    <a:pt x="120" y="762"/>
                  </a:lnTo>
                  <a:lnTo>
                    <a:pt x="120" y="758"/>
                  </a:lnTo>
                  <a:lnTo>
                    <a:pt x="124" y="758"/>
                  </a:lnTo>
                  <a:lnTo>
                    <a:pt x="126" y="758"/>
                  </a:lnTo>
                  <a:lnTo>
                    <a:pt x="126" y="754"/>
                  </a:lnTo>
                  <a:lnTo>
                    <a:pt x="130" y="754"/>
                  </a:lnTo>
                  <a:lnTo>
                    <a:pt x="130" y="758"/>
                  </a:lnTo>
                  <a:lnTo>
                    <a:pt x="134" y="762"/>
                  </a:lnTo>
                  <a:lnTo>
                    <a:pt x="130" y="762"/>
                  </a:lnTo>
                  <a:lnTo>
                    <a:pt x="130" y="758"/>
                  </a:lnTo>
                  <a:lnTo>
                    <a:pt x="126" y="758"/>
                  </a:lnTo>
                  <a:lnTo>
                    <a:pt x="126" y="762"/>
                  </a:lnTo>
                  <a:lnTo>
                    <a:pt x="130" y="762"/>
                  </a:lnTo>
                  <a:lnTo>
                    <a:pt x="134" y="762"/>
                  </a:lnTo>
                  <a:lnTo>
                    <a:pt x="130" y="762"/>
                  </a:lnTo>
                  <a:lnTo>
                    <a:pt x="130" y="766"/>
                  </a:lnTo>
                  <a:lnTo>
                    <a:pt x="130" y="762"/>
                  </a:lnTo>
                  <a:lnTo>
                    <a:pt x="126" y="762"/>
                  </a:lnTo>
                  <a:lnTo>
                    <a:pt x="130" y="766"/>
                  </a:lnTo>
                  <a:lnTo>
                    <a:pt x="130" y="768"/>
                  </a:lnTo>
                  <a:lnTo>
                    <a:pt x="134" y="768"/>
                  </a:lnTo>
                  <a:lnTo>
                    <a:pt x="134" y="772"/>
                  </a:lnTo>
                  <a:lnTo>
                    <a:pt x="138" y="772"/>
                  </a:lnTo>
                  <a:lnTo>
                    <a:pt x="138" y="776"/>
                  </a:lnTo>
                  <a:lnTo>
                    <a:pt x="142" y="776"/>
                  </a:lnTo>
                  <a:lnTo>
                    <a:pt x="138" y="780"/>
                  </a:lnTo>
                  <a:lnTo>
                    <a:pt x="138" y="780"/>
                  </a:lnTo>
                  <a:lnTo>
                    <a:pt x="138" y="780"/>
                  </a:lnTo>
                  <a:close/>
                  <a:moveTo>
                    <a:pt x="182" y="776"/>
                  </a:moveTo>
                  <a:lnTo>
                    <a:pt x="182" y="780"/>
                  </a:lnTo>
                  <a:lnTo>
                    <a:pt x="180" y="780"/>
                  </a:lnTo>
                  <a:lnTo>
                    <a:pt x="180" y="776"/>
                  </a:lnTo>
                  <a:lnTo>
                    <a:pt x="182" y="776"/>
                  </a:lnTo>
                  <a:lnTo>
                    <a:pt x="182" y="776"/>
                  </a:lnTo>
                  <a:lnTo>
                    <a:pt x="182" y="776"/>
                  </a:lnTo>
                  <a:close/>
                  <a:moveTo>
                    <a:pt x="182" y="780"/>
                  </a:moveTo>
                  <a:lnTo>
                    <a:pt x="182" y="784"/>
                  </a:lnTo>
                  <a:lnTo>
                    <a:pt x="182" y="788"/>
                  </a:lnTo>
                  <a:lnTo>
                    <a:pt x="180" y="784"/>
                  </a:lnTo>
                  <a:lnTo>
                    <a:pt x="182" y="780"/>
                  </a:lnTo>
                  <a:lnTo>
                    <a:pt x="182" y="780"/>
                  </a:lnTo>
                  <a:lnTo>
                    <a:pt x="182" y="780"/>
                  </a:lnTo>
                  <a:close/>
                  <a:moveTo>
                    <a:pt x="884" y="8"/>
                  </a:moveTo>
                  <a:lnTo>
                    <a:pt x="888" y="4"/>
                  </a:lnTo>
                  <a:lnTo>
                    <a:pt x="890" y="8"/>
                  </a:lnTo>
                  <a:lnTo>
                    <a:pt x="888" y="8"/>
                  </a:lnTo>
                  <a:lnTo>
                    <a:pt x="884" y="8"/>
                  </a:lnTo>
                  <a:lnTo>
                    <a:pt x="884" y="8"/>
                  </a:lnTo>
                  <a:lnTo>
                    <a:pt x="884" y="8"/>
                  </a:lnTo>
                  <a:close/>
                  <a:moveTo>
                    <a:pt x="698" y="50"/>
                  </a:moveTo>
                  <a:lnTo>
                    <a:pt x="694" y="50"/>
                  </a:lnTo>
                  <a:lnTo>
                    <a:pt x="694" y="46"/>
                  </a:lnTo>
                  <a:lnTo>
                    <a:pt x="698" y="46"/>
                  </a:lnTo>
                  <a:lnTo>
                    <a:pt x="698" y="50"/>
                  </a:lnTo>
                  <a:lnTo>
                    <a:pt x="698" y="50"/>
                  </a:lnTo>
                  <a:lnTo>
                    <a:pt x="698" y="50"/>
                  </a:lnTo>
                  <a:close/>
                  <a:moveTo>
                    <a:pt x="1052" y="50"/>
                  </a:moveTo>
                  <a:lnTo>
                    <a:pt x="1048" y="50"/>
                  </a:lnTo>
                  <a:lnTo>
                    <a:pt x="1048" y="46"/>
                  </a:lnTo>
                  <a:lnTo>
                    <a:pt x="1052" y="46"/>
                  </a:lnTo>
                  <a:lnTo>
                    <a:pt x="1056" y="46"/>
                  </a:lnTo>
                  <a:lnTo>
                    <a:pt x="1056" y="50"/>
                  </a:lnTo>
                  <a:lnTo>
                    <a:pt x="1052" y="50"/>
                  </a:lnTo>
                  <a:lnTo>
                    <a:pt x="1052" y="50"/>
                  </a:lnTo>
                  <a:lnTo>
                    <a:pt x="1052" y="50"/>
                  </a:lnTo>
                  <a:close/>
                  <a:moveTo>
                    <a:pt x="650" y="76"/>
                  </a:moveTo>
                  <a:lnTo>
                    <a:pt x="652" y="76"/>
                  </a:lnTo>
                  <a:lnTo>
                    <a:pt x="650" y="76"/>
                  </a:lnTo>
                  <a:lnTo>
                    <a:pt x="646" y="76"/>
                  </a:lnTo>
                  <a:lnTo>
                    <a:pt x="642" y="76"/>
                  </a:lnTo>
                  <a:lnTo>
                    <a:pt x="638" y="76"/>
                  </a:lnTo>
                  <a:lnTo>
                    <a:pt x="634" y="76"/>
                  </a:lnTo>
                  <a:lnTo>
                    <a:pt x="638" y="76"/>
                  </a:lnTo>
                  <a:lnTo>
                    <a:pt x="646" y="76"/>
                  </a:lnTo>
                  <a:lnTo>
                    <a:pt x="650" y="76"/>
                  </a:lnTo>
                  <a:lnTo>
                    <a:pt x="650" y="76"/>
                  </a:lnTo>
                  <a:lnTo>
                    <a:pt x="650" y="76"/>
                  </a:lnTo>
                  <a:close/>
                  <a:moveTo>
                    <a:pt x="778" y="120"/>
                  </a:moveTo>
                  <a:lnTo>
                    <a:pt x="782" y="120"/>
                  </a:lnTo>
                  <a:lnTo>
                    <a:pt x="786" y="120"/>
                  </a:lnTo>
                  <a:lnTo>
                    <a:pt x="790" y="120"/>
                  </a:lnTo>
                  <a:lnTo>
                    <a:pt x="790" y="124"/>
                  </a:lnTo>
                  <a:lnTo>
                    <a:pt x="786" y="124"/>
                  </a:lnTo>
                  <a:lnTo>
                    <a:pt x="782" y="124"/>
                  </a:lnTo>
                  <a:lnTo>
                    <a:pt x="778" y="124"/>
                  </a:lnTo>
                  <a:lnTo>
                    <a:pt x="776" y="128"/>
                  </a:lnTo>
                  <a:lnTo>
                    <a:pt x="772" y="128"/>
                  </a:lnTo>
                  <a:lnTo>
                    <a:pt x="772" y="124"/>
                  </a:lnTo>
                  <a:lnTo>
                    <a:pt x="776" y="124"/>
                  </a:lnTo>
                  <a:lnTo>
                    <a:pt x="776" y="120"/>
                  </a:lnTo>
                  <a:lnTo>
                    <a:pt x="778" y="120"/>
                  </a:lnTo>
                  <a:lnTo>
                    <a:pt x="778" y="120"/>
                  </a:lnTo>
                  <a:lnTo>
                    <a:pt x="778" y="120"/>
                  </a:lnTo>
                  <a:close/>
                  <a:moveTo>
                    <a:pt x="944" y="132"/>
                  </a:moveTo>
                  <a:lnTo>
                    <a:pt x="940" y="132"/>
                  </a:lnTo>
                  <a:lnTo>
                    <a:pt x="936" y="132"/>
                  </a:lnTo>
                  <a:lnTo>
                    <a:pt x="940" y="132"/>
                  </a:lnTo>
                  <a:lnTo>
                    <a:pt x="940" y="128"/>
                  </a:lnTo>
                  <a:lnTo>
                    <a:pt x="940" y="132"/>
                  </a:lnTo>
                  <a:lnTo>
                    <a:pt x="944" y="132"/>
                  </a:lnTo>
                  <a:lnTo>
                    <a:pt x="948" y="132"/>
                  </a:lnTo>
                  <a:lnTo>
                    <a:pt x="944" y="132"/>
                  </a:lnTo>
                  <a:lnTo>
                    <a:pt x="944" y="132"/>
                  </a:lnTo>
                  <a:lnTo>
                    <a:pt x="944" y="132"/>
                  </a:lnTo>
                  <a:close/>
                  <a:moveTo>
                    <a:pt x="748" y="138"/>
                  </a:moveTo>
                  <a:lnTo>
                    <a:pt x="746" y="142"/>
                  </a:lnTo>
                  <a:lnTo>
                    <a:pt x="746" y="146"/>
                  </a:lnTo>
                  <a:lnTo>
                    <a:pt x="746" y="142"/>
                  </a:lnTo>
                  <a:lnTo>
                    <a:pt x="742" y="142"/>
                  </a:lnTo>
                  <a:lnTo>
                    <a:pt x="746" y="142"/>
                  </a:lnTo>
                  <a:lnTo>
                    <a:pt x="746" y="138"/>
                  </a:lnTo>
                  <a:lnTo>
                    <a:pt x="748" y="138"/>
                  </a:lnTo>
                  <a:lnTo>
                    <a:pt x="748" y="138"/>
                  </a:lnTo>
                  <a:lnTo>
                    <a:pt x="748" y="138"/>
                  </a:lnTo>
                  <a:close/>
                  <a:moveTo>
                    <a:pt x="556" y="146"/>
                  </a:moveTo>
                  <a:lnTo>
                    <a:pt x="552" y="146"/>
                  </a:lnTo>
                  <a:lnTo>
                    <a:pt x="556" y="146"/>
                  </a:lnTo>
                  <a:lnTo>
                    <a:pt x="556" y="146"/>
                  </a:lnTo>
                  <a:lnTo>
                    <a:pt x="556" y="146"/>
                  </a:lnTo>
                  <a:close/>
                  <a:moveTo>
                    <a:pt x="894" y="154"/>
                  </a:moveTo>
                  <a:lnTo>
                    <a:pt x="898" y="154"/>
                  </a:lnTo>
                  <a:lnTo>
                    <a:pt x="898" y="158"/>
                  </a:lnTo>
                  <a:lnTo>
                    <a:pt x="894" y="158"/>
                  </a:lnTo>
                  <a:lnTo>
                    <a:pt x="890" y="158"/>
                  </a:lnTo>
                  <a:lnTo>
                    <a:pt x="894" y="158"/>
                  </a:lnTo>
                  <a:lnTo>
                    <a:pt x="894" y="154"/>
                  </a:lnTo>
                  <a:lnTo>
                    <a:pt x="894" y="154"/>
                  </a:lnTo>
                  <a:lnTo>
                    <a:pt x="894" y="154"/>
                  </a:lnTo>
                  <a:close/>
                  <a:moveTo>
                    <a:pt x="786" y="164"/>
                  </a:moveTo>
                  <a:lnTo>
                    <a:pt x="790" y="164"/>
                  </a:lnTo>
                  <a:lnTo>
                    <a:pt x="794" y="164"/>
                  </a:lnTo>
                  <a:lnTo>
                    <a:pt x="790" y="168"/>
                  </a:lnTo>
                  <a:lnTo>
                    <a:pt x="790" y="164"/>
                  </a:lnTo>
                  <a:lnTo>
                    <a:pt x="786" y="164"/>
                  </a:lnTo>
                  <a:lnTo>
                    <a:pt x="782" y="164"/>
                  </a:lnTo>
                  <a:lnTo>
                    <a:pt x="786" y="164"/>
                  </a:lnTo>
                  <a:lnTo>
                    <a:pt x="786" y="164"/>
                  </a:lnTo>
                  <a:lnTo>
                    <a:pt x="786" y="164"/>
                  </a:lnTo>
                  <a:close/>
                  <a:moveTo>
                    <a:pt x="806" y="194"/>
                  </a:moveTo>
                  <a:lnTo>
                    <a:pt x="808" y="194"/>
                  </a:lnTo>
                  <a:lnTo>
                    <a:pt x="806" y="194"/>
                  </a:lnTo>
                  <a:lnTo>
                    <a:pt x="806" y="194"/>
                  </a:lnTo>
                  <a:lnTo>
                    <a:pt x="806" y="194"/>
                  </a:lnTo>
                  <a:close/>
                  <a:moveTo>
                    <a:pt x="540" y="198"/>
                  </a:moveTo>
                  <a:lnTo>
                    <a:pt x="544" y="202"/>
                  </a:lnTo>
                  <a:lnTo>
                    <a:pt x="540" y="206"/>
                  </a:lnTo>
                  <a:lnTo>
                    <a:pt x="536" y="206"/>
                  </a:lnTo>
                  <a:lnTo>
                    <a:pt x="534" y="206"/>
                  </a:lnTo>
                  <a:lnTo>
                    <a:pt x="530" y="206"/>
                  </a:lnTo>
                  <a:lnTo>
                    <a:pt x="526" y="206"/>
                  </a:lnTo>
                  <a:lnTo>
                    <a:pt x="522" y="206"/>
                  </a:lnTo>
                  <a:lnTo>
                    <a:pt x="526" y="206"/>
                  </a:lnTo>
                  <a:lnTo>
                    <a:pt x="522" y="206"/>
                  </a:lnTo>
                  <a:lnTo>
                    <a:pt x="518" y="206"/>
                  </a:lnTo>
                  <a:lnTo>
                    <a:pt x="518" y="202"/>
                  </a:lnTo>
                  <a:lnTo>
                    <a:pt x="522" y="202"/>
                  </a:lnTo>
                  <a:lnTo>
                    <a:pt x="526" y="202"/>
                  </a:lnTo>
                  <a:lnTo>
                    <a:pt x="530" y="198"/>
                  </a:lnTo>
                  <a:lnTo>
                    <a:pt x="534" y="198"/>
                  </a:lnTo>
                  <a:lnTo>
                    <a:pt x="536" y="198"/>
                  </a:lnTo>
                  <a:lnTo>
                    <a:pt x="540" y="198"/>
                  </a:lnTo>
                  <a:lnTo>
                    <a:pt x="540" y="198"/>
                  </a:lnTo>
                  <a:lnTo>
                    <a:pt x="540" y="198"/>
                  </a:lnTo>
                  <a:close/>
                  <a:moveTo>
                    <a:pt x="880" y="206"/>
                  </a:moveTo>
                  <a:lnTo>
                    <a:pt x="876" y="206"/>
                  </a:lnTo>
                  <a:lnTo>
                    <a:pt x="876" y="208"/>
                  </a:lnTo>
                  <a:lnTo>
                    <a:pt x="880" y="208"/>
                  </a:lnTo>
                  <a:lnTo>
                    <a:pt x="880" y="212"/>
                  </a:lnTo>
                  <a:lnTo>
                    <a:pt x="876" y="212"/>
                  </a:lnTo>
                  <a:lnTo>
                    <a:pt x="876" y="208"/>
                  </a:lnTo>
                  <a:lnTo>
                    <a:pt x="872" y="208"/>
                  </a:lnTo>
                  <a:lnTo>
                    <a:pt x="872" y="212"/>
                  </a:lnTo>
                  <a:lnTo>
                    <a:pt x="868" y="212"/>
                  </a:lnTo>
                  <a:lnTo>
                    <a:pt x="868" y="208"/>
                  </a:lnTo>
                  <a:lnTo>
                    <a:pt x="864" y="208"/>
                  </a:lnTo>
                  <a:lnTo>
                    <a:pt x="868" y="208"/>
                  </a:lnTo>
                  <a:lnTo>
                    <a:pt x="872" y="206"/>
                  </a:lnTo>
                  <a:lnTo>
                    <a:pt x="876" y="206"/>
                  </a:lnTo>
                  <a:lnTo>
                    <a:pt x="876" y="202"/>
                  </a:lnTo>
                  <a:lnTo>
                    <a:pt x="880" y="206"/>
                  </a:lnTo>
                  <a:lnTo>
                    <a:pt x="880" y="206"/>
                  </a:lnTo>
                  <a:lnTo>
                    <a:pt x="880" y="206"/>
                  </a:lnTo>
                  <a:close/>
                  <a:moveTo>
                    <a:pt x="284" y="208"/>
                  </a:moveTo>
                  <a:lnTo>
                    <a:pt x="284" y="212"/>
                  </a:lnTo>
                  <a:lnTo>
                    <a:pt x="280" y="212"/>
                  </a:lnTo>
                  <a:lnTo>
                    <a:pt x="284" y="212"/>
                  </a:lnTo>
                  <a:lnTo>
                    <a:pt x="284" y="208"/>
                  </a:lnTo>
                  <a:lnTo>
                    <a:pt x="284" y="208"/>
                  </a:lnTo>
                  <a:lnTo>
                    <a:pt x="284" y="208"/>
                  </a:lnTo>
                  <a:close/>
                  <a:moveTo>
                    <a:pt x="262" y="208"/>
                  </a:moveTo>
                  <a:lnTo>
                    <a:pt x="266" y="208"/>
                  </a:lnTo>
                  <a:lnTo>
                    <a:pt x="262" y="208"/>
                  </a:lnTo>
                  <a:lnTo>
                    <a:pt x="258" y="208"/>
                  </a:lnTo>
                  <a:lnTo>
                    <a:pt x="262" y="208"/>
                  </a:lnTo>
                  <a:lnTo>
                    <a:pt x="262" y="208"/>
                  </a:lnTo>
                  <a:lnTo>
                    <a:pt x="262" y="208"/>
                  </a:lnTo>
                  <a:close/>
                  <a:moveTo>
                    <a:pt x="534" y="208"/>
                  </a:moveTo>
                  <a:lnTo>
                    <a:pt x="530" y="212"/>
                  </a:lnTo>
                  <a:lnTo>
                    <a:pt x="526" y="212"/>
                  </a:lnTo>
                  <a:lnTo>
                    <a:pt x="526" y="208"/>
                  </a:lnTo>
                  <a:lnTo>
                    <a:pt x="530" y="208"/>
                  </a:lnTo>
                  <a:lnTo>
                    <a:pt x="534" y="208"/>
                  </a:lnTo>
                  <a:lnTo>
                    <a:pt x="534" y="208"/>
                  </a:lnTo>
                  <a:lnTo>
                    <a:pt x="534" y="208"/>
                  </a:lnTo>
                  <a:close/>
                  <a:moveTo>
                    <a:pt x="574" y="220"/>
                  </a:moveTo>
                  <a:lnTo>
                    <a:pt x="574" y="216"/>
                  </a:lnTo>
                  <a:lnTo>
                    <a:pt x="570" y="220"/>
                  </a:lnTo>
                  <a:lnTo>
                    <a:pt x="566" y="220"/>
                  </a:lnTo>
                  <a:lnTo>
                    <a:pt x="566" y="216"/>
                  </a:lnTo>
                  <a:lnTo>
                    <a:pt x="570" y="216"/>
                  </a:lnTo>
                  <a:lnTo>
                    <a:pt x="574" y="216"/>
                  </a:lnTo>
                  <a:lnTo>
                    <a:pt x="578" y="216"/>
                  </a:lnTo>
                  <a:lnTo>
                    <a:pt x="578" y="220"/>
                  </a:lnTo>
                  <a:lnTo>
                    <a:pt x="574" y="220"/>
                  </a:lnTo>
                  <a:lnTo>
                    <a:pt x="574" y="220"/>
                  </a:lnTo>
                  <a:lnTo>
                    <a:pt x="574" y="220"/>
                  </a:lnTo>
                  <a:close/>
                  <a:moveTo>
                    <a:pt x="862" y="298"/>
                  </a:moveTo>
                  <a:lnTo>
                    <a:pt x="864" y="302"/>
                  </a:lnTo>
                  <a:lnTo>
                    <a:pt x="862" y="302"/>
                  </a:lnTo>
                  <a:lnTo>
                    <a:pt x="862" y="298"/>
                  </a:lnTo>
                  <a:lnTo>
                    <a:pt x="862" y="298"/>
                  </a:lnTo>
                  <a:lnTo>
                    <a:pt x="862" y="298"/>
                  </a:lnTo>
                  <a:close/>
                  <a:moveTo>
                    <a:pt x="868" y="302"/>
                  </a:moveTo>
                  <a:lnTo>
                    <a:pt x="872" y="302"/>
                  </a:lnTo>
                  <a:lnTo>
                    <a:pt x="872" y="306"/>
                  </a:lnTo>
                  <a:lnTo>
                    <a:pt x="868" y="306"/>
                  </a:lnTo>
                  <a:lnTo>
                    <a:pt x="868" y="302"/>
                  </a:lnTo>
                  <a:lnTo>
                    <a:pt x="868" y="302"/>
                  </a:lnTo>
                  <a:lnTo>
                    <a:pt x="868" y="302"/>
                  </a:lnTo>
                  <a:close/>
                  <a:moveTo>
                    <a:pt x="876" y="302"/>
                  </a:moveTo>
                  <a:lnTo>
                    <a:pt x="880" y="302"/>
                  </a:lnTo>
                  <a:lnTo>
                    <a:pt x="880" y="306"/>
                  </a:lnTo>
                  <a:lnTo>
                    <a:pt x="876" y="306"/>
                  </a:lnTo>
                  <a:lnTo>
                    <a:pt x="876" y="302"/>
                  </a:lnTo>
                  <a:lnTo>
                    <a:pt x="876" y="302"/>
                  </a:lnTo>
                  <a:lnTo>
                    <a:pt x="876" y="302"/>
                  </a:lnTo>
                  <a:close/>
                  <a:moveTo>
                    <a:pt x="776" y="306"/>
                  </a:moveTo>
                  <a:lnTo>
                    <a:pt x="778" y="306"/>
                  </a:lnTo>
                  <a:lnTo>
                    <a:pt x="778" y="310"/>
                  </a:lnTo>
                  <a:lnTo>
                    <a:pt x="778" y="306"/>
                  </a:lnTo>
                  <a:lnTo>
                    <a:pt x="776" y="306"/>
                  </a:lnTo>
                  <a:lnTo>
                    <a:pt x="776" y="306"/>
                  </a:lnTo>
                  <a:lnTo>
                    <a:pt x="776" y="306"/>
                  </a:lnTo>
                  <a:close/>
                  <a:moveTo>
                    <a:pt x="646" y="318"/>
                  </a:moveTo>
                  <a:lnTo>
                    <a:pt x="646" y="322"/>
                  </a:lnTo>
                  <a:lnTo>
                    <a:pt x="646" y="318"/>
                  </a:lnTo>
                  <a:lnTo>
                    <a:pt x="646" y="318"/>
                  </a:lnTo>
                  <a:lnTo>
                    <a:pt x="646" y="318"/>
                  </a:lnTo>
                  <a:close/>
                  <a:moveTo>
                    <a:pt x="626" y="332"/>
                  </a:moveTo>
                  <a:lnTo>
                    <a:pt x="630" y="332"/>
                  </a:lnTo>
                  <a:lnTo>
                    <a:pt x="630" y="336"/>
                  </a:lnTo>
                  <a:lnTo>
                    <a:pt x="626" y="336"/>
                  </a:lnTo>
                  <a:lnTo>
                    <a:pt x="626" y="332"/>
                  </a:lnTo>
                  <a:lnTo>
                    <a:pt x="626" y="332"/>
                  </a:lnTo>
                  <a:lnTo>
                    <a:pt x="626" y="332"/>
                  </a:lnTo>
                  <a:close/>
                  <a:moveTo>
                    <a:pt x="336" y="350"/>
                  </a:moveTo>
                  <a:lnTo>
                    <a:pt x="340" y="350"/>
                  </a:lnTo>
                  <a:lnTo>
                    <a:pt x="336" y="350"/>
                  </a:lnTo>
                  <a:lnTo>
                    <a:pt x="336" y="350"/>
                  </a:lnTo>
                  <a:lnTo>
                    <a:pt x="336" y="350"/>
                  </a:lnTo>
                  <a:close/>
                  <a:moveTo>
                    <a:pt x="352" y="350"/>
                  </a:moveTo>
                  <a:lnTo>
                    <a:pt x="348" y="350"/>
                  </a:lnTo>
                  <a:lnTo>
                    <a:pt x="352" y="350"/>
                  </a:lnTo>
                  <a:lnTo>
                    <a:pt x="352" y="350"/>
                  </a:lnTo>
                  <a:lnTo>
                    <a:pt x="352" y="350"/>
                  </a:lnTo>
                  <a:close/>
                  <a:moveTo>
                    <a:pt x="620" y="366"/>
                  </a:moveTo>
                  <a:lnTo>
                    <a:pt x="620" y="370"/>
                  </a:lnTo>
                  <a:lnTo>
                    <a:pt x="616" y="370"/>
                  </a:lnTo>
                  <a:lnTo>
                    <a:pt x="616" y="366"/>
                  </a:lnTo>
                  <a:lnTo>
                    <a:pt x="620" y="366"/>
                  </a:lnTo>
                  <a:lnTo>
                    <a:pt x="620" y="366"/>
                  </a:lnTo>
                  <a:lnTo>
                    <a:pt x="620" y="366"/>
                  </a:lnTo>
                  <a:close/>
                  <a:moveTo>
                    <a:pt x="702" y="374"/>
                  </a:moveTo>
                  <a:lnTo>
                    <a:pt x="698" y="370"/>
                  </a:lnTo>
                  <a:lnTo>
                    <a:pt x="702" y="370"/>
                  </a:lnTo>
                  <a:lnTo>
                    <a:pt x="702" y="374"/>
                  </a:lnTo>
                  <a:lnTo>
                    <a:pt x="702" y="374"/>
                  </a:lnTo>
                  <a:lnTo>
                    <a:pt x="702" y="374"/>
                  </a:lnTo>
                  <a:close/>
                  <a:moveTo>
                    <a:pt x="634" y="378"/>
                  </a:moveTo>
                  <a:lnTo>
                    <a:pt x="634" y="380"/>
                  </a:lnTo>
                  <a:lnTo>
                    <a:pt x="630" y="380"/>
                  </a:lnTo>
                  <a:lnTo>
                    <a:pt x="626" y="378"/>
                  </a:lnTo>
                  <a:lnTo>
                    <a:pt x="630" y="378"/>
                  </a:lnTo>
                  <a:lnTo>
                    <a:pt x="634" y="378"/>
                  </a:lnTo>
                  <a:lnTo>
                    <a:pt x="634" y="378"/>
                  </a:lnTo>
                  <a:lnTo>
                    <a:pt x="634" y="378"/>
                  </a:lnTo>
                  <a:close/>
                  <a:moveTo>
                    <a:pt x="720" y="380"/>
                  </a:moveTo>
                  <a:lnTo>
                    <a:pt x="716" y="384"/>
                  </a:lnTo>
                  <a:lnTo>
                    <a:pt x="716" y="380"/>
                  </a:lnTo>
                  <a:lnTo>
                    <a:pt x="720" y="380"/>
                  </a:lnTo>
                  <a:lnTo>
                    <a:pt x="720" y="380"/>
                  </a:lnTo>
                  <a:lnTo>
                    <a:pt x="720" y="380"/>
                  </a:lnTo>
                  <a:close/>
                  <a:moveTo>
                    <a:pt x="82" y="384"/>
                  </a:moveTo>
                  <a:lnTo>
                    <a:pt x="80" y="384"/>
                  </a:lnTo>
                  <a:lnTo>
                    <a:pt x="80" y="380"/>
                  </a:lnTo>
                  <a:lnTo>
                    <a:pt x="82" y="380"/>
                  </a:lnTo>
                  <a:lnTo>
                    <a:pt x="82" y="384"/>
                  </a:lnTo>
                  <a:lnTo>
                    <a:pt x="82" y="384"/>
                  </a:lnTo>
                  <a:lnTo>
                    <a:pt x="82" y="384"/>
                  </a:lnTo>
                  <a:close/>
                  <a:moveTo>
                    <a:pt x="712" y="384"/>
                  </a:moveTo>
                  <a:lnTo>
                    <a:pt x="712" y="380"/>
                  </a:lnTo>
                  <a:lnTo>
                    <a:pt x="716" y="384"/>
                  </a:lnTo>
                  <a:lnTo>
                    <a:pt x="712" y="384"/>
                  </a:lnTo>
                  <a:lnTo>
                    <a:pt x="712" y="384"/>
                  </a:lnTo>
                  <a:lnTo>
                    <a:pt x="712" y="384"/>
                  </a:lnTo>
                  <a:close/>
                  <a:moveTo>
                    <a:pt x="578" y="388"/>
                  </a:moveTo>
                  <a:lnTo>
                    <a:pt x="582" y="392"/>
                  </a:lnTo>
                  <a:lnTo>
                    <a:pt x="578" y="392"/>
                  </a:lnTo>
                  <a:lnTo>
                    <a:pt x="578" y="388"/>
                  </a:lnTo>
                  <a:lnTo>
                    <a:pt x="578" y="388"/>
                  </a:lnTo>
                  <a:lnTo>
                    <a:pt x="578" y="388"/>
                  </a:lnTo>
                  <a:close/>
                  <a:moveTo>
                    <a:pt x="574" y="392"/>
                  </a:moveTo>
                  <a:lnTo>
                    <a:pt x="578" y="392"/>
                  </a:lnTo>
                  <a:lnTo>
                    <a:pt x="578" y="396"/>
                  </a:lnTo>
                  <a:lnTo>
                    <a:pt x="574" y="396"/>
                  </a:lnTo>
                  <a:lnTo>
                    <a:pt x="574" y="400"/>
                  </a:lnTo>
                  <a:lnTo>
                    <a:pt x="570" y="396"/>
                  </a:lnTo>
                  <a:lnTo>
                    <a:pt x="570" y="392"/>
                  </a:lnTo>
                  <a:lnTo>
                    <a:pt x="570" y="388"/>
                  </a:lnTo>
                  <a:lnTo>
                    <a:pt x="574" y="388"/>
                  </a:lnTo>
                  <a:lnTo>
                    <a:pt x="574" y="392"/>
                  </a:lnTo>
                  <a:lnTo>
                    <a:pt x="574" y="392"/>
                  </a:lnTo>
                  <a:lnTo>
                    <a:pt x="574" y="392"/>
                  </a:lnTo>
                  <a:close/>
                  <a:moveTo>
                    <a:pt x="724" y="392"/>
                  </a:moveTo>
                  <a:lnTo>
                    <a:pt x="720" y="392"/>
                  </a:lnTo>
                  <a:lnTo>
                    <a:pt x="724" y="392"/>
                  </a:lnTo>
                  <a:lnTo>
                    <a:pt x="724" y="392"/>
                  </a:lnTo>
                  <a:lnTo>
                    <a:pt x="724" y="392"/>
                  </a:lnTo>
                  <a:close/>
                  <a:moveTo>
                    <a:pt x="724" y="400"/>
                  </a:moveTo>
                  <a:lnTo>
                    <a:pt x="720" y="400"/>
                  </a:lnTo>
                  <a:lnTo>
                    <a:pt x="720" y="396"/>
                  </a:lnTo>
                  <a:lnTo>
                    <a:pt x="724" y="396"/>
                  </a:lnTo>
                  <a:lnTo>
                    <a:pt x="724" y="400"/>
                  </a:lnTo>
                  <a:lnTo>
                    <a:pt x="724" y="400"/>
                  </a:lnTo>
                  <a:lnTo>
                    <a:pt x="724" y="400"/>
                  </a:lnTo>
                  <a:close/>
                  <a:moveTo>
                    <a:pt x="1026" y="396"/>
                  </a:moveTo>
                  <a:lnTo>
                    <a:pt x="1030" y="396"/>
                  </a:lnTo>
                  <a:lnTo>
                    <a:pt x="1032" y="396"/>
                  </a:lnTo>
                  <a:lnTo>
                    <a:pt x="1036" y="400"/>
                  </a:lnTo>
                  <a:lnTo>
                    <a:pt x="1032" y="400"/>
                  </a:lnTo>
                  <a:lnTo>
                    <a:pt x="1032" y="396"/>
                  </a:lnTo>
                  <a:lnTo>
                    <a:pt x="1030" y="396"/>
                  </a:lnTo>
                  <a:lnTo>
                    <a:pt x="1026" y="396"/>
                  </a:lnTo>
                  <a:lnTo>
                    <a:pt x="1026" y="396"/>
                  </a:lnTo>
                  <a:lnTo>
                    <a:pt x="1026" y="396"/>
                  </a:lnTo>
                  <a:close/>
                  <a:moveTo>
                    <a:pt x="428" y="404"/>
                  </a:moveTo>
                  <a:lnTo>
                    <a:pt x="424" y="404"/>
                  </a:lnTo>
                  <a:lnTo>
                    <a:pt x="422" y="404"/>
                  </a:lnTo>
                  <a:lnTo>
                    <a:pt x="424" y="404"/>
                  </a:lnTo>
                  <a:lnTo>
                    <a:pt x="428" y="404"/>
                  </a:lnTo>
                  <a:lnTo>
                    <a:pt x="428" y="404"/>
                  </a:lnTo>
                  <a:lnTo>
                    <a:pt x="428" y="404"/>
                  </a:lnTo>
                  <a:close/>
                  <a:moveTo>
                    <a:pt x="834" y="408"/>
                  </a:moveTo>
                  <a:lnTo>
                    <a:pt x="832" y="408"/>
                  </a:lnTo>
                  <a:lnTo>
                    <a:pt x="834" y="408"/>
                  </a:lnTo>
                  <a:lnTo>
                    <a:pt x="834" y="408"/>
                  </a:lnTo>
                  <a:lnTo>
                    <a:pt x="834" y="408"/>
                  </a:lnTo>
                  <a:close/>
                  <a:moveTo>
                    <a:pt x="418" y="408"/>
                  </a:moveTo>
                  <a:lnTo>
                    <a:pt x="418" y="410"/>
                  </a:lnTo>
                  <a:lnTo>
                    <a:pt x="414" y="410"/>
                  </a:lnTo>
                  <a:lnTo>
                    <a:pt x="414" y="408"/>
                  </a:lnTo>
                  <a:lnTo>
                    <a:pt x="418" y="408"/>
                  </a:lnTo>
                  <a:lnTo>
                    <a:pt x="418" y="408"/>
                  </a:lnTo>
                  <a:lnTo>
                    <a:pt x="418" y="408"/>
                  </a:lnTo>
                  <a:close/>
                  <a:moveTo>
                    <a:pt x="444" y="410"/>
                  </a:moveTo>
                  <a:lnTo>
                    <a:pt x="440" y="410"/>
                  </a:lnTo>
                  <a:lnTo>
                    <a:pt x="440" y="414"/>
                  </a:lnTo>
                  <a:lnTo>
                    <a:pt x="440" y="410"/>
                  </a:lnTo>
                  <a:lnTo>
                    <a:pt x="444" y="410"/>
                  </a:lnTo>
                  <a:lnTo>
                    <a:pt x="444" y="410"/>
                  </a:lnTo>
                  <a:lnTo>
                    <a:pt x="444" y="410"/>
                  </a:lnTo>
                  <a:close/>
                  <a:moveTo>
                    <a:pt x="518" y="410"/>
                  </a:moveTo>
                  <a:lnTo>
                    <a:pt x="518" y="414"/>
                  </a:lnTo>
                  <a:lnTo>
                    <a:pt x="514" y="414"/>
                  </a:lnTo>
                  <a:lnTo>
                    <a:pt x="514" y="410"/>
                  </a:lnTo>
                  <a:lnTo>
                    <a:pt x="518" y="410"/>
                  </a:lnTo>
                  <a:lnTo>
                    <a:pt x="518" y="410"/>
                  </a:lnTo>
                  <a:lnTo>
                    <a:pt x="518" y="410"/>
                  </a:lnTo>
                  <a:close/>
                  <a:moveTo>
                    <a:pt x="440" y="414"/>
                  </a:moveTo>
                  <a:lnTo>
                    <a:pt x="436" y="414"/>
                  </a:lnTo>
                  <a:lnTo>
                    <a:pt x="440" y="414"/>
                  </a:lnTo>
                  <a:lnTo>
                    <a:pt x="440" y="414"/>
                  </a:lnTo>
                  <a:lnTo>
                    <a:pt x="440" y="414"/>
                  </a:lnTo>
                  <a:close/>
                  <a:moveTo>
                    <a:pt x="448" y="414"/>
                  </a:moveTo>
                  <a:lnTo>
                    <a:pt x="448" y="418"/>
                  </a:lnTo>
                  <a:lnTo>
                    <a:pt x="448" y="414"/>
                  </a:lnTo>
                  <a:lnTo>
                    <a:pt x="444" y="414"/>
                  </a:lnTo>
                  <a:lnTo>
                    <a:pt x="448" y="414"/>
                  </a:lnTo>
                  <a:lnTo>
                    <a:pt x="448" y="414"/>
                  </a:lnTo>
                  <a:lnTo>
                    <a:pt x="448" y="414"/>
                  </a:lnTo>
                  <a:close/>
                  <a:moveTo>
                    <a:pt x="462" y="418"/>
                  </a:moveTo>
                  <a:lnTo>
                    <a:pt x="458" y="418"/>
                  </a:lnTo>
                  <a:lnTo>
                    <a:pt x="462" y="418"/>
                  </a:lnTo>
                  <a:lnTo>
                    <a:pt x="462" y="418"/>
                  </a:lnTo>
                  <a:lnTo>
                    <a:pt x="462" y="418"/>
                  </a:lnTo>
                  <a:close/>
                  <a:moveTo>
                    <a:pt x="620" y="422"/>
                  </a:moveTo>
                  <a:lnTo>
                    <a:pt x="620" y="426"/>
                  </a:lnTo>
                  <a:lnTo>
                    <a:pt x="616" y="426"/>
                  </a:lnTo>
                  <a:lnTo>
                    <a:pt x="616" y="422"/>
                  </a:lnTo>
                  <a:lnTo>
                    <a:pt x="620" y="422"/>
                  </a:lnTo>
                  <a:lnTo>
                    <a:pt x="620" y="422"/>
                  </a:lnTo>
                  <a:lnTo>
                    <a:pt x="620" y="422"/>
                  </a:lnTo>
                  <a:close/>
                  <a:moveTo>
                    <a:pt x="466" y="430"/>
                  </a:moveTo>
                  <a:lnTo>
                    <a:pt x="466" y="426"/>
                  </a:lnTo>
                  <a:lnTo>
                    <a:pt x="466" y="430"/>
                  </a:lnTo>
                  <a:lnTo>
                    <a:pt x="466" y="430"/>
                  </a:lnTo>
                  <a:lnTo>
                    <a:pt x="466" y="430"/>
                  </a:lnTo>
                  <a:close/>
                  <a:moveTo>
                    <a:pt x="466" y="430"/>
                  </a:moveTo>
                  <a:lnTo>
                    <a:pt x="462" y="430"/>
                  </a:lnTo>
                  <a:lnTo>
                    <a:pt x="462" y="426"/>
                  </a:lnTo>
                  <a:lnTo>
                    <a:pt x="466" y="426"/>
                  </a:lnTo>
                  <a:lnTo>
                    <a:pt x="466" y="430"/>
                  </a:lnTo>
                  <a:lnTo>
                    <a:pt x="466" y="430"/>
                  </a:lnTo>
                  <a:lnTo>
                    <a:pt x="466" y="430"/>
                  </a:lnTo>
                  <a:close/>
                  <a:moveTo>
                    <a:pt x="1096" y="434"/>
                  </a:moveTo>
                  <a:lnTo>
                    <a:pt x="1092" y="434"/>
                  </a:lnTo>
                  <a:lnTo>
                    <a:pt x="1096" y="434"/>
                  </a:lnTo>
                  <a:lnTo>
                    <a:pt x="1100" y="434"/>
                  </a:lnTo>
                  <a:lnTo>
                    <a:pt x="1096" y="434"/>
                  </a:lnTo>
                  <a:lnTo>
                    <a:pt x="1096" y="434"/>
                  </a:lnTo>
                  <a:lnTo>
                    <a:pt x="1096" y="434"/>
                  </a:lnTo>
                  <a:close/>
                  <a:moveTo>
                    <a:pt x="646" y="434"/>
                  </a:moveTo>
                  <a:lnTo>
                    <a:pt x="646" y="436"/>
                  </a:lnTo>
                  <a:lnTo>
                    <a:pt x="642" y="436"/>
                  </a:lnTo>
                  <a:lnTo>
                    <a:pt x="642" y="434"/>
                  </a:lnTo>
                  <a:lnTo>
                    <a:pt x="646" y="434"/>
                  </a:lnTo>
                  <a:lnTo>
                    <a:pt x="646" y="434"/>
                  </a:lnTo>
                  <a:lnTo>
                    <a:pt x="646" y="434"/>
                  </a:lnTo>
                  <a:close/>
                  <a:moveTo>
                    <a:pt x="474" y="436"/>
                  </a:moveTo>
                  <a:lnTo>
                    <a:pt x="474" y="440"/>
                  </a:lnTo>
                  <a:lnTo>
                    <a:pt x="474" y="436"/>
                  </a:lnTo>
                  <a:lnTo>
                    <a:pt x="474" y="436"/>
                  </a:lnTo>
                  <a:lnTo>
                    <a:pt x="474" y="436"/>
                  </a:lnTo>
                  <a:close/>
                  <a:moveTo>
                    <a:pt x="1104" y="440"/>
                  </a:moveTo>
                  <a:lnTo>
                    <a:pt x="1100" y="440"/>
                  </a:lnTo>
                  <a:lnTo>
                    <a:pt x="1104" y="440"/>
                  </a:lnTo>
                  <a:lnTo>
                    <a:pt x="1104" y="440"/>
                  </a:lnTo>
                  <a:lnTo>
                    <a:pt x="1104" y="440"/>
                  </a:lnTo>
                  <a:close/>
                  <a:moveTo>
                    <a:pt x="470" y="440"/>
                  </a:moveTo>
                  <a:lnTo>
                    <a:pt x="470" y="444"/>
                  </a:lnTo>
                  <a:lnTo>
                    <a:pt x="466" y="444"/>
                  </a:lnTo>
                  <a:lnTo>
                    <a:pt x="470" y="440"/>
                  </a:lnTo>
                  <a:lnTo>
                    <a:pt x="470" y="440"/>
                  </a:lnTo>
                  <a:lnTo>
                    <a:pt x="470" y="440"/>
                  </a:lnTo>
                  <a:close/>
                  <a:moveTo>
                    <a:pt x="1114" y="460"/>
                  </a:moveTo>
                  <a:lnTo>
                    <a:pt x="1110" y="460"/>
                  </a:lnTo>
                  <a:lnTo>
                    <a:pt x="1114" y="460"/>
                  </a:lnTo>
                  <a:lnTo>
                    <a:pt x="1114" y="460"/>
                  </a:lnTo>
                  <a:lnTo>
                    <a:pt x="1114" y="460"/>
                  </a:lnTo>
                  <a:close/>
                  <a:moveTo>
                    <a:pt x="954" y="500"/>
                  </a:moveTo>
                  <a:lnTo>
                    <a:pt x="954" y="504"/>
                  </a:lnTo>
                  <a:lnTo>
                    <a:pt x="954" y="508"/>
                  </a:lnTo>
                  <a:lnTo>
                    <a:pt x="954" y="504"/>
                  </a:lnTo>
                  <a:lnTo>
                    <a:pt x="950" y="504"/>
                  </a:lnTo>
                  <a:lnTo>
                    <a:pt x="954" y="500"/>
                  </a:lnTo>
                  <a:lnTo>
                    <a:pt x="950" y="500"/>
                  </a:lnTo>
                  <a:lnTo>
                    <a:pt x="954" y="500"/>
                  </a:lnTo>
                  <a:lnTo>
                    <a:pt x="954" y="500"/>
                  </a:lnTo>
                  <a:lnTo>
                    <a:pt x="954" y="500"/>
                  </a:lnTo>
                  <a:close/>
                  <a:moveTo>
                    <a:pt x="944" y="500"/>
                  </a:moveTo>
                  <a:lnTo>
                    <a:pt x="944" y="504"/>
                  </a:lnTo>
                  <a:lnTo>
                    <a:pt x="948" y="504"/>
                  </a:lnTo>
                  <a:lnTo>
                    <a:pt x="944" y="504"/>
                  </a:lnTo>
                  <a:lnTo>
                    <a:pt x="944" y="500"/>
                  </a:lnTo>
                  <a:lnTo>
                    <a:pt x="944" y="500"/>
                  </a:lnTo>
                  <a:lnTo>
                    <a:pt x="944" y="500"/>
                  </a:lnTo>
                  <a:close/>
                  <a:moveTo>
                    <a:pt x="1076" y="504"/>
                  </a:moveTo>
                  <a:lnTo>
                    <a:pt x="1076" y="508"/>
                  </a:lnTo>
                  <a:lnTo>
                    <a:pt x="1076" y="504"/>
                  </a:lnTo>
                  <a:lnTo>
                    <a:pt x="1074" y="504"/>
                  </a:lnTo>
                  <a:lnTo>
                    <a:pt x="1076" y="504"/>
                  </a:lnTo>
                  <a:lnTo>
                    <a:pt x="1076" y="504"/>
                  </a:lnTo>
                  <a:lnTo>
                    <a:pt x="1076" y="504"/>
                  </a:lnTo>
                  <a:close/>
                  <a:moveTo>
                    <a:pt x="950" y="504"/>
                  </a:moveTo>
                  <a:lnTo>
                    <a:pt x="950" y="508"/>
                  </a:lnTo>
                  <a:lnTo>
                    <a:pt x="950" y="504"/>
                  </a:lnTo>
                  <a:lnTo>
                    <a:pt x="950" y="504"/>
                  </a:lnTo>
                  <a:lnTo>
                    <a:pt x="950" y="504"/>
                  </a:lnTo>
                  <a:close/>
                  <a:moveTo>
                    <a:pt x="1074" y="504"/>
                  </a:moveTo>
                  <a:lnTo>
                    <a:pt x="1076" y="508"/>
                  </a:lnTo>
                  <a:lnTo>
                    <a:pt x="1074" y="508"/>
                  </a:lnTo>
                  <a:lnTo>
                    <a:pt x="1074" y="504"/>
                  </a:lnTo>
                  <a:lnTo>
                    <a:pt x="1074" y="504"/>
                  </a:lnTo>
                  <a:lnTo>
                    <a:pt x="1074" y="504"/>
                  </a:lnTo>
                  <a:close/>
                  <a:moveTo>
                    <a:pt x="1080" y="516"/>
                  </a:moveTo>
                  <a:lnTo>
                    <a:pt x="1080" y="520"/>
                  </a:lnTo>
                  <a:lnTo>
                    <a:pt x="1084" y="520"/>
                  </a:lnTo>
                  <a:lnTo>
                    <a:pt x="1084" y="522"/>
                  </a:lnTo>
                  <a:lnTo>
                    <a:pt x="1080" y="522"/>
                  </a:lnTo>
                  <a:lnTo>
                    <a:pt x="1080" y="520"/>
                  </a:lnTo>
                  <a:lnTo>
                    <a:pt x="1076" y="520"/>
                  </a:lnTo>
                  <a:lnTo>
                    <a:pt x="1076" y="516"/>
                  </a:lnTo>
                  <a:lnTo>
                    <a:pt x="1080" y="516"/>
                  </a:lnTo>
                  <a:lnTo>
                    <a:pt x="1080" y="516"/>
                  </a:lnTo>
                  <a:lnTo>
                    <a:pt x="1080" y="516"/>
                  </a:lnTo>
                  <a:close/>
                  <a:moveTo>
                    <a:pt x="1084" y="516"/>
                  </a:moveTo>
                  <a:lnTo>
                    <a:pt x="1084" y="520"/>
                  </a:lnTo>
                  <a:lnTo>
                    <a:pt x="1084" y="516"/>
                  </a:lnTo>
                  <a:lnTo>
                    <a:pt x="1084" y="516"/>
                  </a:lnTo>
                  <a:lnTo>
                    <a:pt x="1084" y="516"/>
                  </a:lnTo>
                  <a:close/>
                  <a:moveTo>
                    <a:pt x="1088" y="520"/>
                  </a:moveTo>
                  <a:lnTo>
                    <a:pt x="1088" y="522"/>
                  </a:lnTo>
                  <a:lnTo>
                    <a:pt x="1084" y="522"/>
                  </a:lnTo>
                  <a:lnTo>
                    <a:pt x="1084" y="520"/>
                  </a:lnTo>
                  <a:lnTo>
                    <a:pt x="1088" y="520"/>
                  </a:lnTo>
                  <a:lnTo>
                    <a:pt x="1088" y="520"/>
                  </a:lnTo>
                  <a:lnTo>
                    <a:pt x="1088" y="520"/>
                  </a:lnTo>
                  <a:close/>
                  <a:moveTo>
                    <a:pt x="1084" y="522"/>
                  </a:moveTo>
                  <a:lnTo>
                    <a:pt x="1088" y="522"/>
                  </a:lnTo>
                  <a:lnTo>
                    <a:pt x="1088" y="526"/>
                  </a:lnTo>
                  <a:lnTo>
                    <a:pt x="1084" y="526"/>
                  </a:lnTo>
                  <a:lnTo>
                    <a:pt x="1084" y="522"/>
                  </a:lnTo>
                  <a:lnTo>
                    <a:pt x="1084" y="522"/>
                  </a:lnTo>
                  <a:lnTo>
                    <a:pt x="1084" y="522"/>
                  </a:lnTo>
                  <a:close/>
                  <a:moveTo>
                    <a:pt x="712" y="522"/>
                  </a:moveTo>
                  <a:lnTo>
                    <a:pt x="712" y="526"/>
                  </a:lnTo>
                  <a:lnTo>
                    <a:pt x="708" y="526"/>
                  </a:lnTo>
                  <a:lnTo>
                    <a:pt x="708" y="522"/>
                  </a:lnTo>
                  <a:lnTo>
                    <a:pt x="712" y="522"/>
                  </a:lnTo>
                  <a:lnTo>
                    <a:pt x="712" y="522"/>
                  </a:lnTo>
                  <a:lnTo>
                    <a:pt x="712" y="522"/>
                  </a:lnTo>
                  <a:close/>
                  <a:moveTo>
                    <a:pt x="890" y="546"/>
                  </a:moveTo>
                  <a:lnTo>
                    <a:pt x="894" y="546"/>
                  </a:lnTo>
                  <a:lnTo>
                    <a:pt x="894" y="550"/>
                  </a:lnTo>
                  <a:lnTo>
                    <a:pt x="890" y="550"/>
                  </a:lnTo>
                  <a:lnTo>
                    <a:pt x="890" y="546"/>
                  </a:lnTo>
                  <a:lnTo>
                    <a:pt x="890" y="546"/>
                  </a:lnTo>
                  <a:lnTo>
                    <a:pt x="890" y="546"/>
                  </a:lnTo>
                  <a:close/>
                  <a:moveTo>
                    <a:pt x="690" y="552"/>
                  </a:moveTo>
                  <a:lnTo>
                    <a:pt x="686" y="552"/>
                  </a:lnTo>
                  <a:lnTo>
                    <a:pt x="690" y="552"/>
                  </a:lnTo>
                  <a:lnTo>
                    <a:pt x="690" y="552"/>
                  </a:lnTo>
                  <a:lnTo>
                    <a:pt x="690" y="552"/>
                  </a:lnTo>
                  <a:close/>
                  <a:moveTo>
                    <a:pt x="1066" y="564"/>
                  </a:moveTo>
                  <a:lnTo>
                    <a:pt x="1066" y="566"/>
                  </a:lnTo>
                  <a:lnTo>
                    <a:pt x="1062" y="566"/>
                  </a:lnTo>
                  <a:lnTo>
                    <a:pt x="1062" y="564"/>
                  </a:lnTo>
                  <a:lnTo>
                    <a:pt x="1066" y="564"/>
                  </a:lnTo>
                  <a:lnTo>
                    <a:pt x="1066" y="564"/>
                  </a:lnTo>
                  <a:lnTo>
                    <a:pt x="1066" y="564"/>
                  </a:lnTo>
                  <a:close/>
                  <a:moveTo>
                    <a:pt x="1088" y="608"/>
                  </a:moveTo>
                  <a:lnTo>
                    <a:pt x="1088" y="612"/>
                  </a:lnTo>
                  <a:lnTo>
                    <a:pt x="1084" y="612"/>
                  </a:lnTo>
                  <a:lnTo>
                    <a:pt x="1088" y="608"/>
                  </a:lnTo>
                  <a:lnTo>
                    <a:pt x="1088" y="608"/>
                  </a:lnTo>
                  <a:lnTo>
                    <a:pt x="1088" y="608"/>
                  </a:lnTo>
                  <a:close/>
                  <a:moveTo>
                    <a:pt x="1118" y="664"/>
                  </a:moveTo>
                  <a:lnTo>
                    <a:pt x="1118" y="660"/>
                  </a:lnTo>
                  <a:lnTo>
                    <a:pt x="1122" y="660"/>
                  </a:lnTo>
                  <a:lnTo>
                    <a:pt x="1118" y="664"/>
                  </a:lnTo>
                  <a:lnTo>
                    <a:pt x="1118" y="664"/>
                  </a:lnTo>
                  <a:lnTo>
                    <a:pt x="1118" y="664"/>
                  </a:lnTo>
                  <a:close/>
                  <a:moveTo>
                    <a:pt x="1122" y="660"/>
                  </a:moveTo>
                  <a:lnTo>
                    <a:pt x="1122" y="664"/>
                  </a:lnTo>
                  <a:lnTo>
                    <a:pt x="1118" y="664"/>
                  </a:lnTo>
                  <a:lnTo>
                    <a:pt x="1122" y="664"/>
                  </a:lnTo>
                  <a:lnTo>
                    <a:pt x="1122" y="660"/>
                  </a:lnTo>
                  <a:lnTo>
                    <a:pt x="1122" y="660"/>
                  </a:lnTo>
                  <a:lnTo>
                    <a:pt x="1122" y="660"/>
                  </a:lnTo>
                  <a:close/>
                  <a:moveTo>
                    <a:pt x="864" y="676"/>
                  </a:moveTo>
                  <a:lnTo>
                    <a:pt x="864" y="680"/>
                  </a:lnTo>
                  <a:lnTo>
                    <a:pt x="864" y="676"/>
                  </a:lnTo>
                  <a:lnTo>
                    <a:pt x="864" y="676"/>
                  </a:lnTo>
                  <a:lnTo>
                    <a:pt x="864" y="676"/>
                  </a:lnTo>
                  <a:close/>
                  <a:moveTo>
                    <a:pt x="1132" y="698"/>
                  </a:moveTo>
                  <a:lnTo>
                    <a:pt x="1136" y="698"/>
                  </a:lnTo>
                  <a:lnTo>
                    <a:pt x="1132" y="698"/>
                  </a:lnTo>
                  <a:lnTo>
                    <a:pt x="1132" y="698"/>
                  </a:lnTo>
                  <a:lnTo>
                    <a:pt x="1132" y="698"/>
                  </a:lnTo>
                  <a:close/>
                  <a:moveTo>
                    <a:pt x="1174" y="720"/>
                  </a:moveTo>
                  <a:lnTo>
                    <a:pt x="1174" y="724"/>
                  </a:lnTo>
                  <a:lnTo>
                    <a:pt x="1170" y="724"/>
                  </a:lnTo>
                  <a:lnTo>
                    <a:pt x="1170" y="720"/>
                  </a:lnTo>
                  <a:lnTo>
                    <a:pt x="1174" y="720"/>
                  </a:lnTo>
                  <a:lnTo>
                    <a:pt x="1174" y="720"/>
                  </a:lnTo>
                  <a:lnTo>
                    <a:pt x="1174" y="720"/>
                  </a:lnTo>
                  <a:close/>
                  <a:moveTo>
                    <a:pt x="150" y="720"/>
                  </a:moveTo>
                  <a:lnTo>
                    <a:pt x="150" y="724"/>
                  </a:lnTo>
                  <a:lnTo>
                    <a:pt x="146" y="724"/>
                  </a:lnTo>
                  <a:lnTo>
                    <a:pt x="150" y="720"/>
                  </a:lnTo>
                  <a:lnTo>
                    <a:pt x="150" y="720"/>
                  </a:lnTo>
                  <a:lnTo>
                    <a:pt x="150" y="720"/>
                  </a:lnTo>
                  <a:close/>
                  <a:moveTo>
                    <a:pt x="1204" y="750"/>
                  </a:moveTo>
                  <a:lnTo>
                    <a:pt x="1208" y="750"/>
                  </a:lnTo>
                  <a:lnTo>
                    <a:pt x="1204" y="754"/>
                  </a:lnTo>
                  <a:lnTo>
                    <a:pt x="1204" y="750"/>
                  </a:lnTo>
                  <a:lnTo>
                    <a:pt x="1204" y="750"/>
                  </a:lnTo>
                  <a:lnTo>
                    <a:pt x="1204" y="750"/>
                  </a:lnTo>
                  <a:close/>
                  <a:moveTo>
                    <a:pt x="176" y="766"/>
                  </a:moveTo>
                  <a:lnTo>
                    <a:pt x="180" y="766"/>
                  </a:lnTo>
                  <a:lnTo>
                    <a:pt x="176" y="768"/>
                  </a:lnTo>
                  <a:lnTo>
                    <a:pt x="176" y="766"/>
                  </a:lnTo>
                  <a:lnTo>
                    <a:pt x="176" y="766"/>
                  </a:lnTo>
                  <a:lnTo>
                    <a:pt x="176" y="766"/>
                  </a:lnTo>
                  <a:close/>
                  <a:moveTo>
                    <a:pt x="182" y="776"/>
                  </a:moveTo>
                  <a:lnTo>
                    <a:pt x="186" y="776"/>
                  </a:lnTo>
                  <a:lnTo>
                    <a:pt x="182" y="776"/>
                  </a:lnTo>
                  <a:lnTo>
                    <a:pt x="182" y="776"/>
                  </a:lnTo>
                  <a:lnTo>
                    <a:pt x="182" y="776"/>
                  </a:lnTo>
                  <a:close/>
                  <a:moveTo>
                    <a:pt x="180" y="780"/>
                  </a:moveTo>
                  <a:lnTo>
                    <a:pt x="180" y="776"/>
                  </a:lnTo>
                  <a:lnTo>
                    <a:pt x="180" y="780"/>
                  </a:lnTo>
                  <a:lnTo>
                    <a:pt x="180" y="780"/>
                  </a:lnTo>
                  <a:lnTo>
                    <a:pt x="180" y="780"/>
                  </a:lnTo>
                  <a:close/>
                  <a:moveTo>
                    <a:pt x="182" y="780"/>
                  </a:moveTo>
                  <a:lnTo>
                    <a:pt x="186" y="780"/>
                  </a:lnTo>
                  <a:lnTo>
                    <a:pt x="182" y="780"/>
                  </a:lnTo>
                  <a:lnTo>
                    <a:pt x="182" y="780"/>
                  </a:lnTo>
                  <a:lnTo>
                    <a:pt x="182" y="780"/>
                  </a:lnTo>
                  <a:close/>
                  <a:moveTo>
                    <a:pt x="202" y="806"/>
                  </a:moveTo>
                  <a:lnTo>
                    <a:pt x="198" y="806"/>
                  </a:lnTo>
                  <a:lnTo>
                    <a:pt x="202" y="806"/>
                  </a:lnTo>
                  <a:lnTo>
                    <a:pt x="206" y="806"/>
                  </a:lnTo>
                  <a:lnTo>
                    <a:pt x="202" y="806"/>
                  </a:lnTo>
                  <a:lnTo>
                    <a:pt x="202" y="806"/>
                  </a:lnTo>
                  <a:lnTo>
                    <a:pt x="202" y="806"/>
                  </a:lnTo>
                  <a:close/>
                  <a:moveTo>
                    <a:pt x="1212" y="806"/>
                  </a:moveTo>
                  <a:lnTo>
                    <a:pt x="1208" y="810"/>
                  </a:lnTo>
                  <a:lnTo>
                    <a:pt x="1208" y="806"/>
                  </a:lnTo>
                  <a:lnTo>
                    <a:pt x="1212" y="806"/>
                  </a:lnTo>
                  <a:lnTo>
                    <a:pt x="1212" y="806"/>
                  </a:lnTo>
                  <a:lnTo>
                    <a:pt x="1212" y="806"/>
                  </a:lnTo>
                  <a:close/>
                  <a:moveTo>
                    <a:pt x="198" y="810"/>
                  </a:moveTo>
                  <a:lnTo>
                    <a:pt x="202" y="810"/>
                  </a:lnTo>
                  <a:lnTo>
                    <a:pt x="198" y="810"/>
                  </a:lnTo>
                  <a:lnTo>
                    <a:pt x="198" y="810"/>
                  </a:lnTo>
                  <a:lnTo>
                    <a:pt x="198" y="810"/>
                  </a:lnTo>
                  <a:close/>
                  <a:moveTo>
                    <a:pt x="210" y="810"/>
                  </a:moveTo>
                  <a:lnTo>
                    <a:pt x="210" y="814"/>
                  </a:lnTo>
                  <a:lnTo>
                    <a:pt x="206" y="814"/>
                  </a:lnTo>
                  <a:lnTo>
                    <a:pt x="202" y="814"/>
                  </a:lnTo>
                  <a:lnTo>
                    <a:pt x="206" y="814"/>
                  </a:lnTo>
                  <a:lnTo>
                    <a:pt x="210" y="810"/>
                  </a:lnTo>
                  <a:lnTo>
                    <a:pt x="210" y="810"/>
                  </a:lnTo>
                  <a:lnTo>
                    <a:pt x="210" y="810"/>
                  </a:lnTo>
                  <a:close/>
                  <a:moveTo>
                    <a:pt x="220" y="814"/>
                  </a:moveTo>
                  <a:lnTo>
                    <a:pt x="220" y="818"/>
                  </a:lnTo>
                  <a:lnTo>
                    <a:pt x="220" y="814"/>
                  </a:lnTo>
                  <a:lnTo>
                    <a:pt x="220" y="814"/>
                  </a:lnTo>
                  <a:lnTo>
                    <a:pt x="220" y="814"/>
                  </a:lnTo>
                  <a:close/>
                  <a:moveTo>
                    <a:pt x="224" y="814"/>
                  </a:moveTo>
                  <a:lnTo>
                    <a:pt x="224" y="818"/>
                  </a:lnTo>
                  <a:lnTo>
                    <a:pt x="224" y="822"/>
                  </a:lnTo>
                  <a:lnTo>
                    <a:pt x="224" y="818"/>
                  </a:lnTo>
                  <a:lnTo>
                    <a:pt x="220" y="818"/>
                  </a:lnTo>
                  <a:lnTo>
                    <a:pt x="224" y="814"/>
                  </a:lnTo>
                  <a:lnTo>
                    <a:pt x="224" y="814"/>
                  </a:lnTo>
                  <a:lnTo>
                    <a:pt x="224" y="814"/>
                  </a:lnTo>
                  <a:close/>
                  <a:moveTo>
                    <a:pt x="232" y="818"/>
                  </a:moveTo>
                  <a:lnTo>
                    <a:pt x="232" y="822"/>
                  </a:lnTo>
                  <a:lnTo>
                    <a:pt x="228" y="818"/>
                  </a:lnTo>
                  <a:lnTo>
                    <a:pt x="232" y="818"/>
                  </a:lnTo>
                  <a:lnTo>
                    <a:pt x="232" y="818"/>
                  </a:lnTo>
                  <a:lnTo>
                    <a:pt x="232" y="818"/>
                  </a:lnTo>
                  <a:close/>
                  <a:moveTo>
                    <a:pt x="228" y="818"/>
                  </a:moveTo>
                  <a:lnTo>
                    <a:pt x="232" y="822"/>
                  </a:lnTo>
                  <a:lnTo>
                    <a:pt x="228" y="822"/>
                  </a:lnTo>
                  <a:lnTo>
                    <a:pt x="228" y="818"/>
                  </a:lnTo>
                  <a:lnTo>
                    <a:pt x="228" y="818"/>
                  </a:lnTo>
                  <a:lnTo>
                    <a:pt x="228" y="818"/>
                  </a:lnTo>
                  <a:close/>
                  <a:moveTo>
                    <a:pt x="228" y="818"/>
                  </a:moveTo>
                  <a:lnTo>
                    <a:pt x="228" y="822"/>
                  </a:lnTo>
                  <a:lnTo>
                    <a:pt x="228" y="824"/>
                  </a:lnTo>
                  <a:lnTo>
                    <a:pt x="228" y="822"/>
                  </a:lnTo>
                  <a:lnTo>
                    <a:pt x="224" y="822"/>
                  </a:lnTo>
                  <a:lnTo>
                    <a:pt x="228" y="822"/>
                  </a:lnTo>
                  <a:lnTo>
                    <a:pt x="228" y="818"/>
                  </a:lnTo>
                  <a:lnTo>
                    <a:pt x="228" y="818"/>
                  </a:lnTo>
                  <a:lnTo>
                    <a:pt x="228" y="818"/>
                  </a:lnTo>
                  <a:close/>
                  <a:moveTo>
                    <a:pt x="238" y="828"/>
                  </a:moveTo>
                  <a:lnTo>
                    <a:pt x="238" y="832"/>
                  </a:lnTo>
                  <a:lnTo>
                    <a:pt x="238" y="828"/>
                  </a:lnTo>
                  <a:lnTo>
                    <a:pt x="238" y="828"/>
                  </a:lnTo>
                  <a:lnTo>
                    <a:pt x="238" y="828"/>
                  </a:lnTo>
                  <a:close/>
                  <a:moveTo>
                    <a:pt x="1230" y="828"/>
                  </a:moveTo>
                  <a:lnTo>
                    <a:pt x="1230" y="832"/>
                  </a:lnTo>
                  <a:lnTo>
                    <a:pt x="1226" y="832"/>
                  </a:lnTo>
                  <a:lnTo>
                    <a:pt x="1226" y="828"/>
                  </a:lnTo>
                  <a:lnTo>
                    <a:pt x="1230" y="828"/>
                  </a:lnTo>
                  <a:lnTo>
                    <a:pt x="1230" y="828"/>
                  </a:lnTo>
                  <a:lnTo>
                    <a:pt x="1230" y="828"/>
                  </a:lnTo>
                  <a:close/>
                  <a:moveTo>
                    <a:pt x="1222" y="832"/>
                  </a:moveTo>
                  <a:lnTo>
                    <a:pt x="1218" y="836"/>
                  </a:lnTo>
                  <a:lnTo>
                    <a:pt x="1218" y="832"/>
                  </a:lnTo>
                  <a:lnTo>
                    <a:pt x="1222" y="832"/>
                  </a:lnTo>
                  <a:lnTo>
                    <a:pt x="1222" y="832"/>
                  </a:lnTo>
                  <a:lnTo>
                    <a:pt x="1222" y="832"/>
                  </a:lnTo>
                  <a:close/>
                  <a:moveTo>
                    <a:pt x="250" y="832"/>
                  </a:moveTo>
                  <a:lnTo>
                    <a:pt x="250" y="836"/>
                  </a:lnTo>
                  <a:lnTo>
                    <a:pt x="246" y="836"/>
                  </a:lnTo>
                  <a:lnTo>
                    <a:pt x="250" y="836"/>
                  </a:lnTo>
                  <a:lnTo>
                    <a:pt x="250" y="832"/>
                  </a:lnTo>
                  <a:lnTo>
                    <a:pt x="250" y="832"/>
                  </a:lnTo>
                  <a:lnTo>
                    <a:pt x="250" y="832"/>
                  </a:lnTo>
                  <a:close/>
                  <a:moveTo>
                    <a:pt x="212" y="840"/>
                  </a:moveTo>
                  <a:lnTo>
                    <a:pt x="216" y="840"/>
                  </a:lnTo>
                  <a:lnTo>
                    <a:pt x="216" y="844"/>
                  </a:lnTo>
                  <a:lnTo>
                    <a:pt x="212" y="844"/>
                  </a:lnTo>
                  <a:lnTo>
                    <a:pt x="212" y="840"/>
                  </a:lnTo>
                  <a:lnTo>
                    <a:pt x="212" y="840"/>
                  </a:lnTo>
                  <a:lnTo>
                    <a:pt x="212" y="840"/>
                  </a:lnTo>
                  <a:close/>
                  <a:moveTo>
                    <a:pt x="1238" y="862"/>
                  </a:moveTo>
                  <a:lnTo>
                    <a:pt x="1234" y="862"/>
                  </a:lnTo>
                  <a:lnTo>
                    <a:pt x="1230" y="862"/>
                  </a:lnTo>
                  <a:lnTo>
                    <a:pt x="1234" y="862"/>
                  </a:lnTo>
                  <a:lnTo>
                    <a:pt x="1238" y="862"/>
                  </a:lnTo>
                  <a:lnTo>
                    <a:pt x="1238" y="862"/>
                  </a:lnTo>
                  <a:lnTo>
                    <a:pt x="1238" y="862"/>
                  </a:lnTo>
                  <a:close/>
                  <a:moveTo>
                    <a:pt x="1204" y="874"/>
                  </a:moveTo>
                  <a:lnTo>
                    <a:pt x="1200" y="874"/>
                  </a:lnTo>
                  <a:lnTo>
                    <a:pt x="1204" y="874"/>
                  </a:lnTo>
                  <a:lnTo>
                    <a:pt x="1204" y="874"/>
                  </a:lnTo>
                  <a:lnTo>
                    <a:pt x="1204" y="874"/>
                  </a:lnTo>
                  <a:close/>
                  <a:moveTo>
                    <a:pt x="1230" y="874"/>
                  </a:moveTo>
                  <a:lnTo>
                    <a:pt x="1226" y="874"/>
                  </a:lnTo>
                  <a:lnTo>
                    <a:pt x="1226" y="878"/>
                  </a:lnTo>
                  <a:lnTo>
                    <a:pt x="1226" y="874"/>
                  </a:lnTo>
                  <a:lnTo>
                    <a:pt x="1230" y="874"/>
                  </a:lnTo>
                  <a:lnTo>
                    <a:pt x="1230" y="874"/>
                  </a:lnTo>
                  <a:lnTo>
                    <a:pt x="1230" y="874"/>
                  </a:lnTo>
                  <a:close/>
                  <a:moveTo>
                    <a:pt x="738" y="146"/>
                  </a:moveTo>
                  <a:lnTo>
                    <a:pt x="734" y="146"/>
                  </a:lnTo>
                  <a:lnTo>
                    <a:pt x="732" y="146"/>
                  </a:lnTo>
                  <a:lnTo>
                    <a:pt x="732" y="142"/>
                  </a:lnTo>
                  <a:lnTo>
                    <a:pt x="728" y="138"/>
                  </a:lnTo>
                  <a:lnTo>
                    <a:pt x="724" y="138"/>
                  </a:lnTo>
                  <a:lnTo>
                    <a:pt x="724" y="136"/>
                  </a:lnTo>
                  <a:lnTo>
                    <a:pt x="720" y="136"/>
                  </a:lnTo>
                  <a:lnTo>
                    <a:pt x="720" y="138"/>
                  </a:lnTo>
                  <a:lnTo>
                    <a:pt x="724" y="138"/>
                  </a:lnTo>
                  <a:lnTo>
                    <a:pt x="724" y="142"/>
                  </a:lnTo>
                  <a:lnTo>
                    <a:pt x="728" y="142"/>
                  </a:lnTo>
                  <a:lnTo>
                    <a:pt x="732" y="146"/>
                  </a:lnTo>
                  <a:lnTo>
                    <a:pt x="728" y="146"/>
                  </a:lnTo>
                  <a:lnTo>
                    <a:pt x="724" y="146"/>
                  </a:lnTo>
                  <a:lnTo>
                    <a:pt x="724" y="142"/>
                  </a:lnTo>
                  <a:lnTo>
                    <a:pt x="720" y="142"/>
                  </a:lnTo>
                  <a:lnTo>
                    <a:pt x="716" y="142"/>
                  </a:lnTo>
                  <a:lnTo>
                    <a:pt x="712" y="142"/>
                  </a:lnTo>
                  <a:lnTo>
                    <a:pt x="716" y="142"/>
                  </a:lnTo>
                  <a:lnTo>
                    <a:pt x="716" y="146"/>
                  </a:lnTo>
                  <a:lnTo>
                    <a:pt x="712" y="146"/>
                  </a:lnTo>
                  <a:lnTo>
                    <a:pt x="708" y="146"/>
                  </a:lnTo>
                  <a:lnTo>
                    <a:pt x="706" y="146"/>
                  </a:lnTo>
                  <a:lnTo>
                    <a:pt x="702" y="146"/>
                  </a:lnTo>
                  <a:lnTo>
                    <a:pt x="698" y="146"/>
                  </a:lnTo>
                  <a:lnTo>
                    <a:pt x="694" y="146"/>
                  </a:lnTo>
                  <a:lnTo>
                    <a:pt x="690" y="146"/>
                  </a:lnTo>
                  <a:lnTo>
                    <a:pt x="690" y="142"/>
                  </a:lnTo>
                  <a:lnTo>
                    <a:pt x="686" y="142"/>
                  </a:lnTo>
                  <a:lnTo>
                    <a:pt x="678" y="138"/>
                  </a:lnTo>
                  <a:lnTo>
                    <a:pt x="682" y="138"/>
                  </a:lnTo>
                  <a:lnTo>
                    <a:pt x="686" y="138"/>
                  </a:lnTo>
                  <a:lnTo>
                    <a:pt x="686" y="136"/>
                  </a:lnTo>
                  <a:lnTo>
                    <a:pt x="690" y="136"/>
                  </a:lnTo>
                  <a:lnTo>
                    <a:pt x="694" y="136"/>
                  </a:lnTo>
                  <a:lnTo>
                    <a:pt x="698" y="136"/>
                  </a:lnTo>
                  <a:lnTo>
                    <a:pt x="694" y="136"/>
                  </a:lnTo>
                  <a:lnTo>
                    <a:pt x="690" y="136"/>
                  </a:lnTo>
                  <a:lnTo>
                    <a:pt x="686" y="136"/>
                  </a:lnTo>
                  <a:lnTo>
                    <a:pt x="682" y="136"/>
                  </a:lnTo>
                  <a:lnTo>
                    <a:pt x="678" y="136"/>
                  </a:lnTo>
                  <a:lnTo>
                    <a:pt x="676" y="136"/>
                  </a:lnTo>
                  <a:lnTo>
                    <a:pt x="672" y="136"/>
                  </a:lnTo>
                  <a:lnTo>
                    <a:pt x="668" y="132"/>
                  </a:lnTo>
                  <a:lnTo>
                    <a:pt x="668" y="128"/>
                  </a:lnTo>
                  <a:lnTo>
                    <a:pt x="672" y="128"/>
                  </a:lnTo>
                  <a:lnTo>
                    <a:pt x="672" y="132"/>
                  </a:lnTo>
                  <a:lnTo>
                    <a:pt x="676" y="132"/>
                  </a:lnTo>
                  <a:lnTo>
                    <a:pt x="678" y="132"/>
                  </a:lnTo>
                  <a:lnTo>
                    <a:pt x="676" y="128"/>
                  </a:lnTo>
                  <a:lnTo>
                    <a:pt x="672" y="128"/>
                  </a:lnTo>
                  <a:lnTo>
                    <a:pt x="668" y="128"/>
                  </a:lnTo>
                  <a:lnTo>
                    <a:pt x="664" y="128"/>
                  </a:lnTo>
                  <a:lnTo>
                    <a:pt x="664" y="124"/>
                  </a:lnTo>
                  <a:lnTo>
                    <a:pt x="660" y="124"/>
                  </a:lnTo>
                  <a:lnTo>
                    <a:pt x="664" y="124"/>
                  </a:lnTo>
                  <a:lnTo>
                    <a:pt x="668" y="120"/>
                  </a:lnTo>
                  <a:lnTo>
                    <a:pt x="668" y="124"/>
                  </a:lnTo>
                  <a:lnTo>
                    <a:pt x="668" y="120"/>
                  </a:lnTo>
                  <a:lnTo>
                    <a:pt x="672" y="120"/>
                  </a:lnTo>
                  <a:lnTo>
                    <a:pt x="676" y="120"/>
                  </a:lnTo>
                  <a:lnTo>
                    <a:pt x="676" y="116"/>
                  </a:lnTo>
                  <a:lnTo>
                    <a:pt x="676" y="120"/>
                  </a:lnTo>
                  <a:lnTo>
                    <a:pt x="678" y="120"/>
                  </a:lnTo>
                  <a:lnTo>
                    <a:pt x="682" y="120"/>
                  </a:lnTo>
                  <a:lnTo>
                    <a:pt x="686" y="120"/>
                  </a:lnTo>
                  <a:lnTo>
                    <a:pt x="690" y="120"/>
                  </a:lnTo>
                  <a:lnTo>
                    <a:pt x="694" y="120"/>
                  </a:lnTo>
                  <a:lnTo>
                    <a:pt x="698" y="116"/>
                  </a:lnTo>
                  <a:lnTo>
                    <a:pt x="702" y="116"/>
                  </a:lnTo>
                  <a:lnTo>
                    <a:pt x="706" y="116"/>
                  </a:lnTo>
                  <a:lnTo>
                    <a:pt x="708" y="116"/>
                  </a:lnTo>
                  <a:lnTo>
                    <a:pt x="712" y="116"/>
                  </a:lnTo>
                  <a:lnTo>
                    <a:pt x="716" y="116"/>
                  </a:lnTo>
                  <a:lnTo>
                    <a:pt x="712" y="116"/>
                  </a:lnTo>
                  <a:lnTo>
                    <a:pt x="708" y="116"/>
                  </a:lnTo>
                  <a:lnTo>
                    <a:pt x="706" y="116"/>
                  </a:lnTo>
                  <a:lnTo>
                    <a:pt x="702" y="116"/>
                  </a:lnTo>
                  <a:lnTo>
                    <a:pt x="694" y="116"/>
                  </a:lnTo>
                  <a:lnTo>
                    <a:pt x="690" y="116"/>
                  </a:lnTo>
                  <a:lnTo>
                    <a:pt x="686" y="116"/>
                  </a:lnTo>
                  <a:lnTo>
                    <a:pt x="682" y="116"/>
                  </a:lnTo>
                  <a:lnTo>
                    <a:pt x="686" y="116"/>
                  </a:lnTo>
                  <a:lnTo>
                    <a:pt x="686" y="112"/>
                  </a:lnTo>
                  <a:lnTo>
                    <a:pt x="690" y="112"/>
                  </a:lnTo>
                  <a:lnTo>
                    <a:pt x="694" y="116"/>
                  </a:lnTo>
                  <a:lnTo>
                    <a:pt x="694" y="112"/>
                  </a:lnTo>
                  <a:lnTo>
                    <a:pt x="698" y="112"/>
                  </a:lnTo>
                  <a:lnTo>
                    <a:pt x="702" y="112"/>
                  </a:lnTo>
                  <a:lnTo>
                    <a:pt x="706" y="112"/>
                  </a:lnTo>
                  <a:lnTo>
                    <a:pt x="702" y="112"/>
                  </a:lnTo>
                  <a:lnTo>
                    <a:pt x="698" y="112"/>
                  </a:lnTo>
                  <a:lnTo>
                    <a:pt x="694" y="112"/>
                  </a:lnTo>
                  <a:lnTo>
                    <a:pt x="690" y="112"/>
                  </a:lnTo>
                  <a:lnTo>
                    <a:pt x="686" y="112"/>
                  </a:lnTo>
                  <a:lnTo>
                    <a:pt x="690" y="112"/>
                  </a:lnTo>
                  <a:lnTo>
                    <a:pt x="690" y="108"/>
                  </a:lnTo>
                  <a:lnTo>
                    <a:pt x="686" y="108"/>
                  </a:lnTo>
                  <a:lnTo>
                    <a:pt x="682" y="108"/>
                  </a:lnTo>
                  <a:lnTo>
                    <a:pt x="682" y="112"/>
                  </a:lnTo>
                  <a:lnTo>
                    <a:pt x="678" y="112"/>
                  </a:lnTo>
                  <a:lnTo>
                    <a:pt x="678" y="108"/>
                  </a:lnTo>
                  <a:lnTo>
                    <a:pt x="678" y="112"/>
                  </a:lnTo>
                  <a:lnTo>
                    <a:pt x="676" y="112"/>
                  </a:lnTo>
                  <a:lnTo>
                    <a:pt x="676" y="108"/>
                  </a:lnTo>
                  <a:lnTo>
                    <a:pt x="672" y="112"/>
                  </a:lnTo>
                  <a:lnTo>
                    <a:pt x="668" y="116"/>
                  </a:lnTo>
                  <a:lnTo>
                    <a:pt x="664" y="116"/>
                  </a:lnTo>
                  <a:lnTo>
                    <a:pt x="660" y="116"/>
                  </a:lnTo>
                  <a:lnTo>
                    <a:pt x="664" y="112"/>
                  </a:lnTo>
                  <a:lnTo>
                    <a:pt x="660" y="112"/>
                  </a:lnTo>
                  <a:lnTo>
                    <a:pt x="656" y="112"/>
                  </a:lnTo>
                  <a:lnTo>
                    <a:pt x="660" y="112"/>
                  </a:lnTo>
                  <a:lnTo>
                    <a:pt x="656" y="112"/>
                  </a:lnTo>
                  <a:lnTo>
                    <a:pt x="652" y="112"/>
                  </a:lnTo>
                  <a:lnTo>
                    <a:pt x="652" y="116"/>
                  </a:lnTo>
                  <a:lnTo>
                    <a:pt x="650" y="116"/>
                  </a:lnTo>
                  <a:lnTo>
                    <a:pt x="646" y="112"/>
                  </a:lnTo>
                  <a:lnTo>
                    <a:pt x="642" y="112"/>
                  </a:lnTo>
                  <a:lnTo>
                    <a:pt x="642" y="108"/>
                  </a:lnTo>
                  <a:lnTo>
                    <a:pt x="642" y="106"/>
                  </a:lnTo>
                  <a:lnTo>
                    <a:pt x="646" y="106"/>
                  </a:lnTo>
                  <a:lnTo>
                    <a:pt x="650" y="106"/>
                  </a:lnTo>
                  <a:lnTo>
                    <a:pt x="652" y="106"/>
                  </a:lnTo>
                  <a:lnTo>
                    <a:pt x="656" y="106"/>
                  </a:lnTo>
                  <a:lnTo>
                    <a:pt x="660" y="106"/>
                  </a:lnTo>
                  <a:lnTo>
                    <a:pt x="660" y="102"/>
                  </a:lnTo>
                  <a:lnTo>
                    <a:pt x="656" y="102"/>
                  </a:lnTo>
                  <a:lnTo>
                    <a:pt x="652" y="106"/>
                  </a:lnTo>
                  <a:lnTo>
                    <a:pt x="650" y="106"/>
                  </a:lnTo>
                  <a:lnTo>
                    <a:pt x="646" y="106"/>
                  </a:lnTo>
                  <a:lnTo>
                    <a:pt x="642" y="106"/>
                  </a:lnTo>
                  <a:lnTo>
                    <a:pt x="638" y="106"/>
                  </a:lnTo>
                  <a:lnTo>
                    <a:pt x="638" y="102"/>
                  </a:lnTo>
                  <a:lnTo>
                    <a:pt x="634" y="102"/>
                  </a:lnTo>
                  <a:lnTo>
                    <a:pt x="630" y="98"/>
                  </a:lnTo>
                  <a:lnTo>
                    <a:pt x="626" y="98"/>
                  </a:lnTo>
                  <a:lnTo>
                    <a:pt x="630" y="98"/>
                  </a:lnTo>
                  <a:lnTo>
                    <a:pt x="634" y="98"/>
                  </a:lnTo>
                  <a:lnTo>
                    <a:pt x="630" y="94"/>
                  </a:lnTo>
                  <a:lnTo>
                    <a:pt x="626" y="94"/>
                  </a:lnTo>
                  <a:lnTo>
                    <a:pt x="630" y="94"/>
                  </a:lnTo>
                  <a:lnTo>
                    <a:pt x="626" y="94"/>
                  </a:lnTo>
                  <a:lnTo>
                    <a:pt x="626" y="90"/>
                  </a:lnTo>
                  <a:lnTo>
                    <a:pt x="630" y="90"/>
                  </a:lnTo>
                  <a:lnTo>
                    <a:pt x="634" y="90"/>
                  </a:lnTo>
                  <a:lnTo>
                    <a:pt x="638" y="90"/>
                  </a:lnTo>
                  <a:lnTo>
                    <a:pt x="638" y="94"/>
                  </a:lnTo>
                  <a:lnTo>
                    <a:pt x="642" y="94"/>
                  </a:lnTo>
                  <a:lnTo>
                    <a:pt x="646" y="94"/>
                  </a:lnTo>
                  <a:lnTo>
                    <a:pt x="650" y="94"/>
                  </a:lnTo>
                  <a:lnTo>
                    <a:pt x="652" y="94"/>
                  </a:lnTo>
                  <a:lnTo>
                    <a:pt x="656" y="94"/>
                  </a:lnTo>
                  <a:lnTo>
                    <a:pt x="660" y="94"/>
                  </a:lnTo>
                  <a:lnTo>
                    <a:pt x="656" y="94"/>
                  </a:lnTo>
                  <a:lnTo>
                    <a:pt x="652" y="90"/>
                  </a:lnTo>
                  <a:lnTo>
                    <a:pt x="656" y="90"/>
                  </a:lnTo>
                  <a:lnTo>
                    <a:pt x="660" y="90"/>
                  </a:lnTo>
                  <a:lnTo>
                    <a:pt x="664" y="90"/>
                  </a:lnTo>
                  <a:lnTo>
                    <a:pt x="660" y="90"/>
                  </a:lnTo>
                  <a:lnTo>
                    <a:pt x="656" y="86"/>
                  </a:lnTo>
                  <a:lnTo>
                    <a:pt x="656" y="90"/>
                  </a:lnTo>
                  <a:lnTo>
                    <a:pt x="652" y="90"/>
                  </a:lnTo>
                  <a:lnTo>
                    <a:pt x="650" y="90"/>
                  </a:lnTo>
                  <a:lnTo>
                    <a:pt x="646" y="90"/>
                  </a:lnTo>
                  <a:lnTo>
                    <a:pt x="642" y="90"/>
                  </a:lnTo>
                  <a:lnTo>
                    <a:pt x="642" y="86"/>
                  </a:lnTo>
                  <a:lnTo>
                    <a:pt x="646" y="86"/>
                  </a:lnTo>
                  <a:lnTo>
                    <a:pt x="650" y="86"/>
                  </a:lnTo>
                  <a:lnTo>
                    <a:pt x="646" y="86"/>
                  </a:lnTo>
                  <a:lnTo>
                    <a:pt x="642" y="86"/>
                  </a:lnTo>
                  <a:lnTo>
                    <a:pt x="638" y="86"/>
                  </a:lnTo>
                  <a:lnTo>
                    <a:pt x="638" y="90"/>
                  </a:lnTo>
                  <a:lnTo>
                    <a:pt x="638" y="86"/>
                  </a:lnTo>
                  <a:lnTo>
                    <a:pt x="634" y="86"/>
                  </a:lnTo>
                  <a:lnTo>
                    <a:pt x="630" y="86"/>
                  </a:lnTo>
                  <a:lnTo>
                    <a:pt x="626" y="82"/>
                  </a:lnTo>
                  <a:lnTo>
                    <a:pt x="630" y="82"/>
                  </a:lnTo>
                  <a:lnTo>
                    <a:pt x="634" y="82"/>
                  </a:lnTo>
                  <a:lnTo>
                    <a:pt x="638" y="82"/>
                  </a:lnTo>
                  <a:lnTo>
                    <a:pt x="642" y="82"/>
                  </a:lnTo>
                  <a:lnTo>
                    <a:pt x="646" y="82"/>
                  </a:lnTo>
                  <a:lnTo>
                    <a:pt x="642" y="82"/>
                  </a:lnTo>
                  <a:lnTo>
                    <a:pt x="638" y="78"/>
                  </a:lnTo>
                  <a:lnTo>
                    <a:pt x="638" y="76"/>
                  </a:lnTo>
                  <a:lnTo>
                    <a:pt x="642" y="76"/>
                  </a:lnTo>
                  <a:lnTo>
                    <a:pt x="646" y="76"/>
                  </a:lnTo>
                  <a:lnTo>
                    <a:pt x="650" y="76"/>
                  </a:lnTo>
                  <a:lnTo>
                    <a:pt x="652" y="76"/>
                  </a:lnTo>
                  <a:lnTo>
                    <a:pt x="652" y="78"/>
                  </a:lnTo>
                  <a:lnTo>
                    <a:pt x="656" y="78"/>
                  </a:lnTo>
                  <a:lnTo>
                    <a:pt x="660" y="78"/>
                  </a:lnTo>
                  <a:lnTo>
                    <a:pt x="664" y="78"/>
                  </a:lnTo>
                  <a:lnTo>
                    <a:pt x="668" y="78"/>
                  </a:lnTo>
                  <a:lnTo>
                    <a:pt x="664" y="78"/>
                  </a:lnTo>
                  <a:lnTo>
                    <a:pt x="664" y="76"/>
                  </a:lnTo>
                  <a:lnTo>
                    <a:pt x="660" y="76"/>
                  </a:lnTo>
                  <a:lnTo>
                    <a:pt x="656" y="76"/>
                  </a:lnTo>
                  <a:lnTo>
                    <a:pt x="660" y="76"/>
                  </a:lnTo>
                  <a:lnTo>
                    <a:pt x="664" y="76"/>
                  </a:lnTo>
                  <a:lnTo>
                    <a:pt x="664" y="72"/>
                  </a:lnTo>
                  <a:lnTo>
                    <a:pt x="660" y="72"/>
                  </a:lnTo>
                  <a:lnTo>
                    <a:pt x="656" y="72"/>
                  </a:lnTo>
                  <a:lnTo>
                    <a:pt x="652" y="72"/>
                  </a:lnTo>
                  <a:lnTo>
                    <a:pt x="650" y="72"/>
                  </a:lnTo>
                  <a:lnTo>
                    <a:pt x="646" y="72"/>
                  </a:lnTo>
                  <a:lnTo>
                    <a:pt x="642" y="72"/>
                  </a:lnTo>
                  <a:lnTo>
                    <a:pt x="646" y="68"/>
                  </a:lnTo>
                  <a:lnTo>
                    <a:pt x="650" y="68"/>
                  </a:lnTo>
                  <a:lnTo>
                    <a:pt x="646" y="68"/>
                  </a:lnTo>
                  <a:lnTo>
                    <a:pt x="650" y="64"/>
                  </a:lnTo>
                  <a:lnTo>
                    <a:pt x="652" y="64"/>
                  </a:lnTo>
                  <a:lnTo>
                    <a:pt x="656" y="64"/>
                  </a:lnTo>
                  <a:lnTo>
                    <a:pt x="660" y="64"/>
                  </a:lnTo>
                  <a:lnTo>
                    <a:pt x="664" y="64"/>
                  </a:lnTo>
                  <a:lnTo>
                    <a:pt x="668" y="64"/>
                  </a:lnTo>
                  <a:lnTo>
                    <a:pt x="664" y="64"/>
                  </a:lnTo>
                  <a:lnTo>
                    <a:pt x="660" y="60"/>
                  </a:lnTo>
                  <a:lnTo>
                    <a:pt x="664" y="60"/>
                  </a:lnTo>
                  <a:lnTo>
                    <a:pt x="668" y="60"/>
                  </a:lnTo>
                  <a:lnTo>
                    <a:pt x="672" y="64"/>
                  </a:lnTo>
                  <a:lnTo>
                    <a:pt x="676" y="64"/>
                  </a:lnTo>
                  <a:lnTo>
                    <a:pt x="676" y="60"/>
                  </a:lnTo>
                  <a:lnTo>
                    <a:pt x="678" y="60"/>
                  </a:lnTo>
                  <a:lnTo>
                    <a:pt x="676" y="56"/>
                  </a:lnTo>
                  <a:lnTo>
                    <a:pt x="672" y="56"/>
                  </a:lnTo>
                  <a:lnTo>
                    <a:pt x="668" y="60"/>
                  </a:lnTo>
                  <a:lnTo>
                    <a:pt x="664" y="60"/>
                  </a:lnTo>
                  <a:lnTo>
                    <a:pt x="664" y="56"/>
                  </a:lnTo>
                  <a:lnTo>
                    <a:pt x="660" y="56"/>
                  </a:lnTo>
                  <a:lnTo>
                    <a:pt x="660" y="52"/>
                  </a:lnTo>
                  <a:lnTo>
                    <a:pt x="664" y="52"/>
                  </a:lnTo>
                  <a:lnTo>
                    <a:pt x="668" y="52"/>
                  </a:lnTo>
                  <a:lnTo>
                    <a:pt x="672" y="56"/>
                  </a:lnTo>
                  <a:lnTo>
                    <a:pt x="672" y="52"/>
                  </a:lnTo>
                  <a:lnTo>
                    <a:pt x="676" y="52"/>
                  </a:lnTo>
                  <a:lnTo>
                    <a:pt x="678" y="52"/>
                  </a:lnTo>
                  <a:lnTo>
                    <a:pt x="678" y="56"/>
                  </a:lnTo>
                  <a:lnTo>
                    <a:pt x="682" y="56"/>
                  </a:lnTo>
                  <a:lnTo>
                    <a:pt x="686" y="56"/>
                  </a:lnTo>
                  <a:lnTo>
                    <a:pt x="690" y="56"/>
                  </a:lnTo>
                  <a:lnTo>
                    <a:pt x="694" y="56"/>
                  </a:lnTo>
                  <a:lnTo>
                    <a:pt x="694" y="60"/>
                  </a:lnTo>
                  <a:lnTo>
                    <a:pt x="698" y="60"/>
                  </a:lnTo>
                  <a:lnTo>
                    <a:pt x="698" y="64"/>
                  </a:lnTo>
                  <a:lnTo>
                    <a:pt x="694" y="64"/>
                  </a:lnTo>
                  <a:lnTo>
                    <a:pt x="698" y="64"/>
                  </a:lnTo>
                  <a:lnTo>
                    <a:pt x="702" y="64"/>
                  </a:lnTo>
                  <a:lnTo>
                    <a:pt x="702" y="68"/>
                  </a:lnTo>
                  <a:lnTo>
                    <a:pt x="706" y="72"/>
                  </a:lnTo>
                  <a:lnTo>
                    <a:pt x="708" y="72"/>
                  </a:lnTo>
                  <a:lnTo>
                    <a:pt x="712" y="72"/>
                  </a:lnTo>
                  <a:lnTo>
                    <a:pt x="712" y="76"/>
                  </a:lnTo>
                  <a:lnTo>
                    <a:pt x="712" y="78"/>
                  </a:lnTo>
                  <a:lnTo>
                    <a:pt x="716" y="78"/>
                  </a:lnTo>
                  <a:lnTo>
                    <a:pt x="720" y="78"/>
                  </a:lnTo>
                  <a:lnTo>
                    <a:pt x="724" y="78"/>
                  </a:lnTo>
                  <a:lnTo>
                    <a:pt x="728" y="78"/>
                  </a:lnTo>
                  <a:lnTo>
                    <a:pt x="732" y="78"/>
                  </a:lnTo>
                  <a:lnTo>
                    <a:pt x="734" y="78"/>
                  </a:lnTo>
                  <a:lnTo>
                    <a:pt x="734" y="82"/>
                  </a:lnTo>
                  <a:lnTo>
                    <a:pt x="732" y="82"/>
                  </a:lnTo>
                  <a:lnTo>
                    <a:pt x="734" y="82"/>
                  </a:lnTo>
                  <a:lnTo>
                    <a:pt x="734" y="86"/>
                  </a:lnTo>
                  <a:lnTo>
                    <a:pt x="732" y="86"/>
                  </a:lnTo>
                  <a:lnTo>
                    <a:pt x="734" y="86"/>
                  </a:lnTo>
                  <a:lnTo>
                    <a:pt x="734" y="90"/>
                  </a:lnTo>
                  <a:lnTo>
                    <a:pt x="738" y="90"/>
                  </a:lnTo>
                  <a:lnTo>
                    <a:pt x="742" y="90"/>
                  </a:lnTo>
                  <a:lnTo>
                    <a:pt x="746" y="90"/>
                  </a:lnTo>
                  <a:lnTo>
                    <a:pt x="746" y="86"/>
                  </a:lnTo>
                  <a:lnTo>
                    <a:pt x="742" y="86"/>
                  </a:lnTo>
                  <a:lnTo>
                    <a:pt x="738" y="82"/>
                  </a:lnTo>
                  <a:lnTo>
                    <a:pt x="742" y="82"/>
                  </a:lnTo>
                  <a:lnTo>
                    <a:pt x="746" y="82"/>
                  </a:lnTo>
                  <a:lnTo>
                    <a:pt x="748" y="82"/>
                  </a:lnTo>
                  <a:lnTo>
                    <a:pt x="752" y="82"/>
                  </a:lnTo>
                  <a:lnTo>
                    <a:pt x="756" y="86"/>
                  </a:lnTo>
                  <a:lnTo>
                    <a:pt x="756" y="90"/>
                  </a:lnTo>
                  <a:lnTo>
                    <a:pt x="752" y="90"/>
                  </a:lnTo>
                  <a:lnTo>
                    <a:pt x="748" y="90"/>
                  </a:lnTo>
                  <a:lnTo>
                    <a:pt x="748" y="94"/>
                  </a:lnTo>
                  <a:lnTo>
                    <a:pt x="752" y="94"/>
                  </a:lnTo>
                  <a:lnTo>
                    <a:pt x="752" y="90"/>
                  </a:lnTo>
                  <a:lnTo>
                    <a:pt x="756" y="90"/>
                  </a:lnTo>
                  <a:lnTo>
                    <a:pt x="760" y="90"/>
                  </a:lnTo>
                  <a:lnTo>
                    <a:pt x="760" y="94"/>
                  </a:lnTo>
                  <a:lnTo>
                    <a:pt x="764" y="94"/>
                  </a:lnTo>
                  <a:lnTo>
                    <a:pt x="760" y="98"/>
                  </a:lnTo>
                  <a:lnTo>
                    <a:pt x="756" y="98"/>
                  </a:lnTo>
                  <a:lnTo>
                    <a:pt x="760" y="98"/>
                  </a:lnTo>
                  <a:lnTo>
                    <a:pt x="764" y="98"/>
                  </a:lnTo>
                  <a:lnTo>
                    <a:pt x="764" y="102"/>
                  </a:lnTo>
                  <a:lnTo>
                    <a:pt x="760" y="106"/>
                  </a:lnTo>
                  <a:lnTo>
                    <a:pt x="756" y="106"/>
                  </a:lnTo>
                  <a:lnTo>
                    <a:pt x="756" y="108"/>
                  </a:lnTo>
                  <a:lnTo>
                    <a:pt x="760" y="108"/>
                  </a:lnTo>
                  <a:lnTo>
                    <a:pt x="760" y="106"/>
                  </a:lnTo>
                  <a:lnTo>
                    <a:pt x="764" y="106"/>
                  </a:lnTo>
                  <a:lnTo>
                    <a:pt x="768" y="106"/>
                  </a:lnTo>
                  <a:lnTo>
                    <a:pt x="764" y="108"/>
                  </a:lnTo>
                  <a:lnTo>
                    <a:pt x="768" y="108"/>
                  </a:lnTo>
                  <a:lnTo>
                    <a:pt x="768" y="106"/>
                  </a:lnTo>
                  <a:lnTo>
                    <a:pt x="772" y="106"/>
                  </a:lnTo>
                  <a:lnTo>
                    <a:pt x="776" y="106"/>
                  </a:lnTo>
                  <a:lnTo>
                    <a:pt x="778" y="108"/>
                  </a:lnTo>
                  <a:lnTo>
                    <a:pt x="776" y="108"/>
                  </a:lnTo>
                  <a:lnTo>
                    <a:pt x="778" y="108"/>
                  </a:lnTo>
                  <a:lnTo>
                    <a:pt x="778" y="106"/>
                  </a:lnTo>
                  <a:lnTo>
                    <a:pt x="782" y="106"/>
                  </a:lnTo>
                  <a:lnTo>
                    <a:pt x="786" y="108"/>
                  </a:lnTo>
                  <a:lnTo>
                    <a:pt x="786" y="112"/>
                  </a:lnTo>
                  <a:lnTo>
                    <a:pt x="790" y="112"/>
                  </a:lnTo>
                  <a:lnTo>
                    <a:pt x="794" y="112"/>
                  </a:lnTo>
                  <a:lnTo>
                    <a:pt x="794" y="116"/>
                  </a:lnTo>
                  <a:lnTo>
                    <a:pt x="790" y="116"/>
                  </a:lnTo>
                  <a:lnTo>
                    <a:pt x="786" y="116"/>
                  </a:lnTo>
                  <a:lnTo>
                    <a:pt x="782" y="120"/>
                  </a:lnTo>
                  <a:lnTo>
                    <a:pt x="778" y="120"/>
                  </a:lnTo>
                  <a:lnTo>
                    <a:pt x="776" y="120"/>
                  </a:lnTo>
                  <a:lnTo>
                    <a:pt x="772" y="120"/>
                  </a:lnTo>
                  <a:lnTo>
                    <a:pt x="768" y="124"/>
                  </a:lnTo>
                  <a:lnTo>
                    <a:pt x="764" y="124"/>
                  </a:lnTo>
                  <a:lnTo>
                    <a:pt x="764" y="120"/>
                  </a:lnTo>
                  <a:lnTo>
                    <a:pt x="764" y="124"/>
                  </a:lnTo>
                  <a:lnTo>
                    <a:pt x="764" y="128"/>
                  </a:lnTo>
                  <a:lnTo>
                    <a:pt x="760" y="128"/>
                  </a:lnTo>
                  <a:lnTo>
                    <a:pt x="756" y="132"/>
                  </a:lnTo>
                  <a:lnTo>
                    <a:pt x="756" y="136"/>
                  </a:lnTo>
                  <a:lnTo>
                    <a:pt x="752" y="136"/>
                  </a:lnTo>
                  <a:lnTo>
                    <a:pt x="752" y="132"/>
                  </a:lnTo>
                  <a:lnTo>
                    <a:pt x="748" y="132"/>
                  </a:lnTo>
                  <a:lnTo>
                    <a:pt x="748" y="128"/>
                  </a:lnTo>
                  <a:lnTo>
                    <a:pt x="748" y="124"/>
                  </a:lnTo>
                  <a:lnTo>
                    <a:pt x="752" y="124"/>
                  </a:lnTo>
                  <a:lnTo>
                    <a:pt x="752" y="120"/>
                  </a:lnTo>
                  <a:lnTo>
                    <a:pt x="748" y="124"/>
                  </a:lnTo>
                  <a:lnTo>
                    <a:pt x="746" y="124"/>
                  </a:lnTo>
                  <a:lnTo>
                    <a:pt x="746" y="128"/>
                  </a:lnTo>
                  <a:lnTo>
                    <a:pt x="746" y="132"/>
                  </a:lnTo>
                  <a:lnTo>
                    <a:pt x="748" y="132"/>
                  </a:lnTo>
                  <a:lnTo>
                    <a:pt x="748" y="136"/>
                  </a:lnTo>
                  <a:lnTo>
                    <a:pt x="748" y="138"/>
                  </a:lnTo>
                  <a:lnTo>
                    <a:pt x="746" y="138"/>
                  </a:lnTo>
                  <a:lnTo>
                    <a:pt x="746" y="136"/>
                  </a:lnTo>
                  <a:lnTo>
                    <a:pt x="742" y="136"/>
                  </a:lnTo>
                  <a:lnTo>
                    <a:pt x="738" y="136"/>
                  </a:lnTo>
                  <a:lnTo>
                    <a:pt x="742" y="138"/>
                  </a:lnTo>
                  <a:lnTo>
                    <a:pt x="742" y="142"/>
                  </a:lnTo>
                  <a:lnTo>
                    <a:pt x="738" y="142"/>
                  </a:lnTo>
                  <a:lnTo>
                    <a:pt x="738" y="146"/>
                  </a:lnTo>
                  <a:lnTo>
                    <a:pt x="738" y="146"/>
                  </a:lnTo>
                  <a:lnTo>
                    <a:pt x="738" y="146"/>
                  </a:lnTo>
                  <a:close/>
                  <a:moveTo>
                    <a:pt x="596" y="106"/>
                  </a:moveTo>
                  <a:lnTo>
                    <a:pt x="596" y="102"/>
                  </a:lnTo>
                  <a:lnTo>
                    <a:pt x="592" y="102"/>
                  </a:lnTo>
                  <a:lnTo>
                    <a:pt x="590" y="102"/>
                  </a:lnTo>
                  <a:lnTo>
                    <a:pt x="590" y="98"/>
                  </a:lnTo>
                  <a:lnTo>
                    <a:pt x="586" y="98"/>
                  </a:lnTo>
                  <a:lnTo>
                    <a:pt x="582" y="98"/>
                  </a:lnTo>
                  <a:lnTo>
                    <a:pt x="578" y="98"/>
                  </a:lnTo>
                  <a:lnTo>
                    <a:pt x="578" y="94"/>
                  </a:lnTo>
                  <a:lnTo>
                    <a:pt x="578" y="90"/>
                  </a:lnTo>
                  <a:lnTo>
                    <a:pt x="582" y="90"/>
                  </a:lnTo>
                  <a:lnTo>
                    <a:pt x="586" y="90"/>
                  </a:lnTo>
                  <a:lnTo>
                    <a:pt x="590" y="90"/>
                  </a:lnTo>
                  <a:lnTo>
                    <a:pt x="592" y="90"/>
                  </a:lnTo>
                  <a:lnTo>
                    <a:pt x="596" y="90"/>
                  </a:lnTo>
                  <a:lnTo>
                    <a:pt x="596" y="94"/>
                  </a:lnTo>
                  <a:lnTo>
                    <a:pt x="600" y="102"/>
                  </a:lnTo>
                  <a:lnTo>
                    <a:pt x="596" y="102"/>
                  </a:lnTo>
                  <a:lnTo>
                    <a:pt x="596" y="106"/>
                  </a:lnTo>
                  <a:lnTo>
                    <a:pt x="596" y="106"/>
                  </a:lnTo>
                  <a:lnTo>
                    <a:pt x="596" y="106"/>
                  </a:lnTo>
                  <a:close/>
                  <a:moveTo>
                    <a:pt x="526" y="132"/>
                  </a:moveTo>
                  <a:lnTo>
                    <a:pt x="526" y="128"/>
                  </a:lnTo>
                  <a:lnTo>
                    <a:pt x="526" y="132"/>
                  </a:lnTo>
                  <a:lnTo>
                    <a:pt x="522" y="132"/>
                  </a:lnTo>
                  <a:lnTo>
                    <a:pt x="522" y="128"/>
                  </a:lnTo>
                  <a:lnTo>
                    <a:pt x="526" y="128"/>
                  </a:lnTo>
                  <a:lnTo>
                    <a:pt x="526" y="124"/>
                  </a:lnTo>
                  <a:lnTo>
                    <a:pt x="522" y="124"/>
                  </a:lnTo>
                  <a:lnTo>
                    <a:pt x="518" y="124"/>
                  </a:lnTo>
                  <a:lnTo>
                    <a:pt x="514" y="124"/>
                  </a:lnTo>
                  <a:lnTo>
                    <a:pt x="514" y="128"/>
                  </a:lnTo>
                  <a:lnTo>
                    <a:pt x="510" y="128"/>
                  </a:lnTo>
                  <a:lnTo>
                    <a:pt x="508" y="128"/>
                  </a:lnTo>
                  <a:lnTo>
                    <a:pt x="510" y="124"/>
                  </a:lnTo>
                  <a:lnTo>
                    <a:pt x="514" y="124"/>
                  </a:lnTo>
                  <a:lnTo>
                    <a:pt x="510" y="120"/>
                  </a:lnTo>
                  <a:lnTo>
                    <a:pt x="508" y="120"/>
                  </a:lnTo>
                  <a:lnTo>
                    <a:pt x="508" y="124"/>
                  </a:lnTo>
                  <a:lnTo>
                    <a:pt x="504" y="124"/>
                  </a:lnTo>
                  <a:lnTo>
                    <a:pt x="500" y="124"/>
                  </a:lnTo>
                  <a:lnTo>
                    <a:pt x="500" y="120"/>
                  </a:lnTo>
                  <a:lnTo>
                    <a:pt x="504" y="112"/>
                  </a:lnTo>
                  <a:lnTo>
                    <a:pt x="508" y="112"/>
                  </a:lnTo>
                  <a:lnTo>
                    <a:pt x="510" y="112"/>
                  </a:lnTo>
                  <a:lnTo>
                    <a:pt x="514" y="112"/>
                  </a:lnTo>
                  <a:lnTo>
                    <a:pt x="518" y="112"/>
                  </a:lnTo>
                  <a:lnTo>
                    <a:pt x="522" y="112"/>
                  </a:lnTo>
                  <a:lnTo>
                    <a:pt x="526" y="112"/>
                  </a:lnTo>
                  <a:lnTo>
                    <a:pt x="530" y="112"/>
                  </a:lnTo>
                  <a:lnTo>
                    <a:pt x="534" y="112"/>
                  </a:lnTo>
                  <a:lnTo>
                    <a:pt x="536" y="116"/>
                  </a:lnTo>
                  <a:lnTo>
                    <a:pt x="540" y="116"/>
                  </a:lnTo>
                  <a:lnTo>
                    <a:pt x="540" y="120"/>
                  </a:lnTo>
                  <a:lnTo>
                    <a:pt x="544" y="120"/>
                  </a:lnTo>
                  <a:lnTo>
                    <a:pt x="540" y="124"/>
                  </a:lnTo>
                  <a:lnTo>
                    <a:pt x="544" y="128"/>
                  </a:lnTo>
                  <a:lnTo>
                    <a:pt x="544" y="124"/>
                  </a:lnTo>
                  <a:lnTo>
                    <a:pt x="548" y="124"/>
                  </a:lnTo>
                  <a:lnTo>
                    <a:pt x="552" y="120"/>
                  </a:lnTo>
                  <a:lnTo>
                    <a:pt x="556" y="120"/>
                  </a:lnTo>
                  <a:lnTo>
                    <a:pt x="560" y="120"/>
                  </a:lnTo>
                  <a:lnTo>
                    <a:pt x="564" y="124"/>
                  </a:lnTo>
                  <a:lnTo>
                    <a:pt x="566" y="124"/>
                  </a:lnTo>
                  <a:lnTo>
                    <a:pt x="564" y="128"/>
                  </a:lnTo>
                  <a:lnTo>
                    <a:pt x="566" y="128"/>
                  </a:lnTo>
                  <a:lnTo>
                    <a:pt x="570" y="128"/>
                  </a:lnTo>
                  <a:lnTo>
                    <a:pt x="574" y="128"/>
                  </a:lnTo>
                  <a:lnTo>
                    <a:pt x="574" y="132"/>
                  </a:lnTo>
                  <a:lnTo>
                    <a:pt x="578" y="132"/>
                  </a:lnTo>
                  <a:lnTo>
                    <a:pt x="582" y="132"/>
                  </a:lnTo>
                  <a:lnTo>
                    <a:pt x="578" y="136"/>
                  </a:lnTo>
                  <a:lnTo>
                    <a:pt x="582" y="136"/>
                  </a:lnTo>
                  <a:lnTo>
                    <a:pt x="586" y="136"/>
                  </a:lnTo>
                  <a:lnTo>
                    <a:pt x="586" y="138"/>
                  </a:lnTo>
                  <a:lnTo>
                    <a:pt x="582" y="138"/>
                  </a:lnTo>
                  <a:lnTo>
                    <a:pt x="582" y="142"/>
                  </a:lnTo>
                  <a:lnTo>
                    <a:pt x="586" y="142"/>
                  </a:lnTo>
                  <a:lnTo>
                    <a:pt x="586" y="146"/>
                  </a:lnTo>
                  <a:lnTo>
                    <a:pt x="590" y="146"/>
                  </a:lnTo>
                  <a:lnTo>
                    <a:pt x="592" y="146"/>
                  </a:lnTo>
                  <a:lnTo>
                    <a:pt x="592" y="150"/>
                  </a:lnTo>
                  <a:lnTo>
                    <a:pt x="596" y="150"/>
                  </a:lnTo>
                  <a:lnTo>
                    <a:pt x="592" y="150"/>
                  </a:lnTo>
                  <a:lnTo>
                    <a:pt x="592" y="154"/>
                  </a:lnTo>
                  <a:lnTo>
                    <a:pt x="590" y="158"/>
                  </a:lnTo>
                  <a:lnTo>
                    <a:pt x="586" y="158"/>
                  </a:lnTo>
                  <a:lnTo>
                    <a:pt x="582" y="158"/>
                  </a:lnTo>
                  <a:lnTo>
                    <a:pt x="578" y="158"/>
                  </a:lnTo>
                  <a:lnTo>
                    <a:pt x="574" y="158"/>
                  </a:lnTo>
                  <a:lnTo>
                    <a:pt x="570" y="154"/>
                  </a:lnTo>
                  <a:lnTo>
                    <a:pt x="566" y="150"/>
                  </a:lnTo>
                  <a:lnTo>
                    <a:pt x="566" y="146"/>
                  </a:lnTo>
                  <a:lnTo>
                    <a:pt x="564" y="146"/>
                  </a:lnTo>
                  <a:lnTo>
                    <a:pt x="560" y="146"/>
                  </a:lnTo>
                  <a:lnTo>
                    <a:pt x="556" y="142"/>
                  </a:lnTo>
                  <a:lnTo>
                    <a:pt x="548" y="142"/>
                  </a:lnTo>
                  <a:lnTo>
                    <a:pt x="544" y="142"/>
                  </a:lnTo>
                  <a:lnTo>
                    <a:pt x="544" y="146"/>
                  </a:lnTo>
                  <a:lnTo>
                    <a:pt x="540" y="146"/>
                  </a:lnTo>
                  <a:lnTo>
                    <a:pt x="540" y="142"/>
                  </a:lnTo>
                  <a:lnTo>
                    <a:pt x="536" y="142"/>
                  </a:lnTo>
                  <a:lnTo>
                    <a:pt x="534" y="142"/>
                  </a:lnTo>
                  <a:lnTo>
                    <a:pt x="530" y="142"/>
                  </a:lnTo>
                  <a:lnTo>
                    <a:pt x="526" y="142"/>
                  </a:lnTo>
                  <a:lnTo>
                    <a:pt x="526" y="146"/>
                  </a:lnTo>
                  <a:lnTo>
                    <a:pt x="522" y="146"/>
                  </a:lnTo>
                  <a:lnTo>
                    <a:pt x="518" y="146"/>
                  </a:lnTo>
                  <a:lnTo>
                    <a:pt x="518" y="142"/>
                  </a:lnTo>
                  <a:lnTo>
                    <a:pt x="514" y="142"/>
                  </a:lnTo>
                  <a:lnTo>
                    <a:pt x="510" y="142"/>
                  </a:lnTo>
                  <a:lnTo>
                    <a:pt x="510" y="138"/>
                  </a:lnTo>
                  <a:lnTo>
                    <a:pt x="508" y="138"/>
                  </a:lnTo>
                  <a:lnTo>
                    <a:pt x="508" y="136"/>
                  </a:lnTo>
                  <a:lnTo>
                    <a:pt x="510" y="136"/>
                  </a:lnTo>
                  <a:lnTo>
                    <a:pt x="514" y="136"/>
                  </a:lnTo>
                  <a:lnTo>
                    <a:pt x="518" y="136"/>
                  </a:lnTo>
                  <a:lnTo>
                    <a:pt x="522" y="136"/>
                  </a:lnTo>
                  <a:lnTo>
                    <a:pt x="526" y="136"/>
                  </a:lnTo>
                  <a:lnTo>
                    <a:pt x="530" y="138"/>
                  </a:lnTo>
                  <a:lnTo>
                    <a:pt x="530" y="136"/>
                  </a:lnTo>
                  <a:lnTo>
                    <a:pt x="534" y="136"/>
                  </a:lnTo>
                  <a:lnTo>
                    <a:pt x="530" y="136"/>
                  </a:lnTo>
                  <a:lnTo>
                    <a:pt x="526" y="136"/>
                  </a:lnTo>
                  <a:lnTo>
                    <a:pt x="522" y="136"/>
                  </a:lnTo>
                  <a:lnTo>
                    <a:pt x="526" y="132"/>
                  </a:lnTo>
                  <a:lnTo>
                    <a:pt x="530" y="132"/>
                  </a:lnTo>
                  <a:lnTo>
                    <a:pt x="534" y="132"/>
                  </a:lnTo>
                  <a:lnTo>
                    <a:pt x="534" y="128"/>
                  </a:lnTo>
                  <a:lnTo>
                    <a:pt x="530" y="128"/>
                  </a:lnTo>
                  <a:lnTo>
                    <a:pt x="530" y="132"/>
                  </a:lnTo>
                  <a:lnTo>
                    <a:pt x="526" y="132"/>
                  </a:lnTo>
                  <a:lnTo>
                    <a:pt x="526" y="132"/>
                  </a:lnTo>
                  <a:lnTo>
                    <a:pt x="526" y="132"/>
                  </a:lnTo>
                  <a:close/>
                  <a:moveTo>
                    <a:pt x="622" y="158"/>
                  </a:moveTo>
                  <a:lnTo>
                    <a:pt x="620" y="154"/>
                  </a:lnTo>
                  <a:lnTo>
                    <a:pt x="622" y="154"/>
                  </a:lnTo>
                  <a:lnTo>
                    <a:pt x="620" y="154"/>
                  </a:lnTo>
                  <a:lnTo>
                    <a:pt x="616" y="154"/>
                  </a:lnTo>
                  <a:lnTo>
                    <a:pt x="616" y="150"/>
                  </a:lnTo>
                  <a:lnTo>
                    <a:pt x="612" y="150"/>
                  </a:lnTo>
                  <a:lnTo>
                    <a:pt x="616" y="150"/>
                  </a:lnTo>
                  <a:lnTo>
                    <a:pt x="620" y="150"/>
                  </a:lnTo>
                  <a:lnTo>
                    <a:pt x="622" y="150"/>
                  </a:lnTo>
                  <a:lnTo>
                    <a:pt x="622" y="146"/>
                  </a:lnTo>
                  <a:lnTo>
                    <a:pt x="620" y="146"/>
                  </a:lnTo>
                  <a:lnTo>
                    <a:pt x="616" y="146"/>
                  </a:lnTo>
                  <a:lnTo>
                    <a:pt x="612" y="146"/>
                  </a:lnTo>
                  <a:lnTo>
                    <a:pt x="612" y="142"/>
                  </a:lnTo>
                  <a:lnTo>
                    <a:pt x="608" y="142"/>
                  </a:lnTo>
                  <a:lnTo>
                    <a:pt x="608" y="138"/>
                  </a:lnTo>
                  <a:lnTo>
                    <a:pt x="604" y="138"/>
                  </a:lnTo>
                  <a:lnTo>
                    <a:pt x="604" y="136"/>
                  </a:lnTo>
                  <a:lnTo>
                    <a:pt x="608" y="136"/>
                  </a:lnTo>
                  <a:lnTo>
                    <a:pt x="604" y="136"/>
                  </a:lnTo>
                  <a:lnTo>
                    <a:pt x="604" y="132"/>
                  </a:lnTo>
                  <a:lnTo>
                    <a:pt x="604" y="128"/>
                  </a:lnTo>
                  <a:lnTo>
                    <a:pt x="608" y="128"/>
                  </a:lnTo>
                  <a:lnTo>
                    <a:pt x="612" y="128"/>
                  </a:lnTo>
                  <a:lnTo>
                    <a:pt x="616" y="128"/>
                  </a:lnTo>
                  <a:lnTo>
                    <a:pt x="616" y="132"/>
                  </a:lnTo>
                  <a:lnTo>
                    <a:pt x="620" y="132"/>
                  </a:lnTo>
                  <a:lnTo>
                    <a:pt x="622" y="132"/>
                  </a:lnTo>
                  <a:lnTo>
                    <a:pt x="626" y="132"/>
                  </a:lnTo>
                  <a:lnTo>
                    <a:pt x="630" y="132"/>
                  </a:lnTo>
                  <a:lnTo>
                    <a:pt x="630" y="136"/>
                  </a:lnTo>
                  <a:lnTo>
                    <a:pt x="634" y="136"/>
                  </a:lnTo>
                  <a:lnTo>
                    <a:pt x="638" y="138"/>
                  </a:lnTo>
                  <a:lnTo>
                    <a:pt x="642" y="138"/>
                  </a:lnTo>
                  <a:lnTo>
                    <a:pt x="642" y="136"/>
                  </a:lnTo>
                  <a:lnTo>
                    <a:pt x="642" y="138"/>
                  </a:lnTo>
                  <a:lnTo>
                    <a:pt x="646" y="138"/>
                  </a:lnTo>
                  <a:lnTo>
                    <a:pt x="650" y="138"/>
                  </a:lnTo>
                  <a:lnTo>
                    <a:pt x="652" y="138"/>
                  </a:lnTo>
                  <a:lnTo>
                    <a:pt x="652" y="142"/>
                  </a:lnTo>
                  <a:lnTo>
                    <a:pt x="650" y="142"/>
                  </a:lnTo>
                  <a:lnTo>
                    <a:pt x="646" y="146"/>
                  </a:lnTo>
                  <a:lnTo>
                    <a:pt x="650" y="146"/>
                  </a:lnTo>
                  <a:lnTo>
                    <a:pt x="652" y="146"/>
                  </a:lnTo>
                  <a:lnTo>
                    <a:pt x="652" y="150"/>
                  </a:lnTo>
                  <a:lnTo>
                    <a:pt x="650" y="150"/>
                  </a:lnTo>
                  <a:lnTo>
                    <a:pt x="650" y="154"/>
                  </a:lnTo>
                  <a:lnTo>
                    <a:pt x="646" y="154"/>
                  </a:lnTo>
                  <a:lnTo>
                    <a:pt x="642" y="154"/>
                  </a:lnTo>
                  <a:lnTo>
                    <a:pt x="638" y="154"/>
                  </a:lnTo>
                  <a:lnTo>
                    <a:pt x="634" y="154"/>
                  </a:lnTo>
                  <a:lnTo>
                    <a:pt x="630" y="158"/>
                  </a:lnTo>
                  <a:lnTo>
                    <a:pt x="630" y="154"/>
                  </a:lnTo>
                  <a:lnTo>
                    <a:pt x="626" y="154"/>
                  </a:lnTo>
                  <a:lnTo>
                    <a:pt x="626" y="158"/>
                  </a:lnTo>
                  <a:lnTo>
                    <a:pt x="630" y="154"/>
                  </a:lnTo>
                  <a:lnTo>
                    <a:pt x="630" y="158"/>
                  </a:lnTo>
                  <a:lnTo>
                    <a:pt x="626" y="158"/>
                  </a:lnTo>
                  <a:lnTo>
                    <a:pt x="622" y="158"/>
                  </a:lnTo>
                  <a:lnTo>
                    <a:pt x="622" y="158"/>
                  </a:lnTo>
                  <a:lnTo>
                    <a:pt x="622" y="158"/>
                  </a:lnTo>
                  <a:close/>
                  <a:moveTo>
                    <a:pt x="440" y="142"/>
                  </a:moveTo>
                  <a:lnTo>
                    <a:pt x="436" y="142"/>
                  </a:lnTo>
                  <a:lnTo>
                    <a:pt x="432" y="142"/>
                  </a:lnTo>
                  <a:lnTo>
                    <a:pt x="428" y="142"/>
                  </a:lnTo>
                  <a:lnTo>
                    <a:pt x="424" y="142"/>
                  </a:lnTo>
                  <a:lnTo>
                    <a:pt x="422" y="138"/>
                  </a:lnTo>
                  <a:lnTo>
                    <a:pt x="422" y="142"/>
                  </a:lnTo>
                  <a:lnTo>
                    <a:pt x="418" y="142"/>
                  </a:lnTo>
                  <a:lnTo>
                    <a:pt x="414" y="142"/>
                  </a:lnTo>
                  <a:lnTo>
                    <a:pt x="410" y="142"/>
                  </a:lnTo>
                  <a:lnTo>
                    <a:pt x="408" y="142"/>
                  </a:lnTo>
                  <a:lnTo>
                    <a:pt x="404" y="142"/>
                  </a:lnTo>
                  <a:lnTo>
                    <a:pt x="400" y="142"/>
                  </a:lnTo>
                  <a:lnTo>
                    <a:pt x="396" y="142"/>
                  </a:lnTo>
                  <a:lnTo>
                    <a:pt x="392" y="142"/>
                  </a:lnTo>
                  <a:lnTo>
                    <a:pt x="392" y="138"/>
                  </a:lnTo>
                  <a:lnTo>
                    <a:pt x="396" y="138"/>
                  </a:lnTo>
                  <a:lnTo>
                    <a:pt x="400" y="138"/>
                  </a:lnTo>
                  <a:lnTo>
                    <a:pt x="404" y="138"/>
                  </a:lnTo>
                  <a:lnTo>
                    <a:pt x="408" y="136"/>
                  </a:lnTo>
                  <a:lnTo>
                    <a:pt x="410" y="136"/>
                  </a:lnTo>
                  <a:lnTo>
                    <a:pt x="414" y="136"/>
                  </a:lnTo>
                  <a:lnTo>
                    <a:pt x="418" y="136"/>
                  </a:lnTo>
                  <a:lnTo>
                    <a:pt x="422" y="132"/>
                  </a:lnTo>
                  <a:lnTo>
                    <a:pt x="424" y="132"/>
                  </a:lnTo>
                  <a:lnTo>
                    <a:pt x="428" y="132"/>
                  </a:lnTo>
                  <a:lnTo>
                    <a:pt x="432" y="132"/>
                  </a:lnTo>
                  <a:lnTo>
                    <a:pt x="436" y="132"/>
                  </a:lnTo>
                  <a:lnTo>
                    <a:pt x="440" y="132"/>
                  </a:lnTo>
                  <a:lnTo>
                    <a:pt x="444" y="136"/>
                  </a:lnTo>
                  <a:lnTo>
                    <a:pt x="448" y="136"/>
                  </a:lnTo>
                  <a:lnTo>
                    <a:pt x="448" y="138"/>
                  </a:lnTo>
                  <a:lnTo>
                    <a:pt x="448" y="142"/>
                  </a:lnTo>
                  <a:lnTo>
                    <a:pt x="444" y="142"/>
                  </a:lnTo>
                  <a:lnTo>
                    <a:pt x="440" y="142"/>
                  </a:lnTo>
                  <a:lnTo>
                    <a:pt x="440" y="142"/>
                  </a:lnTo>
                  <a:lnTo>
                    <a:pt x="440" y="142"/>
                  </a:lnTo>
                  <a:close/>
                  <a:moveTo>
                    <a:pt x="656" y="142"/>
                  </a:moveTo>
                  <a:lnTo>
                    <a:pt x="660" y="146"/>
                  </a:lnTo>
                  <a:lnTo>
                    <a:pt x="656" y="146"/>
                  </a:lnTo>
                  <a:lnTo>
                    <a:pt x="656" y="142"/>
                  </a:lnTo>
                  <a:lnTo>
                    <a:pt x="656" y="142"/>
                  </a:lnTo>
                  <a:lnTo>
                    <a:pt x="656" y="142"/>
                  </a:lnTo>
                  <a:close/>
                  <a:moveTo>
                    <a:pt x="540" y="142"/>
                  </a:moveTo>
                  <a:lnTo>
                    <a:pt x="540" y="146"/>
                  </a:lnTo>
                  <a:lnTo>
                    <a:pt x="536" y="146"/>
                  </a:lnTo>
                  <a:lnTo>
                    <a:pt x="536" y="150"/>
                  </a:lnTo>
                  <a:lnTo>
                    <a:pt x="534" y="150"/>
                  </a:lnTo>
                  <a:lnTo>
                    <a:pt x="534" y="146"/>
                  </a:lnTo>
                  <a:lnTo>
                    <a:pt x="536" y="146"/>
                  </a:lnTo>
                  <a:lnTo>
                    <a:pt x="536" y="142"/>
                  </a:lnTo>
                  <a:lnTo>
                    <a:pt x="540" y="142"/>
                  </a:lnTo>
                  <a:lnTo>
                    <a:pt x="540" y="142"/>
                  </a:lnTo>
                  <a:lnTo>
                    <a:pt x="540" y="142"/>
                  </a:lnTo>
                  <a:close/>
                  <a:moveTo>
                    <a:pt x="440" y="150"/>
                  </a:moveTo>
                  <a:lnTo>
                    <a:pt x="444" y="150"/>
                  </a:lnTo>
                  <a:lnTo>
                    <a:pt x="444" y="154"/>
                  </a:lnTo>
                  <a:lnTo>
                    <a:pt x="440" y="154"/>
                  </a:lnTo>
                  <a:lnTo>
                    <a:pt x="436" y="154"/>
                  </a:lnTo>
                  <a:lnTo>
                    <a:pt x="432" y="154"/>
                  </a:lnTo>
                  <a:lnTo>
                    <a:pt x="428" y="154"/>
                  </a:lnTo>
                  <a:lnTo>
                    <a:pt x="424" y="154"/>
                  </a:lnTo>
                  <a:lnTo>
                    <a:pt x="424" y="158"/>
                  </a:lnTo>
                  <a:lnTo>
                    <a:pt x="428" y="158"/>
                  </a:lnTo>
                  <a:lnTo>
                    <a:pt x="432" y="158"/>
                  </a:lnTo>
                  <a:lnTo>
                    <a:pt x="436" y="158"/>
                  </a:lnTo>
                  <a:lnTo>
                    <a:pt x="436" y="160"/>
                  </a:lnTo>
                  <a:lnTo>
                    <a:pt x="436" y="164"/>
                  </a:lnTo>
                  <a:lnTo>
                    <a:pt x="432" y="164"/>
                  </a:lnTo>
                  <a:lnTo>
                    <a:pt x="432" y="168"/>
                  </a:lnTo>
                  <a:lnTo>
                    <a:pt x="424" y="168"/>
                  </a:lnTo>
                  <a:lnTo>
                    <a:pt x="422" y="168"/>
                  </a:lnTo>
                  <a:lnTo>
                    <a:pt x="418" y="168"/>
                  </a:lnTo>
                  <a:lnTo>
                    <a:pt x="414" y="168"/>
                  </a:lnTo>
                  <a:lnTo>
                    <a:pt x="410" y="172"/>
                  </a:lnTo>
                  <a:lnTo>
                    <a:pt x="408" y="172"/>
                  </a:lnTo>
                  <a:lnTo>
                    <a:pt x="404" y="168"/>
                  </a:lnTo>
                  <a:lnTo>
                    <a:pt x="400" y="168"/>
                  </a:lnTo>
                  <a:lnTo>
                    <a:pt x="396" y="164"/>
                  </a:lnTo>
                  <a:lnTo>
                    <a:pt x="392" y="164"/>
                  </a:lnTo>
                  <a:lnTo>
                    <a:pt x="396" y="160"/>
                  </a:lnTo>
                  <a:lnTo>
                    <a:pt x="392" y="158"/>
                  </a:lnTo>
                  <a:lnTo>
                    <a:pt x="392" y="154"/>
                  </a:lnTo>
                  <a:lnTo>
                    <a:pt x="396" y="154"/>
                  </a:lnTo>
                  <a:lnTo>
                    <a:pt x="400" y="154"/>
                  </a:lnTo>
                  <a:lnTo>
                    <a:pt x="404" y="154"/>
                  </a:lnTo>
                  <a:lnTo>
                    <a:pt x="404" y="150"/>
                  </a:lnTo>
                  <a:lnTo>
                    <a:pt x="408" y="150"/>
                  </a:lnTo>
                  <a:lnTo>
                    <a:pt x="410" y="150"/>
                  </a:lnTo>
                  <a:lnTo>
                    <a:pt x="414" y="150"/>
                  </a:lnTo>
                  <a:lnTo>
                    <a:pt x="418" y="150"/>
                  </a:lnTo>
                  <a:lnTo>
                    <a:pt x="422" y="150"/>
                  </a:lnTo>
                  <a:lnTo>
                    <a:pt x="424" y="150"/>
                  </a:lnTo>
                  <a:lnTo>
                    <a:pt x="428" y="150"/>
                  </a:lnTo>
                  <a:lnTo>
                    <a:pt x="432" y="150"/>
                  </a:lnTo>
                  <a:lnTo>
                    <a:pt x="436" y="150"/>
                  </a:lnTo>
                  <a:lnTo>
                    <a:pt x="440" y="150"/>
                  </a:lnTo>
                  <a:lnTo>
                    <a:pt x="440" y="150"/>
                  </a:lnTo>
                  <a:lnTo>
                    <a:pt x="440" y="150"/>
                  </a:lnTo>
                  <a:close/>
                  <a:moveTo>
                    <a:pt x="380" y="160"/>
                  </a:moveTo>
                  <a:lnTo>
                    <a:pt x="378" y="160"/>
                  </a:lnTo>
                  <a:lnTo>
                    <a:pt x="378" y="158"/>
                  </a:lnTo>
                  <a:lnTo>
                    <a:pt x="374" y="158"/>
                  </a:lnTo>
                  <a:lnTo>
                    <a:pt x="370" y="158"/>
                  </a:lnTo>
                  <a:lnTo>
                    <a:pt x="366" y="154"/>
                  </a:lnTo>
                  <a:lnTo>
                    <a:pt x="370" y="154"/>
                  </a:lnTo>
                  <a:lnTo>
                    <a:pt x="374" y="150"/>
                  </a:lnTo>
                  <a:lnTo>
                    <a:pt x="378" y="150"/>
                  </a:lnTo>
                  <a:lnTo>
                    <a:pt x="380" y="154"/>
                  </a:lnTo>
                  <a:lnTo>
                    <a:pt x="384" y="154"/>
                  </a:lnTo>
                  <a:lnTo>
                    <a:pt x="388" y="154"/>
                  </a:lnTo>
                  <a:lnTo>
                    <a:pt x="388" y="158"/>
                  </a:lnTo>
                  <a:lnTo>
                    <a:pt x="384" y="158"/>
                  </a:lnTo>
                  <a:lnTo>
                    <a:pt x="384" y="160"/>
                  </a:lnTo>
                  <a:lnTo>
                    <a:pt x="380" y="160"/>
                  </a:lnTo>
                  <a:lnTo>
                    <a:pt x="380" y="160"/>
                  </a:lnTo>
                  <a:lnTo>
                    <a:pt x="380" y="160"/>
                  </a:lnTo>
                  <a:close/>
                  <a:moveTo>
                    <a:pt x="556" y="154"/>
                  </a:moveTo>
                  <a:lnTo>
                    <a:pt x="560" y="154"/>
                  </a:lnTo>
                  <a:lnTo>
                    <a:pt x="560" y="158"/>
                  </a:lnTo>
                  <a:lnTo>
                    <a:pt x="564" y="158"/>
                  </a:lnTo>
                  <a:lnTo>
                    <a:pt x="566" y="158"/>
                  </a:lnTo>
                  <a:lnTo>
                    <a:pt x="566" y="160"/>
                  </a:lnTo>
                  <a:lnTo>
                    <a:pt x="564" y="160"/>
                  </a:lnTo>
                  <a:lnTo>
                    <a:pt x="560" y="160"/>
                  </a:lnTo>
                  <a:lnTo>
                    <a:pt x="556" y="160"/>
                  </a:lnTo>
                  <a:lnTo>
                    <a:pt x="552" y="160"/>
                  </a:lnTo>
                  <a:lnTo>
                    <a:pt x="548" y="160"/>
                  </a:lnTo>
                  <a:lnTo>
                    <a:pt x="544" y="158"/>
                  </a:lnTo>
                  <a:lnTo>
                    <a:pt x="544" y="154"/>
                  </a:lnTo>
                  <a:lnTo>
                    <a:pt x="548" y="154"/>
                  </a:lnTo>
                  <a:lnTo>
                    <a:pt x="552" y="154"/>
                  </a:lnTo>
                  <a:lnTo>
                    <a:pt x="556" y="154"/>
                  </a:lnTo>
                  <a:lnTo>
                    <a:pt x="556" y="154"/>
                  </a:lnTo>
                  <a:lnTo>
                    <a:pt x="556" y="154"/>
                  </a:lnTo>
                  <a:close/>
                  <a:moveTo>
                    <a:pt x="676" y="160"/>
                  </a:moveTo>
                  <a:lnTo>
                    <a:pt x="678" y="160"/>
                  </a:lnTo>
                  <a:lnTo>
                    <a:pt x="676" y="160"/>
                  </a:lnTo>
                  <a:lnTo>
                    <a:pt x="672" y="164"/>
                  </a:lnTo>
                  <a:lnTo>
                    <a:pt x="672" y="168"/>
                  </a:lnTo>
                  <a:lnTo>
                    <a:pt x="668" y="168"/>
                  </a:lnTo>
                  <a:lnTo>
                    <a:pt x="660" y="168"/>
                  </a:lnTo>
                  <a:lnTo>
                    <a:pt x="660" y="164"/>
                  </a:lnTo>
                  <a:lnTo>
                    <a:pt x="652" y="164"/>
                  </a:lnTo>
                  <a:lnTo>
                    <a:pt x="650" y="164"/>
                  </a:lnTo>
                  <a:lnTo>
                    <a:pt x="650" y="168"/>
                  </a:lnTo>
                  <a:lnTo>
                    <a:pt x="646" y="164"/>
                  </a:lnTo>
                  <a:lnTo>
                    <a:pt x="642" y="164"/>
                  </a:lnTo>
                  <a:lnTo>
                    <a:pt x="638" y="164"/>
                  </a:lnTo>
                  <a:lnTo>
                    <a:pt x="634" y="164"/>
                  </a:lnTo>
                  <a:lnTo>
                    <a:pt x="630" y="160"/>
                  </a:lnTo>
                  <a:lnTo>
                    <a:pt x="634" y="160"/>
                  </a:lnTo>
                  <a:lnTo>
                    <a:pt x="634" y="158"/>
                  </a:lnTo>
                  <a:lnTo>
                    <a:pt x="638" y="158"/>
                  </a:lnTo>
                  <a:lnTo>
                    <a:pt x="642" y="158"/>
                  </a:lnTo>
                  <a:lnTo>
                    <a:pt x="646" y="158"/>
                  </a:lnTo>
                  <a:lnTo>
                    <a:pt x="650" y="158"/>
                  </a:lnTo>
                  <a:lnTo>
                    <a:pt x="652" y="158"/>
                  </a:lnTo>
                  <a:lnTo>
                    <a:pt x="656" y="158"/>
                  </a:lnTo>
                  <a:lnTo>
                    <a:pt x="660" y="158"/>
                  </a:lnTo>
                  <a:lnTo>
                    <a:pt x="664" y="158"/>
                  </a:lnTo>
                  <a:lnTo>
                    <a:pt x="668" y="158"/>
                  </a:lnTo>
                  <a:lnTo>
                    <a:pt x="672" y="158"/>
                  </a:lnTo>
                  <a:lnTo>
                    <a:pt x="676" y="158"/>
                  </a:lnTo>
                  <a:lnTo>
                    <a:pt x="676" y="160"/>
                  </a:lnTo>
                  <a:lnTo>
                    <a:pt x="676" y="160"/>
                  </a:lnTo>
                  <a:lnTo>
                    <a:pt x="676" y="160"/>
                  </a:lnTo>
                  <a:close/>
                  <a:moveTo>
                    <a:pt x="500" y="158"/>
                  </a:moveTo>
                  <a:lnTo>
                    <a:pt x="504" y="160"/>
                  </a:lnTo>
                  <a:lnTo>
                    <a:pt x="508" y="160"/>
                  </a:lnTo>
                  <a:lnTo>
                    <a:pt x="508" y="164"/>
                  </a:lnTo>
                  <a:lnTo>
                    <a:pt x="510" y="164"/>
                  </a:lnTo>
                  <a:lnTo>
                    <a:pt x="510" y="168"/>
                  </a:lnTo>
                  <a:lnTo>
                    <a:pt x="508" y="168"/>
                  </a:lnTo>
                  <a:lnTo>
                    <a:pt x="510" y="168"/>
                  </a:lnTo>
                  <a:lnTo>
                    <a:pt x="514" y="168"/>
                  </a:lnTo>
                  <a:lnTo>
                    <a:pt x="514" y="172"/>
                  </a:lnTo>
                  <a:lnTo>
                    <a:pt x="518" y="172"/>
                  </a:lnTo>
                  <a:lnTo>
                    <a:pt x="518" y="176"/>
                  </a:lnTo>
                  <a:lnTo>
                    <a:pt x="514" y="176"/>
                  </a:lnTo>
                  <a:lnTo>
                    <a:pt x="510" y="176"/>
                  </a:lnTo>
                  <a:lnTo>
                    <a:pt x="508" y="176"/>
                  </a:lnTo>
                  <a:lnTo>
                    <a:pt x="504" y="172"/>
                  </a:lnTo>
                  <a:lnTo>
                    <a:pt x="500" y="172"/>
                  </a:lnTo>
                  <a:lnTo>
                    <a:pt x="500" y="168"/>
                  </a:lnTo>
                  <a:lnTo>
                    <a:pt x="500" y="164"/>
                  </a:lnTo>
                  <a:lnTo>
                    <a:pt x="496" y="160"/>
                  </a:lnTo>
                  <a:lnTo>
                    <a:pt x="492" y="160"/>
                  </a:lnTo>
                  <a:lnTo>
                    <a:pt x="492" y="158"/>
                  </a:lnTo>
                  <a:lnTo>
                    <a:pt x="496" y="158"/>
                  </a:lnTo>
                  <a:lnTo>
                    <a:pt x="500" y="158"/>
                  </a:lnTo>
                  <a:lnTo>
                    <a:pt x="500" y="158"/>
                  </a:lnTo>
                  <a:lnTo>
                    <a:pt x="500" y="158"/>
                  </a:lnTo>
                  <a:close/>
                  <a:moveTo>
                    <a:pt x="716" y="172"/>
                  </a:moveTo>
                  <a:lnTo>
                    <a:pt x="712" y="172"/>
                  </a:lnTo>
                  <a:lnTo>
                    <a:pt x="708" y="172"/>
                  </a:lnTo>
                  <a:lnTo>
                    <a:pt x="706" y="168"/>
                  </a:lnTo>
                  <a:lnTo>
                    <a:pt x="706" y="164"/>
                  </a:lnTo>
                  <a:lnTo>
                    <a:pt x="706" y="160"/>
                  </a:lnTo>
                  <a:lnTo>
                    <a:pt x="708" y="160"/>
                  </a:lnTo>
                  <a:lnTo>
                    <a:pt x="712" y="160"/>
                  </a:lnTo>
                  <a:lnTo>
                    <a:pt x="716" y="160"/>
                  </a:lnTo>
                  <a:lnTo>
                    <a:pt x="720" y="160"/>
                  </a:lnTo>
                  <a:lnTo>
                    <a:pt x="720" y="164"/>
                  </a:lnTo>
                  <a:lnTo>
                    <a:pt x="724" y="164"/>
                  </a:lnTo>
                  <a:lnTo>
                    <a:pt x="728" y="168"/>
                  </a:lnTo>
                  <a:lnTo>
                    <a:pt x="728" y="172"/>
                  </a:lnTo>
                  <a:lnTo>
                    <a:pt x="724" y="172"/>
                  </a:lnTo>
                  <a:lnTo>
                    <a:pt x="720" y="172"/>
                  </a:lnTo>
                  <a:lnTo>
                    <a:pt x="716" y="172"/>
                  </a:lnTo>
                  <a:lnTo>
                    <a:pt x="716" y="172"/>
                  </a:lnTo>
                  <a:lnTo>
                    <a:pt x="716" y="172"/>
                  </a:lnTo>
                  <a:close/>
                  <a:moveTo>
                    <a:pt x="294" y="212"/>
                  </a:moveTo>
                  <a:lnTo>
                    <a:pt x="294" y="208"/>
                  </a:lnTo>
                  <a:lnTo>
                    <a:pt x="294" y="212"/>
                  </a:lnTo>
                  <a:lnTo>
                    <a:pt x="292" y="212"/>
                  </a:lnTo>
                  <a:lnTo>
                    <a:pt x="292" y="208"/>
                  </a:lnTo>
                  <a:lnTo>
                    <a:pt x="292" y="206"/>
                  </a:lnTo>
                  <a:lnTo>
                    <a:pt x="288" y="206"/>
                  </a:lnTo>
                  <a:lnTo>
                    <a:pt x="288" y="208"/>
                  </a:lnTo>
                  <a:lnTo>
                    <a:pt x="288" y="206"/>
                  </a:lnTo>
                  <a:lnTo>
                    <a:pt x="288" y="202"/>
                  </a:lnTo>
                  <a:lnTo>
                    <a:pt x="284" y="202"/>
                  </a:lnTo>
                  <a:lnTo>
                    <a:pt x="284" y="206"/>
                  </a:lnTo>
                  <a:lnTo>
                    <a:pt x="284" y="208"/>
                  </a:lnTo>
                  <a:lnTo>
                    <a:pt x="284" y="206"/>
                  </a:lnTo>
                  <a:lnTo>
                    <a:pt x="280" y="206"/>
                  </a:lnTo>
                  <a:lnTo>
                    <a:pt x="280" y="208"/>
                  </a:lnTo>
                  <a:lnTo>
                    <a:pt x="276" y="208"/>
                  </a:lnTo>
                  <a:lnTo>
                    <a:pt x="276" y="206"/>
                  </a:lnTo>
                  <a:lnTo>
                    <a:pt x="272" y="206"/>
                  </a:lnTo>
                  <a:lnTo>
                    <a:pt x="266" y="206"/>
                  </a:lnTo>
                  <a:lnTo>
                    <a:pt x="266" y="208"/>
                  </a:lnTo>
                  <a:lnTo>
                    <a:pt x="262" y="208"/>
                  </a:lnTo>
                  <a:lnTo>
                    <a:pt x="258" y="208"/>
                  </a:lnTo>
                  <a:lnTo>
                    <a:pt x="262" y="208"/>
                  </a:lnTo>
                  <a:lnTo>
                    <a:pt x="262" y="206"/>
                  </a:lnTo>
                  <a:lnTo>
                    <a:pt x="262" y="202"/>
                  </a:lnTo>
                  <a:lnTo>
                    <a:pt x="262" y="206"/>
                  </a:lnTo>
                  <a:lnTo>
                    <a:pt x="258" y="206"/>
                  </a:lnTo>
                  <a:lnTo>
                    <a:pt x="262" y="202"/>
                  </a:lnTo>
                  <a:lnTo>
                    <a:pt x="258" y="202"/>
                  </a:lnTo>
                  <a:lnTo>
                    <a:pt x="258" y="206"/>
                  </a:lnTo>
                  <a:lnTo>
                    <a:pt x="254" y="206"/>
                  </a:lnTo>
                  <a:lnTo>
                    <a:pt x="254" y="202"/>
                  </a:lnTo>
                  <a:lnTo>
                    <a:pt x="258" y="202"/>
                  </a:lnTo>
                  <a:lnTo>
                    <a:pt x="262" y="198"/>
                  </a:lnTo>
                  <a:lnTo>
                    <a:pt x="266" y="194"/>
                  </a:lnTo>
                  <a:lnTo>
                    <a:pt x="268" y="194"/>
                  </a:lnTo>
                  <a:lnTo>
                    <a:pt x="272" y="194"/>
                  </a:lnTo>
                  <a:lnTo>
                    <a:pt x="276" y="194"/>
                  </a:lnTo>
                  <a:lnTo>
                    <a:pt x="280" y="190"/>
                  </a:lnTo>
                  <a:lnTo>
                    <a:pt x="280" y="186"/>
                  </a:lnTo>
                  <a:lnTo>
                    <a:pt x="284" y="186"/>
                  </a:lnTo>
                  <a:lnTo>
                    <a:pt x="288" y="186"/>
                  </a:lnTo>
                  <a:lnTo>
                    <a:pt x="292" y="182"/>
                  </a:lnTo>
                  <a:lnTo>
                    <a:pt x="294" y="180"/>
                  </a:lnTo>
                  <a:lnTo>
                    <a:pt x="298" y="180"/>
                  </a:lnTo>
                  <a:lnTo>
                    <a:pt x="298" y="176"/>
                  </a:lnTo>
                  <a:lnTo>
                    <a:pt x="302" y="176"/>
                  </a:lnTo>
                  <a:lnTo>
                    <a:pt x="306" y="176"/>
                  </a:lnTo>
                  <a:lnTo>
                    <a:pt x="306" y="172"/>
                  </a:lnTo>
                  <a:lnTo>
                    <a:pt x="310" y="172"/>
                  </a:lnTo>
                  <a:lnTo>
                    <a:pt x="314" y="172"/>
                  </a:lnTo>
                  <a:lnTo>
                    <a:pt x="314" y="168"/>
                  </a:lnTo>
                  <a:lnTo>
                    <a:pt x="318" y="168"/>
                  </a:lnTo>
                  <a:lnTo>
                    <a:pt x="322" y="168"/>
                  </a:lnTo>
                  <a:lnTo>
                    <a:pt x="324" y="168"/>
                  </a:lnTo>
                  <a:lnTo>
                    <a:pt x="328" y="168"/>
                  </a:lnTo>
                  <a:lnTo>
                    <a:pt x="332" y="172"/>
                  </a:lnTo>
                  <a:lnTo>
                    <a:pt x="336" y="172"/>
                  </a:lnTo>
                  <a:lnTo>
                    <a:pt x="340" y="172"/>
                  </a:lnTo>
                  <a:lnTo>
                    <a:pt x="340" y="168"/>
                  </a:lnTo>
                  <a:lnTo>
                    <a:pt x="336" y="168"/>
                  </a:lnTo>
                  <a:lnTo>
                    <a:pt x="340" y="168"/>
                  </a:lnTo>
                  <a:lnTo>
                    <a:pt x="340" y="172"/>
                  </a:lnTo>
                  <a:lnTo>
                    <a:pt x="344" y="172"/>
                  </a:lnTo>
                  <a:lnTo>
                    <a:pt x="344" y="168"/>
                  </a:lnTo>
                  <a:lnTo>
                    <a:pt x="340" y="168"/>
                  </a:lnTo>
                  <a:lnTo>
                    <a:pt x="336" y="168"/>
                  </a:lnTo>
                  <a:lnTo>
                    <a:pt x="340" y="164"/>
                  </a:lnTo>
                  <a:lnTo>
                    <a:pt x="344" y="164"/>
                  </a:lnTo>
                  <a:lnTo>
                    <a:pt x="340" y="164"/>
                  </a:lnTo>
                  <a:lnTo>
                    <a:pt x="344" y="164"/>
                  </a:lnTo>
                  <a:lnTo>
                    <a:pt x="348" y="164"/>
                  </a:lnTo>
                  <a:lnTo>
                    <a:pt x="352" y="164"/>
                  </a:lnTo>
                  <a:lnTo>
                    <a:pt x="354" y="168"/>
                  </a:lnTo>
                  <a:lnTo>
                    <a:pt x="362" y="168"/>
                  </a:lnTo>
                  <a:lnTo>
                    <a:pt x="362" y="172"/>
                  </a:lnTo>
                  <a:lnTo>
                    <a:pt x="358" y="172"/>
                  </a:lnTo>
                  <a:lnTo>
                    <a:pt x="354" y="172"/>
                  </a:lnTo>
                  <a:lnTo>
                    <a:pt x="352" y="176"/>
                  </a:lnTo>
                  <a:lnTo>
                    <a:pt x="352" y="180"/>
                  </a:lnTo>
                  <a:lnTo>
                    <a:pt x="354" y="180"/>
                  </a:lnTo>
                  <a:lnTo>
                    <a:pt x="358" y="180"/>
                  </a:lnTo>
                  <a:lnTo>
                    <a:pt x="358" y="182"/>
                  </a:lnTo>
                  <a:lnTo>
                    <a:pt x="354" y="182"/>
                  </a:lnTo>
                  <a:lnTo>
                    <a:pt x="352" y="182"/>
                  </a:lnTo>
                  <a:lnTo>
                    <a:pt x="352" y="180"/>
                  </a:lnTo>
                  <a:lnTo>
                    <a:pt x="348" y="180"/>
                  </a:lnTo>
                  <a:lnTo>
                    <a:pt x="348" y="182"/>
                  </a:lnTo>
                  <a:lnTo>
                    <a:pt x="352" y="182"/>
                  </a:lnTo>
                  <a:lnTo>
                    <a:pt x="354" y="182"/>
                  </a:lnTo>
                  <a:lnTo>
                    <a:pt x="354" y="186"/>
                  </a:lnTo>
                  <a:lnTo>
                    <a:pt x="354" y="190"/>
                  </a:lnTo>
                  <a:lnTo>
                    <a:pt x="352" y="190"/>
                  </a:lnTo>
                  <a:lnTo>
                    <a:pt x="348" y="190"/>
                  </a:lnTo>
                  <a:lnTo>
                    <a:pt x="344" y="190"/>
                  </a:lnTo>
                  <a:lnTo>
                    <a:pt x="340" y="190"/>
                  </a:lnTo>
                  <a:lnTo>
                    <a:pt x="340" y="194"/>
                  </a:lnTo>
                  <a:lnTo>
                    <a:pt x="340" y="198"/>
                  </a:lnTo>
                  <a:lnTo>
                    <a:pt x="336" y="198"/>
                  </a:lnTo>
                  <a:lnTo>
                    <a:pt x="332" y="198"/>
                  </a:lnTo>
                  <a:lnTo>
                    <a:pt x="328" y="198"/>
                  </a:lnTo>
                  <a:lnTo>
                    <a:pt x="324" y="194"/>
                  </a:lnTo>
                  <a:lnTo>
                    <a:pt x="324" y="190"/>
                  </a:lnTo>
                  <a:lnTo>
                    <a:pt x="324" y="186"/>
                  </a:lnTo>
                  <a:lnTo>
                    <a:pt x="328" y="186"/>
                  </a:lnTo>
                  <a:lnTo>
                    <a:pt x="328" y="182"/>
                  </a:lnTo>
                  <a:lnTo>
                    <a:pt x="324" y="186"/>
                  </a:lnTo>
                  <a:lnTo>
                    <a:pt x="322" y="186"/>
                  </a:lnTo>
                  <a:lnTo>
                    <a:pt x="318" y="186"/>
                  </a:lnTo>
                  <a:lnTo>
                    <a:pt x="322" y="186"/>
                  </a:lnTo>
                  <a:lnTo>
                    <a:pt x="322" y="190"/>
                  </a:lnTo>
                  <a:lnTo>
                    <a:pt x="318" y="194"/>
                  </a:lnTo>
                  <a:lnTo>
                    <a:pt x="314" y="190"/>
                  </a:lnTo>
                  <a:lnTo>
                    <a:pt x="314" y="194"/>
                  </a:lnTo>
                  <a:lnTo>
                    <a:pt x="318" y="194"/>
                  </a:lnTo>
                  <a:lnTo>
                    <a:pt x="318" y="198"/>
                  </a:lnTo>
                  <a:lnTo>
                    <a:pt x="314" y="198"/>
                  </a:lnTo>
                  <a:lnTo>
                    <a:pt x="314" y="202"/>
                  </a:lnTo>
                  <a:lnTo>
                    <a:pt x="310" y="206"/>
                  </a:lnTo>
                  <a:lnTo>
                    <a:pt x="306" y="206"/>
                  </a:lnTo>
                  <a:lnTo>
                    <a:pt x="306" y="202"/>
                  </a:lnTo>
                  <a:lnTo>
                    <a:pt x="302" y="198"/>
                  </a:lnTo>
                  <a:lnTo>
                    <a:pt x="302" y="202"/>
                  </a:lnTo>
                  <a:lnTo>
                    <a:pt x="302" y="206"/>
                  </a:lnTo>
                  <a:lnTo>
                    <a:pt x="298" y="206"/>
                  </a:lnTo>
                  <a:lnTo>
                    <a:pt x="302" y="206"/>
                  </a:lnTo>
                  <a:lnTo>
                    <a:pt x="306" y="206"/>
                  </a:lnTo>
                  <a:lnTo>
                    <a:pt x="306" y="208"/>
                  </a:lnTo>
                  <a:lnTo>
                    <a:pt x="302" y="208"/>
                  </a:lnTo>
                  <a:lnTo>
                    <a:pt x="302" y="206"/>
                  </a:lnTo>
                  <a:lnTo>
                    <a:pt x="302" y="208"/>
                  </a:lnTo>
                  <a:lnTo>
                    <a:pt x="298" y="208"/>
                  </a:lnTo>
                  <a:lnTo>
                    <a:pt x="298" y="212"/>
                  </a:lnTo>
                  <a:lnTo>
                    <a:pt x="294" y="212"/>
                  </a:lnTo>
                  <a:lnTo>
                    <a:pt x="294" y="212"/>
                  </a:lnTo>
                  <a:lnTo>
                    <a:pt x="294" y="212"/>
                  </a:lnTo>
                  <a:close/>
                  <a:moveTo>
                    <a:pt x="706" y="172"/>
                  </a:moveTo>
                  <a:lnTo>
                    <a:pt x="708" y="172"/>
                  </a:lnTo>
                  <a:lnTo>
                    <a:pt x="712" y="172"/>
                  </a:lnTo>
                  <a:lnTo>
                    <a:pt x="712" y="176"/>
                  </a:lnTo>
                  <a:lnTo>
                    <a:pt x="708" y="176"/>
                  </a:lnTo>
                  <a:lnTo>
                    <a:pt x="706" y="176"/>
                  </a:lnTo>
                  <a:lnTo>
                    <a:pt x="706" y="172"/>
                  </a:lnTo>
                  <a:lnTo>
                    <a:pt x="706" y="172"/>
                  </a:lnTo>
                  <a:lnTo>
                    <a:pt x="706" y="172"/>
                  </a:lnTo>
                  <a:close/>
                  <a:moveTo>
                    <a:pt x="646" y="172"/>
                  </a:moveTo>
                  <a:lnTo>
                    <a:pt x="650" y="172"/>
                  </a:lnTo>
                  <a:lnTo>
                    <a:pt x="650" y="176"/>
                  </a:lnTo>
                  <a:lnTo>
                    <a:pt x="646" y="176"/>
                  </a:lnTo>
                  <a:lnTo>
                    <a:pt x="642" y="172"/>
                  </a:lnTo>
                  <a:lnTo>
                    <a:pt x="646" y="172"/>
                  </a:lnTo>
                  <a:lnTo>
                    <a:pt x="646" y="172"/>
                  </a:lnTo>
                  <a:lnTo>
                    <a:pt x="646" y="172"/>
                  </a:lnTo>
                  <a:close/>
                  <a:moveTo>
                    <a:pt x="522" y="176"/>
                  </a:moveTo>
                  <a:lnTo>
                    <a:pt x="518" y="176"/>
                  </a:lnTo>
                  <a:lnTo>
                    <a:pt x="522" y="176"/>
                  </a:lnTo>
                  <a:lnTo>
                    <a:pt x="522" y="176"/>
                  </a:lnTo>
                  <a:lnTo>
                    <a:pt x="522" y="176"/>
                  </a:lnTo>
                  <a:close/>
                  <a:moveTo>
                    <a:pt x="384" y="176"/>
                  </a:moveTo>
                  <a:lnTo>
                    <a:pt x="388" y="176"/>
                  </a:lnTo>
                  <a:lnTo>
                    <a:pt x="384" y="176"/>
                  </a:lnTo>
                  <a:lnTo>
                    <a:pt x="384" y="176"/>
                  </a:lnTo>
                  <a:lnTo>
                    <a:pt x="384" y="176"/>
                  </a:lnTo>
                  <a:close/>
                  <a:moveTo>
                    <a:pt x="858" y="236"/>
                  </a:moveTo>
                  <a:lnTo>
                    <a:pt x="862" y="236"/>
                  </a:lnTo>
                  <a:lnTo>
                    <a:pt x="858" y="236"/>
                  </a:lnTo>
                  <a:lnTo>
                    <a:pt x="862" y="236"/>
                  </a:lnTo>
                  <a:lnTo>
                    <a:pt x="864" y="236"/>
                  </a:lnTo>
                  <a:lnTo>
                    <a:pt x="868" y="236"/>
                  </a:lnTo>
                  <a:lnTo>
                    <a:pt x="872" y="236"/>
                  </a:lnTo>
                  <a:lnTo>
                    <a:pt x="872" y="238"/>
                  </a:lnTo>
                  <a:lnTo>
                    <a:pt x="868" y="238"/>
                  </a:lnTo>
                  <a:lnTo>
                    <a:pt x="864" y="238"/>
                  </a:lnTo>
                  <a:lnTo>
                    <a:pt x="862" y="238"/>
                  </a:lnTo>
                  <a:lnTo>
                    <a:pt x="858" y="238"/>
                  </a:lnTo>
                  <a:lnTo>
                    <a:pt x="858" y="236"/>
                  </a:lnTo>
                  <a:lnTo>
                    <a:pt x="858" y="238"/>
                  </a:lnTo>
                  <a:lnTo>
                    <a:pt x="862" y="238"/>
                  </a:lnTo>
                  <a:lnTo>
                    <a:pt x="862" y="242"/>
                  </a:lnTo>
                  <a:lnTo>
                    <a:pt x="862" y="246"/>
                  </a:lnTo>
                  <a:lnTo>
                    <a:pt x="858" y="246"/>
                  </a:lnTo>
                  <a:lnTo>
                    <a:pt x="854" y="246"/>
                  </a:lnTo>
                  <a:lnTo>
                    <a:pt x="850" y="246"/>
                  </a:lnTo>
                  <a:lnTo>
                    <a:pt x="846" y="246"/>
                  </a:lnTo>
                  <a:lnTo>
                    <a:pt x="842" y="246"/>
                  </a:lnTo>
                  <a:lnTo>
                    <a:pt x="838" y="246"/>
                  </a:lnTo>
                  <a:lnTo>
                    <a:pt x="838" y="250"/>
                  </a:lnTo>
                  <a:lnTo>
                    <a:pt x="834" y="250"/>
                  </a:lnTo>
                  <a:lnTo>
                    <a:pt x="832" y="246"/>
                  </a:lnTo>
                  <a:lnTo>
                    <a:pt x="828" y="246"/>
                  </a:lnTo>
                  <a:lnTo>
                    <a:pt x="824" y="246"/>
                  </a:lnTo>
                  <a:lnTo>
                    <a:pt x="820" y="246"/>
                  </a:lnTo>
                  <a:lnTo>
                    <a:pt x="820" y="242"/>
                  </a:lnTo>
                  <a:lnTo>
                    <a:pt x="820" y="238"/>
                  </a:lnTo>
                  <a:lnTo>
                    <a:pt x="816" y="238"/>
                  </a:lnTo>
                  <a:lnTo>
                    <a:pt x="812" y="236"/>
                  </a:lnTo>
                  <a:lnTo>
                    <a:pt x="812" y="238"/>
                  </a:lnTo>
                  <a:lnTo>
                    <a:pt x="816" y="238"/>
                  </a:lnTo>
                  <a:lnTo>
                    <a:pt x="816" y="242"/>
                  </a:lnTo>
                  <a:lnTo>
                    <a:pt x="812" y="246"/>
                  </a:lnTo>
                  <a:lnTo>
                    <a:pt x="808" y="246"/>
                  </a:lnTo>
                  <a:lnTo>
                    <a:pt x="806" y="246"/>
                  </a:lnTo>
                  <a:lnTo>
                    <a:pt x="802" y="246"/>
                  </a:lnTo>
                  <a:lnTo>
                    <a:pt x="798" y="246"/>
                  </a:lnTo>
                  <a:lnTo>
                    <a:pt x="794" y="246"/>
                  </a:lnTo>
                  <a:lnTo>
                    <a:pt x="790" y="246"/>
                  </a:lnTo>
                  <a:lnTo>
                    <a:pt x="794" y="242"/>
                  </a:lnTo>
                  <a:lnTo>
                    <a:pt x="790" y="242"/>
                  </a:lnTo>
                  <a:lnTo>
                    <a:pt x="790" y="246"/>
                  </a:lnTo>
                  <a:lnTo>
                    <a:pt x="786" y="246"/>
                  </a:lnTo>
                  <a:lnTo>
                    <a:pt x="786" y="242"/>
                  </a:lnTo>
                  <a:lnTo>
                    <a:pt x="782" y="242"/>
                  </a:lnTo>
                  <a:lnTo>
                    <a:pt x="782" y="246"/>
                  </a:lnTo>
                  <a:lnTo>
                    <a:pt x="786" y="246"/>
                  </a:lnTo>
                  <a:lnTo>
                    <a:pt x="782" y="246"/>
                  </a:lnTo>
                  <a:lnTo>
                    <a:pt x="778" y="246"/>
                  </a:lnTo>
                  <a:lnTo>
                    <a:pt x="776" y="246"/>
                  </a:lnTo>
                  <a:lnTo>
                    <a:pt x="772" y="246"/>
                  </a:lnTo>
                  <a:lnTo>
                    <a:pt x="768" y="246"/>
                  </a:lnTo>
                  <a:lnTo>
                    <a:pt x="768" y="242"/>
                  </a:lnTo>
                  <a:lnTo>
                    <a:pt x="768" y="246"/>
                  </a:lnTo>
                  <a:lnTo>
                    <a:pt x="768" y="250"/>
                  </a:lnTo>
                  <a:lnTo>
                    <a:pt x="764" y="250"/>
                  </a:lnTo>
                  <a:lnTo>
                    <a:pt x="760" y="250"/>
                  </a:lnTo>
                  <a:lnTo>
                    <a:pt x="760" y="246"/>
                  </a:lnTo>
                  <a:lnTo>
                    <a:pt x="756" y="250"/>
                  </a:lnTo>
                  <a:lnTo>
                    <a:pt x="752" y="250"/>
                  </a:lnTo>
                  <a:lnTo>
                    <a:pt x="752" y="246"/>
                  </a:lnTo>
                  <a:lnTo>
                    <a:pt x="752" y="250"/>
                  </a:lnTo>
                  <a:lnTo>
                    <a:pt x="748" y="250"/>
                  </a:lnTo>
                  <a:lnTo>
                    <a:pt x="746" y="246"/>
                  </a:lnTo>
                  <a:lnTo>
                    <a:pt x="742" y="246"/>
                  </a:lnTo>
                  <a:lnTo>
                    <a:pt x="746" y="242"/>
                  </a:lnTo>
                  <a:lnTo>
                    <a:pt x="746" y="238"/>
                  </a:lnTo>
                  <a:lnTo>
                    <a:pt x="742" y="238"/>
                  </a:lnTo>
                  <a:lnTo>
                    <a:pt x="742" y="236"/>
                  </a:lnTo>
                  <a:lnTo>
                    <a:pt x="742" y="238"/>
                  </a:lnTo>
                  <a:lnTo>
                    <a:pt x="738" y="238"/>
                  </a:lnTo>
                  <a:lnTo>
                    <a:pt x="738" y="242"/>
                  </a:lnTo>
                  <a:lnTo>
                    <a:pt x="738" y="238"/>
                  </a:lnTo>
                  <a:lnTo>
                    <a:pt x="734" y="238"/>
                  </a:lnTo>
                  <a:lnTo>
                    <a:pt x="734" y="242"/>
                  </a:lnTo>
                  <a:lnTo>
                    <a:pt x="732" y="242"/>
                  </a:lnTo>
                  <a:lnTo>
                    <a:pt x="732" y="238"/>
                  </a:lnTo>
                  <a:lnTo>
                    <a:pt x="732" y="242"/>
                  </a:lnTo>
                  <a:lnTo>
                    <a:pt x="734" y="242"/>
                  </a:lnTo>
                  <a:lnTo>
                    <a:pt x="734" y="246"/>
                  </a:lnTo>
                  <a:lnTo>
                    <a:pt x="732" y="246"/>
                  </a:lnTo>
                  <a:lnTo>
                    <a:pt x="728" y="246"/>
                  </a:lnTo>
                  <a:lnTo>
                    <a:pt x="724" y="246"/>
                  </a:lnTo>
                  <a:lnTo>
                    <a:pt x="720" y="246"/>
                  </a:lnTo>
                  <a:lnTo>
                    <a:pt x="716" y="246"/>
                  </a:lnTo>
                  <a:lnTo>
                    <a:pt x="712" y="246"/>
                  </a:lnTo>
                  <a:lnTo>
                    <a:pt x="712" y="242"/>
                  </a:lnTo>
                  <a:lnTo>
                    <a:pt x="708" y="242"/>
                  </a:lnTo>
                  <a:lnTo>
                    <a:pt x="708" y="238"/>
                  </a:lnTo>
                  <a:lnTo>
                    <a:pt x="712" y="238"/>
                  </a:lnTo>
                  <a:lnTo>
                    <a:pt x="708" y="238"/>
                  </a:lnTo>
                  <a:lnTo>
                    <a:pt x="706" y="238"/>
                  </a:lnTo>
                  <a:lnTo>
                    <a:pt x="706" y="242"/>
                  </a:lnTo>
                  <a:lnTo>
                    <a:pt x="706" y="238"/>
                  </a:lnTo>
                  <a:lnTo>
                    <a:pt x="706" y="242"/>
                  </a:lnTo>
                  <a:lnTo>
                    <a:pt x="702" y="242"/>
                  </a:lnTo>
                  <a:lnTo>
                    <a:pt x="698" y="242"/>
                  </a:lnTo>
                  <a:lnTo>
                    <a:pt x="694" y="242"/>
                  </a:lnTo>
                  <a:lnTo>
                    <a:pt x="694" y="238"/>
                  </a:lnTo>
                  <a:lnTo>
                    <a:pt x="694" y="236"/>
                  </a:lnTo>
                  <a:lnTo>
                    <a:pt x="690" y="236"/>
                  </a:lnTo>
                  <a:lnTo>
                    <a:pt x="690" y="232"/>
                  </a:lnTo>
                  <a:lnTo>
                    <a:pt x="694" y="232"/>
                  </a:lnTo>
                  <a:lnTo>
                    <a:pt x="690" y="232"/>
                  </a:lnTo>
                  <a:lnTo>
                    <a:pt x="686" y="228"/>
                  </a:lnTo>
                  <a:lnTo>
                    <a:pt x="686" y="224"/>
                  </a:lnTo>
                  <a:lnTo>
                    <a:pt x="686" y="220"/>
                  </a:lnTo>
                  <a:lnTo>
                    <a:pt x="690" y="220"/>
                  </a:lnTo>
                  <a:lnTo>
                    <a:pt x="694" y="220"/>
                  </a:lnTo>
                  <a:lnTo>
                    <a:pt x="694" y="216"/>
                  </a:lnTo>
                  <a:lnTo>
                    <a:pt x="690" y="212"/>
                  </a:lnTo>
                  <a:lnTo>
                    <a:pt x="690" y="208"/>
                  </a:lnTo>
                  <a:lnTo>
                    <a:pt x="686" y="208"/>
                  </a:lnTo>
                  <a:lnTo>
                    <a:pt x="686" y="206"/>
                  </a:lnTo>
                  <a:lnTo>
                    <a:pt x="682" y="206"/>
                  </a:lnTo>
                  <a:lnTo>
                    <a:pt x="682" y="202"/>
                  </a:lnTo>
                  <a:lnTo>
                    <a:pt x="678" y="202"/>
                  </a:lnTo>
                  <a:lnTo>
                    <a:pt x="678" y="198"/>
                  </a:lnTo>
                  <a:lnTo>
                    <a:pt x="676" y="198"/>
                  </a:lnTo>
                  <a:lnTo>
                    <a:pt x="672" y="198"/>
                  </a:lnTo>
                  <a:lnTo>
                    <a:pt x="668" y="198"/>
                  </a:lnTo>
                  <a:lnTo>
                    <a:pt x="668" y="202"/>
                  </a:lnTo>
                  <a:lnTo>
                    <a:pt x="664" y="198"/>
                  </a:lnTo>
                  <a:lnTo>
                    <a:pt x="660" y="198"/>
                  </a:lnTo>
                  <a:lnTo>
                    <a:pt x="656" y="198"/>
                  </a:lnTo>
                  <a:lnTo>
                    <a:pt x="652" y="198"/>
                  </a:lnTo>
                  <a:lnTo>
                    <a:pt x="650" y="202"/>
                  </a:lnTo>
                  <a:lnTo>
                    <a:pt x="646" y="202"/>
                  </a:lnTo>
                  <a:lnTo>
                    <a:pt x="646" y="198"/>
                  </a:lnTo>
                  <a:lnTo>
                    <a:pt x="650" y="198"/>
                  </a:lnTo>
                  <a:lnTo>
                    <a:pt x="652" y="198"/>
                  </a:lnTo>
                  <a:lnTo>
                    <a:pt x="650" y="198"/>
                  </a:lnTo>
                  <a:lnTo>
                    <a:pt x="646" y="198"/>
                  </a:lnTo>
                  <a:lnTo>
                    <a:pt x="642" y="198"/>
                  </a:lnTo>
                  <a:lnTo>
                    <a:pt x="642" y="194"/>
                  </a:lnTo>
                  <a:lnTo>
                    <a:pt x="638" y="194"/>
                  </a:lnTo>
                  <a:lnTo>
                    <a:pt x="634" y="194"/>
                  </a:lnTo>
                  <a:lnTo>
                    <a:pt x="638" y="194"/>
                  </a:lnTo>
                  <a:lnTo>
                    <a:pt x="642" y="194"/>
                  </a:lnTo>
                  <a:lnTo>
                    <a:pt x="642" y="190"/>
                  </a:lnTo>
                  <a:lnTo>
                    <a:pt x="638" y="190"/>
                  </a:lnTo>
                  <a:lnTo>
                    <a:pt x="634" y="190"/>
                  </a:lnTo>
                  <a:lnTo>
                    <a:pt x="630" y="190"/>
                  </a:lnTo>
                  <a:lnTo>
                    <a:pt x="630" y="186"/>
                  </a:lnTo>
                  <a:lnTo>
                    <a:pt x="626" y="186"/>
                  </a:lnTo>
                  <a:lnTo>
                    <a:pt x="622" y="186"/>
                  </a:lnTo>
                  <a:lnTo>
                    <a:pt x="622" y="182"/>
                  </a:lnTo>
                  <a:lnTo>
                    <a:pt x="626" y="186"/>
                  </a:lnTo>
                  <a:lnTo>
                    <a:pt x="630" y="186"/>
                  </a:lnTo>
                  <a:lnTo>
                    <a:pt x="634" y="186"/>
                  </a:lnTo>
                  <a:lnTo>
                    <a:pt x="630" y="182"/>
                  </a:lnTo>
                  <a:lnTo>
                    <a:pt x="626" y="182"/>
                  </a:lnTo>
                  <a:lnTo>
                    <a:pt x="622" y="182"/>
                  </a:lnTo>
                  <a:lnTo>
                    <a:pt x="626" y="180"/>
                  </a:lnTo>
                  <a:lnTo>
                    <a:pt x="630" y="180"/>
                  </a:lnTo>
                  <a:lnTo>
                    <a:pt x="634" y="180"/>
                  </a:lnTo>
                  <a:lnTo>
                    <a:pt x="638" y="180"/>
                  </a:lnTo>
                  <a:lnTo>
                    <a:pt x="642" y="176"/>
                  </a:lnTo>
                  <a:lnTo>
                    <a:pt x="642" y="180"/>
                  </a:lnTo>
                  <a:lnTo>
                    <a:pt x="646" y="180"/>
                  </a:lnTo>
                  <a:lnTo>
                    <a:pt x="650" y="180"/>
                  </a:lnTo>
                  <a:lnTo>
                    <a:pt x="652" y="180"/>
                  </a:lnTo>
                  <a:lnTo>
                    <a:pt x="656" y="180"/>
                  </a:lnTo>
                  <a:lnTo>
                    <a:pt x="660" y="182"/>
                  </a:lnTo>
                  <a:lnTo>
                    <a:pt x="664" y="182"/>
                  </a:lnTo>
                  <a:lnTo>
                    <a:pt x="664" y="180"/>
                  </a:lnTo>
                  <a:lnTo>
                    <a:pt x="668" y="180"/>
                  </a:lnTo>
                  <a:lnTo>
                    <a:pt x="668" y="182"/>
                  </a:lnTo>
                  <a:lnTo>
                    <a:pt x="672" y="182"/>
                  </a:lnTo>
                  <a:lnTo>
                    <a:pt x="676" y="186"/>
                  </a:lnTo>
                  <a:lnTo>
                    <a:pt x="676" y="190"/>
                  </a:lnTo>
                  <a:lnTo>
                    <a:pt x="672" y="194"/>
                  </a:lnTo>
                  <a:lnTo>
                    <a:pt x="672" y="198"/>
                  </a:lnTo>
                  <a:lnTo>
                    <a:pt x="672" y="194"/>
                  </a:lnTo>
                  <a:lnTo>
                    <a:pt x="676" y="194"/>
                  </a:lnTo>
                  <a:lnTo>
                    <a:pt x="678" y="190"/>
                  </a:lnTo>
                  <a:lnTo>
                    <a:pt x="682" y="190"/>
                  </a:lnTo>
                  <a:lnTo>
                    <a:pt x="686" y="190"/>
                  </a:lnTo>
                  <a:lnTo>
                    <a:pt x="690" y="190"/>
                  </a:lnTo>
                  <a:lnTo>
                    <a:pt x="694" y="190"/>
                  </a:lnTo>
                  <a:lnTo>
                    <a:pt x="694" y="186"/>
                  </a:lnTo>
                  <a:lnTo>
                    <a:pt x="698" y="186"/>
                  </a:lnTo>
                  <a:lnTo>
                    <a:pt x="702" y="186"/>
                  </a:lnTo>
                  <a:lnTo>
                    <a:pt x="706" y="186"/>
                  </a:lnTo>
                  <a:lnTo>
                    <a:pt x="708" y="190"/>
                  </a:lnTo>
                  <a:lnTo>
                    <a:pt x="712" y="190"/>
                  </a:lnTo>
                  <a:lnTo>
                    <a:pt x="716" y="190"/>
                  </a:lnTo>
                  <a:lnTo>
                    <a:pt x="716" y="194"/>
                  </a:lnTo>
                  <a:lnTo>
                    <a:pt x="712" y="194"/>
                  </a:lnTo>
                  <a:lnTo>
                    <a:pt x="708" y="194"/>
                  </a:lnTo>
                  <a:lnTo>
                    <a:pt x="706" y="194"/>
                  </a:lnTo>
                  <a:lnTo>
                    <a:pt x="702" y="194"/>
                  </a:lnTo>
                  <a:lnTo>
                    <a:pt x="706" y="194"/>
                  </a:lnTo>
                  <a:lnTo>
                    <a:pt x="708" y="194"/>
                  </a:lnTo>
                  <a:lnTo>
                    <a:pt x="712" y="194"/>
                  </a:lnTo>
                  <a:lnTo>
                    <a:pt x="716" y="194"/>
                  </a:lnTo>
                  <a:lnTo>
                    <a:pt x="716" y="198"/>
                  </a:lnTo>
                  <a:lnTo>
                    <a:pt x="720" y="198"/>
                  </a:lnTo>
                  <a:lnTo>
                    <a:pt x="724" y="198"/>
                  </a:lnTo>
                  <a:lnTo>
                    <a:pt x="728" y="198"/>
                  </a:lnTo>
                  <a:lnTo>
                    <a:pt x="732" y="198"/>
                  </a:lnTo>
                  <a:lnTo>
                    <a:pt x="734" y="202"/>
                  </a:lnTo>
                  <a:lnTo>
                    <a:pt x="732" y="202"/>
                  </a:lnTo>
                  <a:lnTo>
                    <a:pt x="728" y="202"/>
                  </a:lnTo>
                  <a:lnTo>
                    <a:pt x="724" y="202"/>
                  </a:lnTo>
                  <a:lnTo>
                    <a:pt x="716" y="202"/>
                  </a:lnTo>
                  <a:lnTo>
                    <a:pt x="720" y="202"/>
                  </a:lnTo>
                  <a:lnTo>
                    <a:pt x="716" y="202"/>
                  </a:lnTo>
                  <a:lnTo>
                    <a:pt x="712" y="202"/>
                  </a:lnTo>
                  <a:lnTo>
                    <a:pt x="708" y="202"/>
                  </a:lnTo>
                  <a:lnTo>
                    <a:pt x="706" y="202"/>
                  </a:lnTo>
                  <a:lnTo>
                    <a:pt x="702" y="202"/>
                  </a:lnTo>
                  <a:lnTo>
                    <a:pt x="702" y="198"/>
                  </a:lnTo>
                  <a:lnTo>
                    <a:pt x="698" y="198"/>
                  </a:lnTo>
                  <a:lnTo>
                    <a:pt x="698" y="202"/>
                  </a:lnTo>
                  <a:lnTo>
                    <a:pt x="702" y="202"/>
                  </a:lnTo>
                  <a:lnTo>
                    <a:pt x="706" y="202"/>
                  </a:lnTo>
                  <a:lnTo>
                    <a:pt x="708" y="202"/>
                  </a:lnTo>
                  <a:lnTo>
                    <a:pt x="712" y="206"/>
                  </a:lnTo>
                  <a:lnTo>
                    <a:pt x="708" y="206"/>
                  </a:lnTo>
                  <a:lnTo>
                    <a:pt x="712" y="206"/>
                  </a:lnTo>
                  <a:lnTo>
                    <a:pt x="716" y="206"/>
                  </a:lnTo>
                  <a:lnTo>
                    <a:pt x="720" y="206"/>
                  </a:lnTo>
                  <a:lnTo>
                    <a:pt x="716" y="206"/>
                  </a:lnTo>
                  <a:lnTo>
                    <a:pt x="712" y="206"/>
                  </a:lnTo>
                  <a:lnTo>
                    <a:pt x="708" y="206"/>
                  </a:lnTo>
                  <a:lnTo>
                    <a:pt x="706" y="206"/>
                  </a:lnTo>
                  <a:lnTo>
                    <a:pt x="708" y="208"/>
                  </a:lnTo>
                  <a:lnTo>
                    <a:pt x="706" y="208"/>
                  </a:lnTo>
                  <a:lnTo>
                    <a:pt x="706" y="212"/>
                  </a:lnTo>
                  <a:lnTo>
                    <a:pt x="706" y="208"/>
                  </a:lnTo>
                  <a:lnTo>
                    <a:pt x="708" y="208"/>
                  </a:lnTo>
                  <a:lnTo>
                    <a:pt x="708" y="206"/>
                  </a:lnTo>
                  <a:lnTo>
                    <a:pt x="712" y="206"/>
                  </a:lnTo>
                  <a:lnTo>
                    <a:pt x="712" y="208"/>
                  </a:lnTo>
                  <a:lnTo>
                    <a:pt x="716" y="208"/>
                  </a:lnTo>
                  <a:lnTo>
                    <a:pt x="712" y="208"/>
                  </a:lnTo>
                  <a:lnTo>
                    <a:pt x="716" y="208"/>
                  </a:lnTo>
                  <a:lnTo>
                    <a:pt x="720" y="208"/>
                  </a:lnTo>
                  <a:lnTo>
                    <a:pt x="720" y="206"/>
                  </a:lnTo>
                  <a:lnTo>
                    <a:pt x="724" y="206"/>
                  </a:lnTo>
                  <a:lnTo>
                    <a:pt x="724" y="208"/>
                  </a:lnTo>
                  <a:lnTo>
                    <a:pt x="728" y="208"/>
                  </a:lnTo>
                  <a:lnTo>
                    <a:pt x="724" y="212"/>
                  </a:lnTo>
                  <a:lnTo>
                    <a:pt x="728" y="212"/>
                  </a:lnTo>
                  <a:lnTo>
                    <a:pt x="728" y="208"/>
                  </a:lnTo>
                  <a:lnTo>
                    <a:pt x="732" y="212"/>
                  </a:lnTo>
                  <a:lnTo>
                    <a:pt x="734" y="212"/>
                  </a:lnTo>
                  <a:lnTo>
                    <a:pt x="732" y="216"/>
                  </a:lnTo>
                  <a:lnTo>
                    <a:pt x="728" y="216"/>
                  </a:lnTo>
                  <a:lnTo>
                    <a:pt x="724" y="220"/>
                  </a:lnTo>
                  <a:lnTo>
                    <a:pt x="728" y="216"/>
                  </a:lnTo>
                  <a:lnTo>
                    <a:pt x="728" y="220"/>
                  </a:lnTo>
                  <a:lnTo>
                    <a:pt x="728" y="216"/>
                  </a:lnTo>
                  <a:lnTo>
                    <a:pt x="732" y="216"/>
                  </a:lnTo>
                  <a:lnTo>
                    <a:pt x="734" y="220"/>
                  </a:lnTo>
                  <a:lnTo>
                    <a:pt x="734" y="224"/>
                  </a:lnTo>
                  <a:lnTo>
                    <a:pt x="738" y="224"/>
                  </a:lnTo>
                  <a:lnTo>
                    <a:pt x="738" y="220"/>
                  </a:lnTo>
                  <a:lnTo>
                    <a:pt x="738" y="216"/>
                  </a:lnTo>
                  <a:lnTo>
                    <a:pt x="742" y="216"/>
                  </a:lnTo>
                  <a:lnTo>
                    <a:pt x="746" y="216"/>
                  </a:lnTo>
                  <a:lnTo>
                    <a:pt x="746" y="220"/>
                  </a:lnTo>
                  <a:lnTo>
                    <a:pt x="748" y="220"/>
                  </a:lnTo>
                  <a:lnTo>
                    <a:pt x="752" y="220"/>
                  </a:lnTo>
                  <a:lnTo>
                    <a:pt x="756" y="220"/>
                  </a:lnTo>
                  <a:lnTo>
                    <a:pt x="756" y="216"/>
                  </a:lnTo>
                  <a:lnTo>
                    <a:pt x="760" y="216"/>
                  </a:lnTo>
                  <a:lnTo>
                    <a:pt x="764" y="216"/>
                  </a:lnTo>
                  <a:lnTo>
                    <a:pt x="764" y="220"/>
                  </a:lnTo>
                  <a:lnTo>
                    <a:pt x="768" y="220"/>
                  </a:lnTo>
                  <a:lnTo>
                    <a:pt x="772" y="220"/>
                  </a:lnTo>
                  <a:lnTo>
                    <a:pt x="772" y="224"/>
                  </a:lnTo>
                  <a:lnTo>
                    <a:pt x="768" y="224"/>
                  </a:lnTo>
                  <a:lnTo>
                    <a:pt x="772" y="224"/>
                  </a:lnTo>
                  <a:lnTo>
                    <a:pt x="776" y="224"/>
                  </a:lnTo>
                  <a:lnTo>
                    <a:pt x="778" y="224"/>
                  </a:lnTo>
                  <a:lnTo>
                    <a:pt x="782" y="224"/>
                  </a:lnTo>
                  <a:lnTo>
                    <a:pt x="778" y="220"/>
                  </a:lnTo>
                  <a:lnTo>
                    <a:pt x="776" y="220"/>
                  </a:lnTo>
                  <a:lnTo>
                    <a:pt x="778" y="220"/>
                  </a:lnTo>
                  <a:lnTo>
                    <a:pt x="782" y="220"/>
                  </a:lnTo>
                  <a:lnTo>
                    <a:pt x="786" y="220"/>
                  </a:lnTo>
                  <a:lnTo>
                    <a:pt x="790" y="216"/>
                  </a:lnTo>
                  <a:lnTo>
                    <a:pt x="794" y="216"/>
                  </a:lnTo>
                  <a:lnTo>
                    <a:pt x="798" y="216"/>
                  </a:lnTo>
                  <a:lnTo>
                    <a:pt x="802" y="216"/>
                  </a:lnTo>
                  <a:lnTo>
                    <a:pt x="806" y="212"/>
                  </a:lnTo>
                  <a:lnTo>
                    <a:pt x="808" y="212"/>
                  </a:lnTo>
                  <a:lnTo>
                    <a:pt x="812" y="212"/>
                  </a:lnTo>
                  <a:lnTo>
                    <a:pt x="816" y="212"/>
                  </a:lnTo>
                  <a:lnTo>
                    <a:pt x="820" y="212"/>
                  </a:lnTo>
                  <a:lnTo>
                    <a:pt x="824" y="212"/>
                  </a:lnTo>
                  <a:lnTo>
                    <a:pt x="828" y="212"/>
                  </a:lnTo>
                  <a:lnTo>
                    <a:pt x="832" y="212"/>
                  </a:lnTo>
                  <a:lnTo>
                    <a:pt x="834" y="212"/>
                  </a:lnTo>
                  <a:lnTo>
                    <a:pt x="838" y="212"/>
                  </a:lnTo>
                  <a:lnTo>
                    <a:pt x="842" y="212"/>
                  </a:lnTo>
                  <a:lnTo>
                    <a:pt x="846" y="212"/>
                  </a:lnTo>
                  <a:lnTo>
                    <a:pt x="846" y="216"/>
                  </a:lnTo>
                  <a:lnTo>
                    <a:pt x="850" y="216"/>
                  </a:lnTo>
                  <a:lnTo>
                    <a:pt x="854" y="216"/>
                  </a:lnTo>
                  <a:lnTo>
                    <a:pt x="858" y="216"/>
                  </a:lnTo>
                  <a:lnTo>
                    <a:pt x="862" y="216"/>
                  </a:lnTo>
                  <a:lnTo>
                    <a:pt x="864" y="220"/>
                  </a:lnTo>
                  <a:lnTo>
                    <a:pt x="862" y="220"/>
                  </a:lnTo>
                  <a:lnTo>
                    <a:pt x="858" y="220"/>
                  </a:lnTo>
                  <a:lnTo>
                    <a:pt x="862" y="220"/>
                  </a:lnTo>
                  <a:lnTo>
                    <a:pt x="864" y="220"/>
                  </a:lnTo>
                  <a:lnTo>
                    <a:pt x="868" y="220"/>
                  </a:lnTo>
                  <a:lnTo>
                    <a:pt x="868" y="224"/>
                  </a:lnTo>
                  <a:lnTo>
                    <a:pt x="868" y="228"/>
                  </a:lnTo>
                  <a:lnTo>
                    <a:pt x="872" y="228"/>
                  </a:lnTo>
                  <a:lnTo>
                    <a:pt x="868" y="228"/>
                  </a:lnTo>
                  <a:lnTo>
                    <a:pt x="864" y="232"/>
                  </a:lnTo>
                  <a:lnTo>
                    <a:pt x="864" y="228"/>
                  </a:lnTo>
                  <a:lnTo>
                    <a:pt x="864" y="232"/>
                  </a:lnTo>
                  <a:lnTo>
                    <a:pt x="862" y="232"/>
                  </a:lnTo>
                  <a:lnTo>
                    <a:pt x="858" y="232"/>
                  </a:lnTo>
                  <a:lnTo>
                    <a:pt x="858" y="236"/>
                  </a:lnTo>
                  <a:lnTo>
                    <a:pt x="858" y="236"/>
                  </a:lnTo>
                  <a:lnTo>
                    <a:pt x="858" y="236"/>
                  </a:lnTo>
                  <a:close/>
                  <a:moveTo>
                    <a:pt x="620" y="180"/>
                  </a:moveTo>
                  <a:lnTo>
                    <a:pt x="622" y="180"/>
                  </a:lnTo>
                  <a:lnTo>
                    <a:pt x="620" y="180"/>
                  </a:lnTo>
                  <a:lnTo>
                    <a:pt x="616" y="180"/>
                  </a:lnTo>
                  <a:lnTo>
                    <a:pt x="620" y="180"/>
                  </a:lnTo>
                  <a:lnTo>
                    <a:pt x="620" y="180"/>
                  </a:lnTo>
                  <a:lnTo>
                    <a:pt x="620" y="180"/>
                  </a:lnTo>
                  <a:close/>
                  <a:moveTo>
                    <a:pt x="380" y="186"/>
                  </a:moveTo>
                  <a:lnTo>
                    <a:pt x="374" y="186"/>
                  </a:lnTo>
                  <a:lnTo>
                    <a:pt x="370" y="186"/>
                  </a:lnTo>
                  <a:lnTo>
                    <a:pt x="370" y="182"/>
                  </a:lnTo>
                  <a:lnTo>
                    <a:pt x="374" y="182"/>
                  </a:lnTo>
                  <a:lnTo>
                    <a:pt x="378" y="182"/>
                  </a:lnTo>
                  <a:lnTo>
                    <a:pt x="380" y="182"/>
                  </a:lnTo>
                  <a:lnTo>
                    <a:pt x="384" y="182"/>
                  </a:lnTo>
                  <a:lnTo>
                    <a:pt x="388" y="182"/>
                  </a:lnTo>
                  <a:lnTo>
                    <a:pt x="388" y="186"/>
                  </a:lnTo>
                  <a:lnTo>
                    <a:pt x="384" y="186"/>
                  </a:lnTo>
                  <a:lnTo>
                    <a:pt x="380" y="186"/>
                  </a:lnTo>
                  <a:lnTo>
                    <a:pt x="380" y="186"/>
                  </a:lnTo>
                  <a:lnTo>
                    <a:pt x="380" y="186"/>
                  </a:lnTo>
                  <a:close/>
                  <a:moveTo>
                    <a:pt x="370" y="236"/>
                  </a:moveTo>
                  <a:lnTo>
                    <a:pt x="366" y="236"/>
                  </a:lnTo>
                  <a:lnTo>
                    <a:pt x="366" y="232"/>
                  </a:lnTo>
                  <a:lnTo>
                    <a:pt x="366" y="228"/>
                  </a:lnTo>
                  <a:lnTo>
                    <a:pt x="366" y="232"/>
                  </a:lnTo>
                  <a:lnTo>
                    <a:pt x="362" y="232"/>
                  </a:lnTo>
                  <a:lnTo>
                    <a:pt x="358" y="232"/>
                  </a:lnTo>
                  <a:lnTo>
                    <a:pt x="362" y="232"/>
                  </a:lnTo>
                  <a:lnTo>
                    <a:pt x="362" y="236"/>
                  </a:lnTo>
                  <a:lnTo>
                    <a:pt x="358" y="236"/>
                  </a:lnTo>
                  <a:lnTo>
                    <a:pt x="354" y="236"/>
                  </a:lnTo>
                  <a:lnTo>
                    <a:pt x="352" y="232"/>
                  </a:lnTo>
                  <a:lnTo>
                    <a:pt x="352" y="228"/>
                  </a:lnTo>
                  <a:lnTo>
                    <a:pt x="348" y="228"/>
                  </a:lnTo>
                  <a:lnTo>
                    <a:pt x="344" y="232"/>
                  </a:lnTo>
                  <a:lnTo>
                    <a:pt x="336" y="232"/>
                  </a:lnTo>
                  <a:lnTo>
                    <a:pt x="336" y="228"/>
                  </a:lnTo>
                  <a:lnTo>
                    <a:pt x="332" y="228"/>
                  </a:lnTo>
                  <a:lnTo>
                    <a:pt x="328" y="228"/>
                  </a:lnTo>
                  <a:lnTo>
                    <a:pt x="332" y="224"/>
                  </a:lnTo>
                  <a:lnTo>
                    <a:pt x="336" y="224"/>
                  </a:lnTo>
                  <a:lnTo>
                    <a:pt x="336" y="220"/>
                  </a:lnTo>
                  <a:lnTo>
                    <a:pt x="340" y="220"/>
                  </a:lnTo>
                  <a:lnTo>
                    <a:pt x="344" y="220"/>
                  </a:lnTo>
                  <a:lnTo>
                    <a:pt x="352" y="220"/>
                  </a:lnTo>
                  <a:lnTo>
                    <a:pt x="354" y="220"/>
                  </a:lnTo>
                  <a:lnTo>
                    <a:pt x="358" y="220"/>
                  </a:lnTo>
                  <a:lnTo>
                    <a:pt x="358" y="216"/>
                  </a:lnTo>
                  <a:lnTo>
                    <a:pt x="362" y="216"/>
                  </a:lnTo>
                  <a:lnTo>
                    <a:pt x="366" y="216"/>
                  </a:lnTo>
                  <a:lnTo>
                    <a:pt x="370" y="216"/>
                  </a:lnTo>
                  <a:lnTo>
                    <a:pt x="366" y="216"/>
                  </a:lnTo>
                  <a:lnTo>
                    <a:pt x="362" y="216"/>
                  </a:lnTo>
                  <a:lnTo>
                    <a:pt x="358" y="216"/>
                  </a:lnTo>
                  <a:lnTo>
                    <a:pt x="354" y="216"/>
                  </a:lnTo>
                  <a:lnTo>
                    <a:pt x="352" y="216"/>
                  </a:lnTo>
                  <a:lnTo>
                    <a:pt x="352" y="220"/>
                  </a:lnTo>
                  <a:lnTo>
                    <a:pt x="348" y="220"/>
                  </a:lnTo>
                  <a:lnTo>
                    <a:pt x="344" y="220"/>
                  </a:lnTo>
                  <a:lnTo>
                    <a:pt x="336" y="220"/>
                  </a:lnTo>
                  <a:lnTo>
                    <a:pt x="336" y="216"/>
                  </a:lnTo>
                  <a:lnTo>
                    <a:pt x="340" y="216"/>
                  </a:lnTo>
                  <a:lnTo>
                    <a:pt x="340" y="212"/>
                  </a:lnTo>
                  <a:lnTo>
                    <a:pt x="344" y="212"/>
                  </a:lnTo>
                  <a:lnTo>
                    <a:pt x="348" y="212"/>
                  </a:lnTo>
                  <a:lnTo>
                    <a:pt x="352" y="212"/>
                  </a:lnTo>
                  <a:lnTo>
                    <a:pt x="354" y="212"/>
                  </a:lnTo>
                  <a:lnTo>
                    <a:pt x="358" y="212"/>
                  </a:lnTo>
                  <a:lnTo>
                    <a:pt x="358" y="208"/>
                  </a:lnTo>
                  <a:lnTo>
                    <a:pt x="358" y="212"/>
                  </a:lnTo>
                  <a:lnTo>
                    <a:pt x="362" y="212"/>
                  </a:lnTo>
                  <a:lnTo>
                    <a:pt x="362" y="208"/>
                  </a:lnTo>
                  <a:lnTo>
                    <a:pt x="366" y="208"/>
                  </a:lnTo>
                  <a:lnTo>
                    <a:pt x="370" y="208"/>
                  </a:lnTo>
                  <a:lnTo>
                    <a:pt x="366" y="208"/>
                  </a:lnTo>
                  <a:lnTo>
                    <a:pt x="362" y="208"/>
                  </a:lnTo>
                  <a:lnTo>
                    <a:pt x="358" y="208"/>
                  </a:lnTo>
                  <a:lnTo>
                    <a:pt x="354" y="208"/>
                  </a:lnTo>
                  <a:lnTo>
                    <a:pt x="352" y="208"/>
                  </a:lnTo>
                  <a:lnTo>
                    <a:pt x="348" y="208"/>
                  </a:lnTo>
                  <a:lnTo>
                    <a:pt x="344" y="208"/>
                  </a:lnTo>
                  <a:lnTo>
                    <a:pt x="348" y="208"/>
                  </a:lnTo>
                  <a:lnTo>
                    <a:pt x="348" y="206"/>
                  </a:lnTo>
                  <a:lnTo>
                    <a:pt x="344" y="206"/>
                  </a:lnTo>
                  <a:lnTo>
                    <a:pt x="348" y="202"/>
                  </a:lnTo>
                  <a:lnTo>
                    <a:pt x="352" y="202"/>
                  </a:lnTo>
                  <a:lnTo>
                    <a:pt x="354" y="202"/>
                  </a:lnTo>
                  <a:lnTo>
                    <a:pt x="358" y="202"/>
                  </a:lnTo>
                  <a:lnTo>
                    <a:pt x="362" y="202"/>
                  </a:lnTo>
                  <a:lnTo>
                    <a:pt x="366" y="202"/>
                  </a:lnTo>
                  <a:lnTo>
                    <a:pt x="370" y="202"/>
                  </a:lnTo>
                  <a:lnTo>
                    <a:pt x="374" y="202"/>
                  </a:lnTo>
                  <a:lnTo>
                    <a:pt x="370" y="202"/>
                  </a:lnTo>
                  <a:lnTo>
                    <a:pt x="366" y="202"/>
                  </a:lnTo>
                  <a:lnTo>
                    <a:pt x="362" y="202"/>
                  </a:lnTo>
                  <a:lnTo>
                    <a:pt x="358" y="202"/>
                  </a:lnTo>
                  <a:lnTo>
                    <a:pt x="354" y="202"/>
                  </a:lnTo>
                  <a:lnTo>
                    <a:pt x="354" y="198"/>
                  </a:lnTo>
                  <a:lnTo>
                    <a:pt x="358" y="194"/>
                  </a:lnTo>
                  <a:lnTo>
                    <a:pt x="362" y="194"/>
                  </a:lnTo>
                  <a:lnTo>
                    <a:pt x="366" y="194"/>
                  </a:lnTo>
                  <a:lnTo>
                    <a:pt x="370" y="194"/>
                  </a:lnTo>
                  <a:lnTo>
                    <a:pt x="374" y="194"/>
                  </a:lnTo>
                  <a:lnTo>
                    <a:pt x="378" y="194"/>
                  </a:lnTo>
                  <a:lnTo>
                    <a:pt x="380" y="194"/>
                  </a:lnTo>
                  <a:lnTo>
                    <a:pt x="380" y="198"/>
                  </a:lnTo>
                  <a:lnTo>
                    <a:pt x="380" y="202"/>
                  </a:lnTo>
                  <a:lnTo>
                    <a:pt x="384" y="202"/>
                  </a:lnTo>
                  <a:lnTo>
                    <a:pt x="388" y="202"/>
                  </a:lnTo>
                  <a:lnTo>
                    <a:pt x="392" y="198"/>
                  </a:lnTo>
                  <a:lnTo>
                    <a:pt x="396" y="198"/>
                  </a:lnTo>
                  <a:lnTo>
                    <a:pt x="400" y="198"/>
                  </a:lnTo>
                  <a:lnTo>
                    <a:pt x="400" y="202"/>
                  </a:lnTo>
                  <a:lnTo>
                    <a:pt x="404" y="202"/>
                  </a:lnTo>
                  <a:lnTo>
                    <a:pt x="404" y="206"/>
                  </a:lnTo>
                  <a:lnTo>
                    <a:pt x="408" y="206"/>
                  </a:lnTo>
                  <a:lnTo>
                    <a:pt x="410" y="206"/>
                  </a:lnTo>
                  <a:lnTo>
                    <a:pt x="410" y="208"/>
                  </a:lnTo>
                  <a:lnTo>
                    <a:pt x="414" y="208"/>
                  </a:lnTo>
                  <a:lnTo>
                    <a:pt x="410" y="208"/>
                  </a:lnTo>
                  <a:lnTo>
                    <a:pt x="408" y="208"/>
                  </a:lnTo>
                  <a:lnTo>
                    <a:pt x="408" y="212"/>
                  </a:lnTo>
                  <a:lnTo>
                    <a:pt x="410" y="212"/>
                  </a:lnTo>
                  <a:lnTo>
                    <a:pt x="414" y="212"/>
                  </a:lnTo>
                  <a:lnTo>
                    <a:pt x="418" y="212"/>
                  </a:lnTo>
                  <a:lnTo>
                    <a:pt x="418" y="216"/>
                  </a:lnTo>
                  <a:lnTo>
                    <a:pt x="418" y="220"/>
                  </a:lnTo>
                  <a:lnTo>
                    <a:pt x="422" y="220"/>
                  </a:lnTo>
                  <a:lnTo>
                    <a:pt x="424" y="220"/>
                  </a:lnTo>
                  <a:lnTo>
                    <a:pt x="428" y="220"/>
                  </a:lnTo>
                  <a:lnTo>
                    <a:pt x="432" y="220"/>
                  </a:lnTo>
                  <a:lnTo>
                    <a:pt x="436" y="220"/>
                  </a:lnTo>
                  <a:lnTo>
                    <a:pt x="440" y="220"/>
                  </a:lnTo>
                  <a:lnTo>
                    <a:pt x="444" y="220"/>
                  </a:lnTo>
                  <a:lnTo>
                    <a:pt x="448" y="220"/>
                  </a:lnTo>
                  <a:lnTo>
                    <a:pt x="450" y="220"/>
                  </a:lnTo>
                  <a:lnTo>
                    <a:pt x="454" y="220"/>
                  </a:lnTo>
                  <a:lnTo>
                    <a:pt x="454" y="216"/>
                  </a:lnTo>
                  <a:lnTo>
                    <a:pt x="450" y="212"/>
                  </a:lnTo>
                  <a:lnTo>
                    <a:pt x="448" y="212"/>
                  </a:lnTo>
                  <a:lnTo>
                    <a:pt x="444" y="212"/>
                  </a:lnTo>
                  <a:lnTo>
                    <a:pt x="444" y="208"/>
                  </a:lnTo>
                  <a:lnTo>
                    <a:pt x="440" y="208"/>
                  </a:lnTo>
                  <a:lnTo>
                    <a:pt x="436" y="208"/>
                  </a:lnTo>
                  <a:lnTo>
                    <a:pt x="440" y="208"/>
                  </a:lnTo>
                  <a:lnTo>
                    <a:pt x="444" y="208"/>
                  </a:lnTo>
                  <a:lnTo>
                    <a:pt x="448" y="206"/>
                  </a:lnTo>
                  <a:lnTo>
                    <a:pt x="448" y="202"/>
                  </a:lnTo>
                  <a:lnTo>
                    <a:pt x="444" y="202"/>
                  </a:lnTo>
                  <a:lnTo>
                    <a:pt x="440" y="202"/>
                  </a:lnTo>
                  <a:lnTo>
                    <a:pt x="436" y="202"/>
                  </a:lnTo>
                  <a:lnTo>
                    <a:pt x="436" y="198"/>
                  </a:lnTo>
                  <a:lnTo>
                    <a:pt x="432" y="198"/>
                  </a:lnTo>
                  <a:lnTo>
                    <a:pt x="432" y="194"/>
                  </a:lnTo>
                  <a:lnTo>
                    <a:pt x="436" y="194"/>
                  </a:lnTo>
                  <a:lnTo>
                    <a:pt x="440" y="194"/>
                  </a:lnTo>
                  <a:lnTo>
                    <a:pt x="444" y="194"/>
                  </a:lnTo>
                  <a:lnTo>
                    <a:pt x="444" y="190"/>
                  </a:lnTo>
                  <a:lnTo>
                    <a:pt x="440" y="190"/>
                  </a:lnTo>
                  <a:lnTo>
                    <a:pt x="444" y="190"/>
                  </a:lnTo>
                  <a:lnTo>
                    <a:pt x="444" y="186"/>
                  </a:lnTo>
                  <a:lnTo>
                    <a:pt x="448" y="182"/>
                  </a:lnTo>
                  <a:lnTo>
                    <a:pt x="450" y="182"/>
                  </a:lnTo>
                  <a:lnTo>
                    <a:pt x="454" y="182"/>
                  </a:lnTo>
                  <a:lnTo>
                    <a:pt x="458" y="182"/>
                  </a:lnTo>
                  <a:lnTo>
                    <a:pt x="458" y="186"/>
                  </a:lnTo>
                  <a:lnTo>
                    <a:pt x="458" y="190"/>
                  </a:lnTo>
                  <a:lnTo>
                    <a:pt x="454" y="190"/>
                  </a:lnTo>
                  <a:lnTo>
                    <a:pt x="458" y="190"/>
                  </a:lnTo>
                  <a:lnTo>
                    <a:pt x="458" y="194"/>
                  </a:lnTo>
                  <a:lnTo>
                    <a:pt x="462" y="194"/>
                  </a:lnTo>
                  <a:lnTo>
                    <a:pt x="462" y="198"/>
                  </a:lnTo>
                  <a:lnTo>
                    <a:pt x="466" y="198"/>
                  </a:lnTo>
                  <a:lnTo>
                    <a:pt x="462" y="202"/>
                  </a:lnTo>
                  <a:lnTo>
                    <a:pt x="462" y="206"/>
                  </a:lnTo>
                  <a:lnTo>
                    <a:pt x="466" y="206"/>
                  </a:lnTo>
                  <a:lnTo>
                    <a:pt x="470" y="206"/>
                  </a:lnTo>
                  <a:lnTo>
                    <a:pt x="474" y="206"/>
                  </a:lnTo>
                  <a:lnTo>
                    <a:pt x="470" y="208"/>
                  </a:lnTo>
                  <a:lnTo>
                    <a:pt x="466" y="208"/>
                  </a:lnTo>
                  <a:lnTo>
                    <a:pt x="466" y="212"/>
                  </a:lnTo>
                  <a:lnTo>
                    <a:pt x="470" y="212"/>
                  </a:lnTo>
                  <a:lnTo>
                    <a:pt x="470" y="208"/>
                  </a:lnTo>
                  <a:lnTo>
                    <a:pt x="474" y="208"/>
                  </a:lnTo>
                  <a:lnTo>
                    <a:pt x="478" y="208"/>
                  </a:lnTo>
                  <a:lnTo>
                    <a:pt x="480" y="208"/>
                  </a:lnTo>
                  <a:lnTo>
                    <a:pt x="480" y="212"/>
                  </a:lnTo>
                  <a:lnTo>
                    <a:pt x="484" y="212"/>
                  </a:lnTo>
                  <a:lnTo>
                    <a:pt x="480" y="212"/>
                  </a:lnTo>
                  <a:lnTo>
                    <a:pt x="480" y="208"/>
                  </a:lnTo>
                  <a:lnTo>
                    <a:pt x="484" y="206"/>
                  </a:lnTo>
                  <a:lnTo>
                    <a:pt x="488" y="206"/>
                  </a:lnTo>
                  <a:lnTo>
                    <a:pt x="492" y="206"/>
                  </a:lnTo>
                  <a:lnTo>
                    <a:pt x="496" y="206"/>
                  </a:lnTo>
                  <a:lnTo>
                    <a:pt x="500" y="208"/>
                  </a:lnTo>
                  <a:lnTo>
                    <a:pt x="504" y="208"/>
                  </a:lnTo>
                  <a:lnTo>
                    <a:pt x="504" y="212"/>
                  </a:lnTo>
                  <a:lnTo>
                    <a:pt x="504" y="216"/>
                  </a:lnTo>
                  <a:lnTo>
                    <a:pt x="504" y="220"/>
                  </a:lnTo>
                  <a:lnTo>
                    <a:pt x="500" y="220"/>
                  </a:lnTo>
                  <a:lnTo>
                    <a:pt x="500" y="224"/>
                  </a:lnTo>
                  <a:lnTo>
                    <a:pt x="500" y="228"/>
                  </a:lnTo>
                  <a:lnTo>
                    <a:pt x="496" y="228"/>
                  </a:lnTo>
                  <a:lnTo>
                    <a:pt x="496" y="232"/>
                  </a:lnTo>
                  <a:lnTo>
                    <a:pt x="492" y="232"/>
                  </a:lnTo>
                  <a:lnTo>
                    <a:pt x="496" y="232"/>
                  </a:lnTo>
                  <a:lnTo>
                    <a:pt x="492" y="236"/>
                  </a:lnTo>
                  <a:lnTo>
                    <a:pt x="488" y="236"/>
                  </a:lnTo>
                  <a:lnTo>
                    <a:pt x="484" y="236"/>
                  </a:lnTo>
                  <a:lnTo>
                    <a:pt x="480" y="236"/>
                  </a:lnTo>
                  <a:lnTo>
                    <a:pt x="478" y="236"/>
                  </a:lnTo>
                  <a:lnTo>
                    <a:pt x="474" y="236"/>
                  </a:lnTo>
                  <a:lnTo>
                    <a:pt x="470" y="236"/>
                  </a:lnTo>
                  <a:lnTo>
                    <a:pt x="470" y="232"/>
                  </a:lnTo>
                  <a:lnTo>
                    <a:pt x="470" y="236"/>
                  </a:lnTo>
                  <a:lnTo>
                    <a:pt x="466" y="236"/>
                  </a:lnTo>
                  <a:lnTo>
                    <a:pt x="462" y="236"/>
                  </a:lnTo>
                  <a:lnTo>
                    <a:pt x="458" y="236"/>
                  </a:lnTo>
                  <a:lnTo>
                    <a:pt x="454" y="236"/>
                  </a:lnTo>
                  <a:lnTo>
                    <a:pt x="458" y="236"/>
                  </a:lnTo>
                  <a:lnTo>
                    <a:pt x="458" y="232"/>
                  </a:lnTo>
                  <a:lnTo>
                    <a:pt x="454" y="232"/>
                  </a:lnTo>
                  <a:lnTo>
                    <a:pt x="450" y="236"/>
                  </a:lnTo>
                  <a:lnTo>
                    <a:pt x="448" y="236"/>
                  </a:lnTo>
                  <a:lnTo>
                    <a:pt x="444" y="238"/>
                  </a:lnTo>
                  <a:lnTo>
                    <a:pt x="440" y="238"/>
                  </a:lnTo>
                  <a:lnTo>
                    <a:pt x="436" y="238"/>
                  </a:lnTo>
                  <a:lnTo>
                    <a:pt x="432" y="238"/>
                  </a:lnTo>
                  <a:lnTo>
                    <a:pt x="428" y="238"/>
                  </a:lnTo>
                  <a:lnTo>
                    <a:pt x="428" y="242"/>
                  </a:lnTo>
                  <a:lnTo>
                    <a:pt x="424" y="242"/>
                  </a:lnTo>
                  <a:lnTo>
                    <a:pt x="422" y="246"/>
                  </a:lnTo>
                  <a:lnTo>
                    <a:pt x="418" y="246"/>
                  </a:lnTo>
                  <a:lnTo>
                    <a:pt x="414" y="246"/>
                  </a:lnTo>
                  <a:lnTo>
                    <a:pt x="410" y="250"/>
                  </a:lnTo>
                  <a:lnTo>
                    <a:pt x="408" y="250"/>
                  </a:lnTo>
                  <a:lnTo>
                    <a:pt x="404" y="250"/>
                  </a:lnTo>
                  <a:lnTo>
                    <a:pt x="400" y="250"/>
                  </a:lnTo>
                  <a:lnTo>
                    <a:pt x="396" y="250"/>
                  </a:lnTo>
                  <a:lnTo>
                    <a:pt x="392" y="250"/>
                  </a:lnTo>
                  <a:lnTo>
                    <a:pt x="388" y="250"/>
                  </a:lnTo>
                  <a:lnTo>
                    <a:pt x="384" y="246"/>
                  </a:lnTo>
                  <a:lnTo>
                    <a:pt x="380" y="246"/>
                  </a:lnTo>
                  <a:lnTo>
                    <a:pt x="378" y="246"/>
                  </a:lnTo>
                  <a:lnTo>
                    <a:pt x="378" y="242"/>
                  </a:lnTo>
                  <a:lnTo>
                    <a:pt x="380" y="238"/>
                  </a:lnTo>
                  <a:lnTo>
                    <a:pt x="384" y="238"/>
                  </a:lnTo>
                  <a:lnTo>
                    <a:pt x="388" y="238"/>
                  </a:lnTo>
                  <a:lnTo>
                    <a:pt x="392" y="238"/>
                  </a:lnTo>
                  <a:lnTo>
                    <a:pt x="392" y="236"/>
                  </a:lnTo>
                  <a:lnTo>
                    <a:pt x="396" y="236"/>
                  </a:lnTo>
                  <a:lnTo>
                    <a:pt x="400" y="236"/>
                  </a:lnTo>
                  <a:lnTo>
                    <a:pt x="404" y="236"/>
                  </a:lnTo>
                  <a:lnTo>
                    <a:pt x="408" y="236"/>
                  </a:lnTo>
                  <a:lnTo>
                    <a:pt x="410" y="236"/>
                  </a:lnTo>
                  <a:lnTo>
                    <a:pt x="414" y="236"/>
                  </a:lnTo>
                  <a:lnTo>
                    <a:pt x="418" y="236"/>
                  </a:lnTo>
                  <a:lnTo>
                    <a:pt x="422" y="232"/>
                  </a:lnTo>
                  <a:lnTo>
                    <a:pt x="424" y="228"/>
                  </a:lnTo>
                  <a:lnTo>
                    <a:pt x="422" y="228"/>
                  </a:lnTo>
                  <a:lnTo>
                    <a:pt x="418" y="228"/>
                  </a:lnTo>
                  <a:lnTo>
                    <a:pt x="418" y="232"/>
                  </a:lnTo>
                  <a:lnTo>
                    <a:pt x="414" y="232"/>
                  </a:lnTo>
                  <a:lnTo>
                    <a:pt x="414" y="228"/>
                  </a:lnTo>
                  <a:lnTo>
                    <a:pt x="410" y="232"/>
                  </a:lnTo>
                  <a:lnTo>
                    <a:pt x="408" y="232"/>
                  </a:lnTo>
                  <a:lnTo>
                    <a:pt x="404" y="232"/>
                  </a:lnTo>
                  <a:lnTo>
                    <a:pt x="408" y="228"/>
                  </a:lnTo>
                  <a:lnTo>
                    <a:pt x="404" y="228"/>
                  </a:lnTo>
                  <a:lnTo>
                    <a:pt x="400" y="228"/>
                  </a:lnTo>
                  <a:lnTo>
                    <a:pt x="400" y="232"/>
                  </a:lnTo>
                  <a:lnTo>
                    <a:pt x="396" y="232"/>
                  </a:lnTo>
                  <a:lnTo>
                    <a:pt x="392" y="232"/>
                  </a:lnTo>
                  <a:lnTo>
                    <a:pt x="388" y="232"/>
                  </a:lnTo>
                  <a:lnTo>
                    <a:pt x="384" y="232"/>
                  </a:lnTo>
                  <a:lnTo>
                    <a:pt x="380" y="232"/>
                  </a:lnTo>
                  <a:lnTo>
                    <a:pt x="384" y="228"/>
                  </a:lnTo>
                  <a:lnTo>
                    <a:pt x="384" y="224"/>
                  </a:lnTo>
                  <a:lnTo>
                    <a:pt x="388" y="224"/>
                  </a:lnTo>
                  <a:lnTo>
                    <a:pt x="392" y="224"/>
                  </a:lnTo>
                  <a:lnTo>
                    <a:pt x="388" y="224"/>
                  </a:lnTo>
                  <a:lnTo>
                    <a:pt x="384" y="224"/>
                  </a:lnTo>
                  <a:lnTo>
                    <a:pt x="380" y="224"/>
                  </a:lnTo>
                  <a:lnTo>
                    <a:pt x="380" y="220"/>
                  </a:lnTo>
                  <a:lnTo>
                    <a:pt x="380" y="224"/>
                  </a:lnTo>
                  <a:lnTo>
                    <a:pt x="380" y="228"/>
                  </a:lnTo>
                  <a:lnTo>
                    <a:pt x="378" y="228"/>
                  </a:lnTo>
                  <a:lnTo>
                    <a:pt x="374" y="224"/>
                  </a:lnTo>
                  <a:lnTo>
                    <a:pt x="374" y="228"/>
                  </a:lnTo>
                  <a:lnTo>
                    <a:pt x="378" y="228"/>
                  </a:lnTo>
                  <a:lnTo>
                    <a:pt x="378" y="232"/>
                  </a:lnTo>
                  <a:lnTo>
                    <a:pt x="374" y="232"/>
                  </a:lnTo>
                  <a:lnTo>
                    <a:pt x="374" y="236"/>
                  </a:lnTo>
                  <a:lnTo>
                    <a:pt x="370" y="236"/>
                  </a:lnTo>
                  <a:lnTo>
                    <a:pt x="370" y="236"/>
                  </a:lnTo>
                  <a:lnTo>
                    <a:pt x="370" y="236"/>
                  </a:lnTo>
                  <a:close/>
                  <a:moveTo>
                    <a:pt x="724" y="194"/>
                  </a:moveTo>
                  <a:lnTo>
                    <a:pt x="720" y="194"/>
                  </a:lnTo>
                  <a:lnTo>
                    <a:pt x="720" y="190"/>
                  </a:lnTo>
                  <a:lnTo>
                    <a:pt x="716" y="190"/>
                  </a:lnTo>
                  <a:lnTo>
                    <a:pt x="716" y="186"/>
                  </a:lnTo>
                  <a:lnTo>
                    <a:pt x="712" y="186"/>
                  </a:lnTo>
                  <a:lnTo>
                    <a:pt x="716" y="186"/>
                  </a:lnTo>
                  <a:lnTo>
                    <a:pt x="716" y="182"/>
                  </a:lnTo>
                  <a:lnTo>
                    <a:pt x="720" y="182"/>
                  </a:lnTo>
                  <a:lnTo>
                    <a:pt x="724" y="182"/>
                  </a:lnTo>
                  <a:lnTo>
                    <a:pt x="724" y="186"/>
                  </a:lnTo>
                  <a:lnTo>
                    <a:pt x="728" y="186"/>
                  </a:lnTo>
                  <a:lnTo>
                    <a:pt x="724" y="186"/>
                  </a:lnTo>
                  <a:lnTo>
                    <a:pt x="724" y="190"/>
                  </a:lnTo>
                  <a:lnTo>
                    <a:pt x="724" y="194"/>
                  </a:lnTo>
                  <a:lnTo>
                    <a:pt x="728" y="194"/>
                  </a:lnTo>
                  <a:lnTo>
                    <a:pt x="724" y="194"/>
                  </a:lnTo>
                  <a:lnTo>
                    <a:pt x="724" y="194"/>
                  </a:lnTo>
                  <a:lnTo>
                    <a:pt x="724" y="194"/>
                  </a:lnTo>
                  <a:close/>
                  <a:moveTo>
                    <a:pt x="574" y="186"/>
                  </a:moveTo>
                  <a:lnTo>
                    <a:pt x="570" y="190"/>
                  </a:lnTo>
                  <a:lnTo>
                    <a:pt x="566" y="190"/>
                  </a:lnTo>
                  <a:lnTo>
                    <a:pt x="564" y="190"/>
                  </a:lnTo>
                  <a:lnTo>
                    <a:pt x="560" y="190"/>
                  </a:lnTo>
                  <a:lnTo>
                    <a:pt x="556" y="190"/>
                  </a:lnTo>
                  <a:lnTo>
                    <a:pt x="560" y="190"/>
                  </a:lnTo>
                  <a:lnTo>
                    <a:pt x="564" y="190"/>
                  </a:lnTo>
                  <a:lnTo>
                    <a:pt x="564" y="186"/>
                  </a:lnTo>
                  <a:lnTo>
                    <a:pt x="566" y="186"/>
                  </a:lnTo>
                  <a:lnTo>
                    <a:pt x="570" y="186"/>
                  </a:lnTo>
                  <a:lnTo>
                    <a:pt x="574" y="186"/>
                  </a:lnTo>
                  <a:lnTo>
                    <a:pt x="578" y="186"/>
                  </a:lnTo>
                  <a:lnTo>
                    <a:pt x="574" y="186"/>
                  </a:lnTo>
                  <a:lnTo>
                    <a:pt x="574" y="186"/>
                  </a:lnTo>
                  <a:lnTo>
                    <a:pt x="574" y="186"/>
                  </a:lnTo>
                  <a:close/>
                  <a:moveTo>
                    <a:pt x="586" y="186"/>
                  </a:moveTo>
                  <a:lnTo>
                    <a:pt x="590" y="186"/>
                  </a:lnTo>
                  <a:lnTo>
                    <a:pt x="586" y="186"/>
                  </a:lnTo>
                  <a:lnTo>
                    <a:pt x="582" y="186"/>
                  </a:lnTo>
                  <a:lnTo>
                    <a:pt x="578" y="186"/>
                  </a:lnTo>
                  <a:lnTo>
                    <a:pt x="582" y="186"/>
                  </a:lnTo>
                  <a:lnTo>
                    <a:pt x="586" y="186"/>
                  </a:lnTo>
                  <a:lnTo>
                    <a:pt x="586" y="186"/>
                  </a:lnTo>
                  <a:lnTo>
                    <a:pt x="586" y="186"/>
                  </a:lnTo>
                  <a:close/>
                  <a:moveTo>
                    <a:pt x="586" y="236"/>
                  </a:moveTo>
                  <a:lnTo>
                    <a:pt x="582" y="236"/>
                  </a:lnTo>
                  <a:lnTo>
                    <a:pt x="578" y="236"/>
                  </a:lnTo>
                  <a:lnTo>
                    <a:pt x="574" y="236"/>
                  </a:lnTo>
                  <a:lnTo>
                    <a:pt x="574" y="232"/>
                  </a:lnTo>
                  <a:lnTo>
                    <a:pt x="574" y="228"/>
                  </a:lnTo>
                  <a:lnTo>
                    <a:pt x="570" y="228"/>
                  </a:lnTo>
                  <a:lnTo>
                    <a:pt x="574" y="228"/>
                  </a:lnTo>
                  <a:lnTo>
                    <a:pt x="578" y="228"/>
                  </a:lnTo>
                  <a:lnTo>
                    <a:pt x="582" y="228"/>
                  </a:lnTo>
                  <a:lnTo>
                    <a:pt x="578" y="228"/>
                  </a:lnTo>
                  <a:lnTo>
                    <a:pt x="574" y="228"/>
                  </a:lnTo>
                  <a:lnTo>
                    <a:pt x="578" y="224"/>
                  </a:lnTo>
                  <a:lnTo>
                    <a:pt x="574" y="224"/>
                  </a:lnTo>
                  <a:lnTo>
                    <a:pt x="574" y="228"/>
                  </a:lnTo>
                  <a:lnTo>
                    <a:pt x="570" y="224"/>
                  </a:lnTo>
                  <a:lnTo>
                    <a:pt x="574" y="224"/>
                  </a:lnTo>
                  <a:lnTo>
                    <a:pt x="570" y="224"/>
                  </a:lnTo>
                  <a:lnTo>
                    <a:pt x="574" y="220"/>
                  </a:lnTo>
                  <a:lnTo>
                    <a:pt x="578" y="220"/>
                  </a:lnTo>
                  <a:lnTo>
                    <a:pt x="574" y="220"/>
                  </a:lnTo>
                  <a:lnTo>
                    <a:pt x="578" y="220"/>
                  </a:lnTo>
                  <a:lnTo>
                    <a:pt x="582" y="220"/>
                  </a:lnTo>
                  <a:lnTo>
                    <a:pt x="578" y="220"/>
                  </a:lnTo>
                  <a:lnTo>
                    <a:pt x="582" y="216"/>
                  </a:lnTo>
                  <a:lnTo>
                    <a:pt x="586" y="216"/>
                  </a:lnTo>
                  <a:lnTo>
                    <a:pt x="582" y="216"/>
                  </a:lnTo>
                  <a:lnTo>
                    <a:pt x="590" y="216"/>
                  </a:lnTo>
                  <a:lnTo>
                    <a:pt x="592" y="216"/>
                  </a:lnTo>
                  <a:lnTo>
                    <a:pt x="596" y="216"/>
                  </a:lnTo>
                  <a:lnTo>
                    <a:pt x="592" y="216"/>
                  </a:lnTo>
                  <a:lnTo>
                    <a:pt x="590" y="216"/>
                  </a:lnTo>
                  <a:lnTo>
                    <a:pt x="586" y="216"/>
                  </a:lnTo>
                  <a:lnTo>
                    <a:pt x="582" y="216"/>
                  </a:lnTo>
                  <a:lnTo>
                    <a:pt x="578" y="216"/>
                  </a:lnTo>
                  <a:lnTo>
                    <a:pt x="574" y="216"/>
                  </a:lnTo>
                  <a:lnTo>
                    <a:pt x="570" y="216"/>
                  </a:lnTo>
                  <a:lnTo>
                    <a:pt x="566" y="216"/>
                  </a:lnTo>
                  <a:lnTo>
                    <a:pt x="564" y="216"/>
                  </a:lnTo>
                  <a:lnTo>
                    <a:pt x="560" y="216"/>
                  </a:lnTo>
                  <a:lnTo>
                    <a:pt x="556" y="220"/>
                  </a:lnTo>
                  <a:lnTo>
                    <a:pt x="552" y="220"/>
                  </a:lnTo>
                  <a:lnTo>
                    <a:pt x="548" y="220"/>
                  </a:lnTo>
                  <a:lnTo>
                    <a:pt x="544" y="220"/>
                  </a:lnTo>
                  <a:lnTo>
                    <a:pt x="540" y="220"/>
                  </a:lnTo>
                  <a:lnTo>
                    <a:pt x="540" y="216"/>
                  </a:lnTo>
                  <a:lnTo>
                    <a:pt x="544" y="212"/>
                  </a:lnTo>
                  <a:lnTo>
                    <a:pt x="548" y="212"/>
                  </a:lnTo>
                  <a:lnTo>
                    <a:pt x="548" y="216"/>
                  </a:lnTo>
                  <a:lnTo>
                    <a:pt x="552" y="216"/>
                  </a:lnTo>
                  <a:lnTo>
                    <a:pt x="552" y="212"/>
                  </a:lnTo>
                  <a:lnTo>
                    <a:pt x="548" y="212"/>
                  </a:lnTo>
                  <a:lnTo>
                    <a:pt x="548" y="208"/>
                  </a:lnTo>
                  <a:lnTo>
                    <a:pt x="552" y="208"/>
                  </a:lnTo>
                  <a:lnTo>
                    <a:pt x="556" y="208"/>
                  </a:lnTo>
                  <a:lnTo>
                    <a:pt x="560" y="212"/>
                  </a:lnTo>
                  <a:lnTo>
                    <a:pt x="564" y="212"/>
                  </a:lnTo>
                  <a:lnTo>
                    <a:pt x="560" y="212"/>
                  </a:lnTo>
                  <a:lnTo>
                    <a:pt x="560" y="208"/>
                  </a:lnTo>
                  <a:lnTo>
                    <a:pt x="564" y="206"/>
                  </a:lnTo>
                  <a:lnTo>
                    <a:pt x="560" y="206"/>
                  </a:lnTo>
                  <a:lnTo>
                    <a:pt x="556" y="208"/>
                  </a:lnTo>
                  <a:lnTo>
                    <a:pt x="556" y="206"/>
                  </a:lnTo>
                  <a:lnTo>
                    <a:pt x="552" y="206"/>
                  </a:lnTo>
                  <a:lnTo>
                    <a:pt x="556" y="202"/>
                  </a:lnTo>
                  <a:lnTo>
                    <a:pt x="560" y="202"/>
                  </a:lnTo>
                  <a:lnTo>
                    <a:pt x="556" y="202"/>
                  </a:lnTo>
                  <a:lnTo>
                    <a:pt x="552" y="202"/>
                  </a:lnTo>
                  <a:lnTo>
                    <a:pt x="548" y="202"/>
                  </a:lnTo>
                  <a:lnTo>
                    <a:pt x="552" y="202"/>
                  </a:lnTo>
                  <a:lnTo>
                    <a:pt x="552" y="198"/>
                  </a:lnTo>
                  <a:lnTo>
                    <a:pt x="552" y="194"/>
                  </a:lnTo>
                  <a:lnTo>
                    <a:pt x="556" y="194"/>
                  </a:lnTo>
                  <a:lnTo>
                    <a:pt x="560" y="194"/>
                  </a:lnTo>
                  <a:lnTo>
                    <a:pt x="564" y="194"/>
                  </a:lnTo>
                  <a:lnTo>
                    <a:pt x="564" y="198"/>
                  </a:lnTo>
                  <a:lnTo>
                    <a:pt x="566" y="202"/>
                  </a:lnTo>
                  <a:lnTo>
                    <a:pt x="570" y="202"/>
                  </a:lnTo>
                  <a:lnTo>
                    <a:pt x="574" y="206"/>
                  </a:lnTo>
                  <a:lnTo>
                    <a:pt x="578" y="208"/>
                  </a:lnTo>
                  <a:lnTo>
                    <a:pt x="582" y="208"/>
                  </a:lnTo>
                  <a:lnTo>
                    <a:pt x="586" y="208"/>
                  </a:lnTo>
                  <a:lnTo>
                    <a:pt x="590" y="208"/>
                  </a:lnTo>
                  <a:lnTo>
                    <a:pt x="586" y="208"/>
                  </a:lnTo>
                  <a:lnTo>
                    <a:pt x="582" y="208"/>
                  </a:lnTo>
                  <a:lnTo>
                    <a:pt x="578" y="206"/>
                  </a:lnTo>
                  <a:lnTo>
                    <a:pt x="578" y="202"/>
                  </a:lnTo>
                  <a:lnTo>
                    <a:pt x="582" y="202"/>
                  </a:lnTo>
                  <a:lnTo>
                    <a:pt x="586" y="206"/>
                  </a:lnTo>
                  <a:lnTo>
                    <a:pt x="586" y="202"/>
                  </a:lnTo>
                  <a:lnTo>
                    <a:pt x="590" y="202"/>
                  </a:lnTo>
                  <a:lnTo>
                    <a:pt x="586" y="202"/>
                  </a:lnTo>
                  <a:lnTo>
                    <a:pt x="582" y="202"/>
                  </a:lnTo>
                  <a:lnTo>
                    <a:pt x="578" y="202"/>
                  </a:lnTo>
                  <a:lnTo>
                    <a:pt x="574" y="202"/>
                  </a:lnTo>
                  <a:lnTo>
                    <a:pt x="574" y="198"/>
                  </a:lnTo>
                  <a:lnTo>
                    <a:pt x="578" y="198"/>
                  </a:lnTo>
                  <a:lnTo>
                    <a:pt x="582" y="198"/>
                  </a:lnTo>
                  <a:lnTo>
                    <a:pt x="578" y="198"/>
                  </a:lnTo>
                  <a:lnTo>
                    <a:pt x="574" y="198"/>
                  </a:lnTo>
                  <a:lnTo>
                    <a:pt x="570" y="198"/>
                  </a:lnTo>
                  <a:lnTo>
                    <a:pt x="566" y="194"/>
                  </a:lnTo>
                  <a:lnTo>
                    <a:pt x="570" y="190"/>
                  </a:lnTo>
                  <a:lnTo>
                    <a:pt x="574" y="190"/>
                  </a:lnTo>
                  <a:lnTo>
                    <a:pt x="578" y="190"/>
                  </a:lnTo>
                  <a:lnTo>
                    <a:pt x="582" y="190"/>
                  </a:lnTo>
                  <a:lnTo>
                    <a:pt x="586" y="190"/>
                  </a:lnTo>
                  <a:lnTo>
                    <a:pt x="590" y="190"/>
                  </a:lnTo>
                  <a:lnTo>
                    <a:pt x="590" y="194"/>
                  </a:lnTo>
                  <a:lnTo>
                    <a:pt x="592" y="194"/>
                  </a:lnTo>
                  <a:lnTo>
                    <a:pt x="596" y="194"/>
                  </a:lnTo>
                  <a:lnTo>
                    <a:pt x="592" y="194"/>
                  </a:lnTo>
                  <a:lnTo>
                    <a:pt x="592" y="190"/>
                  </a:lnTo>
                  <a:lnTo>
                    <a:pt x="596" y="190"/>
                  </a:lnTo>
                  <a:lnTo>
                    <a:pt x="600" y="190"/>
                  </a:lnTo>
                  <a:lnTo>
                    <a:pt x="596" y="190"/>
                  </a:lnTo>
                  <a:lnTo>
                    <a:pt x="596" y="186"/>
                  </a:lnTo>
                  <a:lnTo>
                    <a:pt x="600" y="186"/>
                  </a:lnTo>
                  <a:lnTo>
                    <a:pt x="604" y="186"/>
                  </a:lnTo>
                  <a:lnTo>
                    <a:pt x="604" y="190"/>
                  </a:lnTo>
                  <a:lnTo>
                    <a:pt x="608" y="190"/>
                  </a:lnTo>
                  <a:lnTo>
                    <a:pt x="608" y="194"/>
                  </a:lnTo>
                  <a:lnTo>
                    <a:pt x="612" y="194"/>
                  </a:lnTo>
                  <a:lnTo>
                    <a:pt x="612" y="198"/>
                  </a:lnTo>
                  <a:lnTo>
                    <a:pt x="612" y="202"/>
                  </a:lnTo>
                  <a:lnTo>
                    <a:pt x="616" y="202"/>
                  </a:lnTo>
                  <a:lnTo>
                    <a:pt x="616" y="206"/>
                  </a:lnTo>
                  <a:lnTo>
                    <a:pt x="612" y="208"/>
                  </a:lnTo>
                  <a:lnTo>
                    <a:pt x="616" y="208"/>
                  </a:lnTo>
                  <a:lnTo>
                    <a:pt x="616" y="212"/>
                  </a:lnTo>
                  <a:lnTo>
                    <a:pt x="612" y="212"/>
                  </a:lnTo>
                  <a:lnTo>
                    <a:pt x="608" y="212"/>
                  </a:lnTo>
                  <a:lnTo>
                    <a:pt x="612" y="212"/>
                  </a:lnTo>
                  <a:lnTo>
                    <a:pt x="616" y="216"/>
                  </a:lnTo>
                  <a:lnTo>
                    <a:pt x="616" y="220"/>
                  </a:lnTo>
                  <a:lnTo>
                    <a:pt x="616" y="224"/>
                  </a:lnTo>
                  <a:lnTo>
                    <a:pt x="620" y="224"/>
                  </a:lnTo>
                  <a:lnTo>
                    <a:pt x="616" y="224"/>
                  </a:lnTo>
                  <a:lnTo>
                    <a:pt x="616" y="220"/>
                  </a:lnTo>
                  <a:lnTo>
                    <a:pt x="612" y="220"/>
                  </a:lnTo>
                  <a:lnTo>
                    <a:pt x="608" y="220"/>
                  </a:lnTo>
                  <a:lnTo>
                    <a:pt x="612" y="224"/>
                  </a:lnTo>
                  <a:lnTo>
                    <a:pt x="608" y="224"/>
                  </a:lnTo>
                  <a:lnTo>
                    <a:pt x="612" y="224"/>
                  </a:lnTo>
                  <a:lnTo>
                    <a:pt x="608" y="224"/>
                  </a:lnTo>
                  <a:lnTo>
                    <a:pt x="604" y="224"/>
                  </a:lnTo>
                  <a:lnTo>
                    <a:pt x="608" y="228"/>
                  </a:lnTo>
                  <a:lnTo>
                    <a:pt x="612" y="228"/>
                  </a:lnTo>
                  <a:lnTo>
                    <a:pt x="612" y="232"/>
                  </a:lnTo>
                  <a:lnTo>
                    <a:pt x="616" y="232"/>
                  </a:lnTo>
                  <a:lnTo>
                    <a:pt x="612" y="232"/>
                  </a:lnTo>
                  <a:lnTo>
                    <a:pt x="608" y="228"/>
                  </a:lnTo>
                  <a:lnTo>
                    <a:pt x="608" y="232"/>
                  </a:lnTo>
                  <a:lnTo>
                    <a:pt x="608" y="236"/>
                  </a:lnTo>
                  <a:lnTo>
                    <a:pt x="604" y="236"/>
                  </a:lnTo>
                  <a:lnTo>
                    <a:pt x="600" y="236"/>
                  </a:lnTo>
                  <a:lnTo>
                    <a:pt x="596" y="236"/>
                  </a:lnTo>
                  <a:lnTo>
                    <a:pt x="592" y="236"/>
                  </a:lnTo>
                  <a:lnTo>
                    <a:pt x="590" y="236"/>
                  </a:lnTo>
                  <a:lnTo>
                    <a:pt x="590" y="232"/>
                  </a:lnTo>
                  <a:lnTo>
                    <a:pt x="586" y="232"/>
                  </a:lnTo>
                  <a:lnTo>
                    <a:pt x="586" y="236"/>
                  </a:lnTo>
                  <a:lnTo>
                    <a:pt x="590" y="236"/>
                  </a:lnTo>
                  <a:lnTo>
                    <a:pt x="586" y="236"/>
                  </a:lnTo>
                  <a:lnTo>
                    <a:pt x="586" y="236"/>
                  </a:lnTo>
                  <a:lnTo>
                    <a:pt x="586" y="236"/>
                  </a:lnTo>
                  <a:close/>
                  <a:moveTo>
                    <a:pt x="522" y="186"/>
                  </a:moveTo>
                  <a:lnTo>
                    <a:pt x="522" y="190"/>
                  </a:lnTo>
                  <a:lnTo>
                    <a:pt x="526" y="190"/>
                  </a:lnTo>
                  <a:lnTo>
                    <a:pt x="522" y="190"/>
                  </a:lnTo>
                  <a:lnTo>
                    <a:pt x="526" y="190"/>
                  </a:lnTo>
                  <a:lnTo>
                    <a:pt x="530" y="190"/>
                  </a:lnTo>
                  <a:lnTo>
                    <a:pt x="530" y="194"/>
                  </a:lnTo>
                  <a:lnTo>
                    <a:pt x="534" y="194"/>
                  </a:lnTo>
                  <a:lnTo>
                    <a:pt x="536" y="194"/>
                  </a:lnTo>
                  <a:lnTo>
                    <a:pt x="536" y="198"/>
                  </a:lnTo>
                  <a:lnTo>
                    <a:pt x="534" y="198"/>
                  </a:lnTo>
                  <a:lnTo>
                    <a:pt x="530" y="198"/>
                  </a:lnTo>
                  <a:lnTo>
                    <a:pt x="526" y="198"/>
                  </a:lnTo>
                  <a:lnTo>
                    <a:pt x="522" y="198"/>
                  </a:lnTo>
                  <a:lnTo>
                    <a:pt x="518" y="198"/>
                  </a:lnTo>
                  <a:lnTo>
                    <a:pt x="518" y="194"/>
                  </a:lnTo>
                  <a:lnTo>
                    <a:pt x="514" y="194"/>
                  </a:lnTo>
                  <a:lnTo>
                    <a:pt x="514" y="190"/>
                  </a:lnTo>
                  <a:lnTo>
                    <a:pt x="518" y="190"/>
                  </a:lnTo>
                  <a:lnTo>
                    <a:pt x="518" y="186"/>
                  </a:lnTo>
                  <a:lnTo>
                    <a:pt x="522" y="186"/>
                  </a:lnTo>
                  <a:lnTo>
                    <a:pt x="522" y="186"/>
                  </a:lnTo>
                  <a:lnTo>
                    <a:pt x="522" y="186"/>
                  </a:lnTo>
                  <a:close/>
                  <a:moveTo>
                    <a:pt x="652" y="202"/>
                  </a:moveTo>
                  <a:lnTo>
                    <a:pt x="652" y="206"/>
                  </a:lnTo>
                  <a:lnTo>
                    <a:pt x="650" y="206"/>
                  </a:lnTo>
                  <a:lnTo>
                    <a:pt x="652" y="206"/>
                  </a:lnTo>
                  <a:lnTo>
                    <a:pt x="652" y="202"/>
                  </a:lnTo>
                  <a:lnTo>
                    <a:pt x="652" y="202"/>
                  </a:lnTo>
                  <a:lnTo>
                    <a:pt x="652" y="202"/>
                  </a:lnTo>
                  <a:close/>
                  <a:moveTo>
                    <a:pt x="332" y="206"/>
                  </a:moveTo>
                  <a:lnTo>
                    <a:pt x="332" y="208"/>
                  </a:lnTo>
                  <a:lnTo>
                    <a:pt x="328" y="208"/>
                  </a:lnTo>
                  <a:lnTo>
                    <a:pt x="324" y="212"/>
                  </a:lnTo>
                  <a:lnTo>
                    <a:pt x="324" y="216"/>
                  </a:lnTo>
                  <a:lnTo>
                    <a:pt x="322" y="216"/>
                  </a:lnTo>
                  <a:lnTo>
                    <a:pt x="322" y="220"/>
                  </a:lnTo>
                  <a:lnTo>
                    <a:pt x="318" y="220"/>
                  </a:lnTo>
                  <a:lnTo>
                    <a:pt x="314" y="220"/>
                  </a:lnTo>
                  <a:lnTo>
                    <a:pt x="310" y="220"/>
                  </a:lnTo>
                  <a:lnTo>
                    <a:pt x="306" y="216"/>
                  </a:lnTo>
                  <a:lnTo>
                    <a:pt x="310" y="216"/>
                  </a:lnTo>
                  <a:lnTo>
                    <a:pt x="310" y="212"/>
                  </a:lnTo>
                  <a:lnTo>
                    <a:pt x="314" y="212"/>
                  </a:lnTo>
                  <a:lnTo>
                    <a:pt x="314" y="208"/>
                  </a:lnTo>
                  <a:lnTo>
                    <a:pt x="318" y="208"/>
                  </a:lnTo>
                  <a:lnTo>
                    <a:pt x="322" y="208"/>
                  </a:lnTo>
                  <a:lnTo>
                    <a:pt x="324" y="208"/>
                  </a:lnTo>
                  <a:lnTo>
                    <a:pt x="324" y="206"/>
                  </a:lnTo>
                  <a:lnTo>
                    <a:pt x="328" y="206"/>
                  </a:lnTo>
                  <a:lnTo>
                    <a:pt x="332" y="206"/>
                  </a:lnTo>
                  <a:lnTo>
                    <a:pt x="332" y="206"/>
                  </a:lnTo>
                  <a:lnTo>
                    <a:pt x="332" y="206"/>
                  </a:lnTo>
                  <a:close/>
                  <a:moveTo>
                    <a:pt x="548" y="206"/>
                  </a:moveTo>
                  <a:lnTo>
                    <a:pt x="544" y="206"/>
                  </a:lnTo>
                  <a:lnTo>
                    <a:pt x="540" y="208"/>
                  </a:lnTo>
                  <a:lnTo>
                    <a:pt x="536" y="208"/>
                  </a:lnTo>
                  <a:lnTo>
                    <a:pt x="534" y="208"/>
                  </a:lnTo>
                  <a:lnTo>
                    <a:pt x="530" y="208"/>
                  </a:lnTo>
                  <a:lnTo>
                    <a:pt x="526" y="208"/>
                  </a:lnTo>
                  <a:lnTo>
                    <a:pt x="522" y="208"/>
                  </a:lnTo>
                  <a:lnTo>
                    <a:pt x="526" y="208"/>
                  </a:lnTo>
                  <a:lnTo>
                    <a:pt x="530" y="208"/>
                  </a:lnTo>
                  <a:lnTo>
                    <a:pt x="530" y="206"/>
                  </a:lnTo>
                  <a:lnTo>
                    <a:pt x="534" y="206"/>
                  </a:lnTo>
                  <a:lnTo>
                    <a:pt x="536" y="206"/>
                  </a:lnTo>
                  <a:lnTo>
                    <a:pt x="540" y="206"/>
                  </a:lnTo>
                  <a:lnTo>
                    <a:pt x="544" y="206"/>
                  </a:lnTo>
                  <a:lnTo>
                    <a:pt x="548" y="206"/>
                  </a:lnTo>
                  <a:lnTo>
                    <a:pt x="548" y="206"/>
                  </a:lnTo>
                  <a:lnTo>
                    <a:pt x="548" y="206"/>
                  </a:lnTo>
                  <a:close/>
                  <a:moveTo>
                    <a:pt x="552" y="208"/>
                  </a:moveTo>
                  <a:lnTo>
                    <a:pt x="548" y="208"/>
                  </a:lnTo>
                  <a:lnTo>
                    <a:pt x="544" y="208"/>
                  </a:lnTo>
                  <a:lnTo>
                    <a:pt x="544" y="212"/>
                  </a:lnTo>
                  <a:lnTo>
                    <a:pt x="540" y="212"/>
                  </a:lnTo>
                  <a:lnTo>
                    <a:pt x="536" y="212"/>
                  </a:lnTo>
                  <a:lnTo>
                    <a:pt x="534" y="212"/>
                  </a:lnTo>
                  <a:lnTo>
                    <a:pt x="536" y="208"/>
                  </a:lnTo>
                  <a:lnTo>
                    <a:pt x="540" y="208"/>
                  </a:lnTo>
                  <a:lnTo>
                    <a:pt x="544" y="208"/>
                  </a:lnTo>
                  <a:lnTo>
                    <a:pt x="548" y="208"/>
                  </a:lnTo>
                  <a:lnTo>
                    <a:pt x="548" y="206"/>
                  </a:lnTo>
                  <a:lnTo>
                    <a:pt x="552" y="208"/>
                  </a:lnTo>
                  <a:lnTo>
                    <a:pt x="552" y="208"/>
                  </a:lnTo>
                  <a:lnTo>
                    <a:pt x="552" y="208"/>
                  </a:lnTo>
                  <a:close/>
                  <a:moveTo>
                    <a:pt x="656" y="208"/>
                  </a:moveTo>
                  <a:lnTo>
                    <a:pt x="660" y="208"/>
                  </a:lnTo>
                  <a:lnTo>
                    <a:pt x="660" y="212"/>
                  </a:lnTo>
                  <a:lnTo>
                    <a:pt x="656" y="212"/>
                  </a:lnTo>
                  <a:lnTo>
                    <a:pt x="652" y="212"/>
                  </a:lnTo>
                  <a:lnTo>
                    <a:pt x="652" y="208"/>
                  </a:lnTo>
                  <a:lnTo>
                    <a:pt x="656" y="208"/>
                  </a:lnTo>
                  <a:lnTo>
                    <a:pt x="656" y="206"/>
                  </a:lnTo>
                  <a:lnTo>
                    <a:pt x="656" y="208"/>
                  </a:lnTo>
                  <a:lnTo>
                    <a:pt x="656" y="208"/>
                  </a:lnTo>
                  <a:lnTo>
                    <a:pt x="656" y="208"/>
                  </a:lnTo>
                  <a:close/>
                  <a:moveTo>
                    <a:pt x="630" y="212"/>
                  </a:moveTo>
                  <a:lnTo>
                    <a:pt x="626" y="212"/>
                  </a:lnTo>
                  <a:lnTo>
                    <a:pt x="630" y="212"/>
                  </a:lnTo>
                  <a:lnTo>
                    <a:pt x="630" y="212"/>
                  </a:lnTo>
                  <a:lnTo>
                    <a:pt x="630" y="212"/>
                  </a:lnTo>
                  <a:close/>
                  <a:moveTo>
                    <a:pt x="638" y="216"/>
                  </a:moveTo>
                  <a:lnTo>
                    <a:pt x="638" y="220"/>
                  </a:lnTo>
                  <a:lnTo>
                    <a:pt x="634" y="220"/>
                  </a:lnTo>
                  <a:lnTo>
                    <a:pt x="630" y="220"/>
                  </a:lnTo>
                  <a:lnTo>
                    <a:pt x="626" y="224"/>
                  </a:lnTo>
                  <a:lnTo>
                    <a:pt x="622" y="224"/>
                  </a:lnTo>
                  <a:lnTo>
                    <a:pt x="622" y="220"/>
                  </a:lnTo>
                  <a:lnTo>
                    <a:pt x="626" y="220"/>
                  </a:lnTo>
                  <a:lnTo>
                    <a:pt x="630" y="216"/>
                  </a:lnTo>
                  <a:lnTo>
                    <a:pt x="634" y="216"/>
                  </a:lnTo>
                  <a:lnTo>
                    <a:pt x="638" y="216"/>
                  </a:lnTo>
                  <a:lnTo>
                    <a:pt x="638" y="216"/>
                  </a:lnTo>
                  <a:lnTo>
                    <a:pt x="638" y="216"/>
                  </a:lnTo>
                  <a:close/>
                  <a:moveTo>
                    <a:pt x="638" y="238"/>
                  </a:moveTo>
                  <a:lnTo>
                    <a:pt x="634" y="236"/>
                  </a:lnTo>
                  <a:lnTo>
                    <a:pt x="630" y="236"/>
                  </a:lnTo>
                  <a:lnTo>
                    <a:pt x="626" y="236"/>
                  </a:lnTo>
                  <a:lnTo>
                    <a:pt x="626" y="232"/>
                  </a:lnTo>
                  <a:lnTo>
                    <a:pt x="630" y="232"/>
                  </a:lnTo>
                  <a:lnTo>
                    <a:pt x="630" y="228"/>
                  </a:lnTo>
                  <a:lnTo>
                    <a:pt x="634" y="228"/>
                  </a:lnTo>
                  <a:lnTo>
                    <a:pt x="638" y="228"/>
                  </a:lnTo>
                  <a:lnTo>
                    <a:pt x="634" y="224"/>
                  </a:lnTo>
                  <a:lnTo>
                    <a:pt x="638" y="224"/>
                  </a:lnTo>
                  <a:lnTo>
                    <a:pt x="634" y="224"/>
                  </a:lnTo>
                  <a:lnTo>
                    <a:pt x="638" y="224"/>
                  </a:lnTo>
                  <a:lnTo>
                    <a:pt x="642" y="224"/>
                  </a:lnTo>
                  <a:lnTo>
                    <a:pt x="638" y="224"/>
                  </a:lnTo>
                  <a:lnTo>
                    <a:pt x="638" y="220"/>
                  </a:lnTo>
                  <a:lnTo>
                    <a:pt x="642" y="220"/>
                  </a:lnTo>
                  <a:lnTo>
                    <a:pt x="646" y="220"/>
                  </a:lnTo>
                  <a:lnTo>
                    <a:pt x="646" y="216"/>
                  </a:lnTo>
                  <a:lnTo>
                    <a:pt x="650" y="216"/>
                  </a:lnTo>
                  <a:lnTo>
                    <a:pt x="652" y="216"/>
                  </a:lnTo>
                  <a:lnTo>
                    <a:pt x="656" y="216"/>
                  </a:lnTo>
                  <a:lnTo>
                    <a:pt x="660" y="216"/>
                  </a:lnTo>
                  <a:lnTo>
                    <a:pt x="660" y="220"/>
                  </a:lnTo>
                  <a:lnTo>
                    <a:pt x="664" y="220"/>
                  </a:lnTo>
                  <a:lnTo>
                    <a:pt x="664" y="224"/>
                  </a:lnTo>
                  <a:lnTo>
                    <a:pt x="668" y="224"/>
                  </a:lnTo>
                  <a:lnTo>
                    <a:pt x="672" y="228"/>
                  </a:lnTo>
                  <a:lnTo>
                    <a:pt x="672" y="232"/>
                  </a:lnTo>
                  <a:lnTo>
                    <a:pt x="672" y="236"/>
                  </a:lnTo>
                  <a:lnTo>
                    <a:pt x="676" y="238"/>
                  </a:lnTo>
                  <a:lnTo>
                    <a:pt x="672" y="242"/>
                  </a:lnTo>
                  <a:lnTo>
                    <a:pt x="668" y="242"/>
                  </a:lnTo>
                  <a:lnTo>
                    <a:pt x="664" y="242"/>
                  </a:lnTo>
                  <a:lnTo>
                    <a:pt x="660" y="242"/>
                  </a:lnTo>
                  <a:lnTo>
                    <a:pt x="656" y="242"/>
                  </a:lnTo>
                  <a:lnTo>
                    <a:pt x="650" y="242"/>
                  </a:lnTo>
                  <a:lnTo>
                    <a:pt x="646" y="238"/>
                  </a:lnTo>
                  <a:lnTo>
                    <a:pt x="642" y="238"/>
                  </a:lnTo>
                  <a:lnTo>
                    <a:pt x="638" y="238"/>
                  </a:lnTo>
                  <a:lnTo>
                    <a:pt x="638" y="238"/>
                  </a:lnTo>
                  <a:lnTo>
                    <a:pt x="638" y="238"/>
                  </a:lnTo>
                  <a:close/>
                  <a:moveTo>
                    <a:pt x="522" y="224"/>
                  </a:moveTo>
                  <a:lnTo>
                    <a:pt x="526" y="224"/>
                  </a:lnTo>
                  <a:lnTo>
                    <a:pt x="526" y="228"/>
                  </a:lnTo>
                  <a:lnTo>
                    <a:pt x="530" y="232"/>
                  </a:lnTo>
                  <a:lnTo>
                    <a:pt x="526" y="232"/>
                  </a:lnTo>
                  <a:lnTo>
                    <a:pt x="518" y="236"/>
                  </a:lnTo>
                  <a:lnTo>
                    <a:pt x="514" y="232"/>
                  </a:lnTo>
                  <a:lnTo>
                    <a:pt x="510" y="232"/>
                  </a:lnTo>
                  <a:lnTo>
                    <a:pt x="510" y="228"/>
                  </a:lnTo>
                  <a:lnTo>
                    <a:pt x="514" y="228"/>
                  </a:lnTo>
                  <a:lnTo>
                    <a:pt x="510" y="228"/>
                  </a:lnTo>
                  <a:lnTo>
                    <a:pt x="514" y="224"/>
                  </a:lnTo>
                  <a:lnTo>
                    <a:pt x="518" y="224"/>
                  </a:lnTo>
                  <a:lnTo>
                    <a:pt x="522" y="224"/>
                  </a:lnTo>
                  <a:lnTo>
                    <a:pt x="522" y="224"/>
                  </a:lnTo>
                  <a:lnTo>
                    <a:pt x="522" y="224"/>
                  </a:lnTo>
                  <a:close/>
                  <a:moveTo>
                    <a:pt x="642" y="242"/>
                  </a:moveTo>
                  <a:lnTo>
                    <a:pt x="646" y="242"/>
                  </a:lnTo>
                  <a:lnTo>
                    <a:pt x="646" y="246"/>
                  </a:lnTo>
                  <a:lnTo>
                    <a:pt x="650" y="246"/>
                  </a:lnTo>
                  <a:lnTo>
                    <a:pt x="646" y="246"/>
                  </a:lnTo>
                  <a:lnTo>
                    <a:pt x="642" y="246"/>
                  </a:lnTo>
                  <a:lnTo>
                    <a:pt x="638" y="246"/>
                  </a:lnTo>
                  <a:lnTo>
                    <a:pt x="642" y="242"/>
                  </a:lnTo>
                  <a:lnTo>
                    <a:pt x="642" y="242"/>
                  </a:lnTo>
                  <a:lnTo>
                    <a:pt x="642" y="242"/>
                  </a:lnTo>
                  <a:close/>
                  <a:moveTo>
                    <a:pt x="620" y="242"/>
                  </a:moveTo>
                  <a:lnTo>
                    <a:pt x="620" y="246"/>
                  </a:lnTo>
                  <a:lnTo>
                    <a:pt x="616" y="246"/>
                  </a:lnTo>
                  <a:lnTo>
                    <a:pt x="616" y="250"/>
                  </a:lnTo>
                  <a:lnTo>
                    <a:pt x="612" y="250"/>
                  </a:lnTo>
                  <a:lnTo>
                    <a:pt x="612" y="246"/>
                  </a:lnTo>
                  <a:lnTo>
                    <a:pt x="616" y="246"/>
                  </a:lnTo>
                  <a:lnTo>
                    <a:pt x="616" y="242"/>
                  </a:lnTo>
                  <a:lnTo>
                    <a:pt x="620" y="242"/>
                  </a:lnTo>
                  <a:lnTo>
                    <a:pt x="620" y="242"/>
                  </a:lnTo>
                  <a:lnTo>
                    <a:pt x="620" y="242"/>
                  </a:lnTo>
                  <a:close/>
                  <a:moveTo>
                    <a:pt x="250" y="332"/>
                  </a:moveTo>
                  <a:lnTo>
                    <a:pt x="246" y="332"/>
                  </a:lnTo>
                  <a:lnTo>
                    <a:pt x="246" y="328"/>
                  </a:lnTo>
                  <a:lnTo>
                    <a:pt x="242" y="324"/>
                  </a:lnTo>
                  <a:lnTo>
                    <a:pt x="242" y="322"/>
                  </a:lnTo>
                  <a:lnTo>
                    <a:pt x="238" y="322"/>
                  </a:lnTo>
                  <a:lnTo>
                    <a:pt x="236" y="322"/>
                  </a:lnTo>
                  <a:lnTo>
                    <a:pt x="232" y="322"/>
                  </a:lnTo>
                  <a:lnTo>
                    <a:pt x="232" y="318"/>
                  </a:lnTo>
                  <a:lnTo>
                    <a:pt x="228" y="318"/>
                  </a:lnTo>
                  <a:lnTo>
                    <a:pt x="224" y="318"/>
                  </a:lnTo>
                  <a:lnTo>
                    <a:pt x="224" y="314"/>
                  </a:lnTo>
                  <a:lnTo>
                    <a:pt x="228" y="318"/>
                  </a:lnTo>
                  <a:lnTo>
                    <a:pt x="228" y="314"/>
                  </a:lnTo>
                  <a:lnTo>
                    <a:pt x="224" y="314"/>
                  </a:lnTo>
                  <a:lnTo>
                    <a:pt x="220" y="314"/>
                  </a:lnTo>
                  <a:lnTo>
                    <a:pt x="216" y="314"/>
                  </a:lnTo>
                  <a:lnTo>
                    <a:pt x="212" y="314"/>
                  </a:lnTo>
                  <a:lnTo>
                    <a:pt x="216" y="314"/>
                  </a:lnTo>
                  <a:lnTo>
                    <a:pt x="216" y="310"/>
                  </a:lnTo>
                  <a:lnTo>
                    <a:pt x="216" y="306"/>
                  </a:lnTo>
                  <a:lnTo>
                    <a:pt x="220" y="306"/>
                  </a:lnTo>
                  <a:lnTo>
                    <a:pt x="220" y="302"/>
                  </a:lnTo>
                  <a:lnTo>
                    <a:pt x="224" y="302"/>
                  </a:lnTo>
                  <a:lnTo>
                    <a:pt x="224" y="298"/>
                  </a:lnTo>
                  <a:lnTo>
                    <a:pt x="228" y="298"/>
                  </a:lnTo>
                  <a:lnTo>
                    <a:pt x="228" y="294"/>
                  </a:lnTo>
                  <a:lnTo>
                    <a:pt x="228" y="292"/>
                  </a:lnTo>
                  <a:lnTo>
                    <a:pt x="232" y="292"/>
                  </a:lnTo>
                  <a:lnTo>
                    <a:pt x="236" y="292"/>
                  </a:lnTo>
                  <a:lnTo>
                    <a:pt x="236" y="288"/>
                  </a:lnTo>
                  <a:lnTo>
                    <a:pt x="232" y="288"/>
                  </a:lnTo>
                  <a:lnTo>
                    <a:pt x="228" y="288"/>
                  </a:lnTo>
                  <a:lnTo>
                    <a:pt x="228" y="284"/>
                  </a:lnTo>
                  <a:lnTo>
                    <a:pt x="232" y="284"/>
                  </a:lnTo>
                  <a:lnTo>
                    <a:pt x="232" y="280"/>
                  </a:lnTo>
                  <a:lnTo>
                    <a:pt x="236" y="280"/>
                  </a:lnTo>
                  <a:lnTo>
                    <a:pt x="236" y="276"/>
                  </a:lnTo>
                  <a:lnTo>
                    <a:pt x="238" y="276"/>
                  </a:lnTo>
                  <a:lnTo>
                    <a:pt x="238" y="272"/>
                  </a:lnTo>
                  <a:lnTo>
                    <a:pt x="238" y="268"/>
                  </a:lnTo>
                  <a:lnTo>
                    <a:pt x="242" y="268"/>
                  </a:lnTo>
                  <a:lnTo>
                    <a:pt x="242" y="264"/>
                  </a:lnTo>
                  <a:lnTo>
                    <a:pt x="238" y="264"/>
                  </a:lnTo>
                  <a:lnTo>
                    <a:pt x="236" y="262"/>
                  </a:lnTo>
                  <a:lnTo>
                    <a:pt x="236" y="258"/>
                  </a:lnTo>
                  <a:lnTo>
                    <a:pt x="232" y="254"/>
                  </a:lnTo>
                  <a:lnTo>
                    <a:pt x="228" y="254"/>
                  </a:lnTo>
                  <a:lnTo>
                    <a:pt x="232" y="250"/>
                  </a:lnTo>
                  <a:lnTo>
                    <a:pt x="236" y="250"/>
                  </a:lnTo>
                  <a:lnTo>
                    <a:pt x="238" y="250"/>
                  </a:lnTo>
                  <a:lnTo>
                    <a:pt x="242" y="250"/>
                  </a:lnTo>
                  <a:lnTo>
                    <a:pt x="246" y="250"/>
                  </a:lnTo>
                  <a:lnTo>
                    <a:pt x="250" y="250"/>
                  </a:lnTo>
                  <a:lnTo>
                    <a:pt x="254" y="250"/>
                  </a:lnTo>
                  <a:lnTo>
                    <a:pt x="258" y="250"/>
                  </a:lnTo>
                  <a:lnTo>
                    <a:pt x="262" y="250"/>
                  </a:lnTo>
                  <a:lnTo>
                    <a:pt x="266" y="250"/>
                  </a:lnTo>
                  <a:lnTo>
                    <a:pt x="268" y="246"/>
                  </a:lnTo>
                  <a:lnTo>
                    <a:pt x="272" y="246"/>
                  </a:lnTo>
                  <a:lnTo>
                    <a:pt x="276" y="246"/>
                  </a:lnTo>
                  <a:lnTo>
                    <a:pt x="280" y="246"/>
                  </a:lnTo>
                  <a:lnTo>
                    <a:pt x="284" y="246"/>
                  </a:lnTo>
                  <a:lnTo>
                    <a:pt x="284" y="250"/>
                  </a:lnTo>
                  <a:lnTo>
                    <a:pt x="288" y="250"/>
                  </a:lnTo>
                  <a:lnTo>
                    <a:pt x="292" y="254"/>
                  </a:lnTo>
                  <a:lnTo>
                    <a:pt x="294" y="254"/>
                  </a:lnTo>
                  <a:lnTo>
                    <a:pt x="298" y="254"/>
                  </a:lnTo>
                  <a:lnTo>
                    <a:pt x="302" y="254"/>
                  </a:lnTo>
                  <a:lnTo>
                    <a:pt x="302" y="258"/>
                  </a:lnTo>
                  <a:lnTo>
                    <a:pt x="298" y="258"/>
                  </a:lnTo>
                  <a:lnTo>
                    <a:pt x="298" y="262"/>
                  </a:lnTo>
                  <a:lnTo>
                    <a:pt x="302" y="262"/>
                  </a:lnTo>
                  <a:lnTo>
                    <a:pt x="302" y="258"/>
                  </a:lnTo>
                  <a:lnTo>
                    <a:pt x="306" y="254"/>
                  </a:lnTo>
                  <a:lnTo>
                    <a:pt x="310" y="254"/>
                  </a:lnTo>
                  <a:lnTo>
                    <a:pt x="310" y="258"/>
                  </a:lnTo>
                  <a:lnTo>
                    <a:pt x="310" y="262"/>
                  </a:lnTo>
                  <a:lnTo>
                    <a:pt x="314" y="262"/>
                  </a:lnTo>
                  <a:lnTo>
                    <a:pt x="314" y="258"/>
                  </a:lnTo>
                  <a:lnTo>
                    <a:pt x="314" y="254"/>
                  </a:lnTo>
                  <a:lnTo>
                    <a:pt x="318" y="254"/>
                  </a:lnTo>
                  <a:lnTo>
                    <a:pt x="324" y="254"/>
                  </a:lnTo>
                  <a:lnTo>
                    <a:pt x="328" y="254"/>
                  </a:lnTo>
                  <a:lnTo>
                    <a:pt x="332" y="254"/>
                  </a:lnTo>
                  <a:lnTo>
                    <a:pt x="336" y="254"/>
                  </a:lnTo>
                  <a:lnTo>
                    <a:pt x="336" y="258"/>
                  </a:lnTo>
                  <a:lnTo>
                    <a:pt x="344" y="258"/>
                  </a:lnTo>
                  <a:lnTo>
                    <a:pt x="344" y="262"/>
                  </a:lnTo>
                  <a:lnTo>
                    <a:pt x="348" y="262"/>
                  </a:lnTo>
                  <a:lnTo>
                    <a:pt x="348" y="264"/>
                  </a:lnTo>
                  <a:lnTo>
                    <a:pt x="352" y="264"/>
                  </a:lnTo>
                  <a:lnTo>
                    <a:pt x="354" y="264"/>
                  </a:lnTo>
                  <a:lnTo>
                    <a:pt x="354" y="268"/>
                  </a:lnTo>
                  <a:lnTo>
                    <a:pt x="358" y="268"/>
                  </a:lnTo>
                  <a:lnTo>
                    <a:pt x="362" y="272"/>
                  </a:lnTo>
                  <a:lnTo>
                    <a:pt x="362" y="276"/>
                  </a:lnTo>
                  <a:lnTo>
                    <a:pt x="358" y="276"/>
                  </a:lnTo>
                  <a:lnTo>
                    <a:pt x="354" y="280"/>
                  </a:lnTo>
                  <a:lnTo>
                    <a:pt x="352" y="280"/>
                  </a:lnTo>
                  <a:lnTo>
                    <a:pt x="348" y="280"/>
                  </a:lnTo>
                  <a:lnTo>
                    <a:pt x="344" y="284"/>
                  </a:lnTo>
                  <a:lnTo>
                    <a:pt x="340" y="284"/>
                  </a:lnTo>
                  <a:lnTo>
                    <a:pt x="336" y="284"/>
                  </a:lnTo>
                  <a:lnTo>
                    <a:pt x="336" y="288"/>
                  </a:lnTo>
                  <a:lnTo>
                    <a:pt x="332" y="288"/>
                  </a:lnTo>
                  <a:lnTo>
                    <a:pt x="328" y="288"/>
                  </a:lnTo>
                  <a:lnTo>
                    <a:pt x="328" y="292"/>
                  </a:lnTo>
                  <a:lnTo>
                    <a:pt x="324" y="292"/>
                  </a:lnTo>
                  <a:lnTo>
                    <a:pt x="322" y="292"/>
                  </a:lnTo>
                  <a:lnTo>
                    <a:pt x="318" y="294"/>
                  </a:lnTo>
                  <a:lnTo>
                    <a:pt x="314" y="294"/>
                  </a:lnTo>
                  <a:lnTo>
                    <a:pt x="310" y="298"/>
                  </a:lnTo>
                  <a:lnTo>
                    <a:pt x="306" y="302"/>
                  </a:lnTo>
                  <a:lnTo>
                    <a:pt x="306" y="306"/>
                  </a:lnTo>
                  <a:lnTo>
                    <a:pt x="302" y="306"/>
                  </a:lnTo>
                  <a:lnTo>
                    <a:pt x="302" y="310"/>
                  </a:lnTo>
                  <a:lnTo>
                    <a:pt x="298" y="310"/>
                  </a:lnTo>
                  <a:lnTo>
                    <a:pt x="294" y="306"/>
                  </a:lnTo>
                  <a:lnTo>
                    <a:pt x="294" y="310"/>
                  </a:lnTo>
                  <a:lnTo>
                    <a:pt x="294" y="314"/>
                  </a:lnTo>
                  <a:lnTo>
                    <a:pt x="292" y="314"/>
                  </a:lnTo>
                  <a:lnTo>
                    <a:pt x="292" y="318"/>
                  </a:lnTo>
                  <a:lnTo>
                    <a:pt x="292" y="322"/>
                  </a:lnTo>
                  <a:lnTo>
                    <a:pt x="292" y="324"/>
                  </a:lnTo>
                  <a:lnTo>
                    <a:pt x="288" y="328"/>
                  </a:lnTo>
                  <a:lnTo>
                    <a:pt x="284" y="328"/>
                  </a:lnTo>
                  <a:lnTo>
                    <a:pt x="280" y="328"/>
                  </a:lnTo>
                  <a:lnTo>
                    <a:pt x="276" y="328"/>
                  </a:lnTo>
                  <a:lnTo>
                    <a:pt x="272" y="328"/>
                  </a:lnTo>
                  <a:lnTo>
                    <a:pt x="268" y="328"/>
                  </a:lnTo>
                  <a:lnTo>
                    <a:pt x="268" y="332"/>
                  </a:lnTo>
                  <a:lnTo>
                    <a:pt x="266" y="332"/>
                  </a:lnTo>
                  <a:lnTo>
                    <a:pt x="266" y="336"/>
                  </a:lnTo>
                  <a:lnTo>
                    <a:pt x="262" y="336"/>
                  </a:lnTo>
                  <a:lnTo>
                    <a:pt x="258" y="336"/>
                  </a:lnTo>
                  <a:lnTo>
                    <a:pt x="258" y="340"/>
                  </a:lnTo>
                  <a:lnTo>
                    <a:pt x="254" y="340"/>
                  </a:lnTo>
                  <a:lnTo>
                    <a:pt x="254" y="336"/>
                  </a:lnTo>
                  <a:lnTo>
                    <a:pt x="250" y="336"/>
                  </a:lnTo>
                  <a:lnTo>
                    <a:pt x="250" y="332"/>
                  </a:lnTo>
                  <a:lnTo>
                    <a:pt x="250" y="332"/>
                  </a:lnTo>
                  <a:lnTo>
                    <a:pt x="250" y="332"/>
                  </a:lnTo>
                  <a:close/>
                  <a:moveTo>
                    <a:pt x="706" y="280"/>
                  </a:moveTo>
                  <a:lnTo>
                    <a:pt x="702" y="284"/>
                  </a:lnTo>
                  <a:lnTo>
                    <a:pt x="702" y="288"/>
                  </a:lnTo>
                  <a:lnTo>
                    <a:pt x="698" y="288"/>
                  </a:lnTo>
                  <a:lnTo>
                    <a:pt x="698" y="292"/>
                  </a:lnTo>
                  <a:lnTo>
                    <a:pt x="694" y="292"/>
                  </a:lnTo>
                  <a:lnTo>
                    <a:pt x="694" y="294"/>
                  </a:lnTo>
                  <a:lnTo>
                    <a:pt x="690" y="294"/>
                  </a:lnTo>
                  <a:lnTo>
                    <a:pt x="686" y="294"/>
                  </a:lnTo>
                  <a:lnTo>
                    <a:pt x="682" y="294"/>
                  </a:lnTo>
                  <a:lnTo>
                    <a:pt x="678" y="294"/>
                  </a:lnTo>
                  <a:lnTo>
                    <a:pt x="676" y="294"/>
                  </a:lnTo>
                  <a:lnTo>
                    <a:pt x="676" y="292"/>
                  </a:lnTo>
                  <a:lnTo>
                    <a:pt x="676" y="294"/>
                  </a:lnTo>
                  <a:lnTo>
                    <a:pt x="672" y="294"/>
                  </a:lnTo>
                  <a:lnTo>
                    <a:pt x="668" y="294"/>
                  </a:lnTo>
                  <a:lnTo>
                    <a:pt x="664" y="294"/>
                  </a:lnTo>
                  <a:lnTo>
                    <a:pt x="660" y="294"/>
                  </a:lnTo>
                  <a:lnTo>
                    <a:pt x="664" y="294"/>
                  </a:lnTo>
                  <a:lnTo>
                    <a:pt x="668" y="294"/>
                  </a:lnTo>
                  <a:lnTo>
                    <a:pt x="668" y="298"/>
                  </a:lnTo>
                  <a:lnTo>
                    <a:pt x="672" y="298"/>
                  </a:lnTo>
                  <a:lnTo>
                    <a:pt x="672" y="302"/>
                  </a:lnTo>
                  <a:lnTo>
                    <a:pt x="672" y="306"/>
                  </a:lnTo>
                  <a:lnTo>
                    <a:pt x="668" y="306"/>
                  </a:lnTo>
                  <a:lnTo>
                    <a:pt x="664" y="310"/>
                  </a:lnTo>
                  <a:lnTo>
                    <a:pt x="664" y="314"/>
                  </a:lnTo>
                  <a:lnTo>
                    <a:pt x="660" y="314"/>
                  </a:lnTo>
                  <a:lnTo>
                    <a:pt x="652" y="314"/>
                  </a:lnTo>
                  <a:lnTo>
                    <a:pt x="650" y="314"/>
                  </a:lnTo>
                  <a:lnTo>
                    <a:pt x="650" y="310"/>
                  </a:lnTo>
                  <a:lnTo>
                    <a:pt x="652" y="310"/>
                  </a:lnTo>
                  <a:lnTo>
                    <a:pt x="650" y="310"/>
                  </a:lnTo>
                  <a:lnTo>
                    <a:pt x="650" y="306"/>
                  </a:lnTo>
                  <a:lnTo>
                    <a:pt x="650" y="302"/>
                  </a:lnTo>
                  <a:lnTo>
                    <a:pt x="650" y="298"/>
                  </a:lnTo>
                  <a:lnTo>
                    <a:pt x="646" y="298"/>
                  </a:lnTo>
                  <a:lnTo>
                    <a:pt x="646" y="294"/>
                  </a:lnTo>
                  <a:lnTo>
                    <a:pt x="642" y="294"/>
                  </a:lnTo>
                  <a:lnTo>
                    <a:pt x="642" y="292"/>
                  </a:lnTo>
                  <a:lnTo>
                    <a:pt x="642" y="288"/>
                  </a:lnTo>
                  <a:lnTo>
                    <a:pt x="642" y="284"/>
                  </a:lnTo>
                  <a:lnTo>
                    <a:pt x="642" y="280"/>
                  </a:lnTo>
                  <a:lnTo>
                    <a:pt x="642" y="276"/>
                  </a:lnTo>
                  <a:lnTo>
                    <a:pt x="642" y="272"/>
                  </a:lnTo>
                  <a:lnTo>
                    <a:pt x="642" y="268"/>
                  </a:lnTo>
                  <a:lnTo>
                    <a:pt x="646" y="268"/>
                  </a:lnTo>
                  <a:lnTo>
                    <a:pt x="650" y="268"/>
                  </a:lnTo>
                  <a:lnTo>
                    <a:pt x="652" y="268"/>
                  </a:lnTo>
                  <a:lnTo>
                    <a:pt x="656" y="268"/>
                  </a:lnTo>
                  <a:lnTo>
                    <a:pt x="652" y="268"/>
                  </a:lnTo>
                  <a:lnTo>
                    <a:pt x="650" y="268"/>
                  </a:lnTo>
                  <a:lnTo>
                    <a:pt x="650" y="264"/>
                  </a:lnTo>
                  <a:lnTo>
                    <a:pt x="652" y="264"/>
                  </a:lnTo>
                  <a:lnTo>
                    <a:pt x="650" y="264"/>
                  </a:lnTo>
                  <a:lnTo>
                    <a:pt x="646" y="264"/>
                  </a:lnTo>
                  <a:lnTo>
                    <a:pt x="646" y="262"/>
                  </a:lnTo>
                  <a:lnTo>
                    <a:pt x="650" y="262"/>
                  </a:lnTo>
                  <a:lnTo>
                    <a:pt x="652" y="262"/>
                  </a:lnTo>
                  <a:lnTo>
                    <a:pt x="652" y="258"/>
                  </a:lnTo>
                  <a:lnTo>
                    <a:pt x="656" y="258"/>
                  </a:lnTo>
                  <a:lnTo>
                    <a:pt x="660" y="258"/>
                  </a:lnTo>
                  <a:lnTo>
                    <a:pt x="664" y="258"/>
                  </a:lnTo>
                  <a:lnTo>
                    <a:pt x="668" y="258"/>
                  </a:lnTo>
                  <a:lnTo>
                    <a:pt x="672" y="258"/>
                  </a:lnTo>
                  <a:lnTo>
                    <a:pt x="676" y="258"/>
                  </a:lnTo>
                  <a:lnTo>
                    <a:pt x="678" y="258"/>
                  </a:lnTo>
                  <a:lnTo>
                    <a:pt x="682" y="258"/>
                  </a:lnTo>
                  <a:lnTo>
                    <a:pt x="686" y="262"/>
                  </a:lnTo>
                  <a:lnTo>
                    <a:pt x="690" y="262"/>
                  </a:lnTo>
                  <a:lnTo>
                    <a:pt x="694" y="262"/>
                  </a:lnTo>
                  <a:lnTo>
                    <a:pt x="702" y="262"/>
                  </a:lnTo>
                  <a:lnTo>
                    <a:pt x="706" y="262"/>
                  </a:lnTo>
                  <a:lnTo>
                    <a:pt x="712" y="262"/>
                  </a:lnTo>
                  <a:lnTo>
                    <a:pt x="716" y="264"/>
                  </a:lnTo>
                  <a:lnTo>
                    <a:pt x="716" y="262"/>
                  </a:lnTo>
                  <a:lnTo>
                    <a:pt x="720" y="264"/>
                  </a:lnTo>
                  <a:lnTo>
                    <a:pt x="716" y="264"/>
                  </a:lnTo>
                  <a:lnTo>
                    <a:pt x="716" y="268"/>
                  </a:lnTo>
                  <a:lnTo>
                    <a:pt x="712" y="268"/>
                  </a:lnTo>
                  <a:lnTo>
                    <a:pt x="712" y="272"/>
                  </a:lnTo>
                  <a:lnTo>
                    <a:pt x="708" y="272"/>
                  </a:lnTo>
                  <a:lnTo>
                    <a:pt x="708" y="276"/>
                  </a:lnTo>
                  <a:lnTo>
                    <a:pt x="706" y="276"/>
                  </a:lnTo>
                  <a:lnTo>
                    <a:pt x="706" y="280"/>
                  </a:lnTo>
                  <a:lnTo>
                    <a:pt x="706" y="280"/>
                  </a:lnTo>
                  <a:lnTo>
                    <a:pt x="706" y="280"/>
                  </a:lnTo>
                  <a:close/>
                  <a:moveTo>
                    <a:pt x="720" y="262"/>
                  </a:moveTo>
                  <a:lnTo>
                    <a:pt x="716" y="262"/>
                  </a:lnTo>
                  <a:lnTo>
                    <a:pt x="720" y="262"/>
                  </a:lnTo>
                  <a:lnTo>
                    <a:pt x="720" y="258"/>
                  </a:lnTo>
                  <a:lnTo>
                    <a:pt x="724" y="258"/>
                  </a:lnTo>
                  <a:lnTo>
                    <a:pt x="724" y="262"/>
                  </a:lnTo>
                  <a:lnTo>
                    <a:pt x="720" y="262"/>
                  </a:lnTo>
                  <a:lnTo>
                    <a:pt x="720" y="262"/>
                  </a:lnTo>
                  <a:lnTo>
                    <a:pt x="720" y="262"/>
                  </a:lnTo>
                  <a:close/>
                  <a:moveTo>
                    <a:pt x="620" y="276"/>
                  </a:moveTo>
                  <a:lnTo>
                    <a:pt x="620" y="280"/>
                  </a:lnTo>
                  <a:lnTo>
                    <a:pt x="616" y="280"/>
                  </a:lnTo>
                  <a:lnTo>
                    <a:pt x="612" y="280"/>
                  </a:lnTo>
                  <a:lnTo>
                    <a:pt x="608" y="284"/>
                  </a:lnTo>
                  <a:lnTo>
                    <a:pt x="604" y="284"/>
                  </a:lnTo>
                  <a:lnTo>
                    <a:pt x="604" y="288"/>
                  </a:lnTo>
                  <a:lnTo>
                    <a:pt x="600" y="288"/>
                  </a:lnTo>
                  <a:lnTo>
                    <a:pt x="600" y="292"/>
                  </a:lnTo>
                  <a:lnTo>
                    <a:pt x="604" y="292"/>
                  </a:lnTo>
                  <a:lnTo>
                    <a:pt x="604" y="288"/>
                  </a:lnTo>
                  <a:lnTo>
                    <a:pt x="608" y="288"/>
                  </a:lnTo>
                  <a:lnTo>
                    <a:pt x="612" y="288"/>
                  </a:lnTo>
                  <a:lnTo>
                    <a:pt x="616" y="288"/>
                  </a:lnTo>
                  <a:lnTo>
                    <a:pt x="620" y="288"/>
                  </a:lnTo>
                  <a:lnTo>
                    <a:pt x="620" y="292"/>
                  </a:lnTo>
                  <a:lnTo>
                    <a:pt x="622" y="294"/>
                  </a:lnTo>
                  <a:lnTo>
                    <a:pt x="620" y="294"/>
                  </a:lnTo>
                  <a:lnTo>
                    <a:pt x="620" y="298"/>
                  </a:lnTo>
                  <a:lnTo>
                    <a:pt x="622" y="298"/>
                  </a:lnTo>
                  <a:lnTo>
                    <a:pt x="622" y="294"/>
                  </a:lnTo>
                  <a:lnTo>
                    <a:pt x="626" y="294"/>
                  </a:lnTo>
                  <a:lnTo>
                    <a:pt x="630" y="294"/>
                  </a:lnTo>
                  <a:lnTo>
                    <a:pt x="630" y="298"/>
                  </a:lnTo>
                  <a:lnTo>
                    <a:pt x="630" y="302"/>
                  </a:lnTo>
                  <a:lnTo>
                    <a:pt x="634" y="302"/>
                  </a:lnTo>
                  <a:lnTo>
                    <a:pt x="630" y="306"/>
                  </a:lnTo>
                  <a:lnTo>
                    <a:pt x="626" y="306"/>
                  </a:lnTo>
                  <a:lnTo>
                    <a:pt x="622" y="306"/>
                  </a:lnTo>
                  <a:lnTo>
                    <a:pt x="626" y="306"/>
                  </a:lnTo>
                  <a:lnTo>
                    <a:pt x="630" y="306"/>
                  </a:lnTo>
                  <a:lnTo>
                    <a:pt x="630" y="310"/>
                  </a:lnTo>
                  <a:lnTo>
                    <a:pt x="630" y="314"/>
                  </a:lnTo>
                  <a:lnTo>
                    <a:pt x="626" y="314"/>
                  </a:lnTo>
                  <a:lnTo>
                    <a:pt x="622" y="314"/>
                  </a:lnTo>
                  <a:lnTo>
                    <a:pt x="626" y="314"/>
                  </a:lnTo>
                  <a:lnTo>
                    <a:pt x="630" y="314"/>
                  </a:lnTo>
                  <a:lnTo>
                    <a:pt x="626" y="314"/>
                  </a:lnTo>
                  <a:lnTo>
                    <a:pt x="626" y="318"/>
                  </a:lnTo>
                  <a:lnTo>
                    <a:pt x="630" y="318"/>
                  </a:lnTo>
                  <a:lnTo>
                    <a:pt x="626" y="318"/>
                  </a:lnTo>
                  <a:lnTo>
                    <a:pt x="626" y="322"/>
                  </a:lnTo>
                  <a:lnTo>
                    <a:pt x="626" y="318"/>
                  </a:lnTo>
                  <a:lnTo>
                    <a:pt x="622" y="322"/>
                  </a:lnTo>
                  <a:lnTo>
                    <a:pt x="620" y="322"/>
                  </a:lnTo>
                  <a:lnTo>
                    <a:pt x="616" y="324"/>
                  </a:lnTo>
                  <a:lnTo>
                    <a:pt x="612" y="324"/>
                  </a:lnTo>
                  <a:lnTo>
                    <a:pt x="608" y="322"/>
                  </a:lnTo>
                  <a:lnTo>
                    <a:pt x="608" y="324"/>
                  </a:lnTo>
                  <a:lnTo>
                    <a:pt x="604" y="324"/>
                  </a:lnTo>
                  <a:lnTo>
                    <a:pt x="604" y="322"/>
                  </a:lnTo>
                  <a:lnTo>
                    <a:pt x="604" y="318"/>
                  </a:lnTo>
                  <a:lnTo>
                    <a:pt x="600" y="322"/>
                  </a:lnTo>
                  <a:lnTo>
                    <a:pt x="604" y="324"/>
                  </a:lnTo>
                  <a:lnTo>
                    <a:pt x="608" y="324"/>
                  </a:lnTo>
                  <a:lnTo>
                    <a:pt x="608" y="328"/>
                  </a:lnTo>
                  <a:lnTo>
                    <a:pt x="604" y="328"/>
                  </a:lnTo>
                  <a:lnTo>
                    <a:pt x="600" y="332"/>
                  </a:lnTo>
                  <a:lnTo>
                    <a:pt x="596" y="332"/>
                  </a:lnTo>
                  <a:lnTo>
                    <a:pt x="592" y="328"/>
                  </a:lnTo>
                  <a:lnTo>
                    <a:pt x="592" y="332"/>
                  </a:lnTo>
                  <a:lnTo>
                    <a:pt x="590" y="332"/>
                  </a:lnTo>
                  <a:lnTo>
                    <a:pt x="590" y="328"/>
                  </a:lnTo>
                  <a:lnTo>
                    <a:pt x="590" y="324"/>
                  </a:lnTo>
                  <a:lnTo>
                    <a:pt x="586" y="324"/>
                  </a:lnTo>
                  <a:lnTo>
                    <a:pt x="586" y="322"/>
                  </a:lnTo>
                  <a:lnTo>
                    <a:pt x="582" y="318"/>
                  </a:lnTo>
                  <a:lnTo>
                    <a:pt x="578" y="318"/>
                  </a:lnTo>
                  <a:lnTo>
                    <a:pt x="574" y="314"/>
                  </a:lnTo>
                  <a:lnTo>
                    <a:pt x="570" y="310"/>
                  </a:lnTo>
                  <a:lnTo>
                    <a:pt x="566" y="310"/>
                  </a:lnTo>
                  <a:lnTo>
                    <a:pt x="566" y="306"/>
                  </a:lnTo>
                  <a:lnTo>
                    <a:pt x="564" y="306"/>
                  </a:lnTo>
                  <a:lnTo>
                    <a:pt x="560" y="306"/>
                  </a:lnTo>
                  <a:lnTo>
                    <a:pt x="556" y="306"/>
                  </a:lnTo>
                  <a:lnTo>
                    <a:pt x="552" y="306"/>
                  </a:lnTo>
                  <a:lnTo>
                    <a:pt x="552" y="302"/>
                  </a:lnTo>
                  <a:lnTo>
                    <a:pt x="552" y="298"/>
                  </a:lnTo>
                  <a:lnTo>
                    <a:pt x="548" y="298"/>
                  </a:lnTo>
                  <a:lnTo>
                    <a:pt x="544" y="298"/>
                  </a:lnTo>
                  <a:lnTo>
                    <a:pt x="544" y="294"/>
                  </a:lnTo>
                  <a:lnTo>
                    <a:pt x="540" y="294"/>
                  </a:lnTo>
                  <a:lnTo>
                    <a:pt x="540" y="292"/>
                  </a:lnTo>
                  <a:lnTo>
                    <a:pt x="544" y="292"/>
                  </a:lnTo>
                  <a:lnTo>
                    <a:pt x="544" y="288"/>
                  </a:lnTo>
                  <a:lnTo>
                    <a:pt x="548" y="288"/>
                  </a:lnTo>
                  <a:lnTo>
                    <a:pt x="548" y="284"/>
                  </a:lnTo>
                  <a:lnTo>
                    <a:pt x="552" y="284"/>
                  </a:lnTo>
                  <a:lnTo>
                    <a:pt x="552" y="288"/>
                  </a:lnTo>
                  <a:lnTo>
                    <a:pt x="556" y="288"/>
                  </a:lnTo>
                  <a:lnTo>
                    <a:pt x="556" y="292"/>
                  </a:lnTo>
                  <a:lnTo>
                    <a:pt x="560" y="292"/>
                  </a:lnTo>
                  <a:lnTo>
                    <a:pt x="560" y="294"/>
                  </a:lnTo>
                  <a:lnTo>
                    <a:pt x="564" y="294"/>
                  </a:lnTo>
                  <a:lnTo>
                    <a:pt x="566" y="294"/>
                  </a:lnTo>
                  <a:lnTo>
                    <a:pt x="570" y="294"/>
                  </a:lnTo>
                  <a:lnTo>
                    <a:pt x="574" y="294"/>
                  </a:lnTo>
                  <a:lnTo>
                    <a:pt x="574" y="292"/>
                  </a:lnTo>
                  <a:lnTo>
                    <a:pt x="574" y="288"/>
                  </a:lnTo>
                  <a:lnTo>
                    <a:pt x="574" y="292"/>
                  </a:lnTo>
                  <a:lnTo>
                    <a:pt x="578" y="292"/>
                  </a:lnTo>
                  <a:lnTo>
                    <a:pt x="578" y="288"/>
                  </a:lnTo>
                  <a:lnTo>
                    <a:pt x="578" y="284"/>
                  </a:lnTo>
                  <a:lnTo>
                    <a:pt x="574" y="284"/>
                  </a:lnTo>
                  <a:lnTo>
                    <a:pt x="570" y="284"/>
                  </a:lnTo>
                  <a:lnTo>
                    <a:pt x="574" y="280"/>
                  </a:lnTo>
                  <a:lnTo>
                    <a:pt x="578" y="284"/>
                  </a:lnTo>
                  <a:lnTo>
                    <a:pt x="582" y="284"/>
                  </a:lnTo>
                  <a:lnTo>
                    <a:pt x="578" y="280"/>
                  </a:lnTo>
                  <a:lnTo>
                    <a:pt x="574" y="280"/>
                  </a:lnTo>
                  <a:lnTo>
                    <a:pt x="574" y="276"/>
                  </a:lnTo>
                  <a:lnTo>
                    <a:pt x="574" y="280"/>
                  </a:lnTo>
                  <a:lnTo>
                    <a:pt x="570" y="280"/>
                  </a:lnTo>
                  <a:lnTo>
                    <a:pt x="566" y="280"/>
                  </a:lnTo>
                  <a:lnTo>
                    <a:pt x="564" y="276"/>
                  </a:lnTo>
                  <a:lnTo>
                    <a:pt x="560" y="276"/>
                  </a:lnTo>
                  <a:lnTo>
                    <a:pt x="556" y="276"/>
                  </a:lnTo>
                  <a:lnTo>
                    <a:pt x="560" y="272"/>
                  </a:lnTo>
                  <a:lnTo>
                    <a:pt x="564" y="272"/>
                  </a:lnTo>
                  <a:lnTo>
                    <a:pt x="566" y="272"/>
                  </a:lnTo>
                  <a:lnTo>
                    <a:pt x="570" y="272"/>
                  </a:lnTo>
                  <a:lnTo>
                    <a:pt x="570" y="276"/>
                  </a:lnTo>
                  <a:lnTo>
                    <a:pt x="574" y="276"/>
                  </a:lnTo>
                  <a:lnTo>
                    <a:pt x="570" y="276"/>
                  </a:lnTo>
                  <a:lnTo>
                    <a:pt x="570" y="272"/>
                  </a:lnTo>
                  <a:lnTo>
                    <a:pt x="566" y="272"/>
                  </a:lnTo>
                  <a:lnTo>
                    <a:pt x="566" y="268"/>
                  </a:lnTo>
                  <a:lnTo>
                    <a:pt x="564" y="268"/>
                  </a:lnTo>
                  <a:lnTo>
                    <a:pt x="566" y="264"/>
                  </a:lnTo>
                  <a:lnTo>
                    <a:pt x="570" y="264"/>
                  </a:lnTo>
                  <a:lnTo>
                    <a:pt x="574" y="264"/>
                  </a:lnTo>
                  <a:lnTo>
                    <a:pt x="578" y="268"/>
                  </a:lnTo>
                  <a:lnTo>
                    <a:pt x="582" y="264"/>
                  </a:lnTo>
                  <a:lnTo>
                    <a:pt x="578" y="264"/>
                  </a:lnTo>
                  <a:lnTo>
                    <a:pt x="574" y="264"/>
                  </a:lnTo>
                  <a:lnTo>
                    <a:pt x="578" y="264"/>
                  </a:lnTo>
                  <a:lnTo>
                    <a:pt x="578" y="262"/>
                  </a:lnTo>
                  <a:lnTo>
                    <a:pt x="582" y="262"/>
                  </a:lnTo>
                  <a:lnTo>
                    <a:pt x="582" y="264"/>
                  </a:lnTo>
                  <a:lnTo>
                    <a:pt x="586" y="264"/>
                  </a:lnTo>
                  <a:lnTo>
                    <a:pt x="590" y="268"/>
                  </a:lnTo>
                  <a:lnTo>
                    <a:pt x="592" y="268"/>
                  </a:lnTo>
                  <a:lnTo>
                    <a:pt x="596" y="268"/>
                  </a:lnTo>
                  <a:lnTo>
                    <a:pt x="600" y="268"/>
                  </a:lnTo>
                  <a:lnTo>
                    <a:pt x="600" y="264"/>
                  </a:lnTo>
                  <a:lnTo>
                    <a:pt x="604" y="264"/>
                  </a:lnTo>
                  <a:lnTo>
                    <a:pt x="608" y="264"/>
                  </a:lnTo>
                  <a:lnTo>
                    <a:pt x="612" y="264"/>
                  </a:lnTo>
                  <a:lnTo>
                    <a:pt x="616" y="264"/>
                  </a:lnTo>
                  <a:lnTo>
                    <a:pt x="620" y="264"/>
                  </a:lnTo>
                  <a:lnTo>
                    <a:pt x="622" y="268"/>
                  </a:lnTo>
                  <a:lnTo>
                    <a:pt x="622" y="272"/>
                  </a:lnTo>
                  <a:lnTo>
                    <a:pt x="620" y="272"/>
                  </a:lnTo>
                  <a:lnTo>
                    <a:pt x="616" y="272"/>
                  </a:lnTo>
                  <a:lnTo>
                    <a:pt x="612" y="276"/>
                  </a:lnTo>
                  <a:lnTo>
                    <a:pt x="616" y="276"/>
                  </a:lnTo>
                  <a:lnTo>
                    <a:pt x="620" y="276"/>
                  </a:lnTo>
                  <a:lnTo>
                    <a:pt x="620" y="276"/>
                  </a:lnTo>
                  <a:lnTo>
                    <a:pt x="620" y="276"/>
                  </a:lnTo>
                  <a:close/>
                  <a:moveTo>
                    <a:pt x="1004" y="542"/>
                  </a:moveTo>
                  <a:lnTo>
                    <a:pt x="1000" y="542"/>
                  </a:lnTo>
                  <a:lnTo>
                    <a:pt x="996" y="542"/>
                  </a:lnTo>
                  <a:lnTo>
                    <a:pt x="992" y="538"/>
                  </a:lnTo>
                  <a:lnTo>
                    <a:pt x="988" y="538"/>
                  </a:lnTo>
                  <a:lnTo>
                    <a:pt x="992" y="538"/>
                  </a:lnTo>
                  <a:lnTo>
                    <a:pt x="992" y="534"/>
                  </a:lnTo>
                  <a:lnTo>
                    <a:pt x="988" y="534"/>
                  </a:lnTo>
                  <a:lnTo>
                    <a:pt x="988" y="538"/>
                  </a:lnTo>
                  <a:lnTo>
                    <a:pt x="984" y="534"/>
                  </a:lnTo>
                  <a:lnTo>
                    <a:pt x="980" y="534"/>
                  </a:lnTo>
                  <a:lnTo>
                    <a:pt x="980" y="530"/>
                  </a:lnTo>
                  <a:lnTo>
                    <a:pt x="980" y="526"/>
                  </a:lnTo>
                  <a:lnTo>
                    <a:pt x="976" y="526"/>
                  </a:lnTo>
                  <a:lnTo>
                    <a:pt x="974" y="526"/>
                  </a:lnTo>
                  <a:lnTo>
                    <a:pt x="976" y="526"/>
                  </a:lnTo>
                  <a:lnTo>
                    <a:pt x="980" y="526"/>
                  </a:lnTo>
                  <a:lnTo>
                    <a:pt x="984" y="526"/>
                  </a:lnTo>
                  <a:lnTo>
                    <a:pt x="984" y="522"/>
                  </a:lnTo>
                  <a:lnTo>
                    <a:pt x="988" y="522"/>
                  </a:lnTo>
                  <a:lnTo>
                    <a:pt x="984" y="522"/>
                  </a:lnTo>
                  <a:lnTo>
                    <a:pt x="980" y="522"/>
                  </a:lnTo>
                  <a:lnTo>
                    <a:pt x="980" y="520"/>
                  </a:lnTo>
                  <a:lnTo>
                    <a:pt x="976" y="520"/>
                  </a:lnTo>
                  <a:lnTo>
                    <a:pt x="976" y="522"/>
                  </a:lnTo>
                  <a:lnTo>
                    <a:pt x="974" y="520"/>
                  </a:lnTo>
                  <a:lnTo>
                    <a:pt x="974" y="522"/>
                  </a:lnTo>
                  <a:lnTo>
                    <a:pt x="970" y="520"/>
                  </a:lnTo>
                  <a:lnTo>
                    <a:pt x="974" y="520"/>
                  </a:lnTo>
                  <a:lnTo>
                    <a:pt x="974" y="516"/>
                  </a:lnTo>
                  <a:lnTo>
                    <a:pt x="970" y="516"/>
                  </a:lnTo>
                  <a:lnTo>
                    <a:pt x="970" y="520"/>
                  </a:lnTo>
                  <a:lnTo>
                    <a:pt x="970" y="516"/>
                  </a:lnTo>
                  <a:lnTo>
                    <a:pt x="966" y="516"/>
                  </a:lnTo>
                  <a:lnTo>
                    <a:pt x="970" y="512"/>
                  </a:lnTo>
                  <a:lnTo>
                    <a:pt x="966" y="512"/>
                  </a:lnTo>
                  <a:lnTo>
                    <a:pt x="966" y="516"/>
                  </a:lnTo>
                  <a:lnTo>
                    <a:pt x="966" y="512"/>
                  </a:lnTo>
                  <a:lnTo>
                    <a:pt x="962" y="512"/>
                  </a:lnTo>
                  <a:lnTo>
                    <a:pt x="962" y="508"/>
                  </a:lnTo>
                  <a:lnTo>
                    <a:pt x="958" y="508"/>
                  </a:lnTo>
                  <a:lnTo>
                    <a:pt x="954" y="504"/>
                  </a:lnTo>
                  <a:lnTo>
                    <a:pt x="958" y="500"/>
                  </a:lnTo>
                  <a:lnTo>
                    <a:pt x="958" y="496"/>
                  </a:lnTo>
                  <a:lnTo>
                    <a:pt x="958" y="500"/>
                  </a:lnTo>
                  <a:lnTo>
                    <a:pt x="954" y="500"/>
                  </a:lnTo>
                  <a:lnTo>
                    <a:pt x="954" y="496"/>
                  </a:lnTo>
                  <a:lnTo>
                    <a:pt x="950" y="496"/>
                  </a:lnTo>
                  <a:lnTo>
                    <a:pt x="950" y="500"/>
                  </a:lnTo>
                  <a:lnTo>
                    <a:pt x="948" y="500"/>
                  </a:lnTo>
                  <a:lnTo>
                    <a:pt x="950" y="500"/>
                  </a:lnTo>
                  <a:lnTo>
                    <a:pt x="948" y="504"/>
                  </a:lnTo>
                  <a:lnTo>
                    <a:pt x="948" y="500"/>
                  </a:lnTo>
                  <a:lnTo>
                    <a:pt x="948" y="496"/>
                  </a:lnTo>
                  <a:lnTo>
                    <a:pt x="944" y="496"/>
                  </a:lnTo>
                  <a:lnTo>
                    <a:pt x="944" y="500"/>
                  </a:lnTo>
                  <a:lnTo>
                    <a:pt x="940" y="500"/>
                  </a:lnTo>
                  <a:lnTo>
                    <a:pt x="940" y="496"/>
                  </a:lnTo>
                  <a:lnTo>
                    <a:pt x="940" y="494"/>
                  </a:lnTo>
                  <a:lnTo>
                    <a:pt x="936" y="494"/>
                  </a:lnTo>
                  <a:lnTo>
                    <a:pt x="936" y="496"/>
                  </a:lnTo>
                  <a:lnTo>
                    <a:pt x="936" y="494"/>
                  </a:lnTo>
                  <a:lnTo>
                    <a:pt x="932" y="494"/>
                  </a:lnTo>
                  <a:lnTo>
                    <a:pt x="936" y="496"/>
                  </a:lnTo>
                  <a:lnTo>
                    <a:pt x="940" y="496"/>
                  </a:lnTo>
                  <a:lnTo>
                    <a:pt x="940" y="500"/>
                  </a:lnTo>
                  <a:lnTo>
                    <a:pt x="940" y="504"/>
                  </a:lnTo>
                  <a:lnTo>
                    <a:pt x="936" y="504"/>
                  </a:lnTo>
                  <a:lnTo>
                    <a:pt x="932" y="504"/>
                  </a:lnTo>
                  <a:lnTo>
                    <a:pt x="932" y="500"/>
                  </a:lnTo>
                  <a:lnTo>
                    <a:pt x="932" y="504"/>
                  </a:lnTo>
                  <a:lnTo>
                    <a:pt x="928" y="504"/>
                  </a:lnTo>
                  <a:lnTo>
                    <a:pt x="928" y="500"/>
                  </a:lnTo>
                  <a:lnTo>
                    <a:pt x="924" y="500"/>
                  </a:lnTo>
                  <a:lnTo>
                    <a:pt x="920" y="500"/>
                  </a:lnTo>
                  <a:lnTo>
                    <a:pt x="924" y="500"/>
                  </a:lnTo>
                  <a:lnTo>
                    <a:pt x="924" y="504"/>
                  </a:lnTo>
                  <a:lnTo>
                    <a:pt x="920" y="504"/>
                  </a:lnTo>
                  <a:lnTo>
                    <a:pt x="920" y="500"/>
                  </a:lnTo>
                  <a:lnTo>
                    <a:pt x="924" y="504"/>
                  </a:lnTo>
                  <a:lnTo>
                    <a:pt x="920" y="504"/>
                  </a:lnTo>
                  <a:lnTo>
                    <a:pt x="918" y="504"/>
                  </a:lnTo>
                  <a:lnTo>
                    <a:pt x="918" y="508"/>
                  </a:lnTo>
                  <a:lnTo>
                    <a:pt x="914" y="508"/>
                  </a:lnTo>
                  <a:lnTo>
                    <a:pt x="910" y="508"/>
                  </a:lnTo>
                  <a:lnTo>
                    <a:pt x="906" y="508"/>
                  </a:lnTo>
                  <a:lnTo>
                    <a:pt x="902" y="508"/>
                  </a:lnTo>
                  <a:lnTo>
                    <a:pt x="898" y="508"/>
                  </a:lnTo>
                  <a:lnTo>
                    <a:pt x="898" y="504"/>
                  </a:lnTo>
                  <a:lnTo>
                    <a:pt x="894" y="504"/>
                  </a:lnTo>
                  <a:lnTo>
                    <a:pt x="890" y="504"/>
                  </a:lnTo>
                  <a:lnTo>
                    <a:pt x="888" y="500"/>
                  </a:lnTo>
                  <a:lnTo>
                    <a:pt x="888" y="496"/>
                  </a:lnTo>
                  <a:lnTo>
                    <a:pt x="890" y="494"/>
                  </a:lnTo>
                  <a:lnTo>
                    <a:pt x="888" y="490"/>
                  </a:lnTo>
                  <a:lnTo>
                    <a:pt x="890" y="490"/>
                  </a:lnTo>
                  <a:lnTo>
                    <a:pt x="894" y="486"/>
                  </a:lnTo>
                  <a:lnTo>
                    <a:pt x="898" y="486"/>
                  </a:lnTo>
                  <a:lnTo>
                    <a:pt x="902" y="486"/>
                  </a:lnTo>
                  <a:lnTo>
                    <a:pt x="898" y="482"/>
                  </a:lnTo>
                  <a:lnTo>
                    <a:pt x="902" y="482"/>
                  </a:lnTo>
                  <a:lnTo>
                    <a:pt x="898" y="478"/>
                  </a:lnTo>
                  <a:lnTo>
                    <a:pt x="902" y="478"/>
                  </a:lnTo>
                  <a:lnTo>
                    <a:pt x="906" y="478"/>
                  </a:lnTo>
                  <a:lnTo>
                    <a:pt x="910" y="482"/>
                  </a:lnTo>
                  <a:lnTo>
                    <a:pt x="914" y="482"/>
                  </a:lnTo>
                  <a:lnTo>
                    <a:pt x="918" y="482"/>
                  </a:lnTo>
                  <a:lnTo>
                    <a:pt x="920" y="482"/>
                  </a:lnTo>
                  <a:lnTo>
                    <a:pt x="920" y="486"/>
                  </a:lnTo>
                  <a:lnTo>
                    <a:pt x="924" y="486"/>
                  </a:lnTo>
                  <a:lnTo>
                    <a:pt x="928" y="490"/>
                  </a:lnTo>
                  <a:lnTo>
                    <a:pt x="924" y="490"/>
                  </a:lnTo>
                  <a:lnTo>
                    <a:pt x="924" y="494"/>
                  </a:lnTo>
                  <a:lnTo>
                    <a:pt x="928" y="494"/>
                  </a:lnTo>
                  <a:lnTo>
                    <a:pt x="928" y="496"/>
                  </a:lnTo>
                  <a:lnTo>
                    <a:pt x="928" y="494"/>
                  </a:lnTo>
                  <a:lnTo>
                    <a:pt x="924" y="494"/>
                  </a:lnTo>
                  <a:lnTo>
                    <a:pt x="928" y="494"/>
                  </a:lnTo>
                  <a:lnTo>
                    <a:pt x="928" y="490"/>
                  </a:lnTo>
                  <a:lnTo>
                    <a:pt x="932" y="490"/>
                  </a:lnTo>
                  <a:lnTo>
                    <a:pt x="932" y="486"/>
                  </a:lnTo>
                  <a:lnTo>
                    <a:pt x="928" y="486"/>
                  </a:lnTo>
                  <a:lnTo>
                    <a:pt x="928" y="490"/>
                  </a:lnTo>
                  <a:lnTo>
                    <a:pt x="928" y="486"/>
                  </a:lnTo>
                  <a:lnTo>
                    <a:pt x="924" y="486"/>
                  </a:lnTo>
                  <a:lnTo>
                    <a:pt x="920" y="486"/>
                  </a:lnTo>
                  <a:lnTo>
                    <a:pt x="920" y="482"/>
                  </a:lnTo>
                  <a:lnTo>
                    <a:pt x="924" y="482"/>
                  </a:lnTo>
                  <a:lnTo>
                    <a:pt x="928" y="482"/>
                  </a:lnTo>
                  <a:lnTo>
                    <a:pt x="932" y="482"/>
                  </a:lnTo>
                  <a:lnTo>
                    <a:pt x="936" y="482"/>
                  </a:lnTo>
                  <a:lnTo>
                    <a:pt x="940" y="482"/>
                  </a:lnTo>
                  <a:lnTo>
                    <a:pt x="944" y="478"/>
                  </a:lnTo>
                  <a:lnTo>
                    <a:pt x="948" y="478"/>
                  </a:lnTo>
                  <a:lnTo>
                    <a:pt x="950" y="478"/>
                  </a:lnTo>
                  <a:lnTo>
                    <a:pt x="954" y="478"/>
                  </a:lnTo>
                  <a:lnTo>
                    <a:pt x="954" y="474"/>
                  </a:lnTo>
                  <a:lnTo>
                    <a:pt x="950" y="474"/>
                  </a:lnTo>
                  <a:lnTo>
                    <a:pt x="950" y="470"/>
                  </a:lnTo>
                  <a:lnTo>
                    <a:pt x="948" y="470"/>
                  </a:lnTo>
                  <a:lnTo>
                    <a:pt x="948" y="466"/>
                  </a:lnTo>
                  <a:lnTo>
                    <a:pt x="944" y="466"/>
                  </a:lnTo>
                  <a:lnTo>
                    <a:pt x="944" y="464"/>
                  </a:lnTo>
                  <a:lnTo>
                    <a:pt x="940" y="464"/>
                  </a:lnTo>
                  <a:lnTo>
                    <a:pt x="944" y="460"/>
                  </a:lnTo>
                  <a:lnTo>
                    <a:pt x="948" y="460"/>
                  </a:lnTo>
                  <a:lnTo>
                    <a:pt x="950" y="456"/>
                  </a:lnTo>
                  <a:lnTo>
                    <a:pt x="954" y="452"/>
                  </a:lnTo>
                  <a:lnTo>
                    <a:pt x="958" y="448"/>
                  </a:lnTo>
                  <a:lnTo>
                    <a:pt x="962" y="448"/>
                  </a:lnTo>
                  <a:lnTo>
                    <a:pt x="962" y="444"/>
                  </a:lnTo>
                  <a:lnTo>
                    <a:pt x="966" y="440"/>
                  </a:lnTo>
                  <a:lnTo>
                    <a:pt x="970" y="440"/>
                  </a:lnTo>
                  <a:lnTo>
                    <a:pt x="970" y="436"/>
                  </a:lnTo>
                  <a:lnTo>
                    <a:pt x="974" y="436"/>
                  </a:lnTo>
                  <a:lnTo>
                    <a:pt x="974" y="434"/>
                  </a:lnTo>
                  <a:lnTo>
                    <a:pt x="970" y="434"/>
                  </a:lnTo>
                  <a:lnTo>
                    <a:pt x="970" y="430"/>
                  </a:lnTo>
                  <a:lnTo>
                    <a:pt x="970" y="426"/>
                  </a:lnTo>
                  <a:lnTo>
                    <a:pt x="966" y="426"/>
                  </a:lnTo>
                  <a:lnTo>
                    <a:pt x="966" y="422"/>
                  </a:lnTo>
                  <a:lnTo>
                    <a:pt x="970" y="422"/>
                  </a:lnTo>
                  <a:lnTo>
                    <a:pt x="966" y="422"/>
                  </a:lnTo>
                  <a:lnTo>
                    <a:pt x="966" y="418"/>
                  </a:lnTo>
                  <a:lnTo>
                    <a:pt x="962" y="418"/>
                  </a:lnTo>
                  <a:lnTo>
                    <a:pt x="962" y="414"/>
                  </a:lnTo>
                  <a:lnTo>
                    <a:pt x="962" y="410"/>
                  </a:lnTo>
                  <a:lnTo>
                    <a:pt x="958" y="410"/>
                  </a:lnTo>
                  <a:lnTo>
                    <a:pt x="954" y="410"/>
                  </a:lnTo>
                  <a:lnTo>
                    <a:pt x="954" y="408"/>
                  </a:lnTo>
                  <a:lnTo>
                    <a:pt x="958" y="408"/>
                  </a:lnTo>
                  <a:lnTo>
                    <a:pt x="954" y="408"/>
                  </a:lnTo>
                  <a:lnTo>
                    <a:pt x="954" y="410"/>
                  </a:lnTo>
                  <a:lnTo>
                    <a:pt x="950" y="408"/>
                  </a:lnTo>
                  <a:lnTo>
                    <a:pt x="950" y="404"/>
                  </a:lnTo>
                  <a:lnTo>
                    <a:pt x="950" y="400"/>
                  </a:lnTo>
                  <a:lnTo>
                    <a:pt x="948" y="400"/>
                  </a:lnTo>
                  <a:lnTo>
                    <a:pt x="950" y="404"/>
                  </a:lnTo>
                  <a:lnTo>
                    <a:pt x="948" y="404"/>
                  </a:lnTo>
                  <a:lnTo>
                    <a:pt x="944" y="404"/>
                  </a:lnTo>
                  <a:lnTo>
                    <a:pt x="940" y="400"/>
                  </a:lnTo>
                  <a:lnTo>
                    <a:pt x="936" y="400"/>
                  </a:lnTo>
                  <a:lnTo>
                    <a:pt x="936" y="396"/>
                  </a:lnTo>
                  <a:lnTo>
                    <a:pt x="940" y="396"/>
                  </a:lnTo>
                  <a:lnTo>
                    <a:pt x="936" y="396"/>
                  </a:lnTo>
                  <a:lnTo>
                    <a:pt x="940" y="396"/>
                  </a:lnTo>
                  <a:lnTo>
                    <a:pt x="936" y="396"/>
                  </a:lnTo>
                  <a:lnTo>
                    <a:pt x="936" y="392"/>
                  </a:lnTo>
                  <a:lnTo>
                    <a:pt x="932" y="392"/>
                  </a:lnTo>
                  <a:lnTo>
                    <a:pt x="936" y="392"/>
                  </a:lnTo>
                  <a:lnTo>
                    <a:pt x="940" y="392"/>
                  </a:lnTo>
                  <a:lnTo>
                    <a:pt x="940" y="388"/>
                  </a:lnTo>
                  <a:lnTo>
                    <a:pt x="936" y="388"/>
                  </a:lnTo>
                  <a:lnTo>
                    <a:pt x="932" y="392"/>
                  </a:lnTo>
                  <a:lnTo>
                    <a:pt x="928" y="392"/>
                  </a:lnTo>
                  <a:lnTo>
                    <a:pt x="924" y="392"/>
                  </a:lnTo>
                  <a:lnTo>
                    <a:pt x="924" y="396"/>
                  </a:lnTo>
                  <a:lnTo>
                    <a:pt x="920" y="396"/>
                  </a:lnTo>
                  <a:lnTo>
                    <a:pt x="918" y="396"/>
                  </a:lnTo>
                  <a:lnTo>
                    <a:pt x="918" y="400"/>
                  </a:lnTo>
                  <a:lnTo>
                    <a:pt x="914" y="400"/>
                  </a:lnTo>
                  <a:lnTo>
                    <a:pt x="910" y="400"/>
                  </a:lnTo>
                  <a:lnTo>
                    <a:pt x="910" y="396"/>
                  </a:lnTo>
                  <a:lnTo>
                    <a:pt x="914" y="396"/>
                  </a:lnTo>
                  <a:lnTo>
                    <a:pt x="910" y="396"/>
                  </a:lnTo>
                  <a:lnTo>
                    <a:pt x="910" y="392"/>
                  </a:lnTo>
                  <a:lnTo>
                    <a:pt x="914" y="388"/>
                  </a:lnTo>
                  <a:lnTo>
                    <a:pt x="918" y="388"/>
                  </a:lnTo>
                  <a:lnTo>
                    <a:pt x="918" y="392"/>
                  </a:lnTo>
                  <a:lnTo>
                    <a:pt x="920" y="392"/>
                  </a:lnTo>
                  <a:lnTo>
                    <a:pt x="920" y="388"/>
                  </a:lnTo>
                  <a:lnTo>
                    <a:pt x="924" y="388"/>
                  </a:lnTo>
                  <a:lnTo>
                    <a:pt x="924" y="384"/>
                  </a:lnTo>
                  <a:lnTo>
                    <a:pt x="920" y="384"/>
                  </a:lnTo>
                  <a:lnTo>
                    <a:pt x="920" y="380"/>
                  </a:lnTo>
                  <a:lnTo>
                    <a:pt x="918" y="380"/>
                  </a:lnTo>
                  <a:lnTo>
                    <a:pt x="914" y="380"/>
                  </a:lnTo>
                  <a:lnTo>
                    <a:pt x="910" y="378"/>
                  </a:lnTo>
                  <a:lnTo>
                    <a:pt x="914" y="374"/>
                  </a:lnTo>
                  <a:lnTo>
                    <a:pt x="918" y="374"/>
                  </a:lnTo>
                  <a:lnTo>
                    <a:pt x="914" y="374"/>
                  </a:lnTo>
                  <a:lnTo>
                    <a:pt x="910" y="374"/>
                  </a:lnTo>
                  <a:lnTo>
                    <a:pt x="914" y="374"/>
                  </a:lnTo>
                  <a:lnTo>
                    <a:pt x="910" y="378"/>
                  </a:lnTo>
                  <a:lnTo>
                    <a:pt x="906" y="378"/>
                  </a:lnTo>
                  <a:lnTo>
                    <a:pt x="902" y="374"/>
                  </a:lnTo>
                  <a:lnTo>
                    <a:pt x="906" y="374"/>
                  </a:lnTo>
                  <a:lnTo>
                    <a:pt x="910" y="374"/>
                  </a:lnTo>
                  <a:lnTo>
                    <a:pt x="906" y="370"/>
                  </a:lnTo>
                  <a:lnTo>
                    <a:pt x="902" y="370"/>
                  </a:lnTo>
                  <a:lnTo>
                    <a:pt x="906" y="366"/>
                  </a:lnTo>
                  <a:lnTo>
                    <a:pt x="902" y="366"/>
                  </a:lnTo>
                  <a:lnTo>
                    <a:pt x="902" y="370"/>
                  </a:lnTo>
                  <a:lnTo>
                    <a:pt x="898" y="370"/>
                  </a:lnTo>
                  <a:lnTo>
                    <a:pt x="898" y="374"/>
                  </a:lnTo>
                  <a:lnTo>
                    <a:pt x="894" y="374"/>
                  </a:lnTo>
                  <a:lnTo>
                    <a:pt x="894" y="370"/>
                  </a:lnTo>
                  <a:lnTo>
                    <a:pt x="894" y="366"/>
                  </a:lnTo>
                  <a:lnTo>
                    <a:pt x="894" y="362"/>
                  </a:lnTo>
                  <a:lnTo>
                    <a:pt x="894" y="358"/>
                  </a:lnTo>
                  <a:lnTo>
                    <a:pt x="890" y="358"/>
                  </a:lnTo>
                  <a:lnTo>
                    <a:pt x="888" y="358"/>
                  </a:lnTo>
                  <a:lnTo>
                    <a:pt x="888" y="362"/>
                  </a:lnTo>
                  <a:lnTo>
                    <a:pt x="884" y="358"/>
                  </a:lnTo>
                  <a:lnTo>
                    <a:pt x="884" y="354"/>
                  </a:lnTo>
                  <a:lnTo>
                    <a:pt x="884" y="358"/>
                  </a:lnTo>
                  <a:lnTo>
                    <a:pt x="880" y="354"/>
                  </a:lnTo>
                  <a:lnTo>
                    <a:pt x="876" y="354"/>
                  </a:lnTo>
                  <a:lnTo>
                    <a:pt x="876" y="350"/>
                  </a:lnTo>
                  <a:lnTo>
                    <a:pt x="880" y="350"/>
                  </a:lnTo>
                  <a:lnTo>
                    <a:pt x="876" y="350"/>
                  </a:lnTo>
                  <a:lnTo>
                    <a:pt x="876" y="348"/>
                  </a:lnTo>
                  <a:lnTo>
                    <a:pt x="876" y="350"/>
                  </a:lnTo>
                  <a:lnTo>
                    <a:pt x="876" y="354"/>
                  </a:lnTo>
                  <a:lnTo>
                    <a:pt x="872" y="354"/>
                  </a:lnTo>
                  <a:lnTo>
                    <a:pt x="868" y="354"/>
                  </a:lnTo>
                  <a:lnTo>
                    <a:pt x="872" y="354"/>
                  </a:lnTo>
                  <a:lnTo>
                    <a:pt x="872" y="358"/>
                  </a:lnTo>
                  <a:lnTo>
                    <a:pt x="876" y="358"/>
                  </a:lnTo>
                  <a:lnTo>
                    <a:pt x="880" y="358"/>
                  </a:lnTo>
                  <a:lnTo>
                    <a:pt x="880" y="362"/>
                  </a:lnTo>
                  <a:lnTo>
                    <a:pt x="880" y="366"/>
                  </a:lnTo>
                  <a:lnTo>
                    <a:pt x="880" y="370"/>
                  </a:lnTo>
                  <a:lnTo>
                    <a:pt x="876" y="370"/>
                  </a:lnTo>
                  <a:lnTo>
                    <a:pt x="872" y="370"/>
                  </a:lnTo>
                  <a:lnTo>
                    <a:pt x="868" y="370"/>
                  </a:lnTo>
                  <a:lnTo>
                    <a:pt x="864" y="370"/>
                  </a:lnTo>
                  <a:lnTo>
                    <a:pt x="864" y="366"/>
                  </a:lnTo>
                  <a:lnTo>
                    <a:pt x="862" y="366"/>
                  </a:lnTo>
                  <a:lnTo>
                    <a:pt x="858" y="366"/>
                  </a:lnTo>
                  <a:lnTo>
                    <a:pt x="854" y="366"/>
                  </a:lnTo>
                  <a:lnTo>
                    <a:pt x="850" y="366"/>
                  </a:lnTo>
                  <a:lnTo>
                    <a:pt x="850" y="362"/>
                  </a:lnTo>
                  <a:lnTo>
                    <a:pt x="846" y="362"/>
                  </a:lnTo>
                  <a:lnTo>
                    <a:pt x="842" y="362"/>
                  </a:lnTo>
                  <a:lnTo>
                    <a:pt x="838" y="362"/>
                  </a:lnTo>
                  <a:lnTo>
                    <a:pt x="838" y="366"/>
                  </a:lnTo>
                  <a:lnTo>
                    <a:pt x="842" y="366"/>
                  </a:lnTo>
                  <a:lnTo>
                    <a:pt x="846" y="366"/>
                  </a:lnTo>
                  <a:lnTo>
                    <a:pt x="846" y="370"/>
                  </a:lnTo>
                  <a:lnTo>
                    <a:pt x="850" y="370"/>
                  </a:lnTo>
                  <a:lnTo>
                    <a:pt x="854" y="374"/>
                  </a:lnTo>
                  <a:lnTo>
                    <a:pt x="850" y="374"/>
                  </a:lnTo>
                  <a:lnTo>
                    <a:pt x="846" y="374"/>
                  </a:lnTo>
                  <a:lnTo>
                    <a:pt x="846" y="370"/>
                  </a:lnTo>
                  <a:lnTo>
                    <a:pt x="842" y="370"/>
                  </a:lnTo>
                  <a:lnTo>
                    <a:pt x="842" y="366"/>
                  </a:lnTo>
                  <a:lnTo>
                    <a:pt x="838" y="366"/>
                  </a:lnTo>
                  <a:lnTo>
                    <a:pt x="834" y="366"/>
                  </a:lnTo>
                  <a:lnTo>
                    <a:pt x="834" y="362"/>
                  </a:lnTo>
                  <a:lnTo>
                    <a:pt x="832" y="362"/>
                  </a:lnTo>
                  <a:lnTo>
                    <a:pt x="828" y="362"/>
                  </a:lnTo>
                  <a:lnTo>
                    <a:pt x="824" y="358"/>
                  </a:lnTo>
                  <a:lnTo>
                    <a:pt x="820" y="358"/>
                  </a:lnTo>
                  <a:lnTo>
                    <a:pt x="824" y="358"/>
                  </a:lnTo>
                  <a:lnTo>
                    <a:pt x="824" y="362"/>
                  </a:lnTo>
                  <a:lnTo>
                    <a:pt x="828" y="362"/>
                  </a:lnTo>
                  <a:lnTo>
                    <a:pt x="832" y="362"/>
                  </a:lnTo>
                  <a:lnTo>
                    <a:pt x="834" y="366"/>
                  </a:lnTo>
                  <a:lnTo>
                    <a:pt x="838" y="366"/>
                  </a:lnTo>
                  <a:lnTo>
                    <a:pt x="838" y="370"/>
                  </a:lnTo>
                  <a:lnTo>
                    <a:pt x="834" y="370"/>
                  </a:lnTo>
                  <a:lnTo>
                    <a:pt x="832" y="370"/>
                  </a:lnTo>
                  <a:lnTo>
                    <a:pt x="828" y="370"/>
                  </a:lnTo>
                  <a:lnTo>
                    <a:pt x="824" y="370"/>
                  </a:lnTo>
                  <a:lnTo>
                    <a:pt x="820" y="366"/>
                  </a:lnTo>
                  <a:lnTo>
                    <a:pt x="816" y="366"/>
                  </a:lnTo>
                  <a:lnTo>
                    <a:pt x="812" y="366"/>
                  </a:lnTo>
                  <a:lnTo>
                    <a:pt x="808" y="366"/>
                  </a:lnTo>
                  <a:lnTo>
                    <a:pt x="806" y="366"/>
                  </a:lnTo>
                  <a:lnTo>
                    <a:pt x="802" y="366"/>
                  </a:lnTo>
                  <a:lnTo>
                    <a:pt x="798" y="366"/>
                  </a:lnTo>
                  <a:lnTo>
                    <a:pt x="794" y="366"/>
                  </a:lnTo>
                  <a:lnTo>
                    <a:pt x="790" y="362"/>
                  </a:lnTo>
                  <a:lnTo>
                    <a:pt x="786" y="362"/>
                  </a:lnTo>
                  <a:lnTo>
                    <a:pt x="782" y="362"/>
                  </a:lnTo>
                  <a:lnTo>
                    <a:pt x="778" y="362"/>
                  </a:lnTo>
                  <a:lnTo>
                    <a:pt x="778" y="366"/>
                  </a:lnTo>
                  <a:lnTo>
                    <a:pt x="782" y="362"/>
                  </a:lnTo>
                  <a:lnTo>
                    <a:pt x="786" y="366"/>
                  </a:lnTo>
                  <a:lnTo>
                    <a:pt x="790" y="366"/>
                  </a:lnTo>
                  <a:lnTo>
                    <a:pt x="786" y="366"/>
                  </a:lnTo>
                  <a:lnTo>
                    <a:pt x="782" y="366"/>
                  </a:lnTo>
                  <a:lnTo>
                    <a:pt x="778" y="366"/>
                  </a:lnTo>
                  <a:lnTo>
                    <a:pt x="776" y="366"/>
                  </a:lnTo>
                  <a:lnTo>
                    <a:pt x="776" y="362"/>
                  </a:lnTo>
                  <a:lnTo>
                    <a:pt x="772" y="362"/>
                  </a:lnTo>
                  <a:lnTo>
                    <a:pt x="772" y="358"/>
                  </a:lnTo>
                  <a:lnTo>
                    <a:pt x="768" y="354"/>
                  </a:lnTo>
                  <a:lnTo>
                    <a:pt x="772" y="354"/>
                  </a:lnTo>
                  <a:lnTo>
                    <a:pt x="776" y="354"/>
                  </a:lnTo>
                  <a:lnTo>
                    <a:pt x="772" y="354"/>
                  </a:lnTo>
                  <a:lnTo>
                    <a:pt x="772" y="350"/>
                  </a:lnTo>
                  <a:lnTo>
                    <a:pt x="772" y="354"/>
                  </a:lnTo>
                  <a:lnTo>
                    <a:pt x="768" y="354"/>
                  </a:lnTo>
                  <a:lnTo>
                    <a:pt x="768" y="358"/>
                  </a:lnTo>
                  <a:lnTo>
                    <a:pt x="764" y="358"/>
                  </a:lnTo>
                  <a:lnTo>
                    <a:pt x="764" y="354"/>
                  </a:lnTo>
                  <a:lnTo>
                    <a:pt x="760" y="354"/>
                  </a:lnTo>
                  <a:lnTo>
                    <a:pt x="764" y="354"/>
                  </a:lnTo>
                  <a:lnTo>
                    <a:pt x="764" y="358"/>
                  </a:lnTo>
                  <a:lnTo>
                    <a:pt x="760" y="358"/>
                  </a:lnTo>
                  <a:lnTo>
                    <a:pt x="756" y="358"/>
                  </a:lnTo>
                  <a:lnTo>
                    <a:pt x="752" y="358"/>
                  </a:lnTo>
                  <a:lnTo>
                    <a:pt x="756" y="358"/>
                  </a:lnTo>
                  <a:lnTo>
                    <a:pt x="752" y="358"/>
                  </a:lnTo>
                  <a:lnTo>
                    <a:pt x="748" y="358"/>
                  </a:lnTo>
                  <a:lnTo>
                    <a:pt x="746" y="358"/>
                  </a:lnTo>
                  <a:lnTo>
                    <a:pt x="748" y="358"/>
                  </a:lnTo>
                  <a:lnTo>
                    <a:pt x="748" y="354"/>
                  </a:lnTo>
                  <a:lnTo>
                    <a:pt x="746" y="354"/>
                  </a:lnTo>
                  <a:lnTo>
                    <a:pt x="742" y="354"/>
                  </a:lnTo>
                  <a:lnTo>
                    <a:pt x="738" y="354"/>
                  </a:lnTo>
                  <a:lnTo>
                    <a:pt x="738" y="350"/>
                  </a:lnTo>
                  <a:lnTo>
                    <a:pt x="734" y="350"/>
                  </a:lnTo>
                  <a:lnTo>
                    <a:pt x="734" y="348"/>
                  </a:lnTo>
                  <a:lnTo>
                    <a:pt x="732" y="348"/>
                  </a:lnTo>
                  <a:lnTo>
                    <a:pt x="732" y="344"/>
                  </a:lnTo>
                  <a:lnTo>
                    <a:pt x="734" y="340"/>
                  </a:lnTo>
                  <a:lnTo>
                    <a:pt x="732" y="340"/>
                  </a:lnTo>
                  <a:lnTo>
                    <a:pt x="728" y="340"/>
                  </a:lnTo>
                  <a:lnTo>
                    <a:pt x="728" y="336"/>
                  </a:lnTo>
                  <a:lnTo>
                    <a:pt x="732" y="340"/>
                  </a:lnTo>
                  <a:lnTo>
                    <a:pt x="734" y="340"/>
                  </a:lnTo>
                  <a:lnTo>
                    <a:pt x="738" y="340"/>
                  </a:lnTo>
                  <a:lnTo>
                    <a:pt x="742" y="340"/>
                  </a:lnTo>
                  <a:lnTo>
                    <a:pt x="746" y="340"/>
                  </a:lnTo>
                  <a:lnTo>
                    <a:pt x="748" y="344"/>
                  </a:lnTo>
                  <a:lnTo>
                    <a:pt x="752" y="340"/>
                  </a:lnTo>
                  <a:lnTo>
                    <a:pt x="756" y="340"/>
                  </a:lnTo>
                  <a:lnTo>
                    <a:pt x="760" y="340"/>
                  </a:lnTo>
                  <a:lnTo>
                    <a:pt x="764" y="340"/>
                  </a:lnTo>
                  <a:lnTo>
                    <a:pt x="760" y="340"/>
                  </a:lnTo>
                  <a:lnTo>
                    <a:pt x="756" y="340"/>
                  </a:lnTo>
                  <a:lnTo>
                    <a:pt x="756" y="336"/>
                  </a:lnTo>
                  <a:lnTo>
                    <a:pt x="752" y="336"/>
                  </a:lnTo>
                  <a:lnTo>
                    <a:pt x="752" y="332"/>
                  </a:lnTo>
                  <a:lnTo>
                    <a:pt x="748" y="332"/>
                  </a:lnTo>
                  <a:lnTo>
                    <a:pt x="748" y="336"/>
                  </a:lnTo>
                  <a:lnTo>
                    <a:pt x="746" y="332"/>
                  </a:lnTo>
                  <a:lnTo>
                    <a:pt x="742" y="332"/>
                  </a:lnTo>
                  <a:lnTo>
                    <a:pt x="738" y="332"/>
                  </a:lnTo>
                  <a:lnTo>
                    <a:pt x="734" y="332"/>
                  </a:lnTo>
                  <a:lnTo>
                    <a:pt x="732" y="332"/>
                  </a:lnTo>
                  <a:lnTo>
                    <a:pt x="728" y="332"/>
                  </a:lnTo>
                  <a:lnTo>
                    <a:pt x="724" y="332"/>
                  </a:lnTo>
                  <a:lnTo>
                    <a:pt x="724" y="328"/>
                  </a:lnTo>
                  <a:lnTo>
                    <a:pt x="720" y="324"/>
                  </a:lnTo>
                  <a:lnTo>
                    <a:pt x="724" y="324"/>
                  </a:lnTo>
                  <a:lnTo>
                    <a:pt x="724" y="322"/>
                  </a:lnTo>
                  <a:lnTo>
                    <a:pt x="724" y="318"/>
                  </a:lnTo>
                  <a:lnTo>
                    <a:pt x="720" y="318"/>
                  </a:lnTo>
                  <a:lnTo>
                    <a:pt x="720" y="314"/>
                  </a:lnTo>
                  <a:lnTo>
                    <a:pt x="724" y="314"/>
                  </a:lnTo>
                  <a:lnTo>
                    <a:pt x="724" y="310"/>
                  </a:lnTo>
                  <a:lnTo>
                    <a:pt x="728" y="310"/>
                  </a:lnTo>
                  <a:lnTo>
                    <a:pt x="724" y="310"/>
                  </a:lnTo>
                  <a:lnTo>
                    <a:pt x="724" y="306"/>
                  </a:lnTo>
                  <a:lnTo>
                    <a:pt x="724" y="302"/>
                  </a:lnTo>
                  <a:lnTo>
                    <a:pt x="724" y="298"/>
                  </a:lnTo>
                  <a:lnTo>
                    <a:pt x="728" y="298"/>
                  </a:lnTo>
                  <a:lnTo>
                    <a:pt x="728" y="294"/>
                  </a:lnTo>
                  <a:lnTo>
                    <a:pt x="732" y="294"/>
                  </a:lnTo>
                  <a:lnTo>
                    <a:pt x="732" y="288"/>
                  </a:lnTo>
                  <a:lnTo>
                    <a:pt x="732" y="284"/>
                  </a:lnTo>
                  <a:lnTo>
                    <a:pt x="734" y="280"/>
                  </a:lnTo>
                  <a:lnTo>
                    <a:pt x="738" y="280"/>
                  </a:lnTo>
                  <a:lnTo>
                    <a:pt x="738" y="276"/>
                  </a:lnTo>
                  <a:lnTo>
                    <a:pt x="742" y="276"/>
                  </a:lnTo>
                  <a:lnTo>
                    <a:pt x="742" y="272"/>
                  </a:lnTo>
                  <a:lnTo>
                    <a:pt x="746" y="272"/>
                  </a:lnTo>
                  <a:lnTo>
                    <a:pt x="748" y="272"/>
                  </a:lnTo>
                  <a:lnTo>
                    <a:pt x="748" y="268"/>
                  </a:lnTo>
                  <a:lnTo>
                    <a:pt x="752" y="268"/>
                  </a:lnTo>
                  <a:lnTo>
                    <a:pt x="756" y="268"/>
                  </a:lnTo>
                  <a:lnTo>
                    <a:pt x="760" y="264"/>
                  </a:lnTo>
                  <a:lnTo>
                    <a:pt x="764" y="264"/>
                  </a:lnTo>
                  <a:lnTo>
                    <a:pt x="768" y="264"/>
                  </a:lnTo>
                  <a:lnTo>
                    <a:pt x="772" y="264"/>
                  </a:lnTo>
                  <a:lnTo>
                    <a:pt x="776" y="264"/>
                  </a:lnTo>
                  <a:lnTo>
                    <a:pt x="782" y="264"/>
                  </a:lnTo>
                  <a:lnTo>
                    <a:pt x="786" y="264"/>
                  </a:lnTo>
                  <a:lnTo>
                    <a:pt x="790" y="264"/>
                  </a:lnTo>
                  <a:lnTo>
                    <a:pt x="794" y="268"/>
                  </a:lnTo>
                  <a:lnTo>
                    <a:pt x="790" y="268"/>
                  </a:lnTo>
                  <a:lnTo>
                    <a:pt x="786" y="272"/>
                  </a:lnTo>
                  <a:lnTo>
                    <a:pt x="782" y="276"/>
                  </a:lnTo>
                  <a:lnTo>
                    <a:pt x="778" y="276"/>
                  </a:lnTo>
                  <a:lnTo>
                    <a:pt x="778" y="280"/>
                  </a:lnTo>
                  <a:lnTo>
                    <a:pt x="776" y="280"/>
                  </a:lnTo>
                  <a:lnTo>
                    <a:pt x="776" y="284"/>
                  </a:lnTo>
                  <a:lnTo>
                    <a:pt x="776" y="288"/>
                  </a:lnTo>
                  <a:lnTo>
                    <a:pt x="772" y="288"/>
                  </a:lnTo>
                  <a:lnTo>
                    <a:pt x="768" y="292"/>
                  </a:lnTo>
                  <a:lnTo>
                    <a:pt x="768" y="294"/>
                  </a:lnTo>
                  <a:lnTo>
                    <a:pt x="768" y="298"/>
                  </a:lnTo>
                  <a:lnTo>
                    <a:pt x="772" y="298"/>
                  </a:lnTo>
                  <a:lnTo>
                    <a:pt x="772" y="302"/>
                  </a:lnTo>
                  <a:lnTo>
                    <a:pt x="776" y="302"/>
                  </a:lnTo>
                  <a:lnTo>
                    <a:pt x="772" y="306"/>
                  </a:lnTo>
                  <a:lnTo>
                    <a:pt x="772" y="310"/>
                  </a:lnTo>
                  <a:lnTo>
                    <a:pt x="772" y="314"/>
                  </a:lnTo>
                  <a:lnTo>
                    <a:pt x="776" y="318"/>
                  </a:lnTo>
                  <a:lnTo>
                    <a:pt x="776" y="322"/>
                  </a:lnTo>
                  <a:lnTo>
                    <a:pt x="778" y="322"/>
                  </a:lnTo>
                  <a:lnTo>
                    <a:pt x="786" y="328"/>
                  </a:lnTo>
                  <a:lnTo>
                    <a:pt x="790" y="328"/>
                  </a:lnTo>
                  <a:lnTo>
                    <a:pt x="794" y="328"/>
                  </a:lnTo>
                  <a:lnTo>
                    <a:pt x="794" y="332"/>
                  </a:lnTo>
                  <a:lnTo>
                    <a:pt x="790" y="332"/>
                  </a:lnTo>
                  <a:lnTo>
                    <a:pt x="786" y="336"/>
                  </a:lnTo>
                  <a:lnTo>
                    <a:pt x="782" y="336"/>
                  </a:lnTo>
                  <a:lnTo>
                    <a:pt x="778" y="336"/>
                  </a:lnTo>
                  <a:lnTo>
                    <a:pt x="776" y="336"/>
                  </a:lnTo>
                  <a:lnTo>
                    <a:pt x="776" y="340"/>
                  </a:lnTo>
                  <a:lnTo>
                    <a:pt x="772" y="340"/>
                  </a:lnTo>
                  <a:lnTo>
                    <a:pt x="768" y="340"/>
                  </a:lnTo>
                  <a:lnTo>
                    <a:pt x="772" y="340"/>
                  </a:lnTo>
                  <a:lnTo>
                    <a:pt x="776" y="340"/>
                  </a:lnTo>
                  <a:lnTo>
                    <a:pt x="778" y="340"/>
                  </a:lnTo>
                  <a:lnTo>
                    <a:pt x="778" y="336"/>
                  </a:lnTo>
                  <a:lnTo>
                    <a:pt x="782" y="336"/>
                  </a:lnTo>
                  <a:lnTo>
                    <a:pt x="786" y="336"/>
                  </a:lnTo>
                  <a:lnTo>
                    <a:pt x="790" y="336"/>
                  </a:lnTo>
                  <a:lnTo>
                    <a:pt x="794" y="336"/>
                  </a:lnTo>
                  <a:lnTo>
                    <a:pt x="794" y="340"/>
                  </a:lnTo>
                  <a:lnTo>
                    <a:pt x="794" y="336"/>
                  </a:lnTo>
                  <a:lnTo>
                    <a:pt x="790" y="336"/>
                  </a:lnTo>
                  <a:lnTo>
                    <a:pt x="790" y="340"/>
                  </a:lnTo>
                  <a:lnTo>
                    <a:pt x="794" y="340"/>
                  </a:lnTo>
                  <a:lnTo>
                    <a:pt x="794" y="344"/>
                  </a:lnTo>
                  <a:lnTo>
                    <a:pt x="794" y="340"/>
                  </a:lnTo>
                  <a:lnTo>
                    <a:pt x="794" y="336"/>
                  </a:lnTo>
                  <a:lnTo>
                    <a:pt x="794" y="332"/>
                  </a:lnTo>
                  <a:lnTo>
                    <a:pt x="794" y="328"/>
                  </a:lnTo>
                  <a:lnTo>
                    <a:pt x="798" y="328"/>
                  </a:lnTo>
                  <a:lnTo>
                    <a:pt x="798" y="324"/>
                  </a:lnTo>
                  <a:lnTo>
                    <a:pt x="798" y="322"/>
                  </a:lnTo>
                  <a:lnTo>
                    <a:pt x="794" y="322"/>
                  </a:lnTo>
                  <a:lnTo>
                    <a:pt x="794" y="324"/>
                  </a:lnTo>
                  <a:lnTo>
                    <a:pt x="790" y="324"/>
                  </a:lnTo>
                  <a:lnTo>
                    <a:pt x="790" y="322"/>
                  </a:lnTo>
                  <a:lnTo>
                    <a:pt x="786" y="322"/>
                  </a:lnTo>
                  <a:lnTo>
                    <a:pt x="782" y="322"/>
                  </a:lnTo>
                  <a:lnTo>
                    <a:pt x="786" y="322"/>
                  </a:lnTo>
                  <a:lnTo>
                    <a:pt x="786" y="318"/>
                  </a:lnTo>
                  <a:lnTo>
                    <a:pt x="782" y="318"/>
                  </a:lnTo>
                  <a:lnTo>
                    <a:pt x="778" y="314"/>
                  </a:lnTo>
                  <a:lnTo>
                    <a:pt x="776" y="314"/>
                  </a:lnTo>
                  <a:lnTo>
                    <a:pt x="778" y="314"/>
                  </a:lnTo>
                  <a:lnTo>
                    <a:pt x="782" y="314"/>
                  </a:lnTo>
                  <a:lnTo>
                    <a:pt x="786" y="314"/>
                  </a:lnTo>
                  <a:lnTo>
                    <a:pt x="786" y="310"/>
                  </a:lnTo>
                  <a:lnTo>
                    <a:pt x="786" y="306"/>
                  </a:lnTo>
                  <a:lnTo>
                    <a:pt x="790" y="306"/>
                  </a:lnTo>
                  <a:lnTo>
                    <a:pt x="794" y="306"/>
                  </a:lnTo>
                  <a:lnTo>
                    <a:pt x="794" y="310"/>
                  </a:lnTo>
                  <a:lnTo>
                    <a:pt x="798" y="310"/>
                  </a:lnTo>
                  <a:lnTo>
                    <a:pt x="802" y="314"/>
                  </a:lnTo>
                  <a:lnTo>
                    <a:pt x="802" y="318"/>
                  </a:lnTo>
                  <a:lnTo>
                    <a:pt x="806" y="318"/>
                  </a:lnTo>
                  <a:lnTo>
                    <a:pt x="806" y="314"/>
                  </a:lnTo>
                  <a:lnTo>
                    <a:pt x="802" y="314"/>
                  </a:lnTo>
                  <a:lnTo>
                    <a:pt x="802" y="310"/>
                  </a:lnTo>
                  <a:lnTo>
                    <a:pt x="798" y="310"/>
                  </a:lnTo>
                  <a:lnTo>
                    <a:pt x="794" y="310"/>
                  </a:lnTo>
                  <a:lnTo>
                    <a:pt x="794" y="306"/>
                  </a:lnTo>
                  <a:lnTo>
                    <a:pt x="798" y="306"/>
                  </a:lnTo>
                  <a:lnTo>
                    <a:pt x="802" y="302"/>
                  </a:lnTo>
                  <a:lnTo>
                    <a:pt x="798" y="302"/>
                  </a:lnTo>
                  <a:lnTo>
                    <a:pt x="798" y="306"/>
                  </a:lnTo>
                  <a:lnTo>
                    <a:pt x="794" y="306"/>
                  </a:lnTo>
                  <a:lnTo>
                    <a:pt x="794" y="302"/>
                  </a:lnTo>
                  <a:lnTo>
                    <a:pt x="790" y="302"/>
                  </a:lnTo>
                  <a:lnTo>
                    <a:pt x="790" y="306"/>
                  </a:lnTo>
                  <a:lnTo>
                    <a:pt x="786" y="302"/>
                  </a:lnTo>
                  <a:lnTo>
                    <a:pt x="782" y="302"/>
                  </a:lnTo>
                  <a:lnTo>
                    <a:pt x="782" y="298"/>
                  </a:lnTo>
                  <a:lnTo>
                    <a:pt x="786" y="298"/>
                  </a:lnTo>
                  <a:lnTo>
                    <a:pt x="782" y="298"/>
                  </a:lnTo>
                  <a:lnTo>
                    <a:pt x="782" y="294"/>
                  </a:lnTo>
                  <a:lnTo>
                    <a:pt x="782" y="292"/>
                  </a:lnTo>
                  <a:lnTo>
                    <a:pt x="782" y="288"/>
                  </a:lnTo>
                  <a:lnTo>
                    <a:pt x="786" y="288"/>
                  </a:lnTo>
                  <a:lnTo>
                    <a:pt x="790" y="292"/>
                  </a:lnTo>
                  <a:lnTo>
                    <a:pt x="794" y="292"/>
                  </a:lnTo>
                  <a:lnTo>
                    <a:pt x="798" y="292"/>
                  </a:lnTo>
                  <a:lnTo>
                    <a:pt x="802" y="292"/>
                  </a:lnTo>
                  <a:lnTo>
                    <a:pt x="802" y="294"/>
                  </a:lnTo>
                  <a:lnTo>
                    <a:pt x="806" y="294"/>
                  </a:lnTo>
                  <a:lnTo>
                    <a:pt x="802" y="294"/>
                  </a:lnTo>
                  <a:lnTo>
                    <a:pt x="802" y="292"/>
                  </a:lnTo>
                  <a:lnTo>
                    <a:pt x="798" y="292"/>
                  </a:lnTo>
                  <a:lnTo>
                    <a:pt x="794" y="292"/>
                  </a:lnTo>
                  <a:lnTo>
                    <a:pt x="794" y="288"/>
                  </a:lnTo>
                  <a:lnTo>
                    <a:pt x="790" y="288"/>
                  </a:lnTo>
                  <a:lnTo>
                    <a:pt x="782" y="288"/>
                  </a:lnTo>
                  <a:lnTo>
                    <a:pt x="786" y="284"/>
                  </a:lnTo>
                  <a:lnTo>
                    <a:pt x="786" y="288"/>
                  </a:lnTo>
                  <a:lnTo>
                    <a:pt x="790" y="288"/>
                  </a:lnTo>
                  <a:lnTo>
                    <a:pt x="790" y="284"/>
                  </a:lnTo>
                  <a:lnTo>
                    <a:pt x="794" y="284"/>
                  </a:lnTo>
                  <a:lnTo>
                    <a:pt x="794" y="288"/>
                  </a:lnTo>
                  <a:lnTo>
                    <a:pt x="798" y="288"/>
                  </a:lnTo>
                  <a:lnTo>
                    <a:pt x="802" y="288"/>
                  </a:lnTo>
                  <a:lnTo>
                    <a:pt x="806" y="288"/>
                  </a:lnTo>
                  <a:lnTo>
                    <a:pt x="808" y="288"/>
                  </a:lnTo>
                  <a:lnTo>
                    <a:pt x="812" y="288"/>
                  </a:lnTo>
                  <a:lnTo>
                    <a:pt x="808" y="288"/>
                  </a:lnTo>
                  <a:lnTo>
                    <a:pt x="806" y="288"/>
                  </a:lnTo>
                  <a:lnTo>
                    <a:pt x="802" y="288"/>
                  </a:lnTo>
                  <a:lnTo>
                    <a:pt x="802" y="284"/>
                  </a:lnTo>
                  <a:lnTo>
                    <a:pt x="798" y="284"/>
                  </a:lnTo>
                  <a:lnTo>
                    <a:pt x="794" y="284"/>
                  </a:lnTo>
                  <a:lnTo>
                    <a:pt x="790" y="284"/>
                  </a:lnTo>
                  <a:lnTo>
                    <a:pt x="790" y="280"/>
                  </a:lnTo>
                  <a:lnTo>
                    <a:pt x="794" y="280"/>
                  </a:lnTo>
                  <a:lnTo>
                    <a:pt x="794" y="276"/>
                  </a:lnTo>
                  <a:lnTo>
                    <a:pt x="798" y="280"/>
                  </a:lnTo>
                  <a:lnTo>
                    <a:pt x="802" y="280"/>
                  </a:lnTo>
                  <a:lnTo>
                    <a:pt x="798" y="280"/>
                  </a:lnTo>
                  <a:lnTo>
                    <a:pt x="798" y="276"/>
                  </a:lnTo>
                  <a:lnTo>
                    <a:pt x="802" y="276"/>
                  </a:lnTo>
                  <a:lnTo>
                    <a:pt x="806" y="276"/>
                  </a:lnTo>
                  <a:lnTo>
                    <a:pt x="808" y="276"/>
                  </a:lnTo>
                  <a:lnTo>
                    <a:pt x="808" y="280"/>
                  </a:lnTo>
                  <a:lnTo>
                    <a:pt x="812" y="280"/>
                  </a:lnTo>
                  <a:lnTo>
                    <a:pt x="812" y="276"/>
                  </a:lnTo>
                  <a:lnTo>
                    <a:pt x="808" y="276"/>
                  </a:lnTo>
                  <a:lnTo>
                    <a:pt x="806" y="276"/>
                  </a:lnTo>
                  <a:lnTo>
                    <a:pt x="806" y="272"/>
                  </a:lnTo>
                  <a:lnTo>
                    <a:pt x="808" y="272"/>
                  </a:lnTo>
                  <a:lnTo>
                    <a:pt x="812" y="272"/>
                  </a:lnTo>
                  <a:lnTo>
                    <a:pt x="816" y="268"/>
                  </a:lnTo>
                  <a:lnTo>
                    <a:pt x="820" y="268"/>
                  </a:lnTo>
                  <a:lnTo>
                    <a:pt x="824" y="268"/>
                  </a:lnTo>
                  <a:lnTo>
                    <a:pt x="828" y="268"/>
                  </a:lnTo>
                  <a:lnTo>
                    <a:pt x="832" y="268"/>
                  </a:lnTo>
                  <a:lnTo>
                    <a:pt x="834" y="268"/>
                  </a:lnTo>
                  <a:lnTo>
                    <a:pt x="838" y="268"/>
                  </a:lnTo>
                  <a:lnTo>
                    <a:pt x="842" y="268"/>
                  </a:lnTo>
                  <a:lnTo>
                    <a:pt x="846" y="272"/>
                  </a:lnTo>
                  <a:lnTo>
                    <a:pt x="846" y="276"/>
                  </a:lnTo>
                  <a:lnTo>
                    <a:pt x="846" y="280"/>
                  </a:lnTo>
                  <a:lnTo>
                    <a:pt x="850" y="284"/>
                  </a:lnTo>
                  <a:lnTo>
                    <a:pt x="854" y="284"/>
                  </a:lnTo>
                  <a:lnTo>
                    <a:pt x="854" y="288"/>
                  </a:lnTo>
                  <a:lnTo>
                    <a:pt x="854" y="292"/>
                  </a:lnTo>
                  <a:lnTo>
                    <a:pt x="858" y="292"/>
                  </a:lnTo>
                  <a:lnTo>
                    <a:pt x="858" y="294"/>
                  </a:lnTo>
                  <a:lnTo>
                    <a:pt x="854" y="298"/>
                  </a:lnTo>
                  <a:lnTo>
                    <a:pt x="850" y="302"/>
                  </a:lnTo>
                  <a:lnTo>
                    <a:pt x="846" y="306"/>
                  </a:lnTo>
                  <a:lnTo>
                    <a:pt x="842" y="306"/>
                  </a:lnTo>
                  <a:lnTo>
                    <a:pt x="846" y="306"/>
                  </a:lnTo>
                  <a:lnTo>
                    <a:pt x="850" y="302"/>
                  </a:lnTo>
                  <a:lnTo>
                    <a:pt x="854" y="302"/>
                  </a:lnTo>
                  <a:lnTo>
                    <a:pt x="858" y="302"/>
                  </a:lnTo>
                  <a:lnTo>
                    <a:pt x="854" y="302"/>
                  </a:lnTo>
                  <a:lnTo>
                    <a:pt x="854" y="306"/>
                  </a:lnTo>
                  <a:lnTo>
                    <a:pt x="850" y="306"/>
                  </a:lnTo>
                  <a:lnTo>
                    <a:pt x="850" y="310"/>
                  </a:lnTo>
                  <a:lnTo>
                    <a:pt x="854" y="310"/>
                  </a:lnTo>
                  <a:lnTo>
                    <a:pt x="854" y="314"/>
                  </a:lnTo>
                  <a:lnTo>
                    <a:pt x="854" y="310"/>
                  </a:lnTo>
                  <a:lnTo>
                    <a:pt x="850" y="314"/>
                  </a:lnTo>
                  <a:lnTo>
                    <a:pt x="846" y="314"/>
                  </a:lnTo>
                  <a:lnTo>
                    <a:pt x="850" y="314"/>
                  </a:lnTo>
                  <a:lnTo>
                    <a:pt x="850" y="318"/>
                  </a:lnTo>
                  <a:lnTo>
                    <a:pt x="854" y="318"/>
                  </a:lnTo>
                  <a:lnTo>
                    <a:pt x="854" y="314"/>
                  </a:lnTo>
                  <a:lnTo>
                    <a:pt x="858" y="314"/>
                  </a:lnTo>
                  <a:lnTo>
                    <a:pt x="858" y="310"/>
                  </a:lnTo>
                  <a:lnTo>
                    <a:pt x="862" y="310"/>
                  </a:lnTo>
                  <a:lnTo>
                    <a:pt x="858" y="310"/>
                  </a:lnTo>
                  <a:lnTo>
                    <a:pt x="858" y="306"/>
                  </a:lnTo>
                  <a:lnTo>
                    <a:pt x="862" y="306"/>
                  </a:lnTo>
                  <a:lnTo>
                    <a:pt x="862" y="310"/>
                  </a:lnTo>
                  <a:lnTo>
                    <a:pt x="864" y="310"/>
                  </a:lnTo>
                  <a:lnTo>
                    <a:pt x="868" y="310"/>
                  </a:lnTo>
                  <a:lnTo>
                    <a:pt x="864" y="310"/>
                  </a:lnTo>
                  <a:lnTo>
                    <a:pt x="862" y="306"/>
                  </a:lnTo>
                  <a:lnTo>
                    <a:pt x="862" y="302"/>
                  </a:lnTo>
                  <a:lnTo>
                    <a:pt x="864" y="302"/>
                  </a:lnTo>
                  <a:lnTo>
                    <a:pt x="868" y="302"/>
                  </a:lnTo>
                  <a:lnTo>
                    <a:pt x="864" y="302"/>
                  </a:lnTo>
                  <a:lnTo>
                    <a:pt x="868" y="302"/>
                  </a:lnTo>
                  <a:lnTo>
                    <a:pt x="868" y="306"/>
                  </a:lnTo>
                  <a:lnTo>
                    <a:pt x="864" y="306"/>
                  </a:lnTo>
                  <a:lnTo>
                    <a:pt x="864" y="310"/>
                  </a:lnTo>
                  <a:lnTo>
                    <a:pt x="868" y="310"/>
                  </a:lnTo>
                  <a:lnTo>
                    <a:pt x="868" y="306"/>
                  </a:lnTo>
                  <a:lnTo>
                    <a:pt x="872" y="302"/>
                  </a:lnTo>
                  <a:lnTo>
                    <a:pt x="876" y="306"/>
                  </a:lnTo>
                  <a:lnTo>
                    <a:pt x="876" y="310"/>
                  </a:lnTo>
                  <a:lnTo>
                    <a:pt x="876" y="314"/>
                  </a:lnTo>
                  <a:lnTo>
                    <a:pt x="872" y="314"/>
                  </a:lnTo>
                  <a:lnTo>
                    <a:pt x="876" y="314"/>
                  </a:lnTo>
                  <a:lnTo>
                    <a:pt x="880" y="318"/>
                  </a:lnTo>
                  <a:lnTo>
                    <a:pt x="884" y="318"/>
                  </a:lnTo>
                  <a:lnTo>
                    <a:pt x="880" y="314"/>
                  </a:lnTo>
                  <a:lnTo>
                    <a:pt x="880" y="310"/>
                  </a:lnTo>
                  <a:lnTo>
                    <a:pt x="884" y="310"/>
                  </a:lnTo>
                  <a:lnTo>
                    <a:pt x="884" y="314"/>
                  </a:lnTo>
                  <a:lnTo>
                    <a:pt x="888" y="314"/>
                  </a:lnTo>
                  <a:lnTo>
                    <a:pt x="888" y="318"/>
                  </a:lnTo>
                  <a:lnTo>
                    <a:pt x="890" y="318"/>
                  </a:lnTo>
                  <a:lnTo>
                    <a:pt x="890" y="322"/>
                  </a:lnTo>
                  <a:lnTo>
                    <a:pt x="890" y="318"/>
                  </a:lnTo>
                  <a:lnTo>
                    <a:pt x="888" y="318"/>
                  </a:lnTo>
                  <a:lnTo>
                    <a:pt x="888" y="314"/>
                  </a:lnTo>
                  <a:lnTo>
                    <a:pt x="890" y="318"/>
                  </a:lnTo>
                  <a:lnTo>
                    <a:pt x="894" y="322"/>
                  </a:lnTo>
                  <a:lnTo>
                    <a:pt x="894" y="318"/>
                  </a:lnTo>
                  <a:lnTo>
                    <a:pt x="890" y="318"/>
                  </a:lnTo>
                  <a:lnTo>
                    <a:pt x="890" y="314"/>
                  </a:lnTo>
                  <a:lnTo>
                    <a:pt x="888" y="314"/>
                  </a:lnTo>
                  <a:lnTo>
                    <a:pt x="888" y="310"/>
                  </a:lnTo>
                  <a:lnTo>
                    <a:pt x="884" y="310"/>
                  </a:lnTo>
                  <a:lnTo>
                    <a:pt x="880" y="310"/>
                  </a:lnTo>
                  <a:lnTo>
                    <a:pt x="880" y="306"/>
                  </a:lnTo>
                  <a:lnTo>
                    <a:pt x="884" y="306"/>
                  </a:lnTo>
                  <a:lnTo>
                    <a:pt x="884" y="310"/>
                  </a:lnTo>
                  <a:lnTo>
                    <a:pt x="888" y="310"/>
                  </a:lnTo>
                  <a:lnTo>
                    <a:pt x="884" y="310"/>
                  </a:lnTo>
                  <a:lnTo>
                    <a:pt x="884" y="306"/>
                  </a:lnTo>
                  <a:lnTo>
                    <a:pt x="888" y="306"/>
                  </a:lnTo>
                  <a:lnTo>
                    <a:pt x="890" y="306"/>
                  </a:lnTo>
                  <a:lnTo>
                    <a:pt x="894" y="306"/>
                  </a:lnTo>
                  <a:lnTo>
                    <a:pt x="894" y="310"/>
                  </a:lnTo>
                  <a:lnTo>
                    <a:pt x="898" y="310"/>
                  </a:lnTo>
                  <a:lnTo>
                    <a:pt x="902" y="310"/>
                  </a:lnTo>
                  <a:lnTo>
                    <a:pt x="906" y="310"/>
                  </a:lnTo>
                  <a:lnTo>
                    <a:pt x="902" y="310"/>
                  </a:lnTo>
                  <a:lnTo>
                    <a:pt x="898" y="310"/>
                  </a:lnTo>
                  <a:lnTo>
                    <a:pt x="894" y="310"/>
                  </a:lnTo>
                  <a:lnTo>
                    <a:pt x="894" y="306"/>
                  </a:lnTo>
                  <a:lnTo>
                    <a:pt x="890" y="306"/>
                  </a:lnTo>
                  <a:lnTo>
                    <a:pt x="888" y="306"/>
                  </a:lnTo>
                  <a:lnTo>
                    <a:pt x="884" y="302"/>
                  </a:lnTo>
                  <a:lnTo>
                    <a:pt x="884" y="298"/>
                  </a:lnTo>
                  <a:lnTo>
                    <a:pt x="888" y="298"/>
                  </a:lnTo>
                  <a:lnTo>
                    <a:pt x="890" y="294"/>
                  </a:lnTo>
                  <a:lnTo>
                    <a:pt x="894" y="294"/>
                  </a:lnTo>
                  <a:lnTo>
                    <a:pt x="898" y="294"/>
                  </a:lnTo>
                  <a:lnTo>
                    <a:pt x="902" y="294"/>
                  </a:lnTo>
                  <a:lnTo>
                    <a:pt x="906" y="294"/>
                  </a:lnTo>
                  <a:lnTo>
                    <a:pt x="910" y="294"/>
                  </a:lnTo>
                  <a:lnTo>
                    <a:pt x="910" y="298"/>
                  </a:lnTo>
                  <a:lnTo>
                    <a:pt x="914" y="298"/>
                  </a:lnTo>
                  <a:lnTo>
                    <a:pt x="918" y="298"/>
                  </a:lnTo>
                  <a:lnTo>
                    <a:pt x="918" y="302"/>
                  </a:lnTo>
                  <a:lnTo>
                    <a:pt x="918" y="298"/>
                  </a:lnTo>
                  <a:lnTo>
                    <a:pt x="920" y="298"/>
                  </a:lnTo>
                  <a:lnTo>
                    <a:pt x="924" y="298"/>
                  </a:lnTo>
                  <a:lnTo>
                    <a:pt x="928" y="298"/>
                  </a:lnTo>
                  <a:lnTo>
                    <a:pt x="928" y="302"/>
                  </a:lnTo>
                  <a:lnTo>
                    <a:pt x="932" y="302"/>
                  </a:lnTo>
                  <a:lnTo>
                    <a:pt x="932" y="306"/>
                  </a:lnTo>
                  <a:lnTo>
                    <a:pt x="936" y="306"/>
                  </a:lnTo>
                  <a:lnTo>
                    <a:pt x="932" y="310"/>
                  </a:lnTo>
                  <a:lnTo>
                    <a:pt x="928" y="310"/>
                  </a:lnTo>
                  <a:lnTo>
                    <a:pt x="924" y="310"/>
                  </a:lnTo>
                  <a:lnTo>
                    <a:pt x="920" y="310"/>
                  </a:lnTo>
                  <a:lnTo>
                    <a:pt x="920" y="314"/>
                  </a:lnTo>
                  <a:lnTo>
                    <a:pt x="918" y="314"/>
                  </a:lnTo>
                  <a:lnTo>
                    <a:pt x="914" y="318"/>
                  </a:lnTo>
                  <a:lnTo>
                    <a:pt x="918" y="314"/>
                  </a:lnTo>
                  <a:lnTo>
                    <a:pt x="920" y="314"/>
                  </a:lnTo>
                  <a:lnTo>
                    <a:pt x="920" y="310"/>
                  </a:lnTo>
                  <a:lnTo>
                    <a:pt x="924" y="310"/>
                  </a:lnTo>
                  <a:lnTo>
                    <a:pt x="928" y="310"/>
                  </a:lnTo>
                  <a:lnTo>
                    <a:pt x="932" y="314"/>
                  </a:lnTo>
                  <a:lnTo>
                    <a:pt x="928" y="314"/>
                  </a:lnTo>
                  <a:lnTo>
                    <a:pt x="924" y="314"/>
                  </a:lnTo>
                  <a:lnTo>
                    <a:pt x="924" y="318"/>
                  </a:lnTo>
                  <a:lnTo>
                    <a:pt x="920" y="322"/>
                  </a:lnTo>
                  <a:lnTo>
                    <a:pt x="918" y="322"/>
                  </a:lnTo>
                  <a:lnTo>
                    <a:pt x="920" y="322"/>
                  </a:lnTo>
                  <a:lnTo>
                    <a:pt x="924" y="318"/>
                  </a:lnTo>
                  <a:lnTo>
                    <a:pt x="924" y="314"/>
                  </a:lnTo>
                  <a:lnTo>
                    <a:pt x="928" y="314"/>
                  </a:lnTo>
                  <a:lnTo>
                    <a:pt x="932" y="314"/>
                  </a:lnTo>
                  <a:lnTo>
                    <a:pt x="932" y="310"/>
                  </a:lnTo>
                  <a:lnTo>
                    <a:pt x="936" y="310"/>
                  </a:lnTo>
                  <a:lnTo>
                    <a:pt x="940" y="310"/>
                  </a:lnTo>
                  <a:lnTo>
                    <a:pt x="944" y="314"/>
                  </a:lnTo>
                  <a:lnTo>
                    <a:pt x="948" y="314"/>
                  </a:lnTo>
                  <a:lnTo>
                    <a:pt x="948" y="318"/>
                  </a:lnTo>
                  <a:lnTo>
                    <a:pt x="944" y="318"/>
                  </a:lnTo>
                  <a:lnTo>
                    <a:pt x="944" y="322"/>
                  </a:lnTo>
                  <a:lnTo>
                    <a:pt x="940" y="318"/>
                  </a:lnTo>
                  <a:lnTo>
                    <a:pt x="940" y="322"/>
                  </a:lnTo>
                  <a:lnTo>
                    <a:pt x="936" y="322"/>
                  </a:lnTo>
                  <a:lnTo>
                    <a:pt x="932" y="322"/>
                  </a:lnTo>
                  <a:lnTo>
                    <a:pt x="928" y="322"/>
                  </a:lnTo>
                  <a:lnTo>
                    <a:pt x="932" y="322"/>
                  </a:lnTo>
                  <a:lnTo>
                    <a:pt x="936" y="322"/>
                  </a:lnTo>
                  <a:lnTo>
                    <a:pt x="932" y="324"/>
                  </a:lnTo>
                  <a:lnTo>
                    <a:pt x="928" y="324"/>
                  </a:lnTo>
                  <a:lnTo>
                    <a:pt x="932" y="324"/>
                  </a:lnTo>
                  <a:lnTo>
                    <a:pt x="936" y="324"/>
                  </a:lnTo>
                  <a:lnTo>
                    <a:pt x="936" y="322"/>
                  </a:lnTo>
                  <a:lnTo>
                    <a:pt x="940" y="322"/>
                  </a:lnTo>
                  <a:lnTo>
                    <a:pt x="940" y="324"/>
                  </a:lnTo>
                  <a:lnTo>
                    <a:pt x="936" y="324"/>
                  </a:lnTo>
                  <a:lnTo>
                    <a:pt x="932" y="324"/>
                  </a:lnTo>
                  <a:lnTo>
                    <a:pt x="932" y="328"/>
                  </a:lnTo>
                  <a:lnTo>
                    <a:pt x="932" y="324"/>
                  </a:lnTo>
                  <a:lnTo>
                    <a:pt x="936" y="324"/>
                  </a:lnTo>
                  <a:lnTo>
                    <a:pt x="936" y="328"/>
                  </a:lnTo>
                  <a:lnTo>
                    <a:pt x="940" y="328"/>
                  </a:lnTo>
                  <a:lnTo>
                    <a:pt x="936" y="332"/>
                  </a:lnTo>
                  <a:lnTo>
                    <a:pt x="932" y="336"/>
                  </a:lnTo>
                  <a:lnTo>
                    <a:pt x="936" y="332"/>
                  </a:lnTo>
                  <a:lnTo>
                    <a:pt x="940" y="332"/>
                  </a:lnTo>
                  <a:lnTo>
                    <a:pt x="940" y="328"/>
                  </a:lnTo>
                  <a:lnTo>
                    <a:pt x="936" y="328"/>
                  </a:lnTo>
                  <a:lnTo>
                    <a:pt x="936" y="324"/>
                  </a:lnTo>
                  <a:lnTo>
                    <a:pt x="940" y="324"/>
                  </a:lnTo>
                  <a:lnTo>
                    <a:pt x="944" y="322"/>
                  </a:lnTo>
                  <a:lnTo>
                    <a:pt x="948" y="322"/>
                  </a:lnTo>
                  <a:lnTo>
                    <a:pt x="948" y="324"/>
                  </a:lnTo>
                  <a:lnTo>
                    <a:pt x="944" y="324"/>
                  </a:lnTo>
                  <a:lnTo>
                    <a:pt x="948" y="324"/>
                  </a:lnTo>
                  <a:lnTo>
                    <a:pt x="948" y="322"/>
                  </a:lnTo>
                  <a:lnTo>
                    <a:pt x="950" y="322"/>
                  </a:lnTo>
                  <a:lnTo>
                    <a:pt x="954" y="322"/>
                  </a:lnTo>
                  <a:lnTo>
                    <a:pt x="950" y="322"/>
                  </a:lnTo>
                  <a:lnTo>
                    <a:pt x="950" y="324"/>
                  </a:lnTo>
                  <a:lnTo>
                    <a:pt x="948" y="324"/>
                  </a:lnTo>
                  <a:lnTo>
                    <a:pt x="948" y="328"/>
                  </a:lnTo>
                  <a:lnTo>
                    <a:pt x="944" y="328"/>
                  </a:lnTo>
                  <a:lnTo>
                    <a:pt x="948" y="328"/>
                  </a:lnTo>
                  <a:lnTo>
                    <a:pt x="948" y="332"/>
                  </a:lnTo>
                  <a:lnTo>
                    <a:pt x="944" y="332"/>
                  </a:lnTo>
                  <a:lnTo>
                    <a:pt x="944" y="336"/>
                  </a:lnTo>
                  <a:lnTo>
                    <a:pt x="948" y="336"/>
                  </a:lnTo>
                  <a:lnTo>
                    <a:pt x="948" y="332"/>
                  </a:lnTo>
                  <a:lnTo>
                    <a:pt x="948" y="328"/>
                  </a:lnTo>
                  <a:lnTo>
                    <a:pt x="950" y="324"/>
                  </a:lnTo>
                  <a:lnTo>
                    <a:pt x="954" y="324"/>
                  </a:lnTo>
                  <a:lnTo>
                    <a:pt x="954" y="328"/>
                  </a:lnTo>
                  <a:lnTo>
                    <a:pt x="954" y="332"/>
                  </a:lnTo>
                  <a:lnTo>
                    <a:pt x="954" y="328"/>
                  </a:lnTo>
                  <a:lnTo>
                    <a:pt x="958" y="328"/>
                  </a:lnTo>
                  <a:lnTo>
                    <a:pt x="954" y="332"/>
                  </a:lnTo>
                  <a:lnTo>
                    <a:pt x="950" y="332"/>
                  </a:lnTo>
                  <a:lnTo>
                    <a:pt x="950" y="336"/>
                  </a:lnTo>
                  <a:lnTo>
                    <a:pt x="950" y="340"/>
                  </a:lnTo>
                  <a:lnTo>
                    <a:pt x="950" y="336"/>
                  </a:lnTo>
                  <a:lnTo>
                    <a:pt x="954" y="332"/>
                  </a:lnTo>
                  <a:lnTo>
                    <a:pt x="958" y="332"/>
                  </a:lnTo>
                  <a:lnTo>
                    <a:pt x="962" y="332"/>
                  </a:lnTo>
                  <a:lnTo>
                    <a:pt x="958" y="332"/>
                  </a:lnTo>
                  <a:lnTo>
                    <a:pt x="958" y="336"/>
                  </a:lnTo>
                  <a:lnTo>
                    <a:pt x="958" y="340"/>
                  </a:lnTo>
                  <a:lnTo>
                    <a:pt x="954" y="340"/>
                  </a:lnTo>
                  <a:lnTo>
                    <a:pt x="958" y="340"/>
                  </a:lnTo>
                  <a:lnTo>
                    <a:pt x="958" y="336"/>
                  </a:lnTo>
                  <a:lnTo>
                    <a:pt x="962" y="332"/>
                  </a:lnTo>
                  <a:lnTo>
                    <a:pt x="962" y="336"/>
                  </a:lnTo>
                  <a:lnTo>
                    <a:pt x="962" y="332"/>
                  </a:lnTo>
                  <a:lnTo>
                    <a:pt x="962" y="328"/>
                  </a:lnTo>
                  <a:lnTo>
                    <a:pt x="966" y="328"/>
                  </a:lnTo>
                  <a:lnTo>
                    <a:pt x="966" y="324"/>
                  </a:lnTo>
                  <a:lnTo>
                    <a:pt x="970" y="324"/>
                  </a:lnTo>
                  <a:lnTo>
                    <a:pt x="970" y="322"/>
                  </a:lnTo>
                  <a:lnTo>
                    <a:pt x="970" y="324"/>
                  </a:lnTo>
                  <a:lnTo>
                    <a:pt x="974" y="324"/>
                  </a:lnTo>
                  <a:lnTo>
                    <a:pt x="976" y="324"/>
                  </a:lnTo>
                  <a:lnTo>
                    <a:pt x="980" y="324"/>
                  </a:lnTo>
                  <a:lnTo>
                    <a:pt x="980" y="328"/>
                  </a:lnTo>
                  <a:lnTo>
                    <a:pt x="984" y="328"/>
                  </a:lnTo>
                  <a:lnTo>
                    <a:pt x="988" y="332"/>
                  </a:lnTo>
                  <a:lnTo>
                    <a:pt x="988" y="336"/>
                  </a:lnTo>
                  <a:lnTo>
                    <a:pt x="984" y="336"/>
                  </a:lnTo>
                  <a:lnTo>
                    <a:pt x="984" y="340"/>
                  </a:lnTo>
                  <a:lnTo>
                    <a:pt x="980" y="340"/>
                  </a:lnTo>
                  <a:lnTo>
                    <a:pt x="980" y="336"/>
                  </a:lnTo>
                  <a:lnTo>
                    <a:pt x="976" y="336"/>
                  </a:lnTo>
                  <a:lnTo>
                    <a:pt x="974" y="340"/>
                  </a:lnTo>
                  <a:lnTo>
                    <a:pt x="974" y="344"/>
                  </a:lnTo>
                  <a:lnTo>
                    <a:pt x="970" y="344"/>
                  </a:lnTo>
                  <a:lnTo>
                    <a:pt x="966" y="344"/>
                  </a:lnTo>
                  <a:lnTo>
                    <a:pt x="970" y="344"/>
                  </a:lnTo>
                  <a:lnTo>
                    <a:pt x="974" y="344"/>
                  </a:lnTo>
                  <a:lnTo>
                    <a:pt x="970" y="348"/>
                  </a:lnTo>
                  <a:lnTo>
                    <a:pt x="970" y="350"/>
                  </a:lnTo>
                  <a:lnTo>
                    <a:pt x="966" y="350"/>
                  </a:lnTo>
                  <a:lnTo>
                    <a:pt x="970" y="350"/>
                  </a:lnTo>
                  <a:lnTo>
                    <a:pt x="970" y="348"/>
                  </a:lnTo>
                  <a:lnTo>
                    <a:pt x="974" y="348"/>
                  </a:lnTo>
                  <a:lnTo>
                    <a:pt x="976" y="348"/>
                  </a:lnTo>
                  <a:lnTo>
                    <a:pt x="976" y="344"/>
                  </a:lnTo>
                  <a:lnTo>
                    <a:pt x="980" y="344"/>
                  </a:lnTo>
                  <a:lnTo>
                    <a:pt x="984" y="344"/>
                  </a:lnTo>
                  <a:lnTo>
                    <a:pt x="988" y="340"/>
                  </a:lnTo>
                  <a:lnTo>
                    <a:pt x="992" y="336"/>
                  </a:lnTo>
                  <a:lnTo>
                    <a:pt x="996" y="336"/>
                  </a:lnTo>
                  <a:lnTo>
                    <a:pt x="996" y="340"/>
                  </a:lnTo>
                  <a:lnTo>
                    <a:pt x="996" y="344"/>
                  </a:lnTo>
                  <a:lnTo>
                    <a:pt x="996" y="348"/>
                  </a:lnTo>
                  <a:lnTo>
                    <a:pt x="992" y="348"/>
                  </a:lnTo>
                  <a:lnTo>
                    <a:pt x="988" y="348"/>
                  </a:lnTo>
                  <a:lnTo>
                    <a:pt x="988" y="350"/>
                  </a:lnTo>
                  <a:lnTo>
                    <a:pt x="984" y="350"/>
                  </a:lnTo>
                  <a:lnTo>
                    <a:pt x="980" y="350"/>
                  </a:lnTo>
                  <a:lnTo>
                    <a:pt x="980" y="354"/>
                  </a:lnTo>
                  <a:lnTo>
                    <a:pt x="980" y="358"/>
                  </a:lnTo>
                  <a:lnTo>
                    <a:pt x="976" y="358"/>
                  </a:lnTo>
                  <a:lnTo>
                    <a:pt x="980" y="358"/>
                  </a:lnTo>
                  <a:lnTo>
                    <a:pt x="980" y="354"/>
                  </a:lnTo>
                  <a:lnTo>
                    <a:pt x="984" y="350"/>
                  </a:lnTo>
                  <a:lnTo>
                    <a:pt x="988" y="350"/>
                  </a:lnTo>
                  <a:lnTo>
                    <a:pt x="988" y="354"/>
                  </a:lnTo>
                  <a:lnTo>
                    <a:pt x="984" y="358"/>
                  </a:lnTo>
                  <a:lnTo>
                    <a:pt x="984" y="362"/>
                  </a:lnTo>
                  <a:lnTo>
                    <a:pt x="984" y="366"/>
                  </a:lnTo>
                  <a:lnTo>
                    <a:pt x="984" y="362"/>
                  </a:lnTo>
                  <a:lnTo>
                    <a:pt x="988" y="358"/>
                  </a:lnTo>
                  <a:lnTo>
                    <a:pt x="988" y="354"/>
                  </a:lnTo>
                  <a:lnTo>
                    <a:pt x="988" y="350"/>
                  </a:lnTo>
                  <a:lnTo>
                    <a:pt x="992" y="350"/>
                  </a:lnTo>
                  <a:lnTo>
                    <a:pt x="992" y="348"/>
                  </a:lnTo>
                  <a:lnTo>
                    <a:pt x="996" y="348"/>
                  </a:lnTo>
                  <a:lnTo>
                    <a:pt x="1000" y="348"/>
                  </a:lnTo>
                  <a:lnTo>
                    <a:pt x="1000" y="344"/>
                  </a:lnTo>
                  <a:lnTo>
                    <a:pt x="1004" y="344"/>
                  </a:lnTo>
                  <a:lnTo>
                    <a:pt x="1006" y="344"/>
                  </a:lnTo>
                  <a:lnTo>
                    <a:pt x="1006" y="348"/>
                  </a:lnTo>
                  <a:lnTo>
                    <a:pt x="1004" y="348"/>
                  </a:lnTo>
                  <a:lnTo>
                    <a:pt x="1004" y="350"/>
                  </a:lnTo>
                  <a:lnTo>
                    <a:pt x="1000" y="350"/>
                  </a:lnTo>
                  <a:lnTo>
                    <a:pt x="1000" y="354"/>
                  </a:lnTo>
                  <a:lnTo>
                    <a:pt x="1000" y="350"/>
                  </a:lnTo>
                  <a:lnTo>
                    <a:pt x="1004" y="350"/>
                  </a:lnTo>
                  <a:lnTo>
                    <a:pt x="1004" y="348"/>
                  </a:lnTo>
                  <a:lnTo>
                    <a:pt x="1006" y="348"/>
                  </a:lnTo>
                  <a:lnTo>
                    <a:pt x="1010" y="348"/>
                  </a:lnTo>
                  <a:lnTo>
                    <a:pt x="1014" y="348"/>
                  </a:lnTo>
                  <a:lnTo>
                    <a:pt x="1018" y="348"/>
                  </a:lnTo>
                  <a:lnTo>
                    <a:pt x="1022" y="350"/>
                  </a:lnTo>
                  <a:lnTo>
                    <a:pt x="1026" y="350"/>
                  </a:lnTo>
                  <a:lnTo>
                    <a:pt x="1030" y="350"/>
                  </a:lnTo>
                  <a:lnTo>
                    <a:pt x="1030" y="354"/>
                  </a:lnTo>
                  <a:lnTo>
                    <a:pt x="1026" y="354"/>
                  </a:lnTo>
                  <a:lnTo>
                    <a:pt x="1022" y="354"/>
                  </a:lnTo>
                  <a:lnTo>
                    <a:pt x="1022" y="358"/>
                  </a:lnTo>
                  <a:lnTo>
                    <a:pt x="1018" y="358"/>
                  </a:lnTo>
                  <a:lnTo>
                    <a:pt x="1014" y="358"/>
                  </a:lnTo>
                  <a:lnTo>
                    <a:pt x="1010" y="358"/>
                  </a:lnTo>
                  <a:lnTo>
                    <a:pt x="1010" y="362"/>
                  </a:lnTo>
                  <a:lnTo>
                    <a:pt x="1006" y="362"/>
                  </a:lnTo>
                  <a:lnTo>
                    <a:pt x="1004" y="362"/>
                  </a:lnTo>
                  <a:lnTo>
                    <a:pt x="1004" y="366"/>
                  </a:lnTo>
                  <a:lnTo>
                    <a:pt x="1006" y="366"/>
                  </a:lnTo>
                  <a:lnTo>
                    <a:pt x="1004" y="366"/>
                  </a:lnTo>
                  <a:lnTo>
                    <a:pt x="1000" y="370"/>
                  </a:lnTo>
                  <a:lnTo>
                    <a:pt x="1004" y="370"/>
                  </a:lnTo>
                  <a:lnTo>
                    <a:pt x="1004" y="366"/>
                  </a:lnTo>
                  <a:lnTo>
                    <a:pt x="1006" y="366"/>
                  </a:lnTo>
                  <a:lnTo>
                    <a:pt x="1006" y="362"/>
                  </a:lnTo>
                  <a:lnTo>
                    <a:pt x="1010" y="362"/>
                  </a:lnTo>
                  <a:lnTo>
                    <a:pt x="1014" y="362"/>
                  </a:lnTo>
                  <a:lnTo>
                    <a:pt x="1018" y="362"/>
                  </a:lnTo>
                  <a:lnTo>
                    <a:pt x="1022" y="362"/>
                  </a:lnTo>
                  <a:lnTo>
                    <a:pt x="1026" y="362"/>
                  </a:lnTo>
                  <a:lnTo>
                    <a:pt x="1022" y="366"/>
                  </a:lnTo>
                  <a:lnTo>
                    <a:pt x="1018" y="366"/>
                  </a:lnTo>
                  <a:lnTo>
                    <a:pt x="1014" y="370"/>
                  </a:lnTo>
                  <a:lnTo>
                    <a:pt x="1010" y="370"/>
                  </a:lnTo>
                  <a:lnTo>
                    <a:pt x="1006" y="370"/>
                  </a:lnTo>
                  <a:lnTo>
                    <a:pt x="1004" y="374"/>
                  </a:lnTo>
                  <a:lnTo>
                    <a:pt x="1004" y="378"/>
                  </a:lnTo>
                  <a:lnTo>
                    <a:pt x="1006" y="374"/>
                  </a:lnTo>
                  <a:lnTo>
                    <a:pt x="1006" y="370"/>
                  </a:lnTo>
                  <a:lnTo>
                    <a:pt x="1010" y="370"/>
                  </a:lnTo>
                  <a:lnTo>
                    <a:pt x="1014" y="370"/>
                  </a:lnTo>
                  <a:lnTo>
                    <a:pt x="1018" y="370"/>
                  </a:lnTo>
                  <a:lnTo>
                    <a:pt x="1018" y="366"/>
                  </a:lnTo>
                  <a:lnTo>
                    <a:pt x="1022" y="366"/>
                  </a:lnTo>
                  <a:lnTo>
                    <a:pt x="1026" y="366"/>
                  </a:lnTo>
                  <a:lnTo>
                    <a:pt x="1030" y="366"/>
                  </a:lnTo>
                  <a:lnTo>
                    <a:pt x="1030" y="362"/>
                  </a:lnTo>
                  <a:lnTo>
                    <a:pt x="1030" y="358"/>
                  </a:lnTo>
                  <a:lnTo>
                    <a:pt x="1032" y="358"/>
                  </a:lnTo>
                  <a:lnTo>
                    <a:pt x="1036" y="358"/>
                  </a:lnTo>
                  <a:lnTo>
                    <a:pt x="1036" y="362"/>
                  </a:lnTo>
                  <a:lnTo>
                    <a:pt x="1040" y="362"/>
                  </a:lnTo>
                  <a:lnTo>
                    <a:pt x="1040" y="366"/>
                  </a:lnTo>
                  <a:lnTo>
                    <a:pt x="1044" y="366"/>
                  </a:lnTo>
                  <a:lnTo>
                    <a:pt x="1044" y="370"/>
                  </a:lnTo>
                  <a:lnTo>
                    <a:pt x="1044" y="374"/>
                  </a:lnTo>
                  <a:lnTo>
                    <a:pt x="1040" y="374"/>
                  </a:lnTo>
                  <a:lnTo>
                    <a:pt x="1036" y="374"/>
                  </a:lnTo>
                  <a:lnTo>
                    <a:pt x="1036" y="370"/>
                  </a:lnTo>
                  <a:lnTo>
                    <a:pt x="1032" y="370"/>
                  </a:lnTo>
                  <a:lnTo>
                    <a:pt x="1032" y="374"/>
                  </a:lnTo>
                  <a:lnTo>
                    <a:pt x="1030" y="374"/>
                  </a:lnTo>
                  <a:lnTo>
                    <a:pt x="1026" y="374"/>
                  </a:lnTo>
                  <a:lnTo>
                    <a:pt x="1022" y="378"/>
                  </a:lnTo>
                  <a:lnTo>
                    <a:pt x="1018" y="378"/>
                  </a:lnTo>
                  <a:lnTo>
                    <a:pt x="1014" y="378"/>
                  </a:lnTo>
                  <a:lnTo>
                    <a:pt x="1010" y="378"/>
                  </a:lnTo>
                  <a:lnTo>
                    <a:pt x="1006" y="378"/>
                  </a:lnTo>
                  <a:lnTo>
                    <a:pt x="1004" y="378"/>
                  </a:lnTo>
                  <a:lnTo>
                    <a:pt x="1006" y="378"/>
                  </a:lnTo>
                  <a:lnTo>
                    <a:pt x="1010" y="378"/>
                  </a:lnTo>
                  <a:lnTo>
                    <a:pt x="1014" y="378"/>
                  </a:lnTo>
                  <a:lnTo>
                    <a:pt x="1018" y="378"/>
                  </a:lnTo>
                  <a:lnTo>
                    <a:pt x="1022" y="378"/>
                  </a:lnTo>
                  <a:lnTo>
                    <a:pt x="1026" y="378"/>
                  </a:lnTo>
                  <a:lnTo>
                    <a:pt x="1030" y="378"/>
                  </a:lnTo>
                  <a:lnTo>
                    <a:pt x="1032" y="380"/>
                  </a:lnTo>
                  <a:lnTo>
                    <a:pt x="1036" y="380"/>
                  </a:lnTo>
                  <a:lnTo>
                    <a:pt x="1036" y="378"/>
                  </a:lnTo>
                  <a:lnTo>
                    <a:pt x="1040" y="380"/>
                  </a:lnTo>
                  <a:lnTo>
                    <a:pt x="1044" y="380"/>
                  </a:lnTo>
                  <a:lnTo>
                    <a:pt x="1048" y="380"/>
                  </a:lnTo>
                  <a:lnTo>
                    <a:pt x="1052" y="380"/>
                  </a:lnTo>
                  <a:lnTo>
                    <a:pt x="1052" y="384"/>
                  </a:lnTo>
                  <a:lnTo>
                    <a:pt x="1052" y="388"/>
                  </a:lnTo>
                  <a:lnTo>
                    <a:pt x="1048" y="388"/>
                  </a:lnTo>
                  <a:lnTo>
                    <a:pt x="1044" y="384"/>
                  </a:lnTo>
                  <a:lnTo>
                    <a:pt x="1040" y="384"/>
                  </a:lnTo>
                  <a:lnTo>
                    <a:pt x="1040" y="388"/>
                  </a:lnTo>
                  <a:lnTo>
                    <a:pt x="1036" y="388"/>
                  </a:lnTo>
                  <a:lnTo>
                    <a:pt x="1032" y="384"/>
                  </a:lnTo>
                  <a:lnTo>
                    <a:pt x="1030" y="384"/>
                  </a:lnTo>
                  <a:lnTo>
                    <a:pt x="1026" y="384"/>
                  </a:lnTo>
                  <a:lnTo>
                    <a:pt x="1022" y="384"/>
                  </a:lnTo>
                  <a:lnTo>
                    <a:pt x="1022" y="380"/>
                  </a:lnTo>
                  <a:lnTo>
                    <a:pt x="1018" y="380"/>
                  </a:lnTo>
                  <a:lnTo>
                    <a:pt x="1014" y="384"/>
                  </a:lnTo>
                  <a:lnTo>
                    <a:pt x="1018" y="384"/>
                  </a:lnTo>
                  <a:lnTo>
                    <a:pt x="1018" y="380"/>
                  </a:lnTo>
                  <a:lnTo>
                    <a:pt x="1022" y="384"/>
                  </a:lnTo>
                  <a:lnTo>
                    <a:pt x="1026" y="384"/>
                  </a:lnTo>
                  <a:lnTo>
                    <a:pt x="1030" y="384"/>
                  </a:lnTo>
                  <a:lnTo>
                    <a:pt x="1032" y="384"/>
                  </a:lnTo>
                  <a:lnTo>
                    <a:pt x="1030" y="384"/>
                  </a:lnTo>
                  <a:lnTo>
                    <a:pt x="1026" y="384"/>
                  </a:lnTo>
                  <a:lnTo>
                    <a:pt x="1022" y="384"/>
                  </a:lnTo>
                  <a:lnTo>
                    <a:pt x="1018" y="384"/>
                  </a:lnTo>
                  <a:lnTo>
                    <a:pt x="1022" y="384"/>
                  </a:lnTo>
                  <a:lnTo>
                    <a:pt x="1026" y="384"/>
                  </a:lnTo>
                  <a:lnTo>
                    <a:pt x="1022" y="388"/>
                  </a:lnTo>
                  <a:lnTo>
                    <a:pt x="1018" y="388"/>
                  </a:lnTo>
                  <a:lnTo>
                    <a:pt x="1018" y="392"/>
                  </a:lnTo>
                  <a:lnTo>
                    <a:pt x="1022" y="388"/>
                  </a:lnTo>
                  <a:lnTo>
                    <a:pt x="1026" y="388"/>
                  </a:lnTo>
                  <a:lnTo>
                    <a:pt x="1030" y="388"/>
                  </a:lnTo>
                  <a:lnTo>
                    <a:pt x="1032" y="388"/>
                  </a:lnTo>
                  <a:lnTo>
                    <a:pt x="1036" y="392"/>
                  </a:lnTo>
                  <a:lnTo>
                    <a:pt x="1032" y="392"/>
                  </a:lnTo>
                  <a:lnTo>
                    <a:pt x="1030" y="392"/>
                  </a:lnTo>
                  <a:lnTo>
                    <a:pt x="1026" y="392"/>
                  </a:lnTo>
                  <a:lnTo>
                    <a:pt x="1030" y="392"/>
                  </a:lnTo>
                  <a:lnTo>
                    <a:pt x="1032" y="392"/>
                  </a:lnTo>
                  <a:lnTo>
                    <a:pt x="1032" y="396"/>
                  </a:lnTo>
                  <a:lnTo>
                    <a:pt x="1030" y="396"/>
                  </a:lnTo>
                  <a:lnTo>
                    <a:pt x="1030" y="392"/>
                  </a:lnTo>
                  <a:lnTo>
                    <a:pt x="1026" y="392"/>
                  </a:lnTo>
                  <a:lnTo>
                    <a:pt x="1026" y="396"/>
                  </a:lnTo>
                  <a:lnTo>
                    <a:pt x="1030" y="396"/>
                  </a:lnTo>
                  <a:lnTo>
                    <a:pt x="1032" y="396"/>
                  </a:lnTo>
                  <a:lnTo>
                    <a:pt x="1036" y="396"/>
                  </a:lnTo>
                  <a:lnTo>
                    <a:pt x="1032" y="396"/>
                  </a:lnTo>
                  <a:lnTo>
                    <a:pt x="1030" y="396"/>
                  </a:lnTo>
                  <a:lnTo>
                    <a:pt x="1026" y="396"/>
                  </a:lnTo>
                  <a:lnTo>
                    <a:pt x="1022" y="396"/>
                  </a:lnTo>
                  <a:lnTo>
                    <a:pt x="1018" y="396"/>
                  </a:lnTo>
                  <a:lnTo>
                    <a:pt x="1014" y="396"/>
                  </a:lnTo>
                  <a:lnTo>
                    <a:pt x="1018" y="396"/>
                  </a:lnTo>
                  <a:lnTo>
                    <a:pt x="1014" y="396"/>
                  </a:lnTo>
                  <a:lnTo>
                    <a:pt x="1018" y="396"/>
                  </a:lnTo>
                  <a:lnTo>
                    <a:pt x="1030" y="400"/>
                  </a:lnTo>
                  <a:lnTo>
                    <a:pt x="1032" y="400"/>
                  </a:lnTo>
                  <a:lnTo>
                    <a:pt x="1030" y="400"/>
                  </a:lnTo>
                  <a:lnTo>
                    <a:pt x="1026" y="400"/>
                  </a:lnTo>
                  <a:lnTo>
                    <a:pt x="1022" y="400"/>
                  </a:lnTo>
                  <a:lnTo>
                    <a:pt x="1026" y="400"/>
                  </a:lnTo>
                  <a:lnTo>
                    <a:pt x="1026" y="404"/>
                  </a:lnTo>
                  <a:lnTo>
                    <a:pt x="1022" y="404"/>
                  </a:lnTo>
                  <a:lnTo>
                    <a:pt x="1026" y="404"/>
                  </a:lnTo>
                  <a:lnTo>
                    <a:pt x="1026" y="400"/>
                  </a:lnTo>
                  <a:lnTo>
                    <a:pt x="1030" y="400"/>
                  </a:lnTo>
                  <a:lnTo>
                    <a:pt x="1030" y="404"/>
                  </a:lnTo>
                  <a:lnTo>
                    <a:pt x="1032" y="404"/>
                  </a:lnTo>
                  <a:lnTo>
                    <a:pt x="1036" y="404"/>
                  </a:lnTo>
                  <a:lnTo>
                    <a:pt x="1040" y="404"/>
                  </a:lnTo>
                  <a:lnTo>
                    <a:pt x="1036" y="404"/>
                  </a:lnTo>
                  <a:lnTo>
                    <a:pt x="1036" y="408"/>
                  </a:lnTo>
                  <a:lnTo>
                    <a:pt x="1040" y="408"/>
                  </a:lnTo>
                  <a:lnTo>
                    <a:pt x="1040" y="404"/>
                  </a:lnTo>
                  <a:lnTo>
                    <a:pt x="1044" y="404"/>
                  </a:lnTo>
                  <a:lnTo>
                    <a:pt x="1044" y="408"/>
                  </a:lnTo>
                  <a:lnTo>
                    <a:pt x="1040" y="408"/>
                  </a:lnTo>
                  <a:lnTo>
                    <a:pt x="1044" y="408"/>
                  </a:lnTo>
                  <a:lnTo>
                    <a:pt x="1044" y="404"/>
                  </a:lnTo>
                  <a:lnTo>
                    <a:pt x="1048" y="404"/>
                  </a:lnTo>
                  <a:lnTo>
                    <a:pt x="1052" y="404"/>
                  </a:lnTo>
                  <a:lnTo>
                    <a:pt x="1052" y="408"/>
                  </a:lnTo>
                  <a:lnTo>
                    <a:pt x="1048" y="408"/>
                  </a:lnTo>
                  <a:lnTo>
                    <a:pt x="1044" y="408"/>
                  </a:lnTo>
                  <a:lnTo>
                    <a:pt x="1040" y="408"/>
                  </a:lnTo>
                  <a:lnTo>
                    <a:pt x="1036" y="408"/>
                  </a:lnTo>
                  <a:lnTo>
                    <a:pt x="1032" y="408"/>
                  </a:lnTo>
                  <a:lnTo>
                    <a:pt x="1032" y="410"/>
                  </a:lnTo>
                  <a:lnTo>
                    <a:pt x="1036" y="410"/>
                  </a:lnTo>
                  <a:lnTo>
                    <a:pt x="1036" y="408"/>
                  </a:lnTo>
                  <a:lnTo>
                    <a:pt x="1040" y="408"/>
                  </a:lnTo>
                  <a:lnTo>
                    <a:pt x="1040" y="410"/>
                  </a:lnTo>
                  <a:lnTo>
                    <a:pt x="1036" y="410"/>
                  </a:lnTo>
                  <a:lnTo>
                    <a:pt x="1040" y="410"/>
                  </a:lnTo>
                  <a:lnTo>
                    <a:pt x="1040" y="408"/>
                  </a:lnTo>
                  <a:lnTo>
                    <a:pt x="1044" y="408"/>
                  </a:lnTo>
                  <a:lnTo>
                    <a:pt x="1048" y="408"/>
                  </a:lnTo>
                  <a:lnTo>
                    <a:pt x="1044" y="408"/>
                  </a:lnTo>
                  <a:lnTo>
                    <a:pt x="1044" y="410"/>
                  </a:lnTo>
                  <a:lnTo>
                    <a:pt x="1040" y="410"/>
                  </a:lnTo>
                  <a:lnTo>
                    <a:pt x="1044" y="410"/>
                  </a:lnTo>
                  <a:lnTo>
                    <a:pt x="1040" y="410"/>
                  </a:lnTo>
                  <a:lnTo>
                    <a:pt x="1036" y="410"/>
                  </a:lnTo>
                  <a:lnTo>
                    <a:pt x="1040" y="410"/>
                  </a:lnTo>
                  <a:lnTo>
                    <a:pt x="1040" y="414"/>
                  </a:lnTo>
                  <a:lnTo>
                    <a:pt x="1044" y="410"/>
                  </a:lnTo>
                  <a:lnTo>
                    <a:pt x="1048" y="408"/>
                  </a:lnTo>
                  <a:lnTo>
                    <a:pt x="1048" y="410"/>
                  </a:lnTo>
                  <a:lnTo>
                    <a:pt x="1052" y="410"/>
                  </a:lnTo>
                  <a:lnTo>
                    <a:pt x="1048" y="414"/>
                  </a:lnTo>
                  <a:lnTo>
                    <a:pt x="1052" y="414"/>
                  </a:lnTo>
                  <a:lnTo>
                    <a:pt x="1052" y="410"/>
                  </a:lnTo>
                  <a:lnTo>
                    <a:pt x="1052" y="414"/>
                  </a:lnTo>
                  <a:lnTo>
                    <a:pt x="1052" y="418"/>
                  </a:lnTo>
                  <a:lnTo>
                    <a:pt x="1052" y="414"/>
                  </a:lnTo>
                  <a:lnTo>
                    <a:pt x="1052" y="410"/>
                  </a:lnTo>
                  <a:lnTo>
                    <a:pt x="1056" y="410"/>
                  </a:lnTo>
                  <a:lnTo>
                    <a:pt x="1056" y="414"/>
                  </a:lnTo>
                  <a:lnTo>
                    <a:pt x="1060" y="414"/>
                  </a:lnTo>
                  <a:lnTo>
                    <a:pt x="1056" y="414"/>
                  </a:lnTo>
                  <a:lnTo>
                    <a:pt x="1056" y="418"/>
                  </a:lnTo>
                  <a:lnTo>
                    <a:pt x="1052" y="418"/>
                  </a:lnTo>
                  <a:lnTo>
                    <a:pt x="1056" y="422"/>
                  </a:lnTo>
                  <a:lnTo>
                    <a:pt x="1056" y="418"/>
                  </a:lnTo>
                  <a:lnTo>
                    <a:pt x="1060" y="418"/>
                  </a:lnTo>
                  <a:lnTo>
                    <a:pt x="1062" y="414"/>
                  </a:lnTo>
                  <a:lnTo>
                    <a:pt x="1062" y="410"/>
                  </a:lnTo>
                  <a:lnTo>
                    <a:pt x="1062" y="414"/>
                  </a:lnTo>
                  <a:lnTo>
                    <a:pt x="1062" y="418"/>
                  </a:lnTo>
                  <a:lnTo>
                    <a:pt x="1060" y="418"/>
                  </a:lnTo>
                  <a:lnTo>
                    <a:pt x="1062" y="418"/>
                  </a:lnTo>
                  <a:lnTo>
                    <a:pt x="1062" y="422"/>
                  </a:lnTo>
                  <a:lnTo>
                    <a:pt x="1060" y="422"/>
                  </a:lnTo>
                  <a:lnTo>
                    <a:pt x="1060" y="426"/>
                  </a:lnTo>
                  <a:lnTo>
                    <a:pt x="1062" y="426"/>
                  </a:lnTo>
                  <a:lnTo>
                    <a:pt x="1062" y="422"/>
                  </a:lnTo>
                  <a:lnTo>
                    <a:pt x="1062" y="418"/>
                  </a:lnTo>
                  <a:lnTo>
                    <a:pt x="1066" y="414"/>
                  </a:lnTo>
                  <a:lnTo>
                    <a:pt x="1070" y="414"/>
                  </a:lnTo>
                  <a:lnTo>
                    <a:pt x="1070" y="418"/>
                  </a:lnTo>
                  <a:lnTo>
                    <a:pt x="1066" y="418"/>
                  </a:lnTo>
                  <a:lnTo>
                    <a:pt x="1066" y="422"/>
                  </a:lnTo>
                  <a:lnTo>
                    <a:pt x="1070" y="422"/>
                  </a:lnTo>
                  <a:lnTo>
                    <a:pt x="1070" y="426"/>
                  </a:lnTo>
                  <a:lnTo>
                    <a:pt x="1070" y="422"/>
                  </a:lnTo>
                  <a:lnTo>
                    <a:pt x="1066" y="422"/>
                  </a:lnTo>
                  <a:lnTo>
                    <a:pt x="1070" y="418"/>
                  </a:lnTo>
                  <a:lnTo>
                    <a:pt x="1074" y="418"/>
                  </a:lnTo>
                  <a:lnTo>
                    <a:pt x="1074" y="414"/>
                  </a:lnTo>
                  <a:lnTo>
                    <a:pt x="1076" y="418"/>
                  </a:lnTo>
                  <a:lnTo>
                    <a:pt x="1074" y="418"/>
                  </a:lnTo>
                  <a:lnTo>
                    <a:pt x="1074" y="422"/>
                  </a:lnTo>
                  <a:lnTo>
                    <a:pt x="1074" y="426"/>
                  </a:lnTo>
                  <a:lnTo>
                    <a:pt x="1074" y="422"/>
                  </a:lnTo>
                  <a:lnTo>
                    <a:pt x="1076" y="422"/>
                  </a:lnTo>
                  <a:lnTo>
                    <a:pt x="1076" y="426"/>
                  </a:lnTo>
                  <a:lnTo>
                    <a:pt x="1076" y="422"/>
                  </a:lnTo>
                  <a:lnTo>
                    <a:pt x="1080" y="422"/>
                  </a:lnTo>
                  <a:lnTo>
                    <a:pt x="1084" y="422"/>
                  </a:lnTo>
                  <a:lnTo>
                    <a:pt x="1080" y="422"/>
                  </a:lnTo>
                  <a:lnTo>
                    <a:pt x="1080" y="426"/>
                  </a:lnTo>
                  <a:lnTo>
                    <a:pt x="1080" y="422"/>
                  </a:lnTo>
                  <a:lnTo>
                    <a:pt x="1084" y="422"/>
                  </a:lnTo>
                  <a:lnTo>
                    <a:pt x="1088" y="426"/>
                  </a:lnTo>
                  <a:lnTo>
                    <a:pt x="1088" y="430"/>
                  </a:lnTo>
                  <a:lnTo>
                    <a:pt x="1084" y="430"/>
                  </a:lnTo>
                  <a:lnTo>
                    <a:pt x="1080" y="430"/>
                  </a:lnTo>
                  <a:lnTo>
                    <a:pt x="1084" y="430"/>
                  </a:lnTo>
                  <a:lnTo>
                    <a:pt x="1088" y="430"/>
                  </a:lnTo>
                  <a:lnTo>
                    <a:pt x="1088" y="434"/>
                  </a:lnTo>
                  <a:lnTo>
                    <a:pt x="1084" y="434"/>
                  </a:lnTo>
                  <a:lnTo>
                    <a:pt x="1080" y="434"/>
                  </a:lnTo>
                  <a:lnTo>
                    <a:pt x="1076" y="434"/>
                  </a:lnTo>
                  <a:lnTo>
                    <a:pt x="1080" y="434"/>
                  </a:lnTo>
                  <a:lnTo>
                    <a:pt x="1084" y="434"/>
                  </a:lnTo>
                  <a:lnTo>
                    <a:pt x="1080" y="434"/>
                  </a:lnTo>
                  <a:lnTo>
                    <a:pt x="1076" y="436"/>
                  </a:lnTo>
                  <a:lnTo>
                    <a:pt x="1080" y="436"/>
                  </a:lnTo>
                  <a:lnTo>
                    <a:pt x="1084" y="436"/>
                  </a:lnTo>
                  <a:lnTo>
                    <a:pt x="1084" y="434"/>
                  </a:lnTo>
                  <a:lnTo>
                    <a:pt x="1088" y="434"/>
                  </a:lnTo>
                  <a:lnTo>
                    <a:pt x="1088" y="436"/>
                  </a:lnTo>
                  <a:lnTo>
                    <a:pt x="1084" y="436"/>
                  </a:lnTo>
                  <a:lnTo>
                    <a:pt x="1080" y="436"/>
                  </a:lnTo>
                  <a:lnTo>
                    <a:pt x="1076" y="440"/>
                  </a:lnTo>
                  <a:lnTo>
                    <a:pt x="1080" y="440"/>
                  </a:lnTo>
                  <a:lnTo>
                    <a:pt x="1080" y="436"/>
                  </a:lnTo>
                  <a:lnTo>
                    <a:pt x="1084" y="436"/>
                  </a:lnTo>
                  <a:lnTo>
                    <a:pt x="1088" y="436"/>
                  </a:lnTo>
                  <a:lnTo>
                    <a:pt x="1092" y="436"/>
                  </a:lnTo>
                  <a:lnTo>
                    <a:pt x="1092" y="434"/>
                  </a:lnTo>
                  <a:lnTo>
                    <a:pt x="1096" y="436"/>
                  </a:lnTo>
                  <a:lnTo>
                    <a:pt x="1096" y="440"/>
                  </a:lnTo>
                  <a:lnTo>
                    <a:pt x="1092" y="440"/>
                  </a:lnTo>
                  <a:lnTo>
                    <a:pt x="1096" y="440"/>
                  </a:lnTo>
                  <a:lnTo>
                    <a:pt x="1096" y="436"/>
                  </a:lnTo>
                  <a:lnTo>
                    <a:pt x="1100" y="434"/>
                  </a:lnTo>
                  <a:lnTo>
                    <a:pt x="1104" y="434"/>
                  </a:lnTo>
                  <a:lnTo>
                    <a:pt x="1104" y="436"/>
                  </a:lnTo>
                  <a:lnTo>
                    <a:pt x="1100" y="436"/>
                  </a:lnTo>
                  <a:lnTo>
                    <a:pt x="1100" y="440"/>
                  </a:lnTo>
                  <a:lnTo>
                    <a:pt x="1096" y="444"/>
                  </a:lnTo>
                  <a:lnTo>
                    <a:pt x="1092" y="444"/>
                  </a:lnTo>
                  <a:lnTo>
                    <a:pt x="1096" y="444"/>
                  </a:lnTo>
                  <a:lnTo>
                    <a:pt x="1096" y="448"/>
                  </a:lnTo>
                  <a:lnTo>
                    <a:pt x="1100" y="444"/>
                  </a:lnTo>
                  <a:lnTo>
                    <a:pt x="1104" y="440"/>
                  </a:lnTo>
                  <a:lnTo>
                    <a:pt x="1106" y="440"/>
                  </a:lnTo>
                  <a:lnTo>
                    <a:pt x="1106" y="444"/>
                  </a:lnTo>
                  <a:lnTo>
                    <a:pt x="1106" y="448"/>
                  </a:lnTo>
                  <a:lnTo>
                    <a:pt x="1104" y="448"/>
                  </a:lnTo>
                  <a:lnTo>
                    <a:pt x="1106" y="448"/>
                  </a:lnTo>
                  <a:lnTo>
                    <a:pt x="1106" y="444"/>
                  </a:lnTo>
                  <a:lnTo>
                    <a:pt x="1106" y="440"/>
                  </a:lnTo>
                  <a:lnTo>
                    <a:pt x="1110" y="440"/>
                  </a:lnTo>
                  <a:lnTo>
                    <a:pt x="1110" y="444"/>
                  </a:lnTo>
                  <a:lnTo>
                    <a:pt x="1114" y="448"/>
                  </a:lnTo>
                  <a:lnTo>
                    <a:pt x="1110" y="444"/>
                  </a:lnTo>
                  <a:lnTo>
                    <a:pt x="1110" y="440"/>
                  </a:lnTo>
                  <a:lnTo>
                    <a:pt x="1114" y="440"/>
                  </a:lnTo>
                  <a:lnTo>
                    <a:pt x="1118" y="440"/>
                  </a:lnTo>
                  <a:lnTo>
                    <a:pt x="1114" y="444"/>
                  </a:lnTo>
                  <a:lnTo>
                    <a:pt x="1118" y="444"/>
                  </a:lnTo>
                  <a:lnTo>
                    <a:pt x="1118" y="440"/>
                  </a:lnTo>
                  <a:lnTo>
                    <a:pt x="1122" y="440"/>
                  </a:lnTo>
                  <a:lnTo>
                    <a:pt x="1122" y="444"/>
                  </a:lnTo>
                  <a:lnTo>
                    <a:pt x="1126" y="448"/>
                  </a:lnTo>
                  <a:lnTo>
                    <a:pt x="1130" y="452"/>
                  </a:lnTo>
                  <a:lnTo>
                    <a:pt x="1126" y="452"/>
                  </a:lnTo>
                  <a:lnTo>
                    <a:pt x="1122" y="452"/>
                  </a:lnTo>
                  <a:lnTo>
                    <a:pt x="1122" y="448"/>
                  </a:lnTo>
                  <a:lnTo>
                    <a:pt x="1118" y="448"/>
                  </a:lnTo>
                  <a:lnTo>
                    <a:pt x="1114" y="452"/>
                  </a:lnTo>
                  <a:lnTo>
                    <a:pt x="1118" y="452"/>
                  </a:lnTo>
                  <a:lnTo>
                    <a:pt x="1118" y="448"/>
                  </a:lnTo>
                  <a:lnTo>
                    <a:pt x="1118" y="452"/>
                  </a:lnTo>
                  <a:lnTo>
                    <a:pt x="1122" y="452"/>
                  </a:lnTo>
                  <a:lnTo>
                    <a:pt x="1122" y="456"/>
                  </a:lnTo>
                  <a:lnTo>
                    <a:pt x="1118" y="456"/>
                  </a:lnTo>
                  <a:lnTo>
                    <a:pt x="1122" y="456"/>
                  </a:lnTo>
                  <a:lnTo>
                    <a:pt x="1126" y="456"/>
                  </a:lnTo>
                  <a:lnTo>
                    <a:pt x="1122" y="456"/>
                  </a:lnTo>
                  <a:lnTo>
                    <a:pt x="1118" y="460"/>
                  </a:lnTo>
                  <a:lnTo>
                    <a:pt x="1114" y="460"/>
                  </a:lnTo>
                  <a:lnTo>
                    <a:pt x="1114" y="456"/>
                  </a:lnTo>
                  <a:lnTo>
                    <a:pt x="1110" y="456"/>
                  </a:lnTo>
                  <a:lnTo>
                    <a:pt x="1106" y="456"/>
                  </a:lnTo>
                  <a:lnTo>
                    <a:pt x="1110" y="456"/>
                  </a:lnTo>
                  <a:lnTo>
                    <a:pt x="1110" y="460"/>
                  </a:lnTo>
                  <a:lnTo>
                    <a:pt x="1114" y="460"/>
                  </a:lnTo>
                  <a:lnTo>
                    <a:pt x="1110" y="460"/>
                  </a:lnTo>
                  <a:lnTo>
                    <a:pt x="1106" y="460"/>
                  </a:lnTo>
                  <a:lnTo>
                    <a:pt x="1104" y="456"/>
                  </a:lnTo>
                  <a:lnTo>
                    <a:pt x="1106" y="460"/>
                  </a:lnTo>
                  <a:lnTo>
                    <a:pt x="1110" y="460"/>
                  </a:lnTo>
                  <a:lnTo>
                    <a:pt x="1114" y="464"/>
                  </a:lnTo>
                  <a:lnTo>
                    <a:pt x="1118" y="464"/>
                  </a:lnTo>
                  <a:lnTo>
                    <a:pt x="1114" y="466"/>
                  </a:lnTo>
                  <a:lnTo>
                    <a:pt x="1110" y="466"/>
                  </a:lnTo>
                  <a:lnTo>
                    <a:pt x="1110" y="464"/>
                  </a:lnTo>
                  <a:lnTo>
                    <a:pt x="1106" y="464"/>
                  </a:lnTo>
                  <a:lnTo>
                    <a:pt x="1104" y="464"/>
                  </a:lnTo>
                  <a:lnTo>
                    <a:pt x="1106" y="464"/>
                  </a:lnTo>
                  <a:lnTo>
                    <a:pt x="1106" y="466"/>
                  </a:lnTo>
                  <a:lnTo>
                    <a:pt x="1110" y="466"/>
                  </a:lnTo>
                  <a:lnTo>
                    <a:pt x="1114" y="470"/>
                  </a:lnTo>
                  <a:lnTo>
                    <a:pt x="1110" y="470"/>
                  </a:lnTo>
                  <a:lnTo>
                    <a:pt x="1106" y="470"/>
                  </a:lnTo>
                  <a:lnTo>
                    <a:pt x="1106" y="466"/>
                  </a:lnTo>
                  <a:lnTo>
                    <a:pt x="1104" y="466"/>
                  </a:lnTo>
                  <a:lnTo>
                    <a:pt x="1106" y="470"/>
                  </a:lnTo>
                  <a:lnTo>
                    <a:pt x="1110" y="470"/>
                  </a:lnTo>
                  <a:lnTo>
                    <a:pt x="1106" y="470"/>
                  </a:lnTo>
                  <a:lnTo>
                    <a:pt x="1106" y="474"/>
                  </a:lnTo>
                  <a:lnTo>
                    <a:pt x="1104" y="474"/>
                  </a:lnTo>
                  <a:lnTo>
                    <a:pt x="1104" y="470"/>
                  </a:lnTo>
                  <a:lnTo>
                    <a:pt x="1104" y="474"/>
                  </a:lnTo>
                  <a:lnTo>
                    <a:pt x="1100" y="474"/>
                  </a:lnTo>
                  <a:lnTo>
                    <a:pt x="1096" y="470"/>
                  </a:lnTo>
                  <a:lnTo>
                    <a:pt x="1100" y="474"/>
                  </a:lnTo>
                  <a:lnTo>
                    <a:pt x="1096" y="474"/>
                  </a:lnTo>
                  <a:lnTo>
                    <a:pt x="1092" y="474"/>
                  </a:lnTo>
                  <a:lnTo>
                    <a:pt x="1096" y="474"/>
                  </a:lnTo>
                  <a:lnTo>
                    <a:pt x="1100" y="474"/>
                  </a:lnTo>
                  <a:lnTo>
                    <a:pt x="1100" y="478"/>
                  </a:lnTo>
                  <a:lnTo>
                    <a:pt x="1096" y="478"/>
                  </a:lnTo>
                  <a:lnTo>
                    <a:pt x="1096" y="474"/>
                  </a:lnTo>
                  <a:lnTo>
                    <a:pt x="1096" y="478"/>
                  </a:lnTo>
                  <a:lnTo>
                    <a:pt x="1100" y="478"/>
                  </a:lnTo>
                  <a:lnTo>
                    <a:pt x="1096" y="478"/>
                  </a:lnTo>
                  <a:lnTo>
                    <a:pt x="1092" y="478"/>
                  </a:lnTo>
                  <a:lnTo>
                    <a:pt x="1096" y="478"/>
                  </a:lnTo>
                  <a:lnTo>
                    <a:pt x="1100" y="482"/>
                  </a:lnTo>
                  <a:lnTo>
                    <a:pt x="1096" y="486"/>
                  </a:lnTo>
                  <a:lnTo>
                    <a:pt x="1096" y="490"/>
                  </a:lnTo>
                  <a:lnTo>
                    <a:pt x="1096" y="494"/>
                  </a:lnTo>
                  <a:lnTo>
                    <a:pt x="1092" y="494"/>
                  </a:lnTo>
                  <a:lnTo>
                    <a:pt x="1092" y="490"/>
                  </a:lnTo>
                  <a:lnTo>
                    <a:pt x="1088" y="486"/>
                  </a:lnTo>
                  <a:lnTo>
                    <a:pt x="1088" y="490"/>
                  </a:lnTo>
                  <a:lnTo>
                    <a:pt x="1084" y="486"/>
                  </a:lnTo>
                  <a:lnTo>
                    <a:pt x="1088" y="486"/>
                  </a:lnTo>
                  <a:lnTo>
                    <a:pt x="1084" y="486"/>
                  </a:lnTo>
                  <a:lnTo>
                    <a:pt x="1084" y="482"/>
                  </a:lnTo>
                  <a:lnTo>
                    <a:pt x="1084" y="478"/>
                  </a:lnTo>
                  <a:lnTo>
                    <a:pt x="1080" y="482"/>
                  </a:lnTo>
                  <a:lnTo>
                    <a:pt x="1080" y="486"/>
                  </a:lnTo>
                  <a:lnTo>
                    <a:pt x="1076" y="486"/>
                  </a:lnTo>
                  <a:lnTo>
                    <a:pt x="1076" y="482"/>
                  </a:lnTo>
                  <a:lnTo>
                    <a:pt x="1076" y="486"/>
                  </a:lnTo>
                  <a:lnTo>
                    <a:pt x="1076" y="482"/>
                  </a:lnTo>
                  <a:lnTo>
                    <a:pt x="1080" y="482"/>
                  </a:lnTo>
                  <a:lnTo>
                    <a:pt x="1076" y="482"/>
                  </a:lnTo>
                  <a:lnTo>
                    <a:pt x="1080" y="478"/>
                  </a:lnTo>
                  <a:lnTo>
                    <a:pt x="1084" y="478"/>
                  </a:lnTo>
                  <a:lnTo>
                    <a:pt x="1080" y="478"/>
                  </a:lnTo>
                  <a:lnTo>
                    <a:pt x="1076" y="478"/>
                  </a:lnTo>
                  <a:lnTo>
                    <a:pt x="1074" y="478"/>
                  </a:lnTo>
                  <a:lnTo>
                    <a:pt x="1074" y="482"/>
                  </a:lnTo>
                  <a:lnTo>
                    <a:pt x="1074" y="478"/>
                  </a:lnTo>
                  <a:lnTo>
                    <a:pt x="1076" y="478"/>
                  </a:lnTo>
                  <a:lnTo>
                    <a:pt x="1076" y="474"/>
                  </a:lnTo>
                  <a:lnTo>
                    <a:pt x="1074" y="478"/>
                  </a:lnTo>
                  <a:lnTo>
                    <a:pt x="1070" y="478"/>
                  </a:lnTo>
                  <a:lnTo>
                    <a:pt x="1070" y="474"/>
                  </a:lnTo>
                  <a:lnTo>
                    <a:pt x="1074" y="474"/>
                  </a:lnTo>
                  <a:lnTo>
                    <a:pt x="1076" y="474"/>
                  </a:lnTo>
                  <a:lnTo>
                    <a:pt x="1076" y="470"/>
                  </a:lnTo>
                  <a:lnTo>
                    <a:pt x="1074" y="470"/>
                  </a:lnTo>
                  <a:lnTo>
                    <a:pt x="1074" y="474"/>
                  </a:lnTo>
                  <a:lnTo>
                    <a:pt x="1070" y="474"/>
                  </a:lnTo>
                  <a:lnTo>
                    <a:pt x="1070" y="470"/>
                  </a:lnTo>
                  <a:lnTo>
                    <a:pt x="1066" y="470"/>
                  </a:lnTo>
                  <a:lnTo>
                    <a:pt x="1070" y="470"/>
                  </a:lnTo>
                  <a:lnTo>
                    <a:pt x="1070" y="466"/>
                  </a:lnTo>
                  <a:lnTo>
                    <a:pt x="1074" y="466"/>
                  </a:lnTo>
                  <a:lnTo>
                    <a:pt x="1076" y="466"/>
                  </a:lnTo>
                  <a:lnTo>
                    <a:pt x="1076" y="464"/>
                  </a:lnTo>
                  <a:lnTo>
                    <a:pt x="1076" y="460"/>
                  </a:lnTo>
                  <a:lnTo>
                    <a:pt x="1080" y="460"/>
                  </a:lnTo>
                  <a:lnTo>
                    <a:pt x="1084" y="460"/>
                  </a:lnTo>
                  <a:lnTo>
                    <a:pt x="1084" y="456"/>
                  </a:lnTo>
                  <a:lnTo>
                    <a:pt x="1080" y="456"/>
                  </a:lnTo>
                  <a:lnTo>
                    <a:pt x="1076" y="460"/>
                  </a:lnTo>
                  <a:lnTo>
                    <a:pt x="1076" y="464"/>
                  </a:lnTo>
                  <a:lnTo>
                    <a:pt x="1074" y="464"/>
                  </a:lnTo>
                  <a:lnTo>
                    <a:pt x="1070" y="466"/>
                  </a:lnTo>
                  <a:lnTo>
                    <a:pt x="1062" y="466"/>
                  </a:lnTo>
                  <a:lnTo>
                    <a:pt x="1062" y="464"/>
                  </a:lnTo>
                  <a:lnTo>
                    <a:pt x="1066" y="464"/>
                  </a:lnTo>
                  <a:lnTo>
                    <a:pt x="1066" y="460"/>
                  </a:lnTo>
                  <a:lnTo>
                    <a:pt x="1070" y="456"/>
                  </a:lnTo>
                  <a:lnTo>
                    <a:pt x="1066" y="460"/>
                  </a:lnTo>
                  <a:lnTo>
                    <a:pt x="1062" y="464"/>
                  </a:lnTo>
                  <a:lnTo>
                    <a:pt x="1060" y="464"/>
                  </a:lnTo>
                  <a:lnTo>
                    <a:pt x="1060" y="460"/>
                  </a:lnTo>
                  <a:lnTo>
                    <a:pt x="1056" y="460"/>
                  </a:lnTo>
                  <a:lnTo>
                    <a:pt x="1052" y="456"/>
                  </a:lnTo>
                  <a:lnTo>
                    <a:pt x="1056" y="456"/>
                  </a:lnTo>
                  <a:lnTo>
                    <a:pt x="1052" y="456"/>
                  </a:lnTo>
                  <a:lnTo>
                    <a:pt x="1048" y="456"/>
                  </a:lnTo>
                  <a:lnTo>
                    <a:pt x="1048" y="452"/>
                  </a:lnTo>
                  <a:lnTo>
                    <a:pt x="1048" y="448"/>
                  </a:lnTo>
                  <a:lnTo>
                    <a:pt x="1048" y="452"/>
                  </a:lnTo>
                  <a:lnTo>
                    <a:pt x="1044" y="452"/>
                  </a:lnTo>
                  <a:lnTo>
                    <a:pt x="1040" y="452"/>
                  </a:lnTo>
                  <a:lnTo>
                    <a:pt x="1036" y="452"/>
                  </a:lnTo>
                  <a:lnTo>
                    <a:pt x="1040" y="452"/>
                  </a:lnTo>
                  <a:lnTo>
                    <a:pt x="1044" y="452"/>
                  </a:lnTo>
                  <a:lnTo>
                    <a:pt x="1044" y="456"/>
                  </a:lnTo>
                  <a:lnTo>
                    <a:pt x="1040" y="456"/>
                  </a:lnTo>
                  <a:lnTo>
                    <a:pt x="1044" y="456"/>
                  </a:lnTo>
                  <a:lnTo>
                    <a:pt x="1044" y="460"/>
                  </a:lnTo>
                  <a:lnTo>
                    <a:pt x="1040" y="460"/>
                  </a:lnTo>
                  <a:lnTo>
                    <a:pt x="1040" y="456"/>
                  </a:lnTo>
                  <a:lnTo>
                    <a:pt x="1036" y="456"/>
                  </a:lnTo>
                  <a:lnTo>
                    <a:pt x="1036" y="452"/>
                  </a:lnTo>
                  <a:lnTo>
                    <a:pt x="1032" y="452"/>
                  </a:lnTo>
                  <a:lnTo>
                    <a:pt x="1032" y="456"/>
                  </a:lnTo>
                  <a:lnTo>
                    <a:pt x="1036" y="456"/>
                  </a:lnTo>
                  <a:lnTo>
                    <a:pt x="1036" y="460"/>
                  </a:lnTo>
                  <a:lnTo>
                    <a:pt x="1040" y="460"/>
                  </a:lnTo>
                  <a:lnTo>
                    <a:pt x="1040" y="464"/>
                  </a:lnTo>
                  <a:lnTo>
                    <a:pt x="1044" y="464"/>
                  </a:lnTo>
                  <a:lnTo>
                    <a:pt x="1044" y="466"/>
                  </a:lnTo>
                  <a:lnTo>
                    <a:pt x="1040" y="466"/>
                  </a:lnTo>
                  <a:lnTo>
                    <a:pt x="1036" y="466"/>
                  </a:lnTo>
                  <a:lnTo>
                    <a:pt x="1032" y="466"/>
                  </a:lnTo>
                  <a:lnTo>
                    <a:pt x="1032" y="464"/>
                  </a:lnTo>
                  <a:lnTo>
                    <a:pt x="1030" y="464"/>
                  </a:lnTo>
                  <a:lnTo>
                    <a:pt x="1030" y="460"/>
                  </a:lnTo>
                  <a:lnTo>
                    <a:pt x="1026" y="460"/>
                  </a:lnTo>
                  <a:lnTo>
                    <a:pt x="1022" y="460"/>
                  </a:lnTo>
                  <a:lnTo>
                    <a:pt x="1026" y="460"/>
                  </a:lnTo>
                  <a:lnTo>
                    <a:pt x="1026" y="464"/>
                  </a:lnTo>
                  <a:lnTo>
                    <a:pt x="1030" y="464"/>
                  </a:lnTo>
                  <a:lnTo>
                    <a:pt x="1032" y="464"/>
                  </a:lnTo>
                  <a:lnTo>
                    <a:pt x="1032" y="466"/>
                  </a:lnTo>
                  <a:lnTo>
                    <a:pt x="1030" y="466"/>
                  </a:lnTo>
                  <a:lnTo>
                    <a:pt x="1030" y="464"/>
                  </a:lnTo>
                  <a:lnTo>
                    <a:pt x="1030" y="466"/>
                  </a:lnTo>
                  <a:lnTo>
                    <a:pt x="1030" y="470"/>
                  </a:lnTo>
                  <a:lnTo>
                    <a:pt x="1032" y="470"/>
                  </a:lnTo>
                  <a:lnTo>
                    <a:pt x="1036" y="470"/>
                  </a:lnTo>
                  <a:lnTo>
                    <a:pt x="1032" y="474"/>
                  </a:lnTo>
                  <a:lnTo>
                    <a:pt x="1032" y="478"/>
                  </a:lnTo>
                  <a:lnTo>
                    <a:pt x="1032" y="474"/>
                  </a:lnTo>
                  <a:lnTo>
                    <a:pt x="1036" y="474"/>
                  </a:lnTo>
                  <a:lnTo>
                    <a:pt x="1040" y="474"/>
                  </a:lnTo>
                  <a:lnTo>
                    <a:pt x="1044" y="474"/>
                  </a:lnTo>
                  <a:lnTo>
                    <a:pt x="1040" y="478"/>
                  </a:lnTo>
                  <a:lnTo>
                    <a:pt x="1044" y="478"/>
                  </a:lnTo>
                  <a:lnTo>
                    <a:pt x="1048" y="478"/>
                  </a:lnTo>
                  <a:lnTo>
                    <a:pt x="1044" y="482"/>
                  </a:lnTo>
                  <a:lnTo>
                    <a:pt x="1040" y="482"/>
                  </a:lnTo>
                  <a:lnTo>
                    <a:pt x="1044" y="482"/>
                  </a:lnTo>
                  <a:lnTo>
                    <a:pt x="1048" y="486"/>
                  </a:lnTo>
                  <a:lnTo>
                    <a:pt x="1044" y="486"/>
                  </a:lnTo>
                  <a:lnTo>
                    <a:pt x="1044" y="490"/>
                  </a:lnTo>
                  <a:lnTo>
                    <a:pt x="1048" y="486"/>
                  </a:lnTo>
                  <a:lnTo>
                    <a:pt x="1052" y="486"/>
                  </a:lnTo>
                  <a:lnTo>
                    <a:pt x="1048" y="490"/>
                  </a:lnTo>
                  <a:lnTo>
                    <a:pt x="1052" y="490"/>
                  </a:lnTo>
                  <a:lnTo>
                    <a:pt x="1052" y="494"/>
                  </a:lnTo>
                  <a:lnTo>
                    <a:pt x="1052" y="496"/>
                  </a:lnTo>
                  <a:lnTo>
                    <a:pt x="1052" y="494"/>
                  </a:lnTo>
                  <a:lnTo>
                    <a:pt x="1052" y="490"/>
                  </a:lnTo>
                  <a:lnTo>
                    <a:pt x="1056" y="490"/>
                  </a:lnTo>
                  <a:lnTo>
                    <a:pt x="1056" y="494"/>
                  </a:lnTo>
                  <a:lnTo>
                    <a:pt x="1060" y="494"/>
                  </a:lnTo>
                  <a:lnTo>
                    <a:pt x="1060" y="496"/>
                  </a:lnTo>
                  <a:lnTo>
                    <a:pt x="1060" y="494"/>
                  </a:lnTo>
                  <a:lnTo>
                    <a:pt x="1062" y="494"/>
                  </a:lnTo>
                  <a:lnTo>
                    <a:pt x="1060" y="496"/>
                  </a:lnTo>
                  <a:lnTo>
                    <a:pt x="1062" y="496"/>
                  </a:lnTo>
                  <a:lnTo>
                    <a:pt x="1062" y="494"/>
                  </a:lnTo>
                  <a:lnTo>
                    <a:pt x="1066" y="494"/>
                  </a:lnTo>
                  <a:lnTo>
                    <a:pt x="1066" y="496"/>
                  </a:lnTo>
                  <a:lnTo>
                    <a:pt x="1066" y="500"/>
                  </a:lnTo>
                  <a:lnTo>
                    <a:pt x="1070" y="500"/>
                  </a:lnTo>
                  <a:lnTo>
                    <a:pt x="1074" y="500"/>
                  </a:lnTo>
                  <a:lnTo>
                    <a:pt x="1074" y="504"/>
                  </a:lnTo>
                  <a:lnTo>
                    <a:pt x="1074" y="508"/>
                  </a:lnTo>
                  <a:lnTo>
                    <a:pt x="1070" y="508"/>
                  </a:lnTo>
                  <a:lnTo>
                    <a:pt x="1070" y="504"/>
                  </a:lnTo>
                  <a:lnTo>
                    <a:pt x="1066" y="504"/>
                  </a:lnTo>
                  <a:lnTo>
                    <a:pt x="1066" y="508"/>
                  </a:lnTo>
                  <a:lnTo>
                    <a:pt x="1070" y="508"/>
                  </a:lnTo>
                  <a:lnTo>
                    <a:pt x="1074" y="512"/>
                  </a:lnTo>
                  <a:lnTo>
                    <a:pt x="1076" y="512"/>
                  </a:lnTo>
                  <a:lnTo>
                    <a:pt x="1080" y="512"/>
                  </a:lnTo>
                  <a:lnTo>
                    <a:pt x="1080" y="516"/>
                  </a:lnTo>
                  <a:lnTo>
                    <a:pt x="1076" y="516"/>
                  </a:lnTo>
                  <a:lnTo>
                    <a:pt x="1074" y="516"/>
                  </a:lnTo>
                  <a:lnTo>
                    <a:pt x="1074" y="520"/>
                  </a:lnTo>
                  <a:lnTo>
                    <a:pt x="1076" y="520"/>
                  </a:lnTo>
                  <a:lnTo>
                    <a:pt x="1080" y="520"/>
                  </a:lnTo>
                  <a:lnTo>
                    <a:pt x="1080" y="522"/>
                  </a:lnTo>
                  <a:lnTo>
                    <a:pt x="1080" y="526"/>
                  </a:lnTo>
                  <a:lnTo>
                    <a:pt x="1080" y="530"/>
                  </a:lnTo>
                  <a:lnTo>
                    <a:pt x="1076" y="530"/>
                  </a:lnTo>
                  <a:lnTo>
                    <a:pt x="1076" y="526"/>
                  </a:lnTo>
                  <a:lnTo>
                    <a:pt x="1076" y="522"/>
                  </a:lnTo>
                  <a:lnTo>
                    <a:pt x="1074" y="522"/>
                  </a:lnTo>
                  <a:lnTo>
                    <a:pt x="1074" y="520"/>
                  </a:lnTo>
                  <a:lnTo>
                    <a:pt x="1070" y="520"/>
                  </a:lnTo>
                  <a:lnTo>
                    <a:pt x="1074" y="520"/>
                  </a:lnTo>
                  <a:lnTo>
                    <a:pt x="1074" y="522"/>
                  </a:lnTo>
                  <a:lnTo>
                    <a:pt x="1074" y="526"/>
                  </a:lnTo>
                  <a:lnTo>
                    <a:pt x="1076" y="530"/>
                  </a:lnTo>
                  <a:lnTo>
                    <a:pt x="1074" y="530"/>
                  </a:lnTo>
                  <a:lnTo>
                    <a:pt x="1074" y="534"/>
                  </a:lnTo>
                  <a:lnTo>
                    <a:pt x="1076" y="534"/>
                  </a:lnTo>
                  <a:lnTo>
                    <a:pt x="1076" y="538"/>
                  </a:lnTo>
                  <a:lnTo>
                    <a:pt x="1080" y="538"/>
                  </a:lnTo>
                  <a:lnTo>
                    <a:pt x="1076" y="542"/>
                  </a:lnTo>
                  <a:lnTo>
                    <a:pt x="1074" y="538"/>
                  </a:lnTo>
                  <a:lnTo>
                    <a:pt x="1070" y="538"/>
                  </a:lnTo>
                  <a:lnTo>
                    <a:pt x="1074" y="542"/>
                  </a:lnTo>
                  <a:lnTo>
                    <a:pt x="1074" y="546"/>
                  </a:lnTo>
                  <a:lnTo>
                    <a:pt x="1076" y="546"/>
                  </a:lnTo>
                  <a:lnTo>
                    <a:pt x="1074" y="546"/>
                  </a:lnTo>
                  <a:lnTo>
                    <a:pt x="1074" y="550"/>
                  </a:lnTo>
                  <a:lnTo>
                    <a:pt x="1070" y="546"/>
                  </a:lnTo>
                  <a:lnTo>
                    <a:pt x="1070" y="542"/>
                  </a:lnTo>
                  <a:lnTo>
                    <a:pt x="1066" y="542"/>
                  </a:lnTo>
                  <a:lnTo>
                    <a:pt x="1066" y="538"/>
                  </a:lnTo>
                  <a:lnTo>
                    <a:pt x="1062" y="538"/>
                  </a:lnTo>
                  <a:lnTo>
                    <a:pt x="1060" y="538"/>
                  </a:lnTo>
                  <a:lnTo>
                    <a:pt x="1060" y="534"/>
                  </a:lnTo>
                  <a:lnTo>
                    <a:pt x="1056" y="534"/>
                  </a:lnTo>
                  <a:lnTo>
                    <a:pt x="1060" y="538"/>
                  </a:lnTo>
                  <a:lnTo>
                    <a:pt x="1056" y="538"/>
                  </a:lnTo>
                  <a:lnTo>
                    <a:pt x="1056" y="534"/>
                  </a:lnTo>
                  <a:lnTo>
                    <a:pt x="1052" y="534"/>
                  </a:lnTo>
                  <a:lnTo>
                    <a:pt x="1052" y="530"/>
                  </a:lnTo>
                  <a:lnTo>
                    <a:pt x="1052" y="526"/>
                  </a:lnTo>
                  <a:lnTo>
                    <a:pt x="1052" y="530"/>
                  </a:lnTo>
                  <a:lnTo>
                    <a:pt x="1052" y="534"/>
                  </a:lnTo>
                  <a:lnTo>
                    <a:pt x="1052" y="538"/>
                  </a:lnTo>
                  <a:lnTo>
                    <a:pt x="1052" y="534"/>
                  </a:lnTo>
                  <a:lnTo>
                    <a:pt x="1052" y="530"/>
                  </a:lnTo>
                  <a:lnTo>
                    <a:pt x="1048" y="530"/>
                  </a:lnTo>
                  <a:lnTo>
                    <a:pt x="1048" y="534"/>
                  </a:lnTo>
                  <a:lnTo>
                    <a:pt x="1048" y="530"/>
                  </a:lnTo>
                  <a:lnTo>
                    <a:pt x="1048" y="526"/>
                  </a:lnTo>
                  <a:lnTo>
                    <a:pt x="1048" y="530"/>
                  </a:lnTo>
                  <a:lnTo>
                    <a:pt x="1044" y="530"/>
                  </a:lnTo>
                  <a:lnTo>
                    <a:pt x="1040" y="526"/>
                  </a:lnTo>
                  <a:lnTo>
                    <a:pt x="1036" y="522"/>
                  </a:lnTo>
                  <a:lnTo>
                    <a:pt x="1036" y="520"/>
                  </a:lnTo>
                  <a:lnTo>
                    <a:pt x="1032" y="520"/>
                  </a:lnTo>
                  <a:lnTo>
                    <a:pt x="1036" y="522"/>
                  </a:lnTo>
                  <a:lnTo>
                    <a:pt x="1036" y="526"/>
                  </a:lnTo>
                  <a:lnTo>
                    <a:pt x="1036" y="530"/>
                  </a:lnTo>
                  <a:lnTo>
                    <a:pt x="1036" y="526"/>
                  </a:lnTo>
                  <a:lnTo>
                    <a:pt x="1032" y="526"/>
                  </a:lnTo>
                  <a:lnTo>
                    <a:pt x="1032" y="522"/>
                  </a:lnTo>
                  <a:lnTo>
                    <a:pt x="1030" y="522"/>
                  </a:lnTo>
                  <a:lnTo>
                    <a:pt x="1026" y="522"/>
                  </a:lnTo>
                  <a:lnTo>
                    <a:pt x="1026" y="520"/>
                  </a:lnTo>
                  <a:lnTo>
                    <a:pt x="1022" y="520"/>
                  </a:lnTo>
                  <a:lnTo>
                    <a:pt x="1018" y="520"/>
                  </a:lnTo>
                  <a:lnTo>
                    <a:pt x="1022" y="522"/>
                  </a:lnTo>
                  <a:lnTo>
                    <a:pt x="1026" y="526"/>
                  </a:lnTo>
                  <a:lnTo>
                    <a:pt x="1030" y="530"/>
                  </a:lnTo>
                  <a:lnTo>
                    <a:pt x="1030" y="534"/>
                  </a:lnTo>
                  <a:lnTo>
                    <a:pt x="1032" y="534"/>
                  </a:lnTo>
                  <a:lnTo>
                    <a:pt x="1036" y="534"/>
                  </a:lnTo>
                  <a:lnTo>
                    <a:pt x="1036" y="538"/>
                  </a:lnTo>
                  <a:lnTo>
                    <a:pt x="1040" y="538"/>
                  </a:lnTo>
                  <a:lnTo>
                    <a:pt x="1036" y="538"/>
                  </a:lnTo>
                  <a:lnTo>
                    <a:pt x="1040" y="538"/>
                  </a:lnTo>
                  <a:lnTo>
                    <a:pt x="1044" y="542"/>
                  </a:lnTo>
                  <a:lnTo>
                    <a:pt x="1048" y="542"/>
                  </a:lnTo>
                  <a:lnTo>
                    <a:pt x="1048" y="546"/>
                  </a:lnTo>
                  <a:lnTo>
                    <a:pt x="1052" y="546"/>
                  </a:lnTo>
                  <a:lnTo>
                    <a:pt x="1056" y="550"/>
                  </a:lnTo>
                  <a:lnTo>
                    <a:pt x="1056" y="552"/>
                  </a:lnTo>
                  <a:lnTo>
                    <a:pt x="1060" y="552"/>
                  </a:lnTo>
                  <a:lnTo>
                    <a:pt x="1060" y="556"/>
                  </a:lnTo>
                  <a:lnTo>
                    <a:pt x="1062" y="556"/>
                  </a:lnTo>
                  <a:lnTo>
                    <a:pt x="1060" y="556"/>
                  </a:lnTo>
                  <a:lnTo>
                    <a:pt x="1060" y="560"/>
                  </a:lnTo>
                  <a:lnTo>
                    <a:pt x="1062" y="560"/>
                  </a:lnTo>
                  <a:lnTo>
                    <a:pt x="1062" y="564"/>
                  </a:lnTo>
                  <a:lnTo>
                    <a:pt x="1060" y="564"/>
                  </a:lnTo>
                  <a:lnTo>
                    <a:pt x="1056" y="564"/>
                  </a:lnTo>
                  <a:lnTo>
                    <a:pt x="1052" y="564"/>
                  </a:lnTo>
                  <a:lnTo>
                    <a:pt x="1052" y="560"/>
                  </a:lnTo>
                  <a:lnTo>
                    <a:pt x="1048" y="560"/>
                  </a:lnTo>
                  <a:lnTo>
                    <a:pt x="1044" y="560"/>
                  </a:lnTo>
                  <a:lnTo>
                    <a:pt x="1040" y="556"/>
                  </a:lnTo>
                  <a:lnTo>
                    <a:pt x="1036" y="556"/>
                  </a:lnTo>
                  <a:lnTo>
                    <a:pt x="1032" y="556"/>
                  </a:lnTo>
                  <a:lnTo>
                    <a:pt x="1030" y="556"/>
                  </a:lnTo>
                  <a:lnTo>
                    <a:pt x="1026" y="556"/>
                  </a:lnTo>
                  <a:lnTo>
                    <a:pt x="1026" y="552"/>
                  </a:lnTo>
                  <a:lnTo>
                    <a:pt x="1022" y="552"/>
                  </a:lnTo>
                  <a:lnTo>
                    <a:pt x="1018" y="552"/>
                  </a:lnTo>
                  <a:lnTo>
                    <a:pt x="1018" y="550"/>
                  </a:lnTo>
                  <a:lnTo>
                    <a:pt x="1014" y="550"/>
                  </a:lnTo>
                  <a:lnTo>
                    <a:pt x="1014" y="546"/>
                  </a:lnTo>
                  <a:lnTo>
                    <a:pt x="1014" y="550"/>
                  </a:lnTo>
                  <a:lnTo>
                    <a:pt x="1010" y="546"/>
                  </a:lnTo>
                  <a:lnTo>
                    <a:pt x="1010" y="542"/>
                  </a:lnTo>
                  <a:lnTo>
                    <a:pt x="1006" y="542"/>
                  </a:lnTo>
                  <a:lnTo>
                    <a:pt x="1004" y="542"/>
                  </a:lnTo>
                  <a:lnTo>
                    <a:pt x="1004" y="542"/>
                  </a:lnTo>
                  <a:lnTo>
                    <a:pt x="1004" y="542"/>
                  </a:lnTo>
                  <a:close/>
                  <a:moveTo>
                    <a:pt x="902" y="292"/>
                  </a:moveTo>
                  <a:lnTo>
                    <a:pt x="898" y="292"/>
                  </a:lnTo>
                  <a:lnTo>
                    <a:pt x="894" y="292"/>
                  </a:lnTo>
                  <a:lnTo>
                    <a:pt x="890" y="292"/>
                  </a:lnTo>
                  <a:lnTo>
                    <a:pt x="888" y="292"/>
                  </a:lnTo>
                  <a:lnTo>
                    <a:pt x="884" y="292"/>
                  </a:lnTo>
                  <a:lnTo>
                    <a:pt x="880" y="292"/>
                  </a:lnTo>
                  <a:lnTo>
                    <a:pt x="876" y="294"/>
                  </a:lnTo>
                  <a:lnTo>
                    <a:pt x="872" y="294"/>
                  </a:lnTo>
                  <a:lnTo>
                    <a:pt x="868" y="294"/>
                  </a:lnTo>
                  <a:lnTo>
                    <a:pt x="864" y="292"/>
                  </a:lnTo>
                  <a:lnTo>
                    <a:pt x="862" y="292"/>
                  </a:lnTo>
                  <a:lnTo>
                    <a:pt x="862" y="288"/>
                  </a:lnTo>
                  <a:lnTo>
                    <a:pt x="862" y="284"/>
                  </a:lnTo>
                  <a:lnTo>
                    <a:pt x="862" y="280"/>
                  </a:lnTo>
                  <a:lnTo>
                    <a:pt x="858" y="280"/>
                  </a:lnTo>
                  <a:lnTo>
                    <a:pt x="854" y="280"/>
                  </a:lnTo>
                  <a:lnTo>
                    <a:pt x="850" y="280"/>
                  </a:lnTo>
                  <a:lnTo>
                    <a:pt x="850" y="276"/>
                  </a:lnTo>
                  <a:lnTo>
                    <a:pt x="850" y="268"/>
                  </a:lnTo>
                  <a:lnTo>
                    <a:pt x="854" y="268"/>
                  </a:lnTo>
                  <a:lnTo>
                    <a:pt x="858" y="268"/>
                  </a:lnTo>
                  <a:lnTo>
                    <a:pt x="862" y="268"/>
                  </a:lnTo>
                  <a:lnTo>
                    <a:pt x="864" y="268"/>
                  </a:lnTo>
                  <a:lnTo>
                    <a:pt x="868" y="268"/>
                  </a:lnTo>
                  <a:lnTo>
                    <a:pt x="868" y="272"/>
                  </a:lnTo>
                  <a:lnTo>
                    <a:pt x="872" y="272"/>
                  </a:lnTo>
                  <a:lnTo>
                    <a:pt x="876" y="272"/>
                  </a:lnTo>
                  <a:lnTo>
                    <a:pt x="876" y="268"/>
                  </a:lnTo>
                  <a:lnTo>
                    <a:pt x="880" y="268"/>
                  </a:lnTo>
                  <a:lnTo>
                    <a:pt x="884" y="268"/>
                  </a:lnTo>
                  <a:lnTo>
                    <a:pt x="888" y="268"/>
                  </a:lnTo>
                  <a:lnTo>
                    <a:pt x="890" y="268"/>
                  </a:lnTo>
                  <a:lnTo>
                    <a:pt x="890" y="272"/>
                  </a:lnTo>
                  <a:lnTo>
                    <a:pt x="894" y="272"/>
                  </a:lnTo>
                  <a:lnTo>
                    <a:pt x="898" y="272"/>
                  </a:lnTo>
                  <a:lnTo>
                    <a:pt x="902" y="272"/>
                  </a:lnTo>
                  <a:lnTo>
                    <a:pt x="902" y="276"/>
                  </a:lnTo>
                  <a:lnTo>
                    <a:pt x="906" y="276"/>
                  </a:lnTo>
                  <a:lnTo>
                    <a:pt x="906" y="280"/>
                  </a:lnTo>
                  <a:lnTo>
                    <a:pt x="910" y="280"/>
                  </a:lnTo>
                  <a:lnTo>
                    <a:pt x="910" y="284"/>
                  </a:lnTo>
                  <a:lnTo>
                    <a:pt x="914" y="284"/>
                  </a:lnTo>
                  <a:lnTo>
                    <a:pt x="914" y="288"/>
                  </a:lnTo>
                  <a:lnTo>
                    <a:pt x="918" y="288"/>
                  </a:lnTo>
                  <a:lnTo>
                    <a:pt x="918" y="292"/>
                  </a:lnTo>
                  <a:lnTo>
                    <a:pt x="914" y="292"/>
                  </a:lnTo>
                  <a:lnTo>
                    <a:pt x="910" y="292"/>
                  </a:lnTo>
                  <a:lnTo>
                    <a:pt x="906" y="292"/>
                  </a:lnTo>
                  <a:lnTo>
                    <a:pt x="902" y="292"/>
                  </a:lnTo>
                  <a:lnTo>
                    <a:pt x="902" y="292"/>
                  </a:lnTo>
                  <a:lnTo>
                    <a:pt x="902" y="292"/>
                  </a:lnTo>
                  <a:close/>
                  <a:moveTo>
                    <a:pt x="508" y="292"/>
                  </a:moveTo>
                  <a:lnTo>
                    <a:pt x="504" y="288"/>
                  </a:lnTo>
                  <a:lnTo>
                    <a:pt x="504" y="292"/>
                  </a:lnTo>
                  <a:lnTo>
                    <a:pt x="508" y="292"/>
                  </a:lnTo>
                  <a:lnTo>
                    <a:pt x="504" y="292"/>
                  </a:lnTo>
                  <a:lnTo>
                    <a:pt x="500" y="288"/>
                  </a:lnTo>
                  <a:lnTo>
                    <a:pt x="496" y="284"/>
                  </a:lnTo>
                  <a:lnTo>
                    <a:pt x="492" y="284"/>
                  </a:lnTo>
                  <a:lnTo>
                    <a:pt x="492" y="280"/>
                  </a:lnTo>
                  <a:lnTo>
                    <a:pt x="488" y="276"/>
                  </a:lnTo>
                  <a:lnTo>
                    <a:pt x="484" y="276"/>
                  </a:lnTo>
                  <a:lnTo>
                    <a:pt x="480" y="276"/>
                  </a:lnTo>
                  <a:lnTo>
                    <a:pt x="480" y="272"/>
                  </a:lnTo>
                  <a:lnTo>
                    <a:pt x="484" y="268"/>
                  </a:lnTo>
                  <a:lnTo>
                    <a:pt x="488" y="268"/>
                  </a:lnTo>
                  <a:lnTo>
                    <a:pt x="492" y="268"/>
                  </a:lnTo>
                  <a:lnTo>
                    <a:pt x="496" y="268"/>
                  </a:lnTo>
                  <a:lnTo>
                    <a:pt x="500" y="268"/>
                  </a:lnTo>
                  <a:lnTo>
                    <a:pt x="504" y="268"/>
                  </a:lnTo>
                  <a:lnTo>
                    <a:pt x="508" y="268"/>
                  </a:lnTo>
                  <a:lnTo>
                    <a:pt x="510" y="268"/>
                  </a:lnTo>
                  <a:lnTo>
                    <a:pt x="514" y="272"/>
                  </a:lnTo>
                  <a:lnTo>
                    <a:pt x="514" y="276"/>
                  </a:lnTo>
                  <a:lnTo>
                    <a:pt x="514" y="280"/>
                  </a:lnTo>
                  <a:lnTo>
                    <a:pt x="510" y="284"/>
                  </a:lnTo>
                  <a:lnTo>
                    <a:pt x="510" y="288"/>
                  </a:lnTo>
                  <a:lnTo>
                    <a:pt x="508" y="288"/>
                  </a:lnTo>
                  <a:lnTo>
                    <a:pt x="508" y="292"/>
                  </a:lnTo>
                  <a:lnTo>
                    <a:pt x="508" y="292"/>
                  </a:lnTo>
                  <a:lnTo>
                    <a:pt x="508" y="292"/>
                  </a:lnTo>
                  <a:close/>
                  <a:moveTo>
                    <a:pt x="236" y="272"/>
                  </a:moveTo>
                  <a:lnTo>
                    <a:pt x="238" y="272"/>
                  </a:lnTo>
                  <a:lnTo>
                    <a:pt x="236" y="272"/>
                  </a:lnTo>
                  <a:lnTo>
                    <a:pt x="236" y="272"/>
                  </a:lnTo>
                  <a:lnTo>
                    <a:pt x="236" y="272"/>
                  </a:lnTo>
                  <a:close/>
                  <a:moveTo>
                    <a:pt x="474" y="272"/>
                  </a:moveTo>
                  <a:lnTo>
                    <a:pt x="470" y="272"/>
                  </a:lnTo>
                  <a:lnTo>
                    <a:pt x="466" y="272"/>
                  </a:lnTo>
                  <a:lnTo>
                    <a:pt x="470" y="272"/>
                  </a:lnTo>
                  <a:lnTo>
                    <a:pt x="474" y="272"/>
                  </a:lnTo>
                  <a:lnTo>
                    <a:pt x="474" y="272"/>
                  </a:lnTo>
                  <a:lnTo>
                    <a:pt x="474" y="272"/>
                  </a:lnTo>
                  <a:close/>
                  <a:moveTo>
                    <a:pt x="354" y="350"/>
                  </a:moveTo>
                  <a:lnTo>
                    <a:pt x="352" y="350"/>
                  </a:lnTo>
                  <a:lnTo>
                    <a:pt x="348" y="350"/>
                  </a:lnTo>
                  <a:lnTo>
                    <a:pt x="344" y="350"/>
                  </a:lnTo>
                  <a:lnTo>
                    <a:pt x="340" y="350"/>
                  </a:lnTo>
                  <a:lnTo>
                    <a:pt x="336" y="350"/>
                  </a:lnTo>
                  <a:lnTo>
                    <a:pt x="332" y="350"/>
                  </a:lnTo>
                  <a:lnTo>
                    <a:pt x="328" y="350"/>
                  </a:lnTo>
                  <a:lnTo>
                    <a:pt x="328" y="348"/>
                  </a:lnTo>
                  <a:lnTo>
                    <a:pt x="324" y="348"/>
                  </a:lnTo>
                  <a:lnTo>
                    <a:pt x="324" y="344"/>
                  </a:lnTo>
                  <a:lnTo>
                    <a:pt x="322" y="344"/>
                  </a:lnTo>
                  <a:lnTo>
                    <a:pt x="322" y="340"/>
                  </a:lnTo>
                  <a:lnTo>
                    <a:pt x="324" y="336"/>
                  </a:lnTo>
                  <a:lnTo>
                    <a:pt x="328" y="336"/>
                  </a:lnTo>
                  <a:lnTo>
                    <a:pt x="332" y="336"/>
                  </a:lnTo>
                  <a:lnTo>
                    <a:pt x="336" y="336"/>
                  </a:lnTo>
                  <a:lnTo>
                    <a:pt x="340" y="332"/>
                  </a:lnTo>
                  <a:lnTo>
                    <a:pt x="344" y="332"/>
                  </a:lnTo>
                  <a:lnTo>
                    <a:pt x="348" y="332"/>
                  </a:lnTo>
                  <a:lnTo>
                    <a:pt x="352" y="332"/>
                  </a:lnTo>
                  <a:lnTo>
                    <a:pt x="354" y="332"/>
                  </a:lnTo>
                  <a:lnTo>
                    <a:pt x="358" y="332"/>
                  </a:lnTo>
                  <a:lnTo>
                    <a:pt x="358" y="328"/>
                  </a:lnTo>
                  <a:lnTo>
                    <a:pt x="354" y="328"/>
                  </a:lnTo>
                  <a:lnTo>
                    <a:pt x="358" y="328"/>
                  </a:lnTo>
                  <a:lnTo>
                    <a:pt x="362" y="328"/>
                  </a:lnTo>
                  <a:lnTo>
                    <a:pt x="366" y="328"/>
                  </a:lnTo>
                  <a:lnTo>
                    <a:pt x="366" y="324"/>
                  </a:lnTo>
                  <a:lnTo>
                    <a:pt x="366" y="328"/>
                  </a:lnTo>
                  <a:lnTo>
                    <a:pt x="362" y="328"/>
                  </a:lnTo>
                  <a:lnTo>
                    <a:pt x="362" y="324"/>
                  </a:lnTo>
                  <a:lnTo>
                    <a:pt x="358" y="324"/>
                  </a:lnTo>
                  <a:lnTo>
                    <a:pt x="354" y="324"/>
                  </a:lnTo>
                  <a:lnTo>
                    <a:pt x="352" y="328"/>
                  </a:lnTo>
                  <a:lnTo>
                    <a:pt x="348" y="328"/>
                  </a:lnTo>
                  <a:lnTo>
                    <a:pt x="344" y="328"/>
                  </a:lnTo>
                  <a:lnTo>
                    <a:pt x="340" y="328"/>
                  </a:lnTo>
                  <a:lnTo>
                    <a:pt x="336" y="328"/>
                  </a:lnTo>
                  <a:lnTo>
                    <a:pt x="332" y="328"/>
                  </a:lnTo>
                  <a:lnTo>
                    <a:pt x="336" y="328"/>
                  </a:lnTo>
                  <a:lnTo>
                    <a:pt x="332" y="328"/>
                  </a:lnTo>
                  <a:lnTo>
                    <a:pt x="332" y="332"/>
                  </a:lnTo>
                  <a:lnTo>
                    <a:pt x="328" y="328"/>
                  </a:lnTo>
                  <a:lnTo>
                    <a:pt x="328" y="332"/>
                  </a:lnTo>
                  <a:lnTo>
                    <a:pt x="328" y="328"/>
                  </a:lnTo>
                  <a:lnTo>
                    <a:pt x="324" y="328"/>
                  </a:lnTo>
                  <a:lnTo>
                    <a:pt x="322" y="328"/>
                  </a:lnTo>
                  <a:lnTo>
                    <a:pt x="324" y="324"/>
                  </a:lnTo>
                  <a:lnTo>
                    <a:pt x="328" y="324"/>
                  </a:lnTo>
                  <a:lnTo>
                    <a:pt x="332" y="324"/>
                  </a:lnTo>
                  <a:lnTo>
                    <a:pt x="328" y="324"/>
                  </a:lnTo>
                  <a:lnTo>
                    <a:pt x="328" y="322"/>
                  </a:lnTo>
                  <a:lnTo>
                    <a:pt x="324" y="322"/>
                  </a:lnTo>
                  <a:lnTo>
                    <a:pt x="324" y="324"/>
                  </a:lnTo>
                  <a:lnTo>
                    <a:pt x="322" y="324"/>
                  </a:lnTo>
                  <a:lnTo>
                    <a:pt x="318" y="324"/>
                  </a:lnTo>
                  <a:lnTo>
                    <a:pt x="318" y="322"/>
                  </a:lnTo>
                  <a:lnTo>
                    <a:pt x="314" y="322"/>
                  </a:lnTo>
                  <a:lnTo>
                    <a:pt x="314" y="324"/>
                  </a:lnTo>
                  <a:lnTo>
                    <a:pt x="310" y="324"/>
                  </a:lnTo>
                  <a:lnTo>
                    <a:pt x="310" y="322"/>
                  </a:lnTo>
                  <a:lnTo>
                    <a:pt x="310" y="318"/>
                  </a:lnTo>
                  <a:lnTo>
                    <a:pt x="314" y="314"/>
                  </a:lnTo>
                  <a:lnTo>
                    <a:pt x="318" y="314"/>
                  </a:lnTo>
                  <a:lnTo>
                    <a:pt x="314" y="310"/>
                  </a:lnTo>
                  <a:lnTo>
                    <a:pt x="318" y="310"/>
                  </a:lnTo>
                  <a:lnTo>
                    <a:pt x="322" y="310"/>
                  </a:lnTo>
                  <a:lnTo>
                    <a:pt x="324" y="310"/>
                  </a:lnTo>
                  <a:lnTo>
                    <a:pt x="324" y="306"/>
                  </a:lnTo>
                  <a:lnTo>
                    <a:pt x="322" y="306"/>
                  </a:lnTo>
                  <a:lnTo>
                    <a:pt x="318" y="306"/>
                  </a:lnTo>
                  <a:lnTo>
                    <a:pt x="318" y="302"/>
                  </a:lnTo>
                  <a:lnTo>
                    <a:pt x="322" y="298"/>
                  </a:lnTo>
                  <a:lnTo>
                    <a:pt x="324" y="298"/>
                  </a:lnTo>
                  <a:lnTo>
                    <a:pt x="328" y="294"/>
                  </a:lnTo>
                  <a:lnTo>
                    <a:pt x="332" y="294"/>
                  </a:lnTo>
                  <a:lnTo>
                    <a:pt x="332" y="292"/>
                  </a:lnTo>
                  <a:lnTo>
                    <a:pt x="336" y="292"/>
                  </a:lnTo>
                  <a:lnTo>
                    <a:pt x="340" y="292"/>
                  </a:lnTo>
                  <a:lnTo>
                    <a:pt x="340" y="288"/>
                  </a:lnTo>
                  <a:lnTo>
                    <a:pt x="344" y="288"/>
                  </a:lnTo>
                  <a:lnTo>
                    <a:pt x="348" y="288"/>
                  </a:lnTo>
                  <a:lnTo>
                    <a:pt x="352" y="284"/>
                  </a:lnTo>
                  <a:lnTo>
                    <a:pt x="354" y="284"/>
                  </a:lnTo>
                  <a:lnTo>
                    <a:pt x="358" y="284"/>
                  </a:lnTo>
                  <a:lnTo>
                    <a:pt x="362" y="280"/>
                  </a:lnTo>
                  <a:lnTo>
                    <a:pt x="366" y="280"/>
                  </a:lnTo>
                  <a:lnTo>
                    <a:pt x="370" y="280"/>
                  </a:lnTo>
                  <a:lnTo>
                    <a:pt x="374" y="276"/>
                  </a:lnTo>
                  <a:lnTo>
                    <a:pt x="378" y="280"/>
                  </a:lnTo>
                  <a:lnTo>
                    <a:pt x="380" y="280"/>
                  </a:lnTo>
                  <a:lnTo>
                    <a:pt x="380" y="284"/>
                  </a:lnTo>
                  <a:lnTo>
                    <a:pt x="384" y="284"/>
                  </a:lnTo>
                  <a:lnTo>
                    <a:pt x="380" y="288"/>
                  </a:lnTo>
                  <a:lnTo>
                    <a:pt x="380" y="292"/>
                  </a:lnTo>
                  <a:lnTo>
                    <a:pt x="380" y="294"/>
                  </a:lnTo>
                  <a:lnTo>
                    <a:pt x="378" y="294"/>
                  </a:lnTo>
                  <a:lnTo>
                    <a:pt x="378" y="298"/>
                  </a:lnTo>
                  <a:lnTo>
                    <a:pt x="374" y="298"/>
                  </a:lnTo>
                  <a:lnTo>
                    <a:pt x="378" y="298"/>
                  </a:lnTo>
                  <a:lnTo>
                    <a:pt x="380" y="298"/>
                  </a:lnTo>
                  <a:lnTo>
                    <a:pt x="384" y="294"/>
                  </a:lnTo>
                  <a:lnTo>
                    <a:pt x="384" y="298"/>
                  </a:lnTo>
                  <a:lnTo>
                    <a:pt x="388" y="294"/>
                  </a:lnTo>
                  <a:lnTo>
                    <a:pt x="388" y="298"/>
                  </a:lnTo>
                  <a:lnTo>
                    <a:pt x="384" y="298"/>
                  </a:lnTo>
                  <a:lnTo>
                    <a:pt x="388" y="298"/>
                  </a:lnTo>
                  <a:lnTo>
                    <a:pt x="388" y="294"/>
                  </a:lnTo>
                  <a:lnTo>
                    <a:pt x="392" y="294"/>
                  </a:lnTo>
                  <a:lnTo>
                    <a:pt x="388" y="294"/>
                  </a:lnTo>
                  <a:lnTo>
                    <a:pt x="392" y="292"/>
                  </a:lnTo>
                  <a:lnTo>
                    <a:pt x="392" y="288"/>
                  </a:lnTo>
                  <a:lnTo>
                    <a:pt x="396" y="288"/>
                  </a:lnTo>
                  <a:lnTo>
                    <a:pt x="400" y="288"/>
                  </a:lnTo>
                  <a:lnTo>
                    <a:pt x="404" y="288"/>
                  </a:lnTo>
                  <a:lnTo>
                    <a:pt x="404" y="292"/>
                  </a:lnTo>
                  <a:lnTo>
                    <a:pt x="408" y="292"/>
                  </a:lnTo>
                  <a:lnTo>
                    <a:pt x="410" y="292"/>
                  </a:lnTo>
                  <a:lnTo>
                    <a:pt x="414" y="292"/>
                  </a:lnTo>
                  <a:lnTo>
                    <a:pt x="418" y="292"/>
                  </a:lnTo>
                  <a:lnTo>
                    <a:pt x="418" y="294"/>
                  </a:lnTo>
                  <a:lnTo>
                    <a:pt x="422" y="294"/>
                  </a:lnTo>
                  <a:lnTo>
                    <a:pt x="422" y="298"/>
                  </a:lnTo>
                  <a:lnTo>
                    <a:pt x="418" y="302"/>
                  </a:lnTo>
                  <a:lnTo>
                    <a:pt x="414" y="302"/>
                  </a:lnTo>
                  <a:lnTo>
                    <a:pt x="414" y="306"/>
                  </a:lnTo>
                  <a:lnTo>
                    <a:pt x="410" y="306"/>
                  </a:lnTo>
                  <a:lnTo>
                    <a:pt x="414" y="306"/>
                  </a:lnTo>
                  <a:lnTo>
                    <a:pt x="418" y="306"/>
                  </a:lnTo>
                  <a:lnTo>
                    <a:pt x="414" y="306"/>
                  </a:lnTo>
                  <a:lnTo>
                    <a:pt x="418" y="302"/>
                  </a:lnTo>
                  <a:lnTo>
                    <a:pt x="422" y="302"/>
                  </a:lnTo>
                  <a:lnTo>
                    <a:pt x="422" y="306"/>
                  </a:lnTo>
                  <a:lnTo>
                    <a:pt x="422" y="302"/>
                  </a:lnTo>
                  <a:lnTo>
                    <a:pt x="424" y="302"/>
                  </a:lnTo>
                  <a:lnTo>
                    <a:pt x="428" y="302"/>
                  </a:lnTo>
                  <a:lnTo>
                    <a:pt x="424" y="302"/>
                  </a:lnTo>
                  <a:lnTo>
                    <a:pt x="428" y="298"/>
                  </a:lnTo>
                  <a:lnTo>
                    <a:pt x="432" y="298"/>
                  </a:lnTo>
                  <a:lnTo>
                    <a:pt x="428" y="302"/>
                  </a:lnTo>
                  <a:lnTo>
                    <a:pt x="432" y="302"/>
                  </a:lnTo>
                  <a:lnTo>
                    <a:pt x="432" y="298"/>
                  </a:lnTo>
                  <a:lnTo>
                    <a:pt x="436" y="302"/>
                  </a:lnTo>
                  <a:lnTo>
                    <a:pt x="440" y="302"/>
                  </a:lnTo>
                  <a:lnTo>
                    <a:pt x="436" y="302"/>
                  </a:lnTo>
                  <a:lnTo>
                    <a:pt x="436" y="298"/>
                  </a:lnTo>
                  <a:lnTo>
                    <a:pt x="440" y="298"/>
                  </a:lnTo>
                  <a:lnTo>
                    <a:pt x="440" y="302"/>
                  </a:lnTo>
                  <a:lnTo>
                    <a:pt x="440" y="298"/>
                  </a:lnTo>
                  <a:lnTo>
                    <a:pt x="436" y="298"/>
                  </a:lnTo>
                  <a:lnTo>
                    <a:pt x="432" y="294"/>
                  </a:lnTo>
                  <a:lnTo>
                    <a:pt x="436" y="294"/>
                  </a:lnTo>
                  <a:lnTo>
                    <a:pt x="440" y="294"/>
                  </a:lnTo>
                  <a:lnTo>
                    <a:pt x="436" y="294"/>
                  </a:lnTo>
                  <a:lnTo>
                    <a:pt x="436" y="292"/>
                  </a:lnTo>
                  <a:lnTo>
                    <a:pt x="432" y="292"/>
                  </a:lnTo>
                  <a:lnTo>
                    <a:pt x="428" y="292"/>
                  </a:lnTo>
                  <a:lnTo>
                    <a:pt x="428" y="288"/>
                  </a:lnTo>
                  <a:lnTo>
                    <a:pt x="432" y="288"/>
                  </a:lnTo>
                  <a:lnTo>
                    <a:pt x="436" y="288"/>
                  </a:lnTo>
                  <a:lnTo>
                    <a:pt x="440" y="288"/>
                  </a:lnTo>
                  <a:lnTo>
                    <a:pt x="444" y="292"/>
                  </a:lnTo>
                  <a:lnTo>
                    <a:pt x="448" y="294"/>
                  </a:lnTo>
                  <a:lnTo>
                    <a:pt x="450" y="294"/>
                  </a:lnTo>
                  <a:lnTo>
                    <a:pt x="450" y="298"/>
                  </a:lnTo>
                  <a:lnTo>
                    <a:pt x="454" y="298"/>
                  </a:lnTo>
                  <a:lnTo>
                    <a:pt x="458" y="298"/>
                  </a:lnTo>
                  <a:lnTo>
                    <a:pt x="458" y="302"/>
                  </a:lnTo>
                  <a:lnTo>
                    <a:pt x="458" y="306"/>
                  </a:lnTo>
                  <a:lnTo>
                    <a:pt x="458" y="310"/>
                  </a:lnTo>
                  <a:lnTo>
                    <a:pt x="462" y="310"/>
                  </a:lnTo>
                  <a:lnTo>
                    <a:pt x="462" y="314"/>
                  </a:lnTo>
                  <a:lnTo>
                    <a:pt x="462" y="318"/>
                  </a:lnTo>
                  <a:lnTo>
                    <a:pt x="462" y="322"/>
                  </a:lnTo>
                  <a:lnTo>
                    <a:pt x="466" y="322"/>
                  </a:lnTo>
                  <a:lnTo>
                    <a:pt x="466" y="324"/>
                  </a:lnTo>
                  <a:lnTo>
                    <a:pt x="470" y="324"/>
                  </a:lnTo>
                  <a:lnTo>
                    <a:pt x="470" y="322"/>
                  </a:lnTo>
                  <a:lnTo>
                    <a:pt x="474" y="322"/>
                  </a:lnTo>
                  <a:lnTo>
                    <a:pt x="474" y="318"/>
                  </a:lnTo>
                  <a:lnTo>
                    <a:pt x="478" y="318"/>
                  </a:lnTo>
                  <a:lnTo>
                    <a:pt x="474" y="314"/>
                  </a:lnTo>
                  <a:lnTo>
                    <a:pt x="470" y="314"/>
                  </a:lnTo>
                  <a:lnTo>
                    <a:pt x="474" y="314"/>
                  </a:lnTo>
                  <a:lnTo>
                    <a:pt x="474" y="310"/>
                  </a:lnTo>
                  <a:lnTo>
                    <a:pt x="470" y="310"/>
                  </a:lnTo>
                  <a:lnTo>
                    <a:pt x="470" y="306"/>
                  </a:lnTo>
                  <a:lnTo>
                    <a:pt x="470" y="302"/>
                  </a:lnTo>
                  <a:lnTo>
                    <a:pt x="470" y="298"/>
                  </a:lnTo>
                  <a:lnTo>
                    <a:pt x="466" y="298"/>
                  </a:lnTo>
                  <a:lnTo>
                    <a:pt x="466" y="294"/>
                  </a:lnTo>
                  <a:lnTo>
                    <a:pt x="466" y="292"/>
                  </a:lnTo>
                  <a:lnTo>
                    <a:pt x="466" y="288"/>
                  </a:lnTo>
                  <a:lnTo>
                    <a:pt x="462" y="284"/>
                  </a:lnTo>
                  <a:lnTo>
                    <a:pt x="466" y="284"/>
                  </a:lnTo>
                  <a:lnTo>
                    <a:pt x="470" y="284"/>
                  </a:lnTo>
                  <a:lnTo>
                    <a:pt x="466" y="284"/>
                  </a:lnTo>
                  <a:lnTo>
                    <a:pt x="466" y="280"/>
                  </a:lnTo>
                  <a:lnTo>
                    <a:pt x="470" y="280"/>
                  </a:lnTo>
                  <a:lnTo>
                    <a:pt x="474" y="280"/>
                  </a:lnTo>
                  <a:lnTo>
                    <a:pt x="478" y="280"/>
                  </a:lnTo>
                  <a:lnTo>
                    <a:pt x="478" y="284"/>
                  </a:lnTo>
                  <a:lnTo>
                    <a:pt x="480" y="284"/>
                  </a:lnTo>
                  <a:lnTo>
                    <a:pt x="480" y="280"/>
                  </a:lnTo>
                  <a:lnTo>
                    <a:pt x="484" y="280"/>
                  </a:lnTo>
                  <a:lnTo>
                    <a:pt x="484" y="284"/>
                  </a:lnTo>
                  <a:lnTo>
                    <a:pt x="488" y="284"/>
                  </a:lnTo>
                  <a:lnTo>
                    <a:pt x="492" y="284"/>
                  </a:lnTo>
                  <a:lnTo>
                    <a:pt x="496" y="288"/>
                  </a:lnTo>
                  <a:lnTo>
                    <a:pt x="500" y="288"/>
                  </a:lnTo>
                  <a:lnTo>
                    <a:pt x="500" y="292"/>
                  </a:lnTo>
                  <a:lnTo>
                    <a:pt x="504" y="292"/>
                  </a:lnTo>
                  <a:lnTo>
                    <a:pt x="504" y="294"/>
                  </a:lnTo>
                  <a:lnTo>
                    <a:pt x="504" y="298"/>
                  </a:lnTo>
                  <a:lnTo>
                    <a:pt x="508" y="298"/>
                  </a:lnTo>
                  <a:lnTo>
                    <a:pt x="508" y="302"/>
                  </a:lnTo>
                  <a:lnTo>
                    <a:pt x="504" y="302"/>
                  </a:lnTo>
                  <a:lnTo>
                    <a:pt x="508" y="302"/>
                  </a:lnTo>
                  <a:lnTo>
                    <a:pt x="508" y="306"/>
                  </a:lnTo>
                  <a:lnTo>
                    <a:pt x="508" y="310"/>
                  </a:lnTo>
                  <a:lnTo>
                    <a:pt x="510" y="310"/>
                  </a:lnTo>
                  <a:lnTo>
                    <a:pt x="508" y="310"/>
                  </a:lnTo>
                  <a:lnTo>
                    <a:pt x="508" y="314"/>
                  </a:lnTo>
                  <a:lnTo>
                    <a:pt x="510" y="314"/>
                  </a:lnTo>
                  <a:lnTo>
                    <a:pt x="510" y="318"/>
                  </a:lnTo>
                  <a:lnTo>
                    <a:pt x="514" y="318"/>
                  </a:lnTo>
                  <a:lnTo>
                    <a:pt x="514" y="322"/>
                  </a:lnTo>
                  <a:lnTo>
                    <a:pt x="518" y="324"/>
                  </a:lnTo>
                  <a:lnTo>
                    <a:pt x="518" y="328"/>
                  </a:lnTo>
                  <a:lnTo>
                    <a:pt x="518" y="332"/>
                  </a:lnTo>
                  <a:lnTo>
                    <a:pt x="514" y="332"/>
                  </a:lnTo>
                  <a:lnTo>
                    <a:pt x="518" y="332"/>
                  </a:lnTo>
                  <a:lnTo>
                    <a:pt x="518" y="336"/>
                  </a:lnTo>
                  <a:lnTo>
                    <a:pt x="514" y="336"/>
                  </a:lnTo>
                  <a:lnTo>
                    <a:pt x="514" y="340"/>
                  </a:lnTo>
                  <a:lnTo>
                    <a:pt x="518" y="340"/>
                  </a:lnTo>
                  <a:lnTo>
                    <a:pt x="522" y="344"/>
                  </a:lnTo>
                  <a:lnTo>
                    <a:pt x="522" y="348"/>
                  </a:lnTo>
                  <a:lnTo>
                    <a:pt x="526" y="348"/>
                  </a:lnTo>
                  <a:lnTo>
                    <a:pt x="530" y="350"/>
                  </a:lnTo>
                  <a:lnTo>
                    <a:pt x="534" y="350"/>
                  </a:lnTo>
                  <a:lnTo>
                    <a:pt x="536" y="350"/>
                  </a:lnTo>
                  <a:lnTo>
                    <a:pt x="536" y="354"/>
                  </a:lnTo>
                  <a:lnTo>
                    <a:pt x="536" y="350"/>
                  </a:lnTo>
                  <a:lnTo>
                    <a:pt x="536" y="348"/>
                  </a:lnTo>
                  <a:lnTo>
                    <a:pt x="540" y="350"/>
                  </a:lnTo>
                  <a:lnTo>
                    <a:pt x="540" y="354"/>
                  </a:lnTo>
                  <a:lnTo>
                    <a:pt x="544" y="354"/>
                  </a:lnTo>
                  <a:lnTo>
                    <a:pt x="548" y="354"/>
                  </a:lnTo>
                  <a:lnTo>
                    <a:pt x="548" y="358"/>
                  </a:lnTo>
                  <a:lnTo>
                    <a:pt x="552" y="358"/>
                  </a:lnTo>
                  <a:lnTo>
                    <a:pt x="556" y="358"/>
                  </a:lnTo>
                  <a:lnTo>
                    <a:pt x="556" y="362"/>
                  </a:lnTo>
                  <a:lnTo>
                    <a:pt x="560" y="362"/>
                  </a:lnTo>
                  <a:lnTo>
                    <a:pt x="564" y="362"/>
                  </a:lnTo>
                  <a:lnTo>
                    <a:pt x="566" y="362"/>
                  </a:lnTo>
                  <a:lnTo>
                    <a:pt x="566" y="366"/>
                  </a:lnTo>
                  <a:lnTo>
                    <a:pt x="566" y="370"/>
                  </a:lnTo>
                  <a:lnTo>
                    <a:pt x="566" y="374"/>
                  </a:lnTo>
                  <a:lnTo>
                    <a:pt x="564" y="374"/>
                  </a:lnTo>
                  <a:lnTo>
                    <a:pt x="560" y="374"/>
                  </a:lnTo>
                  <a:lnTo>
                    <a:pt x="560" y="370"/>
                  </a:lnTo>
                  <a:lnTo>
                    <a:pt x="560" y="374"/>
                  </a:lnTo>
                  <a:lnTo>
                    <a:pt x="556" y="374"/>
                  </a:lnTo>
                  <a:lnTo>
                    <a:pt x="552" y="374"/>
                  </a:lnTo>
                  <a:lnTo>
                    <a:pt x="552" y="370"/>
                  </a:lnTo>
                  <a:lnTo>
                    <a:pt x="548" y="370"/>
                  </a:lnTo>
                  <a:lnTo>
                    <a:pt x="544" y="374"/>
                  </a:lnTo>
                  <a:lnTo>
                    <a:pt x="540" y="374"/>
                  </a:lnTo>
                  <a:lnTo>
                    <a:pt x="544" y="374"/>
                  </a:lnTo>
                  <a:lnTo>
                    <a:pt x="544" y="378"/>
                  </a:lnTo>
                  <a:lnTo>
                    <a:pt x="540" y="378"/>
                  </a:lnTo>
                  <a:lnTo>
                    <a:pt x="536" y="378"/>
                  </a:lnTo>
                  <a:lnTo>
                    <a:pt x="534" y="374"/>
                  </a:lnTo>
                  <a:lnTo>
                    <a:pt x="530" y="374"/>
                  </a:lnTo>
                  <a:lnTo>
                    <a:pt x="530" y="378"/>
                  </a:lnTo>
                  <a:lnTo>
                    <a:pt x="534" y="378"/>
                  </a:lnTo>
                  <a:lnTo>
                    <a:pt x="536" y="378"/>
                  </a:lnTo>
                  <a:lnTo>
                    <a:pt x="536" y="380"/>
                  </a:lnTo>
                  <a:lnTo>
                    <a:pt x="536" y="384"/>
                  </a:lnTo>
                  <a:lnTo>
                    <a:pt x="534" y="384"/>
                  </a:lnTo>
                  <a:lnTo>
                    <a:pt x="534" y="388"/>
                  </a:lnTo>
                  <a:lnTo>
                    <a:pt x="536" y="388"/>
                  </a:lnTo>
                  <a:lnTo>
                    <a:pt x="536" y="384"/>
                  </a:lnTo>
                  <a:lnTo>
                    <a:pt x="540" y="380"/>
                  </a:lnTo>
                  <a:lnTo>
                    <a:pt x="544" y="380"/>
                  </a:lnTo>
                  <a:lnTo>
                    <a:pt x="544" y="378"/>
                  </a:lnTo>
                  <a:lnTo>
                    <a:pt x="548" y="378"/>
                  </a:lnTo>
                  <a:lnTo>
                    <a:pt x="552" y="378"/>
                  </a:lnTo>
                  <a:lnTo>
                    <a:pt x="552" y="380"/>
                  </a:lnTo>
                  <a:lnTo>
                    <a:pt x="552" y="384"/>
                  </a:lnTo>
                  <a:lnTo>
                    <a:pt x="548" y="384"/>
                  </a:lnTo>
                  <a:lnTo>
                    <a:pt x="548" y="388"/>
                  </a:lnTo>
                  <a:lnTo>
                    <a:pt x="552" y="388"/>
                  </a:lnTo>
                  <a:lnTo>
                    <a:pt x="552" y="384"/>
                  </a:lnTo>
                  <a:lnTo>
                    <a:pt x="556" y="384"/>
                  </a:lnTo>
                  <a:lnTo>
                    <a:pt x="556" y="388"/>
                  </a:lnTo>
                  <a:lnTo>
                    <a:pt x="556" y="392"/>
                  </a:lnTo>
                  <a:lnTo>
                    <a:pt x="552" y="392"/>
                  </a:lnTo>
                  <a:lnTo>
                    <a:pt x="548" y="392"/>
                  </a:lnTo>
                  <a:lnTo>
                    <a:pt x="544" y="392"/>
                  </a:lnTo>
                  <a:lnTo>
                    <a:pt x="544" y="396"/>
                  </a:lnTo>
                  <a:lnTo>
                    <a:pt x="540" y="396"/>
                  </a:lnTo>
                  <a:lnTo>
                    <a:pt x="536" y="396"/>
                  </a:lnTo>
                  <a:lnTo>
                    <a:pt x="534" y="396"/>
                  </a:lnTo>
                  <a:lnTo>
                    <a:pt x="530" y="396"/>
                  </a:lnTo>
                  <a:lnTo>
                    <a:pt x="526" y="396"/>
                  </a:lnTo>
                  <a:lnTo>
                    <a:pt x="522" y="396"/>
                  </a:lnTo>
                  <a:lnTo>
                    <a:pt x="518" y="392"/>
                  </a:lnTo>
                  <a:lnTo>
                    <a:pt x="514" y="396"/>
                  </a:lnTo>
                  <a:lnTo>
                    <a:pt x="510" y="396"/>
                  </a:lnTo>
                  <a:lnTo>
                    <a:pt x="508" y="392"/>
                  </a:lnTo>
                  <a:lnTo>
                    <a:pt x="510" y="388"/>
                  </a:lnTo>
                  <a:lnTo>
                    <a:pt x="508" y="388"/>
                  </a:lnTo>
                  <a:lnTo>
                    <a:pt x="504" y="388"/>
                  </a:lnTo>
                  <a:lnTo>
                    <a:pt x="500" y="388"/>
                  </a:lnTo>
                  <a:lnTo>
                    <a:pt x="496" y="388"/>
                  </a:lnTo>
                  <a:lnTo>
                    <a:pt x="492" y="388"/>
                  </a:lnTo>
                  <a:lnTo>
                    <a:pt x="488" y="384"/>
                  </a:lnTo>
                  <a:lnTo>
                    <a:pt x="492" y="384"/>
                  </a:lnTo>
                  <a:lnTo>
                    <a:pt x="492" y="380"/>
                  </a:lnTo>
                  <a:lnTo>
                    <a:pt x="488" y="380"/>
                  </a:lnTo>
                  <a:lnTo>
                    <a:pt x="488" y="378"/>
                  </a:lnTo>
                  <a:lnTo>
                    <a:pt x="484" y="378"/>
                  </a:lnTo>
                  <a:lnTo>
                    <a:pt x="484" y="380"/>
                  </a:lnTo>
                  <a:lnTo>
                    <a:pt x="480" y="380"/>
                  </a:lnTo>
                  <a:lnTo>
                    <a:pt x="480" y="384"/>
                  </a:lnTo>
                  <a:lnTo>
                    <a:pt x="480" y="388"/>
                  </a:lnTo>
                  <a:lnTo>
                    <a:pt x="478" y="388"/>
                  </a:lnTo>
                  <a:lnTo>
                    <a:pt x="478" y="392"/>
                  </a:lnTo>
                  <a:lnTo>
                    <a:pt x="474" y="392"/>
                  </a:lnTo>
                  <a:lnTo>
                    <a:pt x="470" y="392"/>
                  </a:lnTo>
                  <a:lnTo>
                    <a:pt x="466" y="392"/>
                  </a:lnTo>
                  <a:lnTo>
                    <a:pt x="462" y="392"/>
                  </a:lnTo>
                  <a:lnTo>
                    <a:pt x="458" y="392"/>
                  </a:lnTo>
                  <a:lnTo>
                    <a:pt x="458" y="396"/>
                  </a:lnTo>
                  <a:lnTo>
                    <a:pt x="454" y="396"/>
                  </a:lnTo>
                  <a:lnTo>
                    <a:pt x="450" y="400"/>
                  </a:lnTo>
                  <a:lnTo>
                    <a:pt x="448" y="400"/>
                  </a:lnTo>
                  <a:lnTo>
                    <a:pt x="444" y="400"/>
                  </a:lnTo>
                  <a:lnTo>
                    <a:pt x="440" y="400"/>
                  </a:lnTo>
                  <a:lnTo>
                    <a:pt x="436" y="400"/>
                  </a:lnTo>
                  <a:lnTo>
                    <a:pt x="432" y="400"/>
                  </a:lnTo>
                  <a:lnTo>
                    <a:pt x="432" y="404"/>
                  </a:lnTo>
                  <a:lnTo>
                    <a:pt x="432" y="400"/>
                  </a:lnTo>
                  <a:lnTo>
                    <a:pt x="428" y="400"/>
                  </a:lnTo>
                  <a:lnTo>
                    <a:pt x="428" y="404"/>
                  </a:lnTo>
                  <a:lnTo>
                    <a:pt x="424" y="404"/>
                  </a:lnTo>
                  <a:lnTo>
                    <a:pt x="424" y="400"/>
                  </a:lnTo>
                  <a:lnTo>
                    <a:pt x="424" y="404"/>
                  </a:lnTo>
                  <a:lnTo>
                    <a:pt x="422" y="404"/>
                  </a:lnTo>
                  <a:lnTo>
                    <a:pt x="418" y="404"/>
                  </a:lnTo>
                  <a:lnTo>
                    <a:pt x="422" y="404"/>
                  </a:lnTo>
                  <a:lnTo>
                    <a:pt x="418" y="404"/>
                  </a:lnTo>
                  <a:lnTo>
                    <a:pt x="414" y="404"/>
                  </a:lnTo>
                  <a:lnTo>
                    <a:pt x="410" y="404"/>
                  </a:lnTo>
                  <a:lnTo>
                    <a:pt x="408" y="404"/>
                  </a:lnTo>
                  <a:lnTo>
                    <a:pt x="404" y="404"/>
                  </a:lnTo>
                  <a:lnTo>
                    <a:pt x="400" y="404"/>
                  </a:lnTo>
                  <a:lnTo>
                    <a:pt x="396" y="404"/>
                  </a:lnTo>
                  <a:lnTo>
                    <a:pt x="392" y="404"/>
                  </a:lnTo>
                  <a:lnTo>
                    <a:pt x="396" y="404"/>
                  </a:lnTo>
                  <a:lnTo>
                    <a:pt x="392" y="404"/>
                  </a:lnTo>
                  <a:lnTo>
                    <a:pt x="392" y="400"/>
                  </a:lnTo>
                  <a:lnTo>
                    <a:pt x="388" y="400"/>
                  </a:lnTo>
                  <a:lnTo>
                    <a:pt x="388" y="396"/>
                  </a:lnTo>
                  <a:lnTo>
                    <a:pt x="388" y="392"/>
                  </a:lnTo>
                  <a:lnTo>
                    <a:pt x="388" y="388"/>
                  </a:lnTo>
                  <a:lnTo>
                    <a:pt x="388" y="384"/>
                  </a:lnTo>
                  <a:lnTo>
                    <a:pt x="388" y="388"/>
                  </a:lnTo>
                  <a:lnTo>
                    <a:pt x="388" y="384"/>
                  </a:lnTo>
                  <a:lnTo>
                    <a:pt x="384" y="384"/>
                  </a:lnTo>
                  <a:lnTo>
                    <a:pt x="378" y="384"/>
                  </a:lnTo>
                  <a:lnTo>
                    <a:pt x="374" y="384"/>
                  </a:lnTo>
                  <a:lnTo>
                    <a:pt x="370" y="384"/>
                  </a:lnTo>
                  <a:lnTo>
                    <a:pt x="366" y="384"/>
                  </a:lnTo>
                  <a:lnTo>
                    <a:pt x="362" y="384"/>
                  </a:lnTo>
                  <a:lnTo>
                    <a:pt x="358" y="384"/>
                  </a:lnTo>
                  <a:lnTo>
                    <a:pt x="354" y="384"/>
                  </a:lnTo>
                  <a:lnTo>
                    <a:pt x="352" y="380"/>
                  </a:lnTo>
                  <a:lnTo>
                    <a:pt x="348" y="380"/>
                  </a:lnTo>
                  <a:lnTo>
                    <a:pt x="344" y="380"/>
                  </a:lnTo>
                  <a:lnTo>
                    <a:pt x="348" y="378"/>
                  </a:lnTo>
                  <a:lnTo>
                    <a:pt x="344" y="378"/>
                  </a:lnTo>
                  <a:lnTo>
                    <a:pt x="340" y="378"/>
                  </a:lnTo>
                  <a:lnTo>
                    <a:pt x="344" y="378"/>
                  </a:lnTo>
                  <a:lnTo>
                    <a:pt x="344" y="374"/>
                  </a:lnTo>
                  <a:lnTo>
                    <a:pt x="340" y="374"/>
                  </a:lnTo>
                  <a:lnTo>
                    <a:pt x="336" y="374"/>
                  </a:lnTo>
                  <a:lnTo>
                    <a:pt x="336" y="370"/>
                  </a:lnTo>
                  <a:lnTo>
                    <a:pt x="336" y="366"/>
                  </a:lnTo>
                  <a:lnTo>
                    <a:pt x="332" y="366"/>
                  </a:lnTo>
                  <a:lnTo>
                    <a:pt x="336" y="366"/>
                  </a:lnTo>
                  <a:lnTo>
                    <a:pt x="336" y="362"/>
                  </a:lnTo>
                  <a:lnTo>
                    <a:pt x="340" y="362"/>
                  </a:lnTo>
                  <a:lnTo>
                    <a:pt x="348" y="362"/>
                  </a:lnTo>
                  <a:lnTo>
                    <a:pt x="352" y="362"/>
                  </a:lnTo>
                  <a:lnTo>
                    <a:pt x="354" y="358"/>
                  </a:lnTo>
                  <a:lnTo>
                    <a:pt x="358" y="358"/>
                  </a:lnTo>
                  <a:lnTo>
                    <a:pt x="362" y="358"/>
                  </a:lnTo>
                  <a:lnTo>
                    <a:pt x="366" y="358"/>
                  </a:lnTo>
                  <a:lnTo>
                    <a:pt x="370" y="358"/>
                  </a:lnTo>
                  <a:lnTo>
                    <a:pt x="374" y="358"/>
                  </a:lnTo>
                  <a:lnTo>
                    <a:pt x="378" y="358"/>
                  </a:lnTo>
                  <a:lnTo>
                    <a:pt x="380" y="358"/>
                  </a:lnTo>
                  <a:lnTo>
                    <a:pt x="384" y="358"/>
                  </a:lnTo>
                  <a:lnTo>
                    <a:pt x="388" y="358"/>
                  </a:lnTo>
                  <a:lnTo>
                    <a:pt x="392" y="358"/>
                  </a:lnTo>
                  <a:lnTo>
                    <a:pt x="396" y="358"/>
                  </a:lnTo>
                  <a:lnTo>
                    <a:pt x="400" y="362"/>
                  </a:lnTo>
                  <a:lnTo>
                    <a:pt x="404" y="362"/>
                  </a:lnTo>
                  <a:lnTo>
                    <a:pt x="404" y="358"/>
                  </a:lnTo>
                  <a:lnTo>
                    <a:pt x="408" y="358"/>
                  </a:lnTo>
                  <a:lnTo>
                    <a:pt x="410" y="358"/>
                  </a:lnTo>
                  <a:lnTo>
                    <a:pt x="414" y="358"/>
                  </a:lnTo>
                  <a:lnTo>
                    <a:pt x="418" y="358"/>
                  </a:lnTo>
                  <a:lnTo>
                    <a:pt x="414" y="354"/>
                  </a:lnTo>
                  <a:lnTo>
                    <a:pt x="414" y="358"/>
                  </a:lnTo>
                  <a:lnTo>
                    <a:pt x="410" y="354"/>
                  </a:lnTo>
                  <a:lnTo>
                    <a:pt x="408" y="354"/>
                  </a:lnTo>
                  <a:lnTo>
                    <a:pt x="404" y="350"/>
                  </a:lnTo>
                  <a:lnTo>
                    <a:pt x="400" y="350"/>
                  </a:lnTo>
                  <a:lnTo>
                    <a:pt x="396" y="350"/>
                  </a:lnTo>
                  <a:lnTo>
                    <a:pt x="392" y="350"/>
                  </a:lnTo>
                  <a:lnTo>
                    <a:pt x="388" y="348"/>
                  </a:lnTo>
                  <a:lnTo>
                    <a:pt x="388" y="350"/>
                  </a:lnTo>
                  <a:lnTo>
                    <a:pt x="388" y="348"/>
                  </a:lnTo>
                  <a:lnTo>
                    <a:pt x="384" y="348"/>
                  </a:lnTo>
                  <a:lnTo>
                    <a:pt x="380" y="348"/>
                  </a:lnTo>
                  <a:lnTo>
                    <a:pt x="378" y="348"/>
                  </a:lnTo>
                  <a:lnTo>
                    <a:pt x="378" y="350"/>
                  </a:lnTo>
                  <a:lnTo>
                    <a:pt x="374" y="350"/>
                  </a:lnTo>
                  <a:lnTo>
                    <a:pt x="370" y="350"/>
                  </a:lnTo>
                  <a:lnTo>
                    <a:pt x="366" y="350"/>
                  </a:lnTo>
                  <a:lnTo>
                    <a:pt x="362" y="350"/>
                  </a:lnTo>
                  <a:lnTo>
                    <a:pt x="354" y="350"/>
                  </a:lnTo>
                  <a:lnTo>
                    <a:pt x="354" y="350"/>
                  </a:lnTo>
                  <a:lnTo>
                    <a:pt x="354" y="350"/>
                  </a:lnTo>
                  <a:close/>
                  <a:moveTo>
                    <a:pt x="626" y="284"/>
                  </a:moveTo>
                  <a:lnTo>
                    <a:pt x="630" y="288"/>
                  </a:lnTo>
                  <a:lnTo>
                    <a:pt x="626" y="288"/>
                  </a:lnTo>
                  <a:lnTo>
                    <a:pt x="626" y="292"/>
                  </a:lnTo>
                  <a:lnTo>
                    <a:pt x="622" y="292"/>
                  </a:lnTo>
                  <a:lnTo>
                    <a:pt x="622" y="288"/>
                  </a:lnTo>
                  <a:lnTo>
                    <a:pt x="620" y="288"/>
                  </a:lnTo>
                  <a:lnTo>
                    <a:pt x="620" y="284"/>
                  </a:lnTo>
                  <a:lnTo>
                    <a:pt x="622" y="284"/>
                  </a:lnTo>
                  <a:lnTo>
                    <a:pt x="626" y="284"/>
                  </a:lnTo>
                  <a:lnTo>
                    <a:pt x="626" y="284"/>
                  </a:lnTo>
                  <a:lnTo>
                    <a:pt x="626" y="284"/>
                  </a:lnTo>
                  <a:close/>
                  <a:moveTo>
                    <a:pt x="626" y="292"/>
                  </a:moveTo>
                  <a:lnTo>
                    <a:pt x="626" y="294"/>
                  </a:lnTo>
                  <a:lnTo>
                    <a:pt x="622" y="294"/>
                  </a:lnTo>
                  <a:lnTo>
                    <a:pt x="622" y="292"/>
                  </a:lnTo>
                  <a:lnTo>
                    <a:pt x="626" y="292"/>
                  </a:lnTo>
                  <a:lnTo>
                    <a:pt x="626" y="292"/>
                  </a:lnTo>
                  <a:lnTo>
                    <a:pt x="626" y="292"/>
                  </a:lnTo>
                  <a:close/>
                  <a:moveTo>
                    <a:pt x="936" y="310"/>
                  </a:moveTo>
                  <a:lnTo>
                    <a:pt x="940" y="310"/>
                  </a:lnTo>
                  <a:lnTo>
                    <a:pt x="936" y="310"/>
                  </a:lnTo>
                  <a:lnTo>
                    <a:pt x="936" y="310"/>
                  </a:lnTo>
                  <a:lnTo>
                    <a:pt x="936" y="310"/>
                  </a:lnTo>
                  <a:close/>
                  <a:moveTo>
                    <a:pt x="958" y="322"/>
                  </a:moveTo>
                  <a:lnTo>
                    <a:pt x="958" y="324"/>
                  </a:lnTo>
                  <a:lnTo>
                    <a:pt x="954" y="324"/>
                  </a:lnTo>
                  <a:lnTo>
                    <a:pt x="958" y="324"/>
                  </a:lnTo>
                  <a:lnTo>
                    <a:pt x="958" y="322"/>
                  </a:lnTo>
                  <a:lnTo>
                    <a:pt x="958" y="322"/>
                  </a:lnTo>
                  <a:lnTo>
                    <a:pt x="958" y="322"/>
                  </a:lnTo>
                  <a:close/>
                  <a:moveTo>
                    <a:pt x="962" y="324"/>
                  </a:moveTo>
                  <a:lnTo>
                    <a:pt x="966" y="324"/>
                  </a:lnTo>
                  <a:lnTo>
                    <a:pt x="966" y="322"/>
                  </a:lnTo>
                  <a:lnTo>
                    <a:pt x="966" y="324"/>
                  </a:lnTo>
                  <a:lnTo>
                    <a:pt x="962" y="324"/>
                  </a:lnTo>
                  <a:lnTo>
                    <a:pt x="962" y="324"/>
                  </a:lnTo>
                  <a:lnTo>
                    <a:pt x="962" y="324"/>
                  </a:lnTo>
                  <a:close/>
                  <a:moveTo>
                    <a:pt x="962" y="332"/>
                  </a:moveTo>
                  <a:lnTo>
                    <a:pt x="958" y="332"/>
                  </a:lnTo>
                  <a:lnTo>
                    <a:pt x="958" y="328"/>
                  </a:lnTo>
                  <a:lnTo>
                    <a:pt x="958" y="324"/>
                  </a:lnTo>
                  <a:lnTo>
                    <a:pt x="962" y="324"/>
                  </a:lnTo>
                  <a:lnTo>
                    <a:pt x="962" y="328"/>
                  </a:lnTo>
                  <a:lnTo>
                    <a:pt x="958" y="328"/>
                  </a:lnTo>
                  <a:lnTo>
                    <a:pt x="962" y="328"/>
                  </a:lnTo>
                  <a:lnTo>
                    <a:pt x="962" y="324"/>
                  </a:lnTo>
                  <a:lnTo>
                    <a:pt x="962" y="328"/>
                  </a:lnTo>
                  <a:lnTo>
                    <a:pt x="966" y="328"/>
                  </a:lnTo>
                  <a:lnTo>
                    <a:pt x="962" y="328"/>
                  </a:lnTo>
                  <a:lnTo>
                    <a:pt x="962" y="332"/>
                  </a:lnTo>
                  <a:lnTo>
                    <a:pt x="962" y="332"/>
                  </a:lnTo>
                  <a:lnTo>
                    <a:pt x="962" y="332"/>
                  </a:lnTo>
                  <a:close/>
                  <a:moveTo>
                    <a:pt x="988" y="336"/>
                  </a:moveTo>
                  <a:lnTo>
                    <a:pt x="988" y="340"/>
                  </a:lnTo>
                  <a:lnTo>
                    <a:pt x="988" y="336"/>
                  </a:lnTo>
                  <a:lnTo>
                    <a:pt x="988" y="336"/>
                  </a:lnTo>
                  <a:lnTo>
                    <a:pt x="988" y="336"/>
                  </a:lnTo>
                  <a:close/>
                  <a:moveTo>
                    <a:pt x="980" y="340"/>
                  </a:moveTo>
                  <a:lnTo>
                    <a:pt x="984" y="340"/>
                  </a:lnTo>
                  <a:lnTo>
                    <a:pt x="984" y="344"/>
                  </a:lnTo>
                  <a:lnTo>
                    <a:pt x="980" y="344"/>
                  </a:lnTo>
                  <a:lnTo>
                    <a:pt x="976" y="344"/>
                  </a:lnTo>
                  <a:lnTo>
                    <a:pt x="974" y="344"/>
                  </a:lnTo>
                  <a:lnTo>
                    <a:pt x="976" y="344"/>
                  </a:lnTo>
                  <a:lnTo>
                    <a:pt x="976" y="340"/>
                  </a:lnTo>
                  <a:lnTo>
                    <a:pt x="980" y="340"/>
                  </a:lnTo>
                  <a:lnTo>
                    <a:pt x="980" y="340"/>
                  </a:lnTo>
                  <a:lnTo>
                    <a:pt x="980" y="340"/>
                  </a:lnTo>
                  <a:close/>
                  <a:moveTo>
                    <a:pt x="574" y="348"/>
                  </a:moveTo>
                  <a:lnTo>
                    <a:pt x="574" y="350"/>
                  </a:lnTo>
                  <a:lnTo>
                    <a:pt x="578" y="350"/>
                  </a:lnTo>
                  <a:lnTo>
                    <a:pt x="578" y="354"/>
                  </a:lnTo>
                  <a:lnTo>
                    <a:pt x="574" y="354"/>
                  </a:lnTo>
                  <a:lnTo>
                    <a:pt x="574" y="350"/>
                  </a:lnTo>
                  <a:lnTo>
                    <a:pt x="570" y="350"/>
                  </a:lnTo>
                  <a:lnTo>
                    <a:pt x="570" y="348"/>
                  </a:lnTo>
                  <a:lnTo>
                    <a:pt x="574" y="348"/>
                  </a:lnTo>
                  <a:lnTo>
                    <a:pt x="574" y="348"/>
                  </a:lnTo>
                  <a:lnTo>
                    <a:pt x="574" y="348"/>
                  </a:lnTo>
                  <a:close/>
                  <a:moveTo>
                    <a:pt x="182" y="350"/>
                  </a:moveTo>
                  <a:lnTo>
                    <a:pt x="180" y="350"/>
                  </a:lnTo>
                  <a:lnTo>
                    <a:pt x="180" y="348"/>
                  </a:lnTo>
                  <a:lnTo>
                    <a:pt x="182" y="350"/>
                  </a:lnTo>
                  <a:lnTo>
                    <a:pt x="182" y="350"/>
                  </a:lnTo>
                  <a:lnTo>
                    <a:pt x="182" y="350"/>
                  </a:lnTo>
                  <a:close/>
                  <a:moveTo>
                    <a:pt x="760" y="362"/>
                  </a:moveTo>
                  <a:lnTo>
                    <a:pt x="764" y="362"/>
                  </a:lnTo>
                  <a:lnTo>
                    <a:pt x="768" y="362"/>
                  </a:lnTo>
                  <a:lnTo>
                    <a:pt x="772" y="362"/>
                  </a:lnTo>
                  <a:lnTo>
                    <a:pt x="772" y="366"/>
                  </a:lnTo>
                  <a:lnTo>
                    <a:pt x="768" y="366"/>
                  </a:lnTo>
                  <a:lnTo>
                    <a:pt x="764" y="366"/>
                  </a:lnTo>
                  <a:lnTo>
                    <a:pt x="760" y="366"/>
                  </a:lnTo>
                  <a:lnTo>
                    <a:pt x="760" y="362"/>
                  </a:lnTo>
                  <a:lnTo>
                    <a:pt x="756" y="362"/>
                  </a:lnTo>
                  <a:lnTo>
                    <a:pt x="760" y="362"/>
                  </a:lnTo>
                  <a:lnTo>
                    <a:pt x="760" y="362"/>
                  </a:lnTo>
                  <a:lnTo>
                    <a:pt x="760" y="362"/>
                  </a:lnTo>
                  <a:close/>
                  <a:moveTo>
                    <a:pt x="638" y="396"/>
                  </a:moveTo>
                  <a:lnTo>
                    <a:pt x="642" y="392"/>
                  </a:lnTo>
                  <a:lnTo>
                    <a:pt x="642" y="396"/>
                  </a:lnTo>
                  <a:lnTo>
                    <a:pt x="646" y="396"/>
                  </a:lnTo>
                  <a:lnTo>
                    <a:pt x="646" y="392"/>
                  </a:lnTo>
                  <a:lnTo>
                    <a:pt x="650" y="396"/>
                  </a:lnTo>
                  <a:lnTo>
                    <a:pt x="646" y="396"/>
                  </a:lnTo>
                  <a:lnTo>
                    <a:pt x="646" y="400"/>
                  </a:lnTo>
                  <a:lnTo>
                    <a:pt x="642" y="400"/>
                  </a:lnTo>
                  <a:lnTo>
                    <a:pt x="642" y="396"/>
                  </a:lnTo>
                  <a:lnTo>
                    <a:pt x="638" y="400"/>
                  </a:lnTo>
                  <a:lnTo>
                    <a:pt x="634" y="404"/>
                  </a:lnTo>
                  <a:lnTo>
                    <a:pt x="630" y="404"/>
                  </a:lnTo>
                  <a:lnTo>
                    <a:pt x="626" y="404"/>
                  </a:lnTo>
                  <a:lnTo>
                    <a:pt x="622" y="404"/>
                  </a:lnTo>
                  <a:lnTo>
                    <a:pt x="620" y="404"/>
                  </a:lnTo>
                  <a:lnTo>
                    <a:pt x="616" y="404"/>
                  </a:lnTo>
                  <a:lnTo>
                    <a:pt x="612" y="400"/>
                  </a:lnTo>
                  <a:lnTo>
                    <a:pt x="608" y="400"/>
                  </a:lnTo>
                  <a:lnTo>
                    <a:pt x="604" y="400"/>
                  </a:lnTo>
                  <a:lnTo>
                    <a:pt x="604" y="396"/>
                  </a:lnTo>
                  <a:lnTo>
                    <a:pt x="600" y="396"/>
                  </a:lnTo>
                  <a:lnTo>
                    <a:pt x="596" y="396"/>
                  </a:lnTo>
                  <a:lnTo>
                    <a:pt x="596" y="392"/>
                  </a:lnTo>
                  <a:lnTo>
                    <a:pt x="592" y="392"/>
                  </a:lnTo>
                  <a:lnTo>
                    <a:pt x="592" y="396"/>
                  </a:lnTo>
                  <a:lnTo>
                    <a:pt x="590" y="396"/>
                  </a:lnTo>
                  <a:lnTo>
                    <a:pt x="590" y="392"/>
                  </a:lnTo>
                  <a:lnTo>
                    <a:pt x="586" y="392"/>
                  </a:lnTo>
                  <a:lnTo>
                    <a:pt x="586" y="388"/>
                  </a:lnTo>
                  <a:lnTo>
                    <a:pt x="590" y="388"/>
                  </a:lnTo>
                  <a:lnTo>
                    <a:pt x="592" y="388"/>
                  </a:lnTo>
                  <a:lnTo>
                    <a:pt x="596" y="388"/>
                  </a:lnTo>
                  <a:lnTo>
                    <a:pt x="596" y="384"/>
                  </a:lnTo>
                  <a:lnTo>
                    <a:pt x="600" y="384"/>
                  </a:lnTo>
                  <a:lnTo>
                    <a:pt x="604" y="384"/>
                  </a:lnTo>
                  <a:lnTo>
                    <a:pt x="600" y="380"/>
                  </a:lnTo>
                  <a:lnTo>
                    <a:pt x="604" y="380"/>
                  </a:lnTo>
                  <a:lnTo>
                    <a:pt x="600" y="378"/>
                  </a:lnTo>
                  <a:lnTo>
                    <a:pt x="604" y="378"/>
                  </a:lnTo>
                  <a:lnTo>
                    <a:pt x="608" y="380"/>
                  </a:lnTo>
                  <a:lnTo>
                    <a:pt x="604" y="378"/>
                  </a:lnTo>
                  <a:lnTo>
                    <a:pt x="604" y="374"/>
                  </a:lnTo>
                  <a:lnTo>
                    <a:pt x="604" y="370"/>
                  </a:lnTo>
                  <a:lnTo>
                    <a:pt x="608" y="370"/>
                  </a:lnTo>
                  <a:lnTo>
                    <a:pt x="612" y="370"/>
                  </a:lnTo>
                  <a:lnTo>
                    <a:pt x="616" y="370"/>
                  </a:lnTo>
                  <a:lnTo>
                    <a:pt x="616" y="374"/>
                  </a:lnTo>
                  <a:lnTo>
                    <a:pt x="620" y="374"/>
                  </a:lnTo>
                  <a:lnTo>
                    <a:pt x="616" y="374"/>
                  </a:lnTo>
                  <a:lnTo>
                    <a:pt x="616" y="378"/>
                  </a:lnTo>
                  <a:lnTo>
                    <a:pt x="620" y="374"/>
                  </a:lnTo>
                  <a:lnTo>
                    <a:pt x="620" y="378"/>
                  </a:lnTo>
                  <a:lnTo>
                    <a:pt x="622" y="378"/>
                  </a:lnTo>
                  <a:lnTo>
                    <a:pt x="626" y="380"/>
                  </a:lnTo>
                  <a:lnTo>
                    <a:pt x="630" y="380"/>
                  </a:lnTo>
                  <a:lnTo>
                    <a:pt x="634" y="380"/>
                  </a:lnTo>
                  <a:lnTo>
                    <a:pt x="634" y="384"/>
                  </a:lnTo>
                  <a:lnTo>
                    <a:pt x="634" y="388"/>
                  </a:lnTo>
                  <a:lnTo>
                    <a:pt x="634" y="392"/>
                  </a:lnTo>
                  <a:lnTo>
                    <a:pt x="634" y="388"/>
                  </a:lnTo>
                  <a:lnTo>
                    <a:pt x="634" y="384"/>
                  </a:lnTo>
                  <a:lnTo>
                    <a:pt x="638" y="384"/>
                  </a:lnTo>
                  <a:lnTo>
                    <a:pt x="638" y="388"/>
                  </a:lnTo>
                  <a:lnTo>
                    <a:pt x="638" y="392"/>
                  </a:lnTo>
                  <a:lnTo>
                    <a:pt x="638" y="396"/>
                  </a:lnTo>
                  <a:lnTo>
                    <a:pt x="638" y="396"/>
                  </a:lnTo>
                  <a:lnTo>
                    <a:pt x="638" y="396"/>
                  </a:lnTo>
                  <a:close/>
                  <a:moveTo>
                    <a:pt x="824" y="370"/>
                  </a:moveTo>
                  <a:lnTo>
                    <a:pt x="828" y="370"/>
                  </a:lnTo>
                  <a:lnTo>
                    <a:pt x="824" y="370"/>
                  </a:lnTo>
                  <a:lnTo>
                    <a:pt x="824" y="370"/>
                  </a:lnTo>
                  <a:lnTo>
                    <a:pt x="824" y="370"/>
                  </a:lnTo>
                  <a:close/>
                  <a:moveTo>
                    <a:pt x="812" y="370"/>
                  </a:moveTo>
                  <a:lnTo>
                    <a:pt x="808" y="374"/>
                  </a:lnTo>
                  <a:lnTo>
                    <a:pt x="812" y="374"/>
                  </a:lnTo>
                  <a:lnTo>
                    <a:pt x="808" y="374"/>
                  </a:lnTo>
                  <a:lnTo>
                    <a:pt x="808" y="370"/>
                  </a:lnTo>
                  <a:lnTo>
                    <a:pt x="812" y="370"/>
                  </a:lnTo>
                  <a:lnTo>
                    <a:pt x="812" y="370"/>
                  </a:lnTo>
                  <a:lnTo>
                    <a:pt x="812" y="370"/>
                  </a:lnTo>
                  <a:close/>
                  <a:moveTo>
                    <a:pt x="864" y="374"/>
                  </a:moveTo>
                  <a:lnTo>
                    <a:pt x="864" y="370"/>
                  </a:lnTo>
                  <a:lnTo>
                    <a:pt x="868" y="370"/>
                  </a:lnTo>
                  <a:lnTo>
                    <a:pt x="872" y="370"/>
                  </a:lnTo>
                  <a:lnTo>
                    <a:pt x="872" y="374"/>
                  </a:lnTo>
                  <a:lnTo>
                    <a:pt x="868" y="374"/>
                  </a:lnTo>
                  <a:lnTo>
                    <a:pt x="868" y="378"/>
                  </a:lnTo>
                  <a:lnTo>
                    <a:pt x="864" y="378"/>
                  </a:lnTo>
                  <a:lnTo>
                    <a:pt x="864" y="374"/>
                  </a:lnTo>
                  <a:lnTo>
                    <a:pt x="862" y="374"/>
                  </a:lnTo>
                  <a:lnTo>
                    <a:pt x="862" y="378"/>
                  </a:lnTo>
                  <a:lnTo>
                    <a:pt x="864" y="378"/>
                  </a:lnTo>
                  <a:lnTo>
                    <a:pt x="862" y="378"/>
                  </a:lnTo>
                  <a:lnTo>
                    <a:pt x="858" y="378"/>
                  </a:lnTo>
                  <a:lnTo>
                    <a:pt x="858" y="374"/>
                  </a:lnTo>
                  <a:lnTo>
                    <a:pt x="854" y="374"/>
                  </a:lnTo>
                  <a:lnTo>
                    <a:pt x="850" y="374"/>
                  </a:lnTo>
                  <a:lnTo>
                    <a:pt x="854" y="374"/>
                  </a:lnTo>
                  <a:lnTo>
                    <a:pt x="858" y="374"/>
                  </a:lnTo>
                  <a:lnTo>
                    <a:pt x="858" y="370"/>
                  </a:lnTo>
                  <a:lnTo>
                    <a:pt x="862" y="370"/>
                  </a:lnTo>
                  <a:lnTo>
                    <a:pt x="862" y="374"/>
                  </a:lnTo>
                  <a:lnTo>
                    <a:pt x="864" y="374"/>
                  </a:lnTo>
                  <a:lnTo>
                    <a:pt x="864" y="374"/>
                  </a:lnTo>
                  <a:lnTo>
                    <a:pt x="864" y="374"/>
                  </a:lnTo>
                  <a:close/>
                  <a:moveTo>
                    <a:pt x="824" y="370"/>
                  </a:moveTo>
                  <a:lnTo>
                    <a:pt x="828" y="370"/>
                  </a:lnTo>
                  <a:lnTo>
                    <a:pt x="828" y="374"/>
                  </a:lnTo>
                  <a:lnTo>
                    <a:pt x="824" y="374"/>
                  </a:lnTo>
                  <a:lnTo>
                    <a:pt x="820" y="370"/>
                  </a:lnTo>
                  <a:lnTo>
                    <a:pt x="824" y="370"/>
                  </a:lnTo>
                  <a:lnTo>
                    <a:pt x="824" y="370"/>
                  </a:lnTo>
                  <a:lnTo>
                    <a:pt x="824" y="370"/>
                  </a:lnTo>
                  <a:close/>
                  <a:moveTo>
                    <a:pt x="888" y="374"/>
                  </a:moveTo>
                  <a:lnTo>
                    <a:pt x="890" y="374"/>
                  </a:lnTo>
                  <a:lnTo>
                    <a:pt x="890" y="378"/>
                  </a:lnTo>
                  <a:lnTo>
                    <a:pt x="888" y="378"/>
                  </a:lnTo>
                  <a:lnTo>
                    <a:pt x="884" y="378"/>
                  </a:lnTo>
                  <a:lnTo>
                    <a:pt x="880" y="378"/>
                  </a:lnTo>
                  <a:lnTo>
                    <a:pt x="880" y="380"/>
                  </a:lnTo>
                  <a:lnTo>
                    <a:pt x="880" y="378"/>
                  </a:lnTo>
                  <a:lnTo>
                    <a:pt x="884" y="378"/>
                  </a:lnTo>
                  <a:lnTo>
                    <a:pt x="884" y="374"/>
                  </a:lnTo>
                  <a:lnTo>
                    <a:pt x="888" y="374"/>
                  </a:lnTo>
                  <a:lnTo>
                    <a:pt x="888" y="374"/>
                  </a:lnTo>
                  <a:lnTo>
                    <a:pt x="888" y="374"/>
                  </a:lnTo>
                  <a:close/>
                  <a:moveTo>
                    <a:pt x="76" y="392"/>
                  </a:moveTo>
                  <a:lnTo>
                    <a:pt x="80" y="392"/>
                  </a:lnTo>
                  <a:lnTo>
                    <a:pt x="76" y="388"/>
                  </a:lnTo>
                  <a:lnTo>
                    <a:pt x="72" y="388"/>
                  </a:lnTo>
                  <a:lnTo>
                    <a:pt x="72" y="384"/>
                  </a:lnTo>
                  <a:lnTo>
                    <a:pt x="76" y="384"/>
                  </a:lnTo>
                  <a:lnTo>
                    <a:pt x="76" y="388"/>
                  </a:lnTo>
                  <a:lnTo>
                    <a:pt x="80" y="388"/>
                  </a:lnTo>
                  <a:lnTo>
                    <a:pt x="76" y="388"/>
                  </a:lnTo>
                  <a:lnTo>
                    <a:pt x="76" y="384"/>
                  </a:lnTo>
                  <a:lnTo>
                    <a:pt x="72" y="384"/>
                  </a:lnTo>
                  <a:lnTo>
                    <a:pt x="76" y="384"/>
                  </a:lnTo>
                  <a:lnTo>
                    <a:pt x="80" y="380"/>
                  </a:lnTo>
                  <a:lnTo>
                    <a:pt x="80" y="384"/>
                  </a:lnTo>
                  <a:lnTo>
                    <a:pt x="82" y="384"/>
                  </a:lnTo>
                  <a:lnTo>
                    <a:pt x="82" y="380"/>
                  </a:lnTo>
                  <a:lnTo>
                    <a:pt x="86" y="378"/>
                  </a:lnTo>
                  <a:lnTo>
                    <a:pt x="90" y="378"/>
                  </a:lnTo>
                  <a:lnTo>
                    <a:pt x="90" y="380"/>
                  </a:lnTo>
                  <a:lnTo>
                    <a:pt x="94" y="380"/>
                  </a:lnTo>
                  <a:lnTo>
                    <a:pt x="94" y="378"/>
                  </a:lnTo>
                  <a:lnTo>
                    <a:pt x="94" y="374"/>
                  </a:lnTo>
                  <a:lnTo>
                    <a:pt x="96" y="374"/>
                  </a:lnTo>
                  <a:lnTo>
                    <a:pt x="96" y="378"/>
                  </a:lnTo>
                  <a:lnTo>
                    <a:pt x="100" y="378"/>
                  </a:lnTo>
                  <a:lnTo>
                    <a:pt x="100" y="380"/>
                  </a:lnTo>
                  <a:lnTo>
                    <a:pt x="96" y="380"/>
                  </a:lnTo>
                  <a:lnTo>
                    <a:pt x="96" y="384"/>
                  </a:lnTo>
                  <a:lnTo>
                    <a:pt x="94" y="384"/>
                  </a:lnTo>
                  <a:lnTo>
                    <a:pt x="94" y="388"/>
                  </a:lnTo>
                  <a:lnTo>
                    <a:pt x="90" y="388"/>
                  </a:lnTo>
                  <a:lnTo>
                    <a:pt x="90" y="392"/>
                  </a:lnTo>
                  <a:lnTo>
                    <a:pt x="94" y="396"/>
                  </a:lnTo>
                  <a:lnTo>
                    <a:pt x="96" y="400"/>
                  </a:lnTo>
                  <a:lnTo>
                    <a:pt x="94" y="400"/>
                  </a:lnTo>
                  <a:lnTo>
                    <a:pt x="90" y="396"/>
                  </a:lnTo>
                  <a:lnTo>
                    <a:pt x="90" y="392"/>
                  </a:lnTo>
                  <a:lnTo>
                    <a:pt x="86" y="392"/>
                  </a:lnTo>
                  <a:lnTo>
                    <a:pt x="82" y="392"/>
                  </a:lnTo>
                  <a:lnTo>
                    <a:pt x="80" y="392"/>
                  </a:lnTo>
                  <a:lnTo>
                    <a:pt x="76" y="392"/>
                  </a:lnTo>
                  <a:lnTo>
                    <a:pt x="72" y="392"/>
                  </a:lnTo>
                  <a:lnTo>
                    <a:pt x="72" y="388"/>
                  </a:lnTo>
                  <a:lnTo>
                    <a:pt x="72" y="392"/>
                  </a:lnTo>
                  <a:lnTo>
                    <a:pt x="76" y="392"/>
                  </a:lnTo>
                  <a:lnTo>
                    <a:pt x="76" y="392"/>
                  </a:lnTo>
                  <a:lnTo>
                    <a:pt x="76" y="392"/>
                  </a:lnTo>
                  <a:close/>
                  <a:moveTo>
                    <a:pt x="1032" y="374"/>
                  </a:moveTo>
                  <a:lnTo>
                    <a:pt x="1036" y="374"/>
                  </a:lnTo>
                  <a:lnTo>
                    <a:pt x="1036" y="378"/>
                  </a:lnTo>
                  <a:lnTo>
                    <a:pt x="1032" y="378"/>
                  </a:lnTo>
                  <a:lnTo>
                    <a:pt x="1030" y="378"/>
                  </a:lnTo>
                  <a:lnTo>
                    <a:pt x="1032" y="374"/>
                  </a:lnTo>
                  <a:lnTo>
                    <a:pt x="1032" y="374"/>
                  </a:lnTo>
                  <a:lnTo>
                    <a:pt x="1032" y="374"/>
                  </a:lnTo>
                  <a:close/>
                  <a:moveTo>
                    <a:pt x="26" y="378"/>
                  </a:moveTo>
                  <a:lnTo>
                    <a:pt x="24" y="378"/>
                  </a:lnTo>
                  <a:lnTo>
                    <a:pt x="26" y="378"/>
                  </a:lnTo>
                  <a:lnTo>
                    <a:pt x="26" y="374"/>
                  </a:lnTo>
                  <a:lnTo>
                    <a:pt x="30" y="378"/>
                  </a:lnTo>
                  <a:lnTo>
                    <a:pt x="26" y="378"/>
                  </a:lnTo>
                  <a:lnTo>
                    <a:pt x="26" y="378"/>
                  </a:lnTo>
                  <a:lnTo>
                    <a:pt x="26" y="378"/>
                  </a:lnTo>
                  <a:close/>
                  <a:moveTo>
                    <a:pt x="646" y="378"/>
                  </a:moveTo>
                  <a:lnTo>
                    <a:pt x="646" y="380"/>
                  </a:lnTo>
                  <a:lnTo>
                    <a:pt x="642" y="384"/>
                  </a:lnTo>
                  <a:lnTo>
                    <a:pt x="642" y="380"/>
                  </a:lnTo>
                  <a:lnTo>
                    <a:pt x="642" y="378"/>
                  </a:lnTo>
                  <a:lnTo>
                    <a:pt x="638" y="378"/>
                  </a:lnTo>
                  <a:lnTo>
                    <a:pt x="638" y="380"/>
                  </a:lnTo>
                  <a:lnTo>
                    <a:pt x="638" y="378"/>
                  </a:lnTo>
                  <a:lnTo>
                    <a:pt x="638" y="374"/>
                  </a:lnTo>
                  <a:lnTo>
                    <a:pt x="642" y="374"/>
                  </a:lnTo>
                  <a:lnTo>
                    <a:pt x="642" y="378"/>
                  </a:lnTo>
                  <a:lnTo>
                    <a:pt x="646" y="378"/>
                  </a:lnTo>
                  <a:lnTo>
                    <a:pt x="646" y="378"/>
                  </a:lnTo>
                  <a:lnTo>
                    <a:pt x="646" y="378"/>
                  </a:lnTo>
                  <a:close/>
                  <a:moveTo>
                    <a:pt x="1040" y="378"/>
                  </a:moveTo>
                  <a:lnTo>
                    <a:pt x="1036" y="378"/>
                  </a:lnTo>
                  <a:lnTo>
                    <a:pt x="1040" y="378"/>
                  </a:lnTo>
                  <a:lnTo>
                    <a:pt x="1044" y="378"/>
                  </a:lnTo>
                  <a:lnTo>
                    <a:pt x="1040" y="378"/>
                  </a:lnTo>
                  <a:lnTo>
                    <a:pt x="1040" y="378"/>
                  </a:lnTo>
                  <a:lnTo>
                    <a:pt x="1040" y="378"/>
                  </a:lnTo>
                  <a:close/>
                  <a:moveTo>
                    <a:pt x="566" y="378"/>
                  </a:moveTo>
                  <a:lnTo>
                    <a:pt x="566" y="380"/>
                  </a:lnTo>
                  <a:lnTo>
                    <a:pt x="564" y="380"/>
                  </a:lnTo>
                  <a:lnTo>
                    <a:pt x="564" y="378"/>
                  </a:lnTo>
                  <a:lnTo>
                    <a:pt x="560" y="378"/>
                  </a:lnTo>
                  <a:lnTo>
                    <a:pt x="564" y="378"/>
                  </a:lnTo>
                  <a:lnTo>
                    <a:pt x="566" y="378"/>
                  </a:lnTo>
                  <a:lnTo>
                    <a:pt x="566" y="378"/>
                  </a:lnTo>
                  <a:lnTo>
                    <a:pt x="566" y="378"/>
                  </a:lnTo>
                  <a:close/>
                  <a:moveTo>
                    <a:pt x="902" y="380"/>
                  </a:moveTo>
                  <a:lnTo>
                    <a:pt x="906" y="380"/>
                  </a:lnTo>
                  <a:lnTo>
                    <a:pt x="910" y="380"/>
                  </a:lnTo>
                  <a:lnTo>
                    <a:pt x="910" y="384"/>
                  </a:lnTo>
                  <a:lnTo>
                    <a:pt x="906" y="384"/>
                  </a:lnTo>
                  <a:lnTo>
                    <a:pt x="906" y="388"/>
                  </a:lnTo>
                  <a:lnTo>
                    <a:pt x="902" y="388"/>
                  </a:lnTo>
                  <a:lnTo>
                    <a:pt x="898" y="384"/>
                  </a:lnTo>
                  <a:lnTo>
                    <a:pt x="898" y="380"/>
                  </a:lnTo>
                  <a:lnTo>
                    <a:pt x="902" y="380"/>
                  </a:lnTo>
                  <a:lnTo>
                    <a:pt x="902" y="380"/>
                  </a:lnTo>
                  <a:lnTo>
                    <a:pt x="902" y="380"/>
                  </a:lnTo>
                  <a:close/>
                  <a:moveTo>
                    <a:pt x="884" y="380"/>
                  </a:moveTo>
                  <a:lnTo>
                    <a:pt x="888" y="380"/>
                  </a:lnTo>
                  <a:lnTo>
                    <a:pt x="888" y="384"/>
                  </a:lnTo>
                  <a:lnTo>
                    <a:pt x="884" y="384"/>
                  </a:lnTo>
                  <a:lnTo>
                    <a:pt x="884" y="388"/>
                  </a:lnTo>
                  <a:lnTo>
                    <a:pt x="880" y="392"/>
                  </a:lnTo>
                  <a:lnTo>
                    <a:pt x="876" y="392"/>
                  </a:lnTo>
                  <a:lnTo>
                    <a:pt x="876" y="396"/>
                  </a:lnTo>
                  <a:lnTo>
                    <a:pt x="872" y="396"/>
                  </a:lnTo>
                  <a:lnTo>
                    <a:pt x="872" y="392"/>
                  </a:lnTo>
                  <a:lnTo>
                    <a:pt x="872" y="388"/>
                  </a:lnTo>
                  <a:lnTo>
                    <a:pt x="876" y="388"/>
                  </a:lnTo>
                  <a:lnTo>
                    <a:pt x="880" y="388"/>
                  </a:lnTo>
                  <a:lnTo>
                    <a:pt x="880" y="384"/>
                  </a:lnTo>
                  <a:lnTo>
                    <a:pt x="880" y="380"/>
                  </a:lnTo>
                  <a:lnTo>
                    <a:pt x="884" y="380"/>
                  </a:lnTo>
                  <a:lnTo>
                    <a:pt x="884" y="380"/>
                  </a:lnTo>
                  <a:lnTo>
                    <a:pt x="884" y="380"/>
                  </a:lnTo>
                  <a:close/>
                  <a:moveTo>
                    <a:pt x="556" y="396"/>
                  </a:moveTo>
                  <a:lnTo>
                    <a:pt x="556" y="400"/>
                  </a:lnTo>
                  <a:lnTo>
                    <a:pt x="556" y="404"/>
                  </a:lnTo>
                  <a:lnTo>
                    <a:pt x="552" y="404"/>
                  </a:lnTo>
                  <a:lnTo>
                    <a:pt x="552" y="400"/>
                  </a:lnTo>
                  <a:lnTo>
                    <a:pt x="548" y="400"/>
                  </a:lnTo>
                  <a:lnTo>
                    <a:pt x="548" y="396"/>
                  </a:lnTo>
                  <a:lnTo>
                    <a:pt x="552" y="396"/>
                  </a:lnTo>
                  <a:lnTo>
                    <a:pt x="556" y="396"/>
                  </a:lnTo>
                  <a:lnTo>
                    <a:pt x="556" y="396"/>
                  </a:lnTo>
                  <a:lnTo>
                    <a:pt x="556" y="396"/>
                  </a:lnTo>
                  <a:close/>
                  <a:moveTo>
                    <a:pt x="932" y="400"/>
                  </a:moveTo>
                  <a:lnTo>
                    <a:pt x="936" y="404"/>
                  </a:lnTo>
                  <a:lnTo>
                    <a:pt x="936" y="408"/>
                  </a:lnTo>
                  <a:lnTo>
                    <a:pt x="932" y="408"/>
                  </a:lnTo>
                  <a:lnTo>
                    <a:pt x="928" y="408"/>
                  </a:lnTo>
                  <a:lnTo>
                    <a:pt x="928" y="404"/>
                  </a:lnTo>
                  <a:lnTo>
                    <a:pt x="928" y="400"/>
                  </a:lnTo>
                  <a:lnTo>
                    <a:pt x="932" y="400"/>
                  </a:lnTo>
                  <a:lnTo>
                    <a:pt x="932" y="400"/>
                  </a:lnTo>
                  <a:lnTo>
                    <a:pt x="932" y="400"/>
                  </a:lnTo>
                  <a:close/>
                  <a:moveTo>
                    <a:pt x="936" y="400"/>
                  </a:moveTo>
                  <a:lnTo>
                    <a:pt x="940" y="400"/>
                  </a:lnTo>
                  <a:lnTo>
                    <a:pt x="940" y="404"/>
                  </a:lnTo>
                  <a:lnTo>
                    <a:pt x="936" y="404"/>
                  </a:lnTo>
                  <a:lnTo>
                    <a:pt x="936" y="400"/>
                  </a:lnTo>
                  <a:lnTo>
                    <a:pt x="936" y="400"/>
                  </a:lnTo>
                  <a:lnTo>
                    <a:pt x="936" y="400"/>
                  </a:lnTo>
                  <a:close/>
                  <a:moveTo>
                    <a:pt x="880" y="408"/>
                  </a:moveTo>
                  <a:lnTo>
                    <a:pt x="880" y="404"/>
                  </a:lnTo>
                  <a:lnTo>
                    <a:pt x="876" y="404"/>
                  </a:lnTo>
                  <a:lnTo>
                    <a:pt x="880" y="404"/>
                  </a:lnTo>
                  <a:lnTo>
                    <a:pt x="880" y="400"/>
                  </a:lnTo>
                  <a:lnTo>
                    <a:pt x="884" y="400"/>
                  </a:lnTo>
                  <a:lnTo>
                    <a:pt x="884" y="404"/>
                  </a:lnTo>
                  <a:lnTo>
                    <a:pt x="880" y="404"/>
                  </a:lnTo>
                  <a:lnTo>
                    <a:pt x="884" y="404"/>
                  </a:lnTo>
                  <a:lnTo>
                    <a:pt x="880" y="404"/>
                  </a:lnTo>
                  <a:lnTo>
                    <a:pt x="880" y="408"/>
                  </a:lnTo>
                  <a:lnTo>
                    <a:pt x="880" y="408"/>
                  </a:lnTo>
                  <a:lnTo>
                    <a:pt x="880" y="408"/>
                  </a:lnTo>
                  <a:close/>
                  <a:moveTo>
                    <a:pt x="514" y="404"/>
                  </a:moveTo>
                  <a:lnTo>
                    <a:pt x="518" y="404"/>
                  </a:lnTo>
                  <a:lnTo>
                    <a:pt x="518" y="408"/>
                  </a:lnTo>
                  <a:lnTo>
                    <a:pt x="514" y="408"/>
                  </a:lnTo>
                  <a:lnTo>
                    <a:pt x="510" y="408"/>
                  </a:lnTo>
                  <a:lnTo>
                    <a:pt x="510" y="404"/>
                  </a:lnTo>
                  <a:lnTo>
                    <a:pt x="508" y="404"/>
                  </a:lnTo>
                  <a:lnTo>
                    <a:pt x="510" y="404"/>
                  </a:lnTo>
                  <a:lnTo>
                    <a:pt x="514" y="404"/>
                  </a:lnTo>
                  <a:lnTo>
                    <a:pt x="514" y="404"/>
                  </a:lnTo>
                  <a:lnTo>
                    <a:pt x="514" y="404"/>
                  </a:lnTo>
                  <a:close/>
                  <a:moveTo>
                    <a:pt x="944" y="404"/>
                  </a:moveTo>
                  <a:lnTo>
                    <a:pt x="944" y="408"/>
                  </a:lnTo>
                  <a:lnTo>
                    <a:pt x="948" y="408"/>
                  </a:lnTo>
                  <a:lnTo>
                    <a:pt x="948" y="410"/>
                  </a:lnTo>
                  <a:lnTo>
                    <a:pt x="944" y="410"/>
                  </a:lnTo>
                  <a:lnTo>
                    <a:pt x="944" y="408"/>
                  </a:lnTo>
                  <a:lnTo>
                    <a:pt x="944" y="404"/>
                  </a:lnTo>
                  <a:lnTo>
                    <a:pt x="944" y="404"/>
                  </a:lnTo>
                  <a:lnTo>
                    <a:pt x="944" y="404"/>
                  </a:lnTo>
                  <a:close/>
                  <a:moveTo>
                    <a:pt x="876" y="408"/>
                  </a:moveTo>
                  <a:lnTo>
                    <a:pt x="880" y="408"/>
                  </a:lnTo>
                  <a:lnTo>
                    <a:pt x="880" y="410"/>
                  </a:lnTo>
                  <a:lnTo>
                    <a:pt x="876" y="410"/>
                  </a:lnTo>
                  <a:lnTo>
                    <a:pt x="872" y="410"/>
                  </a:lnTo>
                  <a:lnTo>
                    <a:pt x="872" y="408"/>
                  </a:lnTo>
                  <a:lnTo>
                    <a:pt x="876" y="408"/>
                  </a:lnTo>
                  <a:lnTo>
                    <a:pt x="876" y="408"/>
                  </a:lnTo>
                  <a:lnTo>
                    <a:pt x="876" y="408"/>
                  </a:lnTo>
                  <a:close/>
                  <a:moveTo>
                    <a:pt x="910" y="436"/>
                  </a:moveTo>
                  <a:lnTo>
                    <a:pt x="906" y="434"/>
                  </a:lnTo>
                  <a:lnTo>
                    <a:pt x="902" y="434"/>
                  </a:lnTo>
                  <a:lnTo>
                    <a:pt x="902" y="430"/>
                  </a:lnTo>
                  <a:lnTo>
                    <a:pt x="902" y="426"/>
                  </a:lnTo>
                  <a:lnTo>
                    <a:pt x="902" y="422"/>
                  </a:lnTo>
                  <a:lnTo>
                    <a:pt x="902" y="418"/>
                  </a:lnTo>
                  <a:lnTo>
                    <a:pt x="906" y="410"/>
                  </a:lnTo>
                  <a:lnTo>
                    <a:pt x="910" y="410"/>
                  </a:lnTo>
                  <a:lnTo>
                    <a:pt x="918" y="408"/>
                  </a:lnTo>
                  <a:lnTo>
                    <a:pt x="920" y="408"/>
                  </a:lnTo>
                  <a:lnTo>
                    <a:pt x="924" y="408"/>
                  </a:lnTo>
                  <a:lnTo>
                    <a:pt x="928" y="410"/>
                  </a:lnTo>
                  <a:lnTo>
                    <a:pt x="932" y="410"/>
                  </a:lnTo>
                  <a:lnTo>
                    <a:pt x="932" y="414"/>
                  </a:lnTo>
                  <a:lnTo>
                    <a:pt x="932" y="418"/>
                  </a:lnTo>
                  <a:lnTo>
                    <a:pt x="932" y="422"/>
                  </a:lnTo>
                  <a:lnTo>
                    <a:pt x="932" y="426"/>
                  </a:lnTo>
                  <a:lnTo>
                    <a:pt x="932" y="430"/>
                  </a:lnTo>
                  <a:lnTo>
                    <a:pt x="928" y="434"/>
                  </a:lnTo>
                  <a:lnTo>
                    <a:pt x="924" y="434"/>
                  </a:lnTo>
                  <a:lnTo>
                    <a:pt x="920" y="434"/>
                  </a:lnTo>
                  <a:lnTo>
                    <a:pt x="918" y="434"/>
                  </a:lnTo>
                  <a:lnTo>
                    <a:pt x="914" y="434"/>
                  </a:lnTo>
                  <a:lnTo>
                    <a:pt x="914" y="436"/>
                  </a:lnTo>
                  <a:lnTo>
                    <a:pt x="910" y="436"/>
                  </a:lnTo>
                  <a:lnTo>
                    <a:pt x="910" y="436"/>
                  </a:lnTo>
                  <a:lnTo>
                    <a:pt x="910" y="436"/>
                  </a:lnTo>
                  <a:close/>
                  <a:moveTo>
                    <a:pt x="772" y="410"/>
                  </a:moveTo>
                  <a:lnTo>
                    <a:pt x="772" y="414"/>
                  </a:lnTo>
                  <a:lnTo>
                    <a:pt x="772" y="418"/>
                  </a:lnTo>
                  <a:lnTo>
                    <a:pt x="772" y="422"/>
                  </a:lnTo>
                  <a:lnTo>
                    <a:pt x="768" y="422"/>
                  </a:lnTo>
                  <a:lnTo>
                    <a:pt x="764" y="422"/>
                  </a:lnTo>
                  <a:lnTo>
                    <a:pt x="764" y="418"/>
                  </a:lnTo>
                  <a:lnTo>
                    <a:pt x="764" y="414"/>
                  </a:lnTo>
                  <a:lnTo>
                    <a:pt x="764" y="410"/>
                  </a:lnTo>
                  <a:lnTo>
                    <a:pt x="768" y="410"/>
                  </a:lnTo>
                  <a:lnTo>
                    <a:pt x="768" y="408"/>
                  </a:lnTo>
                  <a:lnTo>
                    <a:pt x="772" y="410"/>
                  </a:lnTo>
                  <a:lnTo>
                    <a:pt x="772" y="410"/>
                  </a:lnTo>
                  <a:lnTo>
                    <a:pt x="772" y="410"/>
                  </a:lnTo>
                  <a:close/>
                  <a:moveTo>
                    <a:pt x="1066" y="410"/>
                  </a:moveTo>
                  <a:lnTo>
                    <a:pt x="1066" y="414"/>
                  </a:lnTo>
                  <a:lnTo>
                    <a:pt x="1066" y="410"/>
                  </a:lnTo>
                  <a:lnTo>
                    <a:pt x="1066" y="410"/>
                  </a:lnTo>
                  <a:lnTo>
                    <a:pt x="1066" y="410"/>
                  </a:lnTo>
                  <a:close/>
                  <a:moveTo>
                    <a:pt x="950" y="414"/>
                  </a:moveTo>
                  <a:lnTo>
                    <a:pt x="954" y="414"/>
                  </a:lnTo>
                  <a:lnTo>
                    <a:pt x="954" y="418"/>
                  </a:lnTo>
                  <a:lnTo>
                    <a:pt x="958" y="422"/>
                  </a:lnTo>
                  <a:lnTo>
                    <a:pt x="954" y="422"/>
                  </a:lnTo>
                  <a:lnTo>
                    <a:pt x="950" y="422"/>
                  </a:lnTo>
                  <a:lnTo>
                    <a:pt x="948" y="422"/>
                  </a:lnTo>
                  <a:lnTo>
                    <a:pt x="944" y="422"/>
                  </a:lnTo>
                  <a:lnTo>
                    <a:pt x="940" y="422"/>
                  </a:lnTo>
                  <a:lnTo>
                    <a:pt x="940" y="418"/>
                  </a:lnTo>
                  <a:lnTo>
                    <a:pt x="936" y="418"/>
                  </a:lnTo>
                  <a:lnTo>
                    <a:pt x="936" y="414"/>
                  </a:lnTo>
                  <a:lnTo>
                    <a:pt x="940" y="414"/>
                  </a:lnTo>
                  <a:lnTo>
                    <a:pt x="944" y="414"/>
                  </a:lnTo>
                  <a:lnTo>
                    <a:pt x="944" y="410"/>
                  </a:lnTo>
                  <a:lnTo>
                    <a:pt x="944" y="414"/>
                  </a:lnTo>
                  <a:lnTo>
                    <a:pt x="948" y="414"/>
                  </a:lnTo>
                  <a:lnTo>
                    <a:pt x="950" y="414"/>
                  </a:lnTo>
                  <a:lnTo>
                    <a:pt x="950" y="414"/>
                  </a:lnTo>
                  <a:lnTo>
                    <a:pt x="950" y="414"/>
                  </a:lnTo>
                  <a:close/>
                  <a:moveTo>
                    <a:pt x="454" y="418"/>
                  </a:moveTo>
                  <a:lnTo>
                    <a:pt x="450" y="418"/>
                  </a:lnTo>
                  <a:lnTo>
                    <a:pt x="454" y="418"/>
                  </a:lnTo>
                  <a:lnTo>
                    <a:pt x="454" y="418"/>
                  </a:lnTo>
                  <a:lnTo>
                    <a:pt x="454" y="418"/>
                  </a:lnTo>
                  <a:close/>
                  <a:moveTo>
                    <a:pt x="424" y="418"/>
                  </a:moveTo>
                  <a:lnTo>
                    <a:pt x="422" y="418"/>
                  </a:lnTo>
                  <a:lnTo>
                    <a:pt x="424" y="418"/>
                  </a:lnTo>
                  <a:lnTo>
                    <a:pt x="424" y="418"/>
                  </a:lnTo>
                  <a:lnTo>
                    <a:pt x="424" y="418"/>
                  </a:lnTo>
                  <a:close/>
                  <a:moveTo>
                    <a:pt x="462" y="430"/>
                  </a:moveTo>
                  <a:lnTo>
                    <a:pt x="458" y="430"/>
                  </a:lnTo>
                  <a:lnTo>
                    <a:pt x="458" y="426"/>
                  </a:lnTo>
                  <a:lnTo>
                    <a:pt x="462" y="426"/>
                  </a:lnTo>
                  <a:lnTo>
                    <a:pt x="462" y="430"/>
                  </a:lnTo>
                  <a:lnTo>
                    <a:pt x="462" y="430"/>
                  </a:lnTo>
                  <a:lnTo>
                    <a:pt x="462" y="430"/>
                  </a:lnTo>
                  <a:close/>
                  <a:moveTo>
                    <a:pt x="470" y="430"/>
                  </a:moveTo>
                  <a:lnTo>
                    <a:pt x="470" y="434"/>
                  </a:lnTo>
                  <a:lnTo>
                    <a:pt x="466" y="434"/>
                  </a:lnTo>
                  <a:lnTo>
                    <a:pt x="466" y="430"/>
                  </a:lnTo>
                  <a:lnTo>
                    <a:pt x="470" y="430"/>
                  </a:lnTo>
                  <a:lnTo>
                    <a:pt x="470" y="430"/>
                  </a:lnTo>
                  <a:lnTo>
                    <a:pt x="470" y="430"/>
                  </a:lnTo>
                  <a:close/>
                  <a:moveTo>
                    <a:pt x="1104" y="440"/>
                  </a:moveTo>
                  <a:lnTo>
                    <a:pt x="1106" y="440"/>
                  </a:lnTo>
                  <a:lnTo>
                    <a:pt x="1106" y="436"/>
                  </a:lnTo>
                  <a:lnTo>
                    <a:pt x="1110" y="436"/>
                  </a:lnTo>
                  <a:lnTo>
                    <a:pt x="1106" y="436"/>
                  </a:lnTo>
                  <a:lnTo>
                    <a:pt x="1106" y="440"/>
                  </a:lnTo>
                  <a:lnTo>
                    <a:pt x="1104" y="440"/>
                  </a:lnTo>
                  <a:lnTo>
                    <a:pt x="1104" y="440"/>
                  </a:lnTo>
                  <a:lnTo>
                    <a:pt x="1104" y="440"/>
                  </a:lnTo>
                  <a:close/>
                  <a:moveTo>
                    <a:pt x="1048" y="456"/>
                  </a:moveTo>
                  <a:lnTo>
                    <a:pt x="1052" y="456"/>
                  </a:lnTo>
                  <a:lnTo>
                    <a:pt x="1052" y="460"/>
                  </a:lnTo>
                  <a:lnTo>
                    <a:pt x="1048" y="456"/>
                  </a:lnTo>
                  <a:lnTo>
                    <a:pt x="1048" y="456"/>
                  </a:lnTo>
                  <a:lnTo>
                    <a:pt x="1048" y="456"/>
                  </a:lnTo>
                  <a:close/>
                  <a:moveTo>
                    <a:pt x="820" y="460"/>
                  </a:moveTo>
                  <a:lnTo>
                    <a:pt x="816" y="460"/>
                  </a:lnTo>
                  <a:lnTo>
                    <a:pt x="816" y="456"/>
                  </a:lnTo>
                  <a:lnTo>
                    <a:pt x="816" y="460"/>
                  </a:lnTo>
                  <a:lnTo>
                    <a:pt x="820" y="460"/>
                  </a:lnTo>
                  <a:lnTo>
                    <a:pt x="820" y="460"/>
                  </a:lnTo>
                  <a:lnTo>
                    <a:pt x="820" y="460"/>
                  </a:lnTo>
                  <a:close/>
                  <a:moveTo>
                    <a:pt x="808" y="466"/>
                  </a:moveTo>
                  <a:lnTo>
                    <a:pt x="808" y="470"/>
                  </a:lnTo>
                  <a:lnTo>
                    <a:pt x="812" y="470"/>
                  </a:lnTo>
                  <a:lnTo>
                    <a:pt x="816" y="470"/>
                  </a:lnTo>
                  <a:lnTo>
                    <a:pt x="816" y="474"/>
                  </a:lnTo>
                  <a:lnTo>
                    <a:pt x="812" y="474"/>
                  </a:lnTo>
                  <a:lnTo>
                    <a:pt x="808" y="474"/>
                  </a:lnTo>
                  <a:lnTo>
                    <a:pt x="808" y="470"/>
                  </a:lnTo>
                  <a:lnTo>
                    <a:pt x="806" y="470"/>
                  </a:lnTo>
                  <a:lnTo>
                    <a:pt x="806" y="466"/>
                  </a:lnTo>
                  <a:lnTo>
                    <a:pt x="802" y="466"/>
                  </a:lnTo>
                  <a:lnTo>
                    <a:pt x="802" y="464"/>
                  </a:lnTo>
                  <a:lnTo>
                    <a:pt x="798" y="464"/>
                  </a:lnTo>
                  <a:lnTo>
                    <a:pt x="802" y="464"/>
                  </a:lnTo>
                  <a:lnTo>
                    <a:pt x="806" y="464"/>
                  </a:lnTo>
                  <a:lnTo>
                    <a:pt x="808" y="466"/>
                  </a:lnTo>
                  <a:lnTo>
                    <a:pt x="808" y="466"/>
                  </a:lnTo>
                  <a:lnTo>
                    <a:pt x="808" y="466"/>
                  </a:lnTo>
                  <a:close/>
                  <a:moveTo>
                    <a:pt x="794" y="466"/>
                  </a:moveTo>
                  <a:lnTo>
                    <a:pt x="794" y="470"/>
                  </a:lnTo>
                  <a:lnTo>
                    <a:pt x="798" y="470"/>
                  </a:lnTo>
                  <a:lnTo>
                    <a:pt x="798" y="474"/>
                  </a:lnTo>
                  <a:lnTo>
                    <a:pt x="794" y="478"/>
                  </a:lnTo>
                  <a:lnTo>
                    <a:pt x="794" y="474"/>
                  </a:lnTo>
                  <a:lnTo>
                    <a:pt x="790" y="470"/>
                  </a:lnTo>
                  <a:lnTo>
                    <a:pt x="790" y="466"/>
                  </a:lnTo>
                  <a:lnTo>
                    <a:pt x="790" y="464"/>
                  </a:lnTo>
                  <a:lnTo>
                    <a:pt x="794" y="466"/>
                  </a:lnTo>
                  <a:lnTo>
                    <a:pt x="794" y="466"/>
                  </a:lnTo>
                  <a:lnTo>
                    <a:pt x="794" y="466"/>
                  </a:lnTo>
                  <a:close/>
                  <a:moveTo>
                    <a:pt x="772" y="496"/>
                  </a:moveTo>
                  <a:lnTo>
                    <a:pt x="776" y="496"/>
                  </a:lnTo>
                  <a:lnTo>
                    <a:pt x="776" y="494"/>
                  </a:lnTo>
                  <a:lnTo>
                    <a:pt x="776" y="490"/>
                  </a:lnTo>
                  <a:lnTo>
                    <a:pt x="776" y="486"/>
                  </a:lnTo>
                  <a:lnTo>
                    <a:pt x="776" y="482"/>
                  </a:lnTo>
                  <a:lnTo>
                    <a:pt x="776" y="478"/>
                  </a:lnTo>
                  <a:lnTo>
                    <a:pt x="778" y="470"/>
                  </a:lnTo>
                  <a:lnTo>
                    <a:pt x="782" y="470"/>
                  </a:lnTo>
                  <a:lnTo>
                    <a:pt x="782" y="466"/>
                  </a:lnTo>
                  <a:lnTo>
                    <a:pt x="786" y="466"/>
                  </a:lnTo>
                  <a:lnTo>
                    <a:pt x="786" y="470"/>
                  </a:lnTo>
                  <a:lnTo>
                    <a:pt x="782" y="470"/>
                  </a:lnTo>
                  <a:lnTo>
                    <a:pt x="786" y="470"/>
                  </a:lnTo>
                  <a:lnTo>
                    <a:pt x="790" y="470"/>
                  </a:lnTo>
                  <a:lnTo>
                    <a:pt x="790" y="474"/>
                  </a:lnTo>
                  <a:lnTo>
                    <a:pt x="790" y="478"/>
                  </a:lnTo>
                  <a:lnTo>
                    <a:pt x="786" y="474"/>
                  </a:lnTo>
                  <a:lnTo>
                    <a:pt x="786" y="478"/>
                  </a:lnTo>
                  <a:lnTo>
                    <a:pt x="790" y="478"/>
                  </a:lnTo>
                  <a:lnTo>
                    <a:pt x="790" y="482"/>
                  </a:lnTo>
                  <a:lnTo>
                    <a:pt x="794" y="486"/>
                  </a:lnTo>
                  <a:lnTo>
                    <a:pt x="794" y="482"/>
                  </a:lnTo>
                  <a:lnTo>
                    <a:pt x="798" y="478"/>
                  </a:lnTo>
                  <a:lnTo>
                    <a:pt x="802" y="478"/>
                  </a:lnTo>
                  <a:lnTo>
                    <a:pt x="802" y="482"/>
                  </a:lnTo>
                  <a:lnTo>
                    <a:pt x="806" y="482"/>
                  </a:lnTo>
                  <a:lnTo>
                    <a:pt x="802" y="482"/>
                  </a:lnTo>
                  <a:lnTo>
                    <a:pt x="806" y="486"/>
                  </a:lnTo>
                  <a:lnTo>
                    <a:pt x="808" y="486"/>
                  </a:lnTo>
                  <a:lnTo>
                    <a:pt x="812" y="486"/>
                  </a:lnTo>
                  <a:lnTo>
                    <a:pt x="816" y="486"/>
                  </a:lnTo>
                  <a:lnTo>
                    <a:pt x="816" y="490"/>
                  </a:lnTo>
                  <a:lnTo>
                    <a:pt x="820" y="494"/>
                  </a:lnTo>
                  <a:lnTo>
                    <a:pt x="824" y="494"/>
                  </a:lnTo>
                  <a:lnTo>
                    <a:pt x="824" y="496"/>
                  </a:lnTo>
                  <a:lnTo>
                    <a:pt x="828" y="496"/>
                  </a:lnTo>
                  <a:lnTo>
                    <a:pt x="832" y="496"/>
                  </a:lnTo>
                  <a:lnTo>
                    <a:pt x="834" y="496"/>
                  </a:lnTo>
                  <a:lnTo>
                    <a:pt x="834" y="500"/>
                  </a:lnTo>
                  <a:lnTo>
                    <a:pt x="838" y="500"/>
                  </a:lnTo>
                  <a:lnTo>
                    <a:pt x="838" y="504"/>
                  </a:lnTo>
                  <a:lnTo>
                    <a:pt x="838" y="508"/>
                  </a:lnTo>
                  <a:lnTo>
                    <a:pt x="838" y="512"/>
                  </a:lnTo>
                  <a:lnTo>
                    <a:pt x="834" y="512"/>
                  </a:lnTo>
                  <a:lnTo>
                    <a:pt x="834" y="516"/>
                  </a:lnTo>
                  <a:lnTo>
                    <a:pt x="838" y="512"/>
                  </a:lnTo>
                  <a:lnTo>
                    <a:pt x="842" y="512"/>
                  </a:lnTo>
                  <a:lnTo>
                    <a:pt x="846" y="512"/>
                  </a:lnTo>
                  <a:lnTo>
                    <a:pt x="850" y="516"/>
                  </a:lnTo>
                  <a:lnTo>
                    <a:pt x="850" y="512"/>
                  </a:lnTo>
                  <a:lnTo>
                    <a:pt x="854" y="512"/>
                  </a:lnTo>
                  <a:lnTo>
                    <a:pt x="854" y="516"/>
                  </a:lnTo>
                  <a:lnTo>
                    <a:pt x="858" y="516"/>
                  </a:lnTo>
                  <a:lnTo>
                    <a:pt x="854" y="516"/>
                  </a:lnTo>
                  <a:lnTo>
                    <a:pt x="858" y="516"/>
                  </a:lnTo>
                  <a:lnTo>
                    <a:pt x="858" y="520"/>
                  </a:lnTo>
                  <a:lnTo>
                    <a:pt x="862" y="520"/>
                  </a:lnTo>
                  <a:lnTo>
                    <a:pt x="858" y="520"/>
                  </a:lnTo>
                  <a:lnTo>
                    <a:pt x="854" y="522"/>
                  </a:lnTo>
                  <a:lnTo>
                    <a:pt x="850" y="522"/>
                  </a:lnTo>
                  <a:lnTo>
                    <a:pt x="850" y="526"/>
                  </a:lnTo>
                  <a:lnTo>
                    <a:pt x="846" y="526"/>
                  </a:lnTo>
                  <a:lnTo>
                    <a:pt x="842" y="526"/>
                  </a:lnTo>
                  <a:lnTo>
                    <a:pt x="838" y="522"/>
                  </a:lnTo>
                  <a:lnTo>
                    <a:pt x="834" y="522"/>
                  </a:lnTo>
                  <a:lnTo>
                    <a:pt x="834" y="520"/>
                  </a:lnTo>
                  <a:lnTo>
                    <a:pt x="832" y="520"/>
                  </a:lnTo>
                  <a:lnTo>
                    <a:pt x="832" y="522"/>
                  </a:lnTo>
                  <a:lnTo>
                    <a:pt x="828" y="522"/>
                  </a:lnTo>
                  <a:lnTo>
                    <a:pt x="828" y="520"/>
                  </a:lnTo>
                  <a:lnTo>
                    <a:pt x="828" y="516"/>
                  </a:lnTo>
                  <a:lnTo>
                    <a:pt x="824" y="516"/>
                  </a:lnTo>
                  <a:lnTo>
                    <a:pt x="820" y="516"/>
                  </a:lnTo>
                  <a:lnTo>
                    <a:pt x="816" y="512"/>
                  </a:lnTo>
                  <a:lnTo>
                    <a:pt x="820" y="512"/>
                  </a:lnTo>
                  <a:lnTo>
                    <a:pt x="820" y="508"/>
                  </a:lnTo>
                  <a:lnTo>
                    <a:pt x="816" y="508"/>
                  </a:lnTo>
                  <a:lnTo>
                    <a:pt x="816" y="512"/>
                  </a:lnTo>
                  <a:lnTo>
                    <a:pt x="812" y="512"/>
                  </a:lnTo>
                  <a:lnTo>
                    <a:pt x="808" y="512"/>
                  </a:lnTo>
                  <a:lnTo>
                    <a:pt x="808" y="516"/>
                  </a:lnTo>
                  <a:lnTo>
                    <a:pt x="812" y="516"/>
                  </a:lnTo>
                  <a:lnTo>
                    <a:pt x="812" y="520"/>
                  </a:lnTo>
                  <a:lnTo>
                    <a:pt x="808" y="520"/>
                  </a:lnTo>
                  <a:lnTo>
                    <a:pt x="806" y="522"/>
                  </a:lnTo>
                  <a:lnTo>
                    <a:pt x="802" y="522"/>
                  </a:lnTo>
                  <a:lnTo>
                    <a:pt x="802" y="526"/>
                  </a:lnTo>
                  <a:lnTo>
                    <a:pt x="798" y="526"/>
                  </a:lnTo>
                  <a:lnTo>
                    <a:pt x="798" y="530"/>
                  </a:lnTo>
                  <a:lnTo>
                    <a:pt x="794" y="530"/>
                  </a:lnTo>
                  <a:lnTo>
                    <a:pt x="794" y="534"/>
                  </a:lnTo>
                  <a:lnTo>
                    <a:pt x="790" y="534"/>
                  </a:lnTo>
                  <a:lnTo>
                    <a:pt x="786" y="534"/>
                  </a:lnTo>
                  <a:lnTo>
                    <a:pt x="782" y="534"/>
                  </a:lnTo>
                  <a:lnTo>
                    <a:pt x="782" y="530"/>
                  </a:lnTo>
                  <a:lnTo>
                    <a:pt x="782" y="526"/>
                  </a:lnTo>
                  <a:lnTo>
                    <a:pt x="782" y="522"/>
                  </a:lnTo>
                  <a:lnTo>
                    <a:pt x="782" y="520"/>
                  </a:lnTo>
                  <a:lnTo>
                    <a:pt x="778" y="520"/>
                  </a:lnTo>
                  <a:lnTo>
                    <a:pt x="776" y="522"/>
                  </a:lnTo>
                  <a:lnTo>
                    <a:pt x="772" y="522"/>
                  </a:lnTo>
                  <a:lnTo>
                    <a:pt x="768" y="522"/>
                  </a:lnTo>
                  <a:lnTo>
                    <a:pt x="764" y="522"/>
                  </a:lnTo>
                  <a:lnTo>
                    <a:pt x="760" y="522"/>
                  </a:lnTo>
                  <a:lnTo>
                    <a:pt x="760" y="520"/>
                  </a:lnTo>
                  <a:lnTo>
                    <a:pt x="764" y="516"/>
                  </a:lnTo>
                  <a:lnTo>
                    <a:pt x="768" y="516"/>
                  </a:lnTo>
                  <a:lnTo>
                    <a:pt x="772" y="512"/>
                  </a:lnTo>
                  <a:lnTo>
                    <a:pt x="776" y="512"/>
                  </a:lnTo>
                  <a:lnTo>
                    <a:pt x="776" y="508"/>
                  </a:lnTo>
                  <a:lnTo>
                    <a:pt x="772" y="508"/>
                  </a:lnTo>
                  <a:lnTo>
                    <a:pt x="772" y="504"/>
                  </a:lnTo>
                  <a:lnTo>
                    <a:pt x="772" y="500"/>
                  </a:lnTo>
                  <a:lnTo>
                    <a:pt x="772" y="496"/>
                  </a:lnTo>
                  <a:lnTo>
                    <a:pt x="772" y="496"/>
                  </a:lnTo>
                  <a:lnTo>
                    <a:pt x="772" y="496"/>
                  </a:lnTo>
                  <a:close/>
                  <a:moveTo>
                    <a:pt x="816" y="470"/>
                  </a:moveTo>
                  <a:lnTo>
                    <a:pt x="812" y="470"/>
                  </a:lnTo>
                  <a:lnTo>
                    <a:pt x="812" y="466"/>
                  </a:lnTo>
                  <a:lnTo>
                    <a:pt x="816" y="466"/>
                  </a:lnTo>
                  <a:lnTo>
                    <a:pt x="816" y="470"/>
                  </a:lnTo>
                  <a:lnTo>
                    <a:pt x="816" y="470"/>
                  </a:lnTo>
                  <a:lnTo>
                    <a:pt x="816" y="470"/>
                  </a:lnTo>
                  <a:close/>
                  <a:moveTo>
                    <a:pt x="1114" y="470"/>
                  </a:moveTo>
                  <a:lnTo>
                    <a:pt x="1114" y="474"/>
                  </a:lnTo>
                  <a:lnTo>
                    <a:pt x="1114" y="470"/>
                  </a:lnTo>
                  <a:lnTo>
                    <a:pt x="1114" y="474"/>
                  </a:lnTo>
                  <a:lnTo>
                    <a:pt x="1110" y="474"/>
                  </a:lnTo>
                  <a:lnTo>
                    <a:pt x="1110" y="470"/>
                  </a:lnTo>
                  <a:lnTo>
                    <a:pt x="1114" y="470"/>
                  </a:lnTo>
                  <a:lnTo>
                    <a:pt x="1114" y="470"/>
                  </a:lnTo>
                  <a:lnTo>
                    <a:pt x="1114" y="470"/>
                  </a:lnTo>
                  <a:close/>
                  <a:moveTo>
                    <a:pt x="1070" y="496"/>
                  </a:moveTo>
                  <a:lnTo>
                    <a:pt x="1074" y="496"/>
                  </a:lnTo>
                  <a:lnTo>
                    <a:pt x="1070" y="500"/>
                  </a:lnTo>
                  <a:lnTo>
                    <a:pt x="1066" y="500"/>
                  </a:lnTo>
                  <a:lnTo>
                    <a:pt x="1070" y="496"/>
                  </a:lnTo>
                  <a:lnTo>
                    <a:pt x="1070" y="496"/>
                  </a:lnTo>
                  <a:lnTo>
                    <a:pt x="1070" y="496"/>
                  </a:lnTo>
                  <a:close/>
                  <a:moveTo>
                    <a:pt x="894" y="516"/>
                  </a:moveTo>
                  <a:lnTo>
                    <a:pt x="890" y="516"/>
                  </a:lnTo>
                  <a:lnTo>
                    <a:pt x="890" y="512"/>
                  </a:lnTo>
                  <a:lnTo>
                    <a:pt x="894" y="512"/>
                  </a:lnTo>
                  <a:lnTo>
                    <a:pt x="898" y="512"/>
                  </a:lnTo>
                  <a:lnTo>
                    <a:pt x="894" y="516"/>
                  </a:lnTo>
                  <a:lnTo>
                    <a:pt x="894" y="516"/>
                  </a:lnTo>
                  <a:lnTo>
                    <a:pt x="894" y="516"/>
                  </a:lnTo>
                  <a:close/>
                  <a:moveTo>
                    <a:pt x="970" y="520"/>
                  </a:moveTo>
                  <a:lnTo>
                    <a:pt x="970" y="522"/>
                  </a:lnTo>
                  <a:lnTo>
                    <a:pt x="966" y="522"/>
                  </a:lnTo>
                  <a:lnTo>
                    <a:pt x="970" y="520"/>
                  </a:lnTo>
                  <a:lnTo>
                    <a:pt x="970" y="520"/>
                  </a:lnTo>
                  <a:lnTo>
                    <a:pt x="970" y="520"/>
                  </a:lnTo>
                  <a:close/>
                  <a:moveTo>
                    <a:pt x="910" y="526"/>
                  </a:moveTo>
                  <a:lnTo>
                    <a:pt x="914" y="526"/>
                  </a:lnTo>
                  <a:lnTo>
                    <a:pt x="910" y="526"/>
                  </a:lnTo>
                  <a:lnTo>
                    <a:pt x="910" y="530"/>
                  </a:lnTo>
                  <a:lnTo>
                    <a:pt x="906" y="526"/>
                  </a:lnTo>
                  <a:lnTo>
                    <a:pt x="902" y="526"/>
                  </a:lnTo>
                  <a:lnTo>
                    <a:pt x="902" y="522"/>
                  </a:lnTo>
                  <a:lnTo>
                    <a:pt x="898" y="522"/>
                  </a:lnTo>
                  <a:lnTo>
                    <a:pt x="898" y="520"/>
                  </a:lnTo>
                  <a:lnTo>
                    <a:pt x="902" y="522"/>
                  </a:lnTo>
                  <a:lnTo>
                    <a:pt x="906" y="522"/>
                  </a:lnTo>
                  <a:lnTo>
                    <a:pt x="910" y="522"/>
                  </a:lnTo>
                  <a:lnTo>
                    <a:pt x="910" y="526"/>
                  </a:lnTo>
                  <a:lnTo>
                    <a:pt x="910" y="526"/>
                  </a:lnTo>
                  <a:lnTo>
                    <a:pt x="910" y="526"/>
                  </a:lnTo>
                  <a:close/>
                  <a:moveTo>
                    <a:pt x="1084" y="522"/>
                  </a:moveTo>
                  <a:lnTo>
                    <a:pt x="1084" y="526"/>
                  </a:lnTo>
                  <a:lnTo>
                    <a:pt x="1088" y="530"/>
                  </a:lnTo>
                  <a:lnTo>
                    <a:pt x="1084" y="530"/>
                  </a:lnTo>
                  <a:lnTo>
                    <a:pt x="1084" y="526"/>
                  </a:lnTo>
                  <a:lnTo>
                    <a:pt x="1080" y="522"/>
                  </a:lnTo>
                  <a:lnTo>
                    <a:pt x="1084" y="522"/>
                  </a:lnTo>
                  <a:lnTo>
                    <a:pt x="1084" y="522"/>
                  </a:lnTo>
                  <a:lnTo>
                    <a:pt x="1084" y="522"/>
                  </a:lnTo>
                  <a:close/>
                  <a:moveTo>
                    <a:pt x="1076" y="522"/>
                  </a:moveTo>
                  <a:lnTo>
                    <a:pt x="1076" y="526"/>
                  </a:lnTo>
                  <a:lnTo>
                    <a:pt x="1074" y="526"/>
                  </a:lnTo>
                  <a:lnTo>
                    <a:pt x="1074" y="522"/>
                  </a:lnTo>
                  <a:lnTo>
                    <a:pt x="1076" y="522"/>
                  </a:lnTo>
                  <a:lnTo>
                    <a:pt x="1076" y="522"/>
                  </a:lnTo>
                  <a:lnTo>
                    <a:pt x="1076" y="522"/>
                  </a:lnTo>
                  <a:close/>
                  <a:moveTo>
                    <a:pt x="888" y="526"/>
                  </a:moveTo>
                  <a:lnTo>
                    <a:pt x="890" y="526"/>
                  </a:lnTo>
                  <a:lnTo>
                    <a:pt x="894" y="526"/>
                  </a:lnTo>
                  <a:lnTo>
                    <a:pt x="898" y="530"/>
                  </a:lnTo>
                  <a:lnTo>
                    <a:pt x="898" y="534"/>
                  </a:lnTo>
                  <a:lnTo>
                    <a:pt x="894" y="534"/>
                  </a:lnTo>
                  <a:lnTo>
                    <a:pt x="890" y="534"/>
                  </a:lnTo>
                  <a:lnTo>
                    <a:pt x="888" y="530"/>
                  </a:lnTo>
                  <a:lnTo>
                    <a:pt x="884" y="530"/>
                  </a:lnTo>
                  <a:lnTo>
                    <a:pt x="884" y="526"/>
                  </a:lnTo>
                  <a:lnTo>
                    <a:pt x="888" y="526"/>
                  </a:lnTo>
                  <a:lnTo>
                    <a:pt x="888" y="526"/>
                  </a:lnTo>
                  <a:lnTo>
                    <a:pt x="888" y="526"/>
                  </a:lnTo>
                  <a:close/>
                  <a:moveTo>
                    <a:pt x="832" y="538"/>
                  </a:moveTo>
                  <a:lnTo>
                    <a:pt x="834" y="538"/>
                  </a:lnTo>
                  <a:lnTo>
                    <a:pt x="834" y="542"/>
                  </a:lnTo>
                  <a:lnTo>
                    <a:pt x="834" y="546"/>
                  </a:lnTo>
                  <a:lnTo>
                    <a:pt x="832" y="546"/>
                  </a:lnTo>
                  <a:lnTo>
                    <a:pt x="832" y="550"/>
                  </a:lnTo>
                  <a:lnTo>
                    <a:pt x="828" y="550"/>
                  </a:lnTo>
                  <a:lnTo>
                    <a:pt x="828" y="552"/>
                  </a:lnTo>
                  <a:lnTo>
                    <a:pt x="824" y="552"/>
                  </a:lnTo>
                  <a:lnTo>
                    <a:pt x="820" y="556"/>
                  </a:lnTo>
                  <a:lnTo>
                    <a:pt x="816" y="556"/>
                  </a:lnTo>
                  <a:lnTo>
                    <a:pt x="812" y="556"/>
                  </a:lnTo>
                  <a:lnTo>
                    <a:pt x="808" y="556"/>
                  </a:lnTo>
                  <a:lnTo>
                    <a:pt x="808" y="552"/>
                  </a:lnTo>
                  <a:lnTo>
                    <a:pt x="806" y="550"/>
                  </a:lnTo>
                  <a:lnTo>
                    <a:pt x="808" y="550"/>
                  </a:lnTo>
                  <a:lnTo>
                    <a:pt x="812" y="546"/>
                  </a:lnTo>
                  <a:lnTo>
                    <a:pt x="812" y="542"/>
                  </a:lnTo>
                  <a:lnTo>
                    <a:pt x="816" y="538"/>
                  </a:lnTo>
                  <a:lnTo>
                    <a:pt x="816" y="542"/>
                  </a:lnTo>
                  <a:lnTo>
                    <a:pt x="820" y="542"/>
                  </a:lnTo>
                  <a:lnTo>
                    <a:pt x="824" y="542"/>
                  </a:lnTo>
                  <a:lnTo>
                    <a:pt x="824" y="538"/>
                  </a:lnTo>
                  <a:lnTo>
                    <a:pt x="828" y="538"/>
                  </a:lnTo>
                  <a:lnTo>
                    <a:pt x="832" y="538"/>
                  </a:lnTo>
                  <a:lnTo>
                    <a:pt x="832" y="538"/>
                  </a:lnTo>
                  <a:lnTo>
                    <a:pt x="832" y="538"/>
                  </a:lnTo>
                  <a:close/>
                  <a:moveTo>
                    <a:pt x="940" y="542"/>
                  </a:moveTo>
                  <a:lnTo>
                    <a:pt x="944" y="546"/>
                  </a:lnTo>
                  <a:lnTo>
                    <a:pt x="948" y="546"/>
                  </a:lnTo>
                  <a:lnTo>
                    <a:pt x="944" y="546"/>
                  </a:lnTo>
                  <a:lnTo>
                    <a:pt x="940" y="546"/>
                  </a:lnTo>
                  <a:lnTo>
                    <a:pt x="940" y="542"/>
                  </a:lnTo>
                  <a:lnTo>
                    <a:pt x="940" y="542"/>
                  </a:lnTo>
                  <a:lnTo>
                    <a:pt x="940" y="542"/>
                  </a:lnTo>
                  <a:close/>
                  <a:moveTo>
                    <a:pt x="1076" y="546"/>
                  </a:moveTo>
                  <a:lnTo>
                    <a:pt x="1076" y="550"/>
                  </a:lnTo>
                  <a:lnTo>
                    <a:pt x="1074" y="550"/>
                  </a:lnTo>
                  <a:lnTo>
                    <a:pt x="1074" y="546"/>
                  </a:lnTo>
                  <a:lnTo>
                    <a:pt x="1076" y="546"/>
                  </a:lnTo>
                  <a:lnTo>
                    <a:pt x="1076" y="546"/>
                  </a:lnTo>
                  <a:lnTo>
                    <a:pt x="1076" y="546"/>
                  </a:lnTo>
                  <a:close/>
                  <a:moveTo>
                    <a:pt x="1084" y="550"/>
                  </a:moveTo>
                  <a:lnTo>
                    <a:pt x="1080" y="552"/>
                  </a:lnTo>
                  <a:lnTo>
                    <a:pt x="1076" y="552"/>
                  </a:lnTo>
                  <a:lnTo>
                    <a:pt x="1076" y="550"/>
                  </a:lnTo>
                  <a:lnTo>
                    <a:pt x="1074" y="550"/>
                  </a:lnTo>
                  <a:lnTo>
                    <a:pt x="1076" y="550"/>
                  </a:lnTo>
                  <a:lnTo>
                    <a:pt x="1080" y="550"/>
                  </a:lnTo>
                  <a:lnTo>
                    <a:pt x="1084" y="550"/>
                  </a:lnTo>
                  <a:lnTo>
                    <a:pt x="1084" y="550"/>
                  </a:lnTo>
                  <a:lnTo>
                    <a:pt x="1084" y="550"/>
                  </a:lnTo>
                  <a:close/>
                  <a:moveTo>
                    <a:pt x="868" y="564"/>
                  </a:moveTo>
                  <a:lnTo>
                    <a:pt x="868" y="566"/>
                  </a:lnTo>
                  <a:lnTo>
                    <a:pt x="864" y="570"/>
                  </a:lnTo>
                  <a:lnTo>
                    <a:pt x="864" y="566"/>
                  </a:lnTo>
                  <a:lnTo>
                    <a:pt x="862" y="566"/>
                  </a:lnTo>
                  <a:lnTo>
                    <a:pt x="858" y="564"/>
                  </a:lnTo>
                  <a:lnTo>
                    <a:pt x="858" y="560"/>
                  </a:lnTo>
                  <a:lnTo>
                    <a:pt x="858" y="556"/>
                  </a:lnTo>
                  <a:lnTo>
                    <a:pt x="862" y="556"/>
                  </a:lnTo>
                  <a:lnTo>
                    <a:pt x="862" y="552"/>
                  </a:lnTo>
                  <a:lnTo>
                    <a:pt x="864" y="552"/>
                  </a:lnTo>
                  <a:lnTo>
                    <a:pt x="868" y="552"/>
                  </a:lnTo>
                  <a:lnTo>
                    <a:pt x="868" y="550"/>
                  </a:lnTo>
                  <a:lnTo>
                    <a:pt x="868" y="552"/>
                  </a:lnTo>
                  <a:lnTo>
                    <a:pt x="872" y="552"/>
                  </a:lnTo>
                  <a:lnTo>
                    <a:pt x="872" y="556"/>
                  </a:lnTo>
                  <a:lnTo>
                    <a:pt x="872" y="560"/>
                  </a:lnTo>
                  <a:lnTo>
                    <a:pt x="868" y="564"/>
                  </a:lnTo>
                  <a:lnTo>
                    <a:pt x="868" y="564"/>
                  </a:lnTo>
                  <a:lnTo>
                    <a:pt x="868" y="564"/>
                  </a:lnTo>
                  <a:close/>
                  <a:moveTo>
                    <a:pt x="1074" y="564"/>
                  </a:moveTo>
                  <a:lnTo>
                    <a:pt x="1076" y="564"/>
                  </a:lnTo>
                  <a:lnTo>
                    <a:pt x="1076" y="566"/>
                  </a:lnTo>
                  <a:lnTo>
                    <a:pt x="1074" y="564"/>
                  </a:lnTo>
                  <a:lnTo>
                    <a:pt x="1070" y="564"/>
                  </a:lnTo>
                  <a:lnTo>
                    <a:pt x="1074" y="560"/>
                  </a:lnTo>
                  <a:lnTo>
                    <a:pt x="1074" y="564"/>
                  </a:lnTo>
                  <a:lnTo>
                    <a:pt x="1074" y="564"/>
                  </a:lnTo>
                  <a:lnTo>
                    <a:pt x="1074" y="564"/>
                  </a:lnTo>
                  <a:close/>
                  <a:moveTo>
                    <a:pt x="678" y="564"/>
                  </a:moveTo>
                  <a:lnTo>
                    <a:pt x="676" y="564"/>
                  </a:lnTo>
                  <a:lnTo>
                    <a:pt x="678" y="564"/>
                  </a:lnTo>
                  <a:lnTo>
                    <a:pt x="678" y="564"/>
                  </a:lnTo>
                  <a:lnTo>
                    <a:pt x="678" y="564"/>
                  </a:lnTo>
                  <a:close/>
                  <a:moveTo>
                    <a:pt x="1080" y="570"/>
                  </a:moveTo>
                  <a:lnTo>
                    <a:pt x="1076" y="570"/>
                  </a:lnTo>
                  <a:lnTo>
                    <a:pt x="1080" y="570"/>
                  </a:lnTo>
                  <a:lnTo>
                    <a:pt x="1076" y="574"/>
                  </a:lnTo>
                  <a:lnTo>
                    <a:pt x="1074" y="574"/>
                  </a:lnTo>
                  <a:lnTo>
                    <a:pt x="1074" y="570"/>
                  </a:lnTo>
                  <a:lnTo>
                    <a:pt x="1070" y="570"/>
                  </a:lnTo>
                  <a:lnTo>
                    <a:pt x="1066" y="570"/>
                  </a:lnTo>
                  <a:lnTo>
                    <a:pt x="1070" y="566"/>
                  </a:lnTo>
                  <a:lnTo>
                    <a:pt x="1074" y="566"/>
                  </a:lnTo>
                  <a:lnTo>
                    <a:pt x="1076" y="566"/>
                  </a:lnTo>
                  <a:lnTo>
                    <a:pt x="1080" y="570"/>
                  </a:lnTo>
                  <a:lnTo>
                    <a:pt x="1080" y="570"/>
                  </a:lnTo>
                  <a:lnTo>
                    <a:pt x="1080" y="570"/>
                  </a:lnTo>
                  <a:close/>
                  <a:moveTo>
                    <a:pt x="888" y="586"/>
                  </a:moveTo>
                  <a:lnTo>
                    <a:pt x="888" y="590"/>
                  </a:lnTo>
                  <a:lnTo>
                    <a:pt x="884" y="590"/>
                  </a:lnTo>
                  <a:lnTo>
                    <a:pt x="880" y="590"/>
                  </a:lnTo>
                  <a:lnTo>
                    <a:pt x="884" y="590"/>
                  </a:lnTo>
                  <a:lnTo>
                    <a:pt x="884" y="586"/>
                  </a:lnTo>
                  <a:lnTo>
                    <a:pt x="888" y="586"/>
                  </a:lnTo>
                  <a:lnTo>
                    <a:pt x="888" y="586"/>
                  </a:lnTo>
                  <a:lnTo>
                    <a:pt x="888" y="586"/>
                  </a:lnTo>
                  <a:close/>
                  <a:moveTo>
                    <a:pt x="1032" y="594"/>
                  </a:moveTo>
                  <a:lnTo>
                    <a:pt x="1036" y="596"/>
                  </a:lnTo>
                  <a:lnTo>
                    <a:pt x="1032" y="596"/>
                  </a:lnTo>
                  <a:lnTo>
                    <a:pt x="1032" y="600"/>
                  </a:lnTo>
                  <a:lnTo>
                    <a:pt x="1030" y="600"/>
                  </a:lnTo>
                  <a:lnTo>
                    <a:pt x="1026" y="600"/>
                  </a:lnTo>
                  <a:lnTo>
                    <a:pt x="1030" y="600"/>
                  </a:lnTo>
                  <a:lnTo>
                    <a:pt x="1030" y="596"/>
                  </a:lnTo>
                  <a:lnTo>
                    <a:pt x="1030" y="594"/>
                  </a:lnTo>
                  <a:lnTo>
                    <a:pt x="1032" y="594"/>
                  </a:lnTo>
                  <a:lnTo>
                    <a:pt x="1032" y="594"/>
                  </a:lnTo>
                  <a:lnTo>
                    <a:pt x="1032" y="594"/>
                  </a:lnTo>
                  <a:close/>
                  <a:moveTo>
                    <a:pt x="864" y="608"/>
                  </a:moveTo>
                  <a:lnTo>
                    <a:pt x="864" y="612"/>
                  </a:lnTo>
                  <a:lnTo>
                    <a:pt x="862" y="612"/>
                  </a:lnTo>
                  <a:lnTo>
                    <a:pt x="862" y="608"/>
                  </a:lnTo>
                  <a:lnTo>
                    <a:pt x="864" y="608"/>
                  </a:lnTo>
                  <a:lnTo>
                    <a:pt x="864" y="608"/>
                  </a:lnTo>
                  <a:lnTo>
                    <a:pt x="864" y="608"/>
                  </a:lnTo>
                  <a:close/>
                  <a:moveTo>
                    <a:pt x="1014" y="626"/>
                  </a:moveTo>
                  <a:lnTo>
                    <a:pt x="1014" y="630"/>
                  </a:lnTo>
                  <a:lnTo>
                    <a:pt x="1014" y="626"/>
                  </a:lnTo>
                  <a:lnTo>
                    <a:pt x="1014" y="626"/>
                  </a:lnTo>
                  <a:lnTo>
                    <a:pt x="1014" y="626"/>
                  </a:lnTo>
                  <a:close/>
                  <a:moveTo>
                    <a:pt x="1118" y="652"/>
                  </a:moveTo>
                  <a:lnTo>
                    <a:pt x="1118" y="656"/>
                  </a:lnTo>
                  <a:lnTo>
                    <a:pt x="1114" y="656"/>
                  </a:lnTo>
                  <a:lnTo>
                    <a:pt x="1114" y="652"/>
                  </a:lnTo>
                  <a:lnTo>
                    <a:pt x="1118" y="652"/>
                  </a:lnTo>
                  <a:lnTo>
                    <a:pt x="1118" y="652"/>
                  </a:lnTo>
                  <a:lnTo>
                    <a:pt x="1118" y="652"/>
                  </a:lnTo>
                  <a:close/>
                  <a:moveTo>
                    <a:pt x="1122" y="656"/>
                  </a:moveTo>
                  <a:lnTo>
                    <a:pt x="1118" y="656"/>
                  </a:lnTo>
                  <a:lnTo>
                    <a:pt x="1118" y="652"/>
                  </a:lnTo>
                  <a:lnTo>
                    <a:pt x="1122" y="652"/>
                  </a:lnTo>
                  <a:lnTo>
                    <a:pt x="1122" y="656"/>
                  </a:lnTo>
                  <a:lnTo>
                    <a:pt x="1122" y="656"/>
                  </a:lnTo>
                  <a:lnTo>
                    <a:pt x="1122" y="656"/>
                  </a:lnTo>
                  <a:close/>
                  <a:moveTo>
                    <a:pt x="868" y="660"/>
                  </a:moveTo>
                  <a:lnTo>
                    <a:pt x="868" y="664"/>
                  </a:lnTo>
                  <a:lnTo>
                    <a:pt x="864" y="664"/>
                  </a:lnTo>
                  <a:lnTo>
                    <a:pt x="864" y="660"/>
                  </a:lnTo>
                  <a:lnTo>
                    <a:pt x="868" y="660"/>
                  </a:lnTo>
                  <a:lnTo>
                    <a:pt x="868" y="660"/>
                  </a:lnTo>
                  <a:lnTo>
                    <a:pt x="868" y="660"/>
                  </a:lnTo>
                  <a:close/>
                  <a:moveTo>
                    <a:pt x="1122" y="664"/>
                  </a:moveTo>
                  <a:lnTo>
                    <a:pt x="1122" y="668"/>
                  </a:lnTo>
                  <a:lnTo>
                    <a:pt x="1122" y="664"/>
                  </a:lnTo>
                  <a:lnTo>
                    <a:pt x="1122" y="664"/>
                  </a:lnTo>
                  <a:lnTo>
                    <a:pt x="1122" y="664"/>
                  </a:lnTo>
                  <a:close/>
                  <a:moveTo>
                    <a:pt x="1126" y="676"/>
                  </a:moveTo>
                  <a:lnTo>
                    <a:pt x="1126" y="680"/>
                  </a:lnTo>
                  <a:lnTo>
                    <a:pt x="1122" y="680"/>
                  </a:lnTo>
                  <a:lnTo>
                    <a:pt x="1126" y="680"/>
                  </a:lnTo>
                  <a:lnTo>
                    <a:pt x="1126" y="682"/>
                  </a:lnTo>
                  <a:lnTo>
                    <a:pt x="1126" y="680"/>
                  </a:lnTo>
                  <a:lnTo>
                    <a:pt x="1122" y="680"/>
                  </a:lnTo>
                  <a:lnTo>
                    <a:pt x="1122" y="676"/>
                  </a:lnTo>
                  <a:lnTo>
                    <a:pt x="1126" y="676"/>
                  </a:lnTo>
                  <a:lnTo>
                    <a:pt x="1126" y="676"/>
                  </a:lnTo>
                  <a:lnTo>
                    <a:pt x="1126" y="676"/>
                  </a:lnTo>
                  <a:close/>
                  <a:moveTo>
                    <a:pt x="864" y="676"/>
                  </a:moveTo>
                  <a:lnTo>
                    <a:pt x="864" y="680"/>
                  </a:lnTo>
                  <a:lnTo>
                    <a:pt x="864" y="676"/>
                  </a:lnTo>
                  <a:lnTo>
                    <a:pt x="864" y="676"/>
                  </a:lnTo>
                  <a:lnTo>
                    <a:pt x="864" y="676"/>
                  </a:lnTo>
                  <a:close/>
                  <a:moveTo>
                    <a:pt x="868" y="680"/>
                  </a:moveTo>
                  <a:lnTo>
                    <a:pt x="868" y="682"/>
                  </a:lnTo>
                  <a:lnTo>
                    <a:pt x="868" y="680"/>
                  </a:lnTo>
                  <a:lnTo>
                    <a:pt x="868" y="680"/>
                  </a:lnTo>
                  <a:lnTo>
                    <a:pt x="868" y="680"/>
                  </a:lnTo>
                  <a:close/>
                  <a:moveTo>
                    <a:pt x="864" y="702"/>
                  </a:moveTo>
                  <a:lnTo>
                    <a:pt x="864" y="698"/>
                  </a:lnTo>
                  <a:lnTo>
                    <a:pt x="868" y="698"/>
                  </a:lnTo>
                  <a:lnTo>
                    <a:pt x="868" y="694"/>
                  </a:lnTo>
                  <a:lnTo>
                    <a:pt x="864" y="698"/>
                  </a:lnTo>
                  <a:lnTo>
                    <a:pt x="862" y="698"/>
                  </a:lnTo>
                  <a:lnTo>
                    <a:pt x="864" y="698"/>
                  </a:lnTo>
                  <a:lnTo>
                    <a:pt x="864" y="694"/>
                  </a:lnTo>
                  <a:lnTo>
                    <a:pt x="868" y="690"/>
                  </a:lnTo>
                  <a:lnTo>
                    <a:pt x="868" y="686"/>
                  </a:lnTo>
                  <a:lnTo>
                    <a:pt x="868" y="682"/>
                  </a:lnTo>
                  <a:lnTo>
                    <a:pt x="872" y="682"/>
                  </a:lnTo>
                  <a:lnTo>
                    <a:pt x="872" y="686"/>
                  </a:lnTo>
                  <a:lnTo>
                    <a:pt x="868" y="690"/>
                  </a:lnTo>
                  <a:lnTo>
                    <a:pt x="872" y="690"/>
                  </a:lnTo>
                  <a:lnTo>
                    <a:pt x="872" y="686"/>
                  </a:lnTo>
                  <a:lnTo>
                    <a:pt x="872" y="682"/>
                  </a:lnTo>
                  <a:lnTo>
                    <a:pt x="876" y="682"/>
                  </a:lnTo>
                  <a:lnTo>
                    <a:pt x="876" y="686"/>
                  </a:lnTo>
                  <a:lnTo>
                    <a:pt x="880" y="686"/>
                  </a:lnTo>
                  <a:lnTo>
                    <a:pt x="876" y="690"/>
                  </a:lnTo>
                  <a:lnTo>
                    <a:pt x="876" y="694"/>
                  </a:lnTo>
                  <a:lnTo>
                    <a:pt x="876" y="698"/>
                  </a:lnTo>
                  <a:lnTo>
                    <a:pt x="872" y="698"/>
                  </a:lnTo>
                  <a:lnTo>
                    <a:pt x="876" y="698"/>
                  </a:lnTo>
                  <a:lnTo>
                    <a:pt x="876" y="694"/>
                  </a:lnTo>
                  <a:lnTo>
                    <a:pt x="876" y="690"/>
                  </a:lnTo>
                  <a:lnTo>
                    <a:pt x="876" y="686"/>
                  </a:lnTo>
                  <a:lnTo>
                    <a:pt x="876" y="690"/>
                  </a:lnTo>
                  <a:lnTo>
                    <a:pt x="872" y="698"/>
                  </a:lnTo>
                  <a:lnTo>
                    <a:pt x="876" y="694"/>
                  </a:lnTo>
                  <a:lnTo>
                    <a:pt x="876" y="690"/>
                  </a:lnTo>
                  <a:lnTo>
                    <a:pt x="872" y="690"/>
                  </a:lnTo>
                  <a:lnTo>
                    <a:pt x="872" y="694"/>
                  </a:lnTo>
                  <a:lnTo>
                    <a:pt x="872" y="698"/>
                  </a:lnTo>
                  <a:lnTo>
                    <a:pt x="868" y="698"/>
                  </a:lnTo>
                  <a:lnTo>
                    <a:pt x="864" y="702"/>
                  </a:lnTo>
                  <a:lnTo>
                    <a:pt x="864" y="702"/>
                  </a:lnTo>
                  <a:lnTo>
                    <a:pt x="864" y="702"/>
                  </a:lnTo>
                  <a:close/>
                  <a:moveTo>
                    <a:pt x="862" y="690"/>
                  </a:moveTo>
                  <a:lnTo>
                    <a:pt x="864" y="686"/>
                  </a:lnTo>
                  <a:lnTo>
                    <a:pt x="868" y="686"/>
                  </a:lnTo>
                  <a:lnTo>
                    <a:pt x="868" y="682"/>
                  </a:lnTo>
                  <a:lnTo>
                    <a:pt x="868" y="686"/>
                  </a:lnTo>
                  <a:lnTo>
                    <a:pt x="868" y="690"/>
                  </a:lnTo>
                  <a:lnTo>
                    <a:pt x="864" y="690"/>
                  </a:lnTo>
                  <a:lnTo>
                    <a:pt x="862" y="690"/>
                  </a:lnTo>
                  <a:lnTo>
                    <a:pt x="862" y="690"/>
                  </a:lnTo>
                  <a:lnTo>
                    <a:pt x="862" y="690"/>
                  </a:lnTo>
                  <a:close/>
                  <a:moveTo>
                    <a:pt x="876" y="694"/>
                  </a:moveTo>
                  <a:lnTo>
                    <a:pt x="880" y="690"/>
                  </a:lnTo>
                  <a:lnTo>
                    <a:pt x="880" y="686"/>
                  </a:lnTo>
                  <a:lnTo>
                    <a:pt x="884" y="690"/>
                  </a:lnTo>
                  <a:lnTo>
                    <a:pt x="880" y="690"/>
                  </a:lnTo>
                  <a:lnTo>
                    <a:pt x="880" y="694"/>
                  </a:lnTo>
                  <a:lnTo>
                    <a:pt x="876" y="694"/>
                  </a:lnTo>
                  <a:lnTo>
                    <a:pt x="876" y="694"/>
                  </a:lnTo>
                  <a:lnTo>
                    <a:pt x="876" y="694"/>
                  </a:lnTo>
                  <a:close/>
                  <a:moveTo>
                    <a:pt x="1122" y="686"/>
                  </a:moveTo>
                  <a:lnTo>
                    <a:pt x="1126" y="686"/>
                  </a:lnTo>
                  <a:lnTo>
                    <a:pt x="1126" y="690"/>
                  </a:lnTo>
                  <a:lnTo>
                    <a:pt x="1122" y="690"/>
                  </a:lnTo>
                  <a:lnTo>
                    <a:pt x="1122" y="686"/>
                  </a:lnTo>
                  <a:lnTo>
                    <a:pt x="1122" y="686"/>
                  </a:lnTo>
                  <a:lnTo>
                    <a:pt x="1122" y="686"/>
                  </a:lnTo>
                  <a:close/>
                  <a:moveTo>
                    <a:pt x="1130" y="690"/>
                  </a:moveTo>
                  <a:lnTo>
                    <a:pt x="1132" y="694"/>
                  </a:lnTo>
                  <a:lnTo>
                    <a:pt x="1130" y="694"/>
                  </a:lnTo>
                  <a:lnTo>
                    <a:pt x="1130" y="690"/>
                  </a:lnTo>
                  <a:lnTo>
                    <a:pt x="1130" y="690"/>
                  </a:lnTo>
                  <a:lnTo>
                    <a:pt x="1130" y="690"/>
                  </a:lnTo>
                  <a:close/>
                  <a:moveTo>
                    <a:pt x="876" y="694"/>
                  </a:moveTo>
                  <a:lnTo>
                    <a:pt x="876" y="698"/>
                  </a:lnTo>
                  <a:lnTo>
                    <a:pt x="876" y="702"/>
                  </a:lnTo>
                  <a:lnTo>
                    <a:pt x="876" y="698"/>
                  </a:lnTo>
                  <a:lnTo>
                    <a:pt x="876" y="694"/>
                  </a:lnTo>
                  <a:lnTo>
                    <a:pt x="876" y="694"/>
                  </a:lnTo>
                  <a:lnTo>
                    <a:pt x="876" y="694"/>
                  </a:lnTo>
                  <a:close/>
                  <a:moveTo>
                    <a:pt x="152" y="716"/>
                  </a:moveTo>
                  <a:lnTo>
                    <a:pt x="152" y="720"/>
                  </a:lnTo>
                  <a:lnTo>
                    <a:pt x="150" y="724"/>
                  </a:lnTo>
                  <a:lnTo>
                    <a:pt x="150" y="720"/>
                  </a:lnTo>
                  <a:lnTo>
                    <a:pt x="152" y="720"/>
                  </a:lnTo>
                  <a:lnTo>
                    <a:pt x="152" y="716"/>
                  </a:lnTo>
                  <a:lnTo>
                    <a:pt x="152" y="716"/>
                  </a:lnTo>
                  <a:lnTo>
                    <a:pt x="152" y="716"/>
                  </a:lnTo>
                  <a:close/>
                  <a:moveTo>
                    <a:pt x="876" y="720"/>
                  </a:moveTo>
                  <a:lnTo>
                    <a:pt x="872" y="720"/>
                  </a:lnTo>
                  <a:lnTo>
                    <a:pt x="868" y="720"/>
                  </a:lnTo>
                  <a:lnTo>
                    <a:pt x="864" y="724"/>
                  </a:lnTo>
                  <a:lnTo>
                    <a:pt x="864" y="720"/>
                  </a:lnTo>
                  <a:lnTo>
                    <a:pt x="868" y="720"/>
                  </a:lnTo>
                  <a:lnTo>
                    <a:pt x="872" y="720"/>
                  </a:lnTo>
                  <a:lnTo>
                    <a:pt x="876" y="720"/>
                  </a:lnTo>
                  <a:lnTo>
                    <a:pt x="876" y="720"/>
                  </a:lnTo>
                  <a:lnTo>
                    <a:pt x="876" y="720"/>
                  </a:lnTo>
                  <a:close/>
                  <a:moveTo>
                    <a:pt x="146" y="724"/>
                  </a:moveTo>
                  <a:lnTo>
                    <a:pt x="146" y="728"/>
                  </a:lnTo>
                  <a:lnTo>
                    <a:pt x="142" y="728"/>
                  </a:lnTo>
                  <a:lnTo>
                    <a:pt x="142" y="724"/>
                  </a:lnTo>
                  <a:lnTo>
                    <a:pt x="146" y="724"/>
                  </a:lnTo>
                  <a:lnTo>
                    <a:pt x="146" y="724"/>
                  </a:lnTo>
                  <a:lnTo>
                    <a:pt x="146" y="724"/>
                  </a:lnTo>
                  <a:close/>
                  <a:moveTo>
                    <a:pt x="112" y="746"/>
                  </a:moveTo>
                  <a:lnTo>
                    <a:pt x="112" y="742"/>
                  </a:lnTo>
                  <a:lnTo>
                    <a:pt x="112" y="738"/>
                  </a:lnTo>
                  <a:lnTo>
                    <a:pt x="112" y="736"/>
                  </a:lnTo>
                  <a:lnTo>
                    <a:pt x="116" y="736"/>
                  </a:lnTo>
                  <a:lnTo>
                    <a:pt x="120" y="736"/>
                  </a:lnTo>
                  <a:lnTo>
                    <a:pt x="120" y="738"/>
                  </a:lnTo>
                  <a:lnTo>
                    <a:pt x="116" y="738"/>
                  </a:lnTo>
                  <a:lnTo>
                    <a:pt x="120" y="738"/>
                  </a:lnTo>
                  <a:lnTo>
                    <a:pt x="124" y="736"/>
                  </a:lnTo>
                  <a:lnTo>
                    <a:pt x="124" y="738"/>
                  </a:lnTo>
                  <a:lnTo>
                    <a:pt x="126" y="738"/>
                  </a:lnTo>
                  <a:lnTo>
                    <a:pt x="126" y="742"/>
                  </a:lnTo>
                  <a:lnTo>
                    <a:pt x="124" y="742"/>
                  </a:lnTo>
                  <a:lnTo>
                    <a:pt x="120" y="746"/>
                  </a:lnTo>
                  <a:lnTo>
                    <a:pt x="124" y="746"/>
                  </a:lnTo>
                  <a:lnTo>
                    <a:pt x="126" y="742"/>
                  </a:lnTo>
                  <a:lnTo>
                    <a:pt x="126" y="738"/>
                  </a:lnTo>
                  <a:lnTo>
                    <a:pt x="130" y="738"/>
                  </a:lnTo>
                  <a:lnTo>
                    <a:pt x="130" y="736"/>
                  </a:lnTo>
                  <a:lnTo>
                    <a:pt x="130" y="738"/>
                  </a:lnTo>
                  <a:lnTo>
                    <a:pt x="130" y="742"/>
                  </a:lnTo>
                  <a:lnTo>
                    <a:pt x="126" y="746"/>
                  </a:lnTo>
                  <a:lnTo>
                    <a:pt x="126" y="750"/>
                  </a:lnTo>
                  <a:lnTo>
                    <a:pt x="126" y="754"/>
                  </a:lnTo>
                  <a:lnTo>
                    <a:pt x="124" y="754"/>
                  </a:lnTo>
                  <a:lnTo>
                    <a:pt x="124" y="758"/>
                  </a:lnTo>
                  <a:lnTo>
                    <a:pt x="126" y="758"/>
                  </a:lnTo>
                  <a:lnTo>
                    <a:pt x="124" y="758"/>
                  </a:lnTo>
                  <a:lnTo>
                    <a:pt x="120" y="758"/>
                  </a:lnTo>
                  <a:lnTo>
                    <a:pt x="120" y="754"/>
                  </a:lnTo>
                  <a:lnTo>
                    <a:pt x="116" y="754"/>
                  </a:lnTo>
                  <a:lnTo>
                    <a:pt x="120" y="754"/>
                  </a:lnTo>
                  <a:lnTo>
                    <a:pt x="124" y="754"/>
                  </a:lnTo>
                  <a:lnTo>
                    <a:pt x="120" y="750"/>
                  </a:lnTo>
                  <a:lnTo>
                    <a:pt x="116" y="750"/>
                  </a:lnTo>
                  <a:lnTo>
                    <a:pt x="112" y="750"/>
                  </a:lnTo>
                  <a:lnTo>
                    <a:pt x="112" y="746"/>
                  </a:lnTo>
                  <a:lnTo>
                    <a:pt x="116" y="746"/>
                  </a:lnTo>
                  <a:lnTo>
                    <a:pt x="112" y="746"/>
                  </a:lnTo>
                  <a:lnTo>
                    <a:pt x="112" y="746"/>
                  </a:lnTo>
                  <a:lnTo>
                    <a:pt x="112" y="746"/>
                  </a:lnTo>
                  <a:close/>
                  <a:moveTo>
                    <a:pt x="150" y="738"/>
                  </a:moveTo>
                  <a:lnTo>
                    <a:pt x="152" y="738"/>
                  </a:lnTo>
                  <a:lnTo>
                    <a:pt x="150" y="742"/>
                  </a:lnTo>
                  <a:lnTo>
                    <a:pt x="150" y="738"/>
                  </a:lnTo>
                  <a:lnTo>
                    <a:pt x="150" y="742"/>
                  </a:lnTo>
                  <a:lnTo>
                    <a:pt x="150" y="738"/>
                  </a:lnTo>
                  <a:lnTo>
                    <a:pt x="146" y="738"/>
                  </a:lnTo>
                  <a:lnTo>
                    <a:pt x="146" y="742"/>
                  </a:lnTo>
                  <a:lnTo>
                    <a:pt x="146" y="738"/>
                  </a:lnTo>
                  <a:lnTo>
                    <a:pt x="150" y="738"/>
                  </a:lnTo>
                  <a:lnTo>
                    <a:pt x="150" y="736"/>
                  </a:lnTo>
                  <a:lnTo>
                    <a:pt x="150" y="738"/>
                  </a:lnTo>
                  <a:lnTo>
                    <a:pt x="150" y="738"/>
                  </a:lnTo>
                  <a:lnTo>
                    <a:pt x="150" y="738"/>
                  </a:lnTo>
                  <a:close/>
                  <a:moveTo>
                    <a:pt x="152" y="742"/>
                  </a:moveTo>
                  <a:lnTo>
                    <a:pt x="152" y="746"/>
                  </a:lnTo>
                  <a:lnTo>
                    <a:pt x="152" y="750"/>
                  </a:lnTo>
                  <a:lnTo>
                    <a:pt x="152" y="746"/>
                  </a:lnTo>
                  <a:lnTo>
                    <a:pt x="150" y="746"/>
                  </a:lnTo>
                  <a:lnTo>
                    <a:pt x="152" y="742"/>
                  </a:lnTo>
                  <a:lnTo>
                    <a:pt x="152" y="742"/>
                  </a:lnTo>
                  <a:lnTo>
                    <a:pt x="152" y="742"/>
                  </a:lnTo>
                  <a:close/>
                  <a:moveTo>
                    <a:pt x="172" y="746"/>
                  </a:moveTo>
                  <a:lnTo>
                    <a:pt x="168" y="746"/>
                  </a:lnTo>
                  <a:lnTo>
                    <a:pt x="168" y="750"/>
                  </a:lnTo>
                  <a:lnTo>
                    <a:pt x="168" y="754"/>
                  </a:lnTo>
                  <a:lnTo>
                    <a:pt x="168" y="746"/>
                  </a:lnTo>
                  <a:lnTo>
                    <a:pt x="172" y="746"/>
                  </a:lnTo>
                  <a:lnTo>
                    <a:pt x="172" y="746"/>
                  </a:lnTo>
                  <a:lnTo>
                    <a:pt x="172" y="746"/>
                  </a:lnTo>
                  <a:close/>
                  <a:moveTo>
                    <a:pt x="150" y="746"/>
                  </a:moveTo>
                  <a:lnTo>
                    <a:pt x="152" y="746"/>
                  </a:lnTo>
                  <a:lnTo>
                    <a:pt x="152" y="750"/>
                  </a:lnTo>
                  <a:lnTo>
                    <a:pt x="156" y="750"/>
                  </a:lnTo>
                  <a:lnTo>
                    <a:pt x="156" y="754"/>
                  </a:lnTo>
                  <a:lnTo>
                    <a:pt x="160" y="758"/>
                  </a:lnTo>
                  <a:lnTo>
                    <a:pt x="156" y="758"/>
                  </a:lnTo>
                  <a:lnTo>
                    <a:pt x="152" y="754"/>
                  </a:lnTo>
                  <a:lnTo>
                    <a:pt x="150" y="754"/>
                  </a:lnTo>
                  <a:lnTo>
                    <a:pt x="150" y="750"/>
                  </a:lnTo>
                  <a:lnTo>
                    <a:pt x="150" y="746"/>
                  </a:lnTo>
                  <a:lnTo>
                    <a:pt x="150" y="746"/>
                  </a:lnTo>
                  <a:lnTo>
                    <a:pt x="150" y="746"/>
                  </a:lnTo>
                  <a:close/>
                  <a:moveTo>
                    <a:pt x="172" y="750"/>
                  </a:moveTo>
                  <a:lnTo>
                    <a:pt x="172" y="754"/>
                  </a:lnTo>
                  <a:lnTo>
                    <a:pt x="168" y="754"/>
                  </a:lnTo>
                  <a:lnTo>
                    <a:pt x="168" y="750"/>
                  </a:lnTo>
                  <a:lnTo>
                    <a:pt x="172" y="750"/>
                  </a:lnTo>
                  <a:lnTo>
                    <a:pt x="172" y="750"/>
                  </a:lnTo>
                  <a:lnTo>
                    <a:pt x="172" y="750"/>
                  </a:lnTo>
                  <a:close/>
                  <a:moveTo>
                    <a:pt x="864" y="754"/>
                  </a:moveTo>
                  <a:lnTo>
                    <a:pt x="862" y="754"/>
                  </a:lnTo>
                  <a:lnTo>
                    <a:pt x="864" y="754"/>
                  </a:lnTo>
                  <a:lnTo>
                    <a:pt x="864" y="754"/>
                  </a:lnTo>
                  <a:lnTo>
                    <a:pt x="864" y="754"/>
                  </a:lnTo>
                  <a:close/>
                  <a:moveTo>
                    <a:pt x="168" y="754"/>
                  </a:moveTo>
                  <a:lnTo>
                    <a:pt x="168" y="758"/>
                  </a:lnTo>
                  <a:lnTo>
                    <a:pt x="164" y="758"/>
                  </a:lnTo>
                  <a:lnTo>
                    <a:pt x="164" y="754"/>
                  </a:lnTo>
                  <a:lnTo>
                    <a:pt x="168" y="754"/>
                  </a:lnTo>
                  <a:lnTo>
                    <a:pt x="168" y="754"/>
                  </a:lnTo>
                  <a:lnTo>
                    <a:pt x="168" y="754"/>
                  </a:lnTo>
                  <a:close/>
                  <a:moveTo>
                    <a:pt x="846" y="758"/>
                  </a:moveTo>
                  <a:lnTo>
                    <a:pt x="850" y="758"/>
                  </a:lnTo>
                  <a:lnTo>
                    <a:pt x="850" y="762"/>
                  </a:lnTo>
                  <a:lnTo>
                    <a:pt x="854" y="766"/>
                  </a:lnTo>
                  <a:lnTo>
                    <a:pt x="854" y="768"/>
                  </a:lnTo>
                  <a:lnTo>
                    <a:pt x="854" y="766"/>
                  </a:lnTo>
                  <a:lnTo>
                    <a:pt x="850" y="766"/>
                  </a:lnTo>
                  <a:lnTo>
                    <a:pt x="846" y="766"/>
                  </a:lnTo>
                  <a:lnTo>
                    <a:pt x="842" y="766"/>
                  </a:lnTo>
                  <a:lnTo>
                    <a:pt x="838" y="762"/>
                  </a:lnTo>
                  <a:lnTo>
                    <a:pt x="834" y="762"/>
                  </a:lnTo>
                  <a:lnTo>
                    <a:pt x="834" y="758"/>
                  </a:lnTo>
                  <a:lnTo>
                    <a:pt x="838" y="758"/>
                  </a:lnTo>
                  <a:lnTo>
                    <a:pt x="842" y="758"/>
                  </a:lnTo>
                  <a:lnTo>
                    <a:pt x="842" y="754"/>
                  </a:lnTo>
                  <a:lnTo>
                    <a:pt x="842" y="758"/>
                  </a:lnTo>
                  <a:lnTo>
                    <a:pt x="846" y="758"/>
                  </a:lnTo>
                  <a:lnTo>
                    <a:pt x="846" y="758"/>
                  </a:lnTo>
                  <a:lnTo>
                    <a:pt x="846" y="758"/>
                  </a:lnTo>
                  <a:close/>
                  <a:moveTo>
                    <a:pt x="164" y="758"/>
                  </a:moveTo>
                  <a:lnTo>
                    <a:pt x="164" y="762"/>
                  </a:lnTo>
                  <a:lnTo>
                    <a:pt x="164" y="758"/>
                  </a:lnTo>
                  <a:lnTo>
                    <a:pt x="160" y="758"/>
                  </a:lnTo>
                  <a:lnTo>
                    <a:pt x="164" y="758"/>
                  </a:lnTo>
                  <a:lnTo>
                    <a:pt x="164" y="758"/>
                  </a:lnTo>
                  <a:lnTo>
                    <a:pt x="164" y="758"/>
                  </a:lnTo>
                  <a:close/>
                  <a:moveTo>
                    <a:pt x="168" y="766"/>
                  </a:moveTo>
                  <a:lnTo>
                    <a:pt x="172" y="768"/>
                  </a:lnTo>
                  <a:lnTo>
                    <a:pt x="172" y="772"/>
                  </a:lnTo>
                  <a:lnTo>
                    <a:pt x="168" y="768"/>
                  </a:lnTo>
                  <a:lnTo>
                    <a:pt x="164" y="766"/>
                  </a:lnTo>
                  <a:lnTo>
                    <a:pt x="168" y="766"/>
                  </a:lnTo>
                  <a:lnTo>
                    <a:pt x="168" y="766"/>
                  </a:lnTo>
                  <a:lnTo>
                    <a:pt x="168" y="766"/>
                  </a:lnTo>
                  <a:close/>
                  <a:moveTo>
                    <a:pt x="182" y="766"/>
                  </a:moveTo>
                  <a:lnTo>
                    <a:pt x="180" y="766"/>
                  </a:lnTo>
                  <a:lnTo>
                    <a:pt x="180" y="768"/>
                  </a:lnTo>
                  <a:lnTo>
                    <a:pt x="180" y="766"/>
                  </a:lnTo>
                  <a:lnTo>
                    <a:pt x="182" y="766"/>
                  </a:lnTo>
                  <a:lnTo>
                    <a:pt x="182" y="766"/>
                  </a:lnTo>
                  <a:lnTo>
                    <a:pt x="182" y="766"/>
                  </a:lnTo>
                  <a:close/>
                  <a:moveTo>
                    <a:pt x="180" y="766"/>
                  </a:moveTo>
                  <a:lnTo>
                    <a:pt x="180" y="768"/>
                  </a:lnTo>
                  <a:lnTo>
                    <a:pt x="180" y="772"/>
                  </a:lnTo>
                  <a:lnTo>
                    <a:pt x="176" y="772"/>
                  </a:lnTo>
                  <a:lnTo>
                    <a:pt x="180" y="768"/>
                  </a:lnTo>
                  <a:lnTo>
                    <a:pt x="180" y="766"/>
                  </a:lnTo>
                  <a:lnTo>
                    <a:pt x="180" y="766"/>
                  </a:lnTo>
                  <a:lnTo>
                    <a:pt x="180" y="766"/>
                  </a:lnTo>
                  <a:close/>
                  <a:moveTo>
                    <a:pt x="134" y="766"/>
                  </a:moveTo>
                  <a:lnTo>
                    <a:pt x="134" y="768"/>
                  </a:lnTo>
                  <a:lnTo>
                    <a:pt x="130" y="766"/>
                  </a:lnTo>
                  <a:lnTo>
                    <a:pt x="134" y="766"/>
                  </a:lnTo>
                  <a:lnTo>
                    <a:pt x="134" y="766"/>
                  </a:lnTo>
                  <a:lnTo>
                    <a:pt x="134" y="766"/>
                  </a:lnTo>
                  <a:close/>
                  <a:moveTo>
                    <a:pt x="176" y="768"/>
                  </a:moveTo>
                  <a:lnTo>
                    <a:pt x="176" y="772"/>
                  </a:lnTo>
                  <a:lnTo>
                    <a:pt x="172" y="772"/>
                  </a:lnTo>
                  <a:lnTo>
                    <a:pt x="172" y="768"/>
                  </a:lnTo>
                  <a:lnTo>
                    <a:pt x="176" y="768"/>
                  </a:lnTo>
                  <a:lnTo>
                    <a:pt x="176" y="768"/>
                  </a:lnTo>
                  <a:lnTo>
                    <a:pt x="176" y="768"/>
                  </a:lnTo>
                  <a:close/>
                  <a:moveTo>
                    <a:pt x="176" y="772"/>
                  </a:moveTo>
                  <a:lnTo>
                    <a:pt x="176" y="776"/>
                  </a:lnTo>
                  <a:lnTo>
                    <a:pt x="172" y="772"/>
                  </a:lnTo>
                  <a:lnTo>
                    <a:pt x="176" y="772"/>
                  </a:lnTo>
                  <a:lnTo>
                    <a:pt x="176" y="772"/>
                  </a:lnTo>
                  <a:lnTo>
                    <a:pt x="176" y="772"/>
                  </a:lnTo>
                  <a:close/>
                  <a:moveTo>
                    <a:pt x="190" y="780"/>
                  </a:moveTo>
                  <a:lnTo>
                    <a:pt x="186" y="780"/>
                  </a:lnTo>
                  <a:lnTo>
                    <a:pt x="186" y="784"/>
                  </a:lnTo>
                  <a:lnTo>
                    <a:pt x="186" y="780"/>
                  </a:lnTo>
                  <a:lnTo>
                    <a:pt x="186" y="776"/>
                  </a:lnTo>
                  <a:lnTo>
                    <a:pt x="190" y="776"/>
                  </a:lnTo>
                  <a:lnTo>
                    <a:pt x="190" y="772"/>
                  </a:lnTo>
                  <a:lnTo>
                    <a:pt x="194" y="772"/>
                  </a:lnTo>
                  <a:lnTo>
                    <a:pt x="194" y="776"/>
                  </a:lnTo>
                  <a:lnTo>
                    <a:pt x="190" y="776"/>
                  </a:lnTo>
                  <a:lnTo>
                    <a:pt x="190" y="780"/>
                  </a:lnTo>
                  <a:lnTo>
                    <a:pt x="190" y="780"/>
                  </a:lnTo>
                  <a:lnTo>
                    <a:pt x="190" y="780"/>
                  </a:lnTo>
                  <a:close/>
                  <a:moveTo>
                    <a:pt x="182" y="772"/>
                  </a:moveTo>
                  <a:lnTo>
                    <a:pt x="182" y="776"/>
                  </a:lnTo>
                  <a:lnTo>
                    <a:pt x="180" y="776"/>
                  </a:lnTo>
                  <a:lnTo>
                    <a:pt x="182" y="776"/>
                  </a:lnTo>
                  <a:lnTo>
                    <a:pt x="182" y="772"/>
                  </a:lnTo>
                  <a:lnTo>
                    <a:pt x="182" y="772"/>
                  </a:lnTo>
                  <a:lnTo>
                    <a:pt x="182" y="772"/>
                  </a:lnTo>
                  <a:close/>
                  <a:moveTo>
                    <a:pt x="142" y="780"/>
                  </a:moveTo>
                  <a:lnTo>
                    <a:pt x="142" y="784"/>
                  </a:lnTo>
                  <a:lnTo>
                    <a:pt x="138" y="780"/>
                  </a:lnTo>
                  <a:lnTo>
                    <a:pt x="142" y="780"/>
                  </a:lnTo>
                  <a:lnTo>
                    <a:pt x="142" y="780"/>
                  </a:lnTo>
                  <a:lnTo>
                    <a:pt x="142" y="780"/>
                  </a:lnTo>
                  <a:close/>
                  <a:moveTo>
                    <a:pt x="872" y="780"/>
                  </a:moveTo>
                  <a:lnTo>
                    <a:pt x="872" y="784"/>
                  </a:lnTo>
                  <a:lnTo>
                    <a:pt x="868" y="784"/>
                  </a:lnTo>
                  <a:lnTo>
                    <a:pt x="868" y="780"/>
                  </a:lnTo>
                  <a:lnTo>
                    <a:pt x="872" y="780"/>
                  </a:lnTo>
                  <a:lnTo>
                    <a:pt x="872" y="780"/>
                  </a:lnTo>
                  <a:lnTo>
                    <a:pt x="872" y="780"/>
                  </a:lnTo>
                  <a:close/>
                  <a:moveTo>
                    <a:pt x="182" y="788"/>
                  </a:moveTo>
                  <a:lnTo>
                    <a:pt x="182" y="792"/>
                  </a:lnTo>
                  <a:lnTo>
                    <a:pt x="186" y="792"/>
                  </a:lnTo>
                  <a:lnTo>
                    <a:pt x="186" y="794"/>
                  </a:lnTo>
                  <a:lnTo>
                    <a:pt x="182" y="794"/>
                  </a:lnTo>
                  <a:lnTo>
                    <a:pt x="182" y="792"/>
                  </a:lnTo>
                  <a:lnTo>
                    <a:pt x="182" y="788"/>
                  </a:lnTo>
                  <a:lnTo>
                    <a:pt x="182" y="788"/>
                  </a:lnTo>
                  <a:lnTo>
                    <a:pt x="182" y="788"/>
                  </a:lnTo>
                  <a:close/>
                  <a:moveTo>
                    <a:pt x="1188" y="874"/>
                  </a:moveTo>
                  <a:lnTo>
                    <a:pt x="1186" y="874"/>
                  </a:lnTo>
                  <a:lnTo>
                    <a:pt x="1182" y="874"/>
                  </a:lnTo>
                  <a:lnTo>
                    <a:pt x="1178" y="874"/>
                  </a:lnTo>
                  <a:lnTo>
                    <a:pt x="1174" y="874"/>
                  </a:lnTo>
                  <a:lnTo>
                    <a:pt x="1174" y="870"/>
                  </a:lnTo>
                  <a:lnTo>
                    <a:pt x="1170" y="874"/>
                  </a:lnTo>
                  <a:lnTo>
                    <a:pt x="1162" y="874"/>
                  </a:lnTo>
                  <a:lnTo>
                    <a:pt x="1160" y="874"/>
                  </a:lnTo>
                  <a:lnTo>
                    <a:pt x="1156" y="874"/>
                  </a:lnTo>
                  <a:lnTo>
                    <a:pt x="1156" y="870"/>
                  </a:lnTo>
                  <a:lnTo>
                    <a:pt x="1156" y="866"/>
                  </a:lnTo>
                  <a:lnTo>
                    <a:pt x="1160" y="862"/>
                  </a:lnTo>
                  <a:lnTo>
                    <a:pt x="1162" y="858"/>
                  </a:lnTo>
                  <a:lnTo>
                    <a:pt x="1166" y="854"/>
                  </a:lnTo>
                  <a:lnTo>
                    <a:pt x="1166" y="858"/>
                  </a:lnTo>
                  <a:lnTo>
                    <a:pt x="1166" y="854"/>
                  </a:lnTo>
                  <a:lnTo>
                    <a:pt x="1162" y="854"/>
                  </a:lnTo>
                  <a:lnTo>
                    <a:pt x="1160" y="854"/>
                  </a:lnTo>
                  <a:lnTo>
                    <a:pt x="1156" y="854"/>
                  </a:lnTo>
                  <a:lnTo>
                    <a:pt x="1160" y="852"/>
                  </a:lnTo>
                  <a:lnTo>
                    <a:pt x="1162" y="852"/>
                  </a:lnTo>
                  <a:lnTo>
                    <a:pt x="1160" y="852"/>
                  </a:lnTo>
                  <a:lnTo>
                    <a:pt x="1162" y="854"/>
                  </a:lnTo>
                  <a:lnTo>
                    <a:pt x="1162" y="852"/>
                  </a:lnTo>
                  <a:lnTo>
                    <a:pt x="1166" y="848"/>
                  </a:lnTo>
                  <a:lnTo>
                    <a:pt x="1166" y="844"/>
                  </a:lnTo>
                  <a:lnTo>
                    <a:pt x="1170" y="840"/>
                  </a:lnTo>
                  <a:lnTo>
                    <a:pt x="1170" y="844"/>
                  </a:lnTo>
                  <a:lnTo>
                    <a:pt x="1174" y="844"/>
                  </a:lnTo>
                  <a:lnTo>
                    <a:pt x="1174" y="848"/>
                  </a:lnTo>
                  <a:lnTo>
                    <a:pt x="1174" y="844"/>
                  </a:lnTo>
                  <a:lnTo>
                    <a:pt x="1170" y="844"/>
                  </a:lnTo>
                  <a:lnTo>
                    <a:pt x="1174" y="844"/>
                  </a:lnTo>
                  <a:lnTo>
                    <a:pt x="1174" y="840"/>
                  </a:lnTo>
                  <a:lnTo>
                    <a:pt x="1170" y="840"/>
                  </a:lnTo>
                  <a:lnTo>
                    <a:pt x="1170" y="836"/>
                  </a:lnTo>
                  <a:lnTo>
                    <a:pt x="1174" y="832"/>
                  </a:lnTo>
                  <a:lnTo>
                    <a:pt x="1178" y="836"/>
                  </a:lnTo>
                  <a:lnTo>
                    <a:pt x="1174" y="832"/>
                  </a:lnTo>
                  <a:lnTo>
                    <a:pt x="1174" y="828"/>
                  </a:lnTo>
                  <a:lnTo>
                    <a:pt x="1178" y="828"/>
                  </a:lnTo>
                  <a:lnTo>
                    <a:pt x="1178" y="822"/>
                  </a:lnTo>
                  <a:lnTo>
                    <a:pt x="1182" y="818"/>
                  </a:lnTo>
                  <a:lnTo>
                    <a:pt x="1182" y="814"/>
                  </a:lnTo>
                  <a:lnTo>
                    <a:pt x="1182" y="810"/>
                  </a:lnTo>
                  <a:lnTo>
                    <a:pt x="1186" y="810"/>
                  </a:lnTo>
                  <a:lnTo>
                    <a:pt x="1182" y="810"/>
                  </a:lnTo>
                  <a:lnTo>
                    <a:pt x="1186" y="810"/>
                  </a:lnTo>
                  <a:lnTo>
                    <a:pt x="1186" y="806"/>
                  </a:lnTo>
                  <a:lnTo>
                    <a:pt x="1188" y="806"/>
                  </a:lnTo>
                  <a:lnTo>
                    <a:pt x="1188" y="802"/>
                  </a:lnTo>
                  <a:lnTo>
                    <a:pt x="1188" y="798"/>
                  </a:lnTo>
                  <a:lnTo>
                    <a:pt x="1192" y="794"/>
                  </a:lnTo>
                  <a:lnTo>
                    <a:pt x="1196" y="794"/>
                  </a:lnTo>
                  <a:lnTo>
                    <a:pt x="1196" y="792"/>
                  </a:lnTo>
                  <a:lnTo>
                    <a:pt x="1200" y="792"/>
                  </a:lnTo>
                  <a:lnTo>
                    <a:pt x="1204" y="792"/>
                  </a:lnTo>
                  <a:lnTo>
                    <a:pt x="1208" y="792"/>
                  </a:lnTo>
                  <a:lnTo>
                    <a:pt x="1204" y="792"/>
                  </a:lnTo>
                  <a:lnTo>
                    <a:pt x="1208" y="792"/>
                  </a:lnTo>
                  <a:lnTo>
                    <a:pt x="1212" y="792"/>
                  </a:lnTo>
                  <a:lnTo>
                    <a:pt x="1212" y="794"/>
                  </a:lnTo>
                  <a:lnTo>
                    <a:pt x="1208" y="794"/>
                  </a:lnTo>
                  <a:lnTo>
                    <a:pt x="1204" y="794"/>
                  </a:lnTo>
                  <a:lnTo>
                    <a:pt x="1200" y="794"/>
                  </a:lnTo>
                  <a:lnTo>
                    <a:pt x="1200" y="798"/>
                  </a:lnTo>
                  <a:lnTo>
                    <a:pt x="1204" y="798"/>
                  </a:lnTo>
                  <a:lnTo>
                    <a:pt x="1208" y="798"/>
                  </a:lnTo>
                  <a:lnTo>
                    <a:pt x="1208" y="802"/>
                  </a:lnTo>
                  <a:lnTo>
                    <a:pt x="1204" y="802"/>
                  </a:lnTo>
                  <a:lnTo>
                    <a:pt x="1200" y="806"/>
                  </a:lnTo>
                  <a:lnTo>
                    <a:pt x="1200" y="810"/>
                  </a:lnTo>
                  <a:lnTo>
                    <a:pt x="1200" y="806"/>
                  </a:lnTo>
                  <a:lnTo>
                    <a:pt x="1200" y="810"/>
                  </a:lnTo>
                  <a:lnTo>
                    <a:pt x="1200" y="814"/>
                  </a:lnTo>
                  <a:lnTo>
                    <a:pt x="1196" y="814"/>
                  </a:lnTo>
                  <a:lnTo>
                    <a:pt x="1196" y="818"/>
                  </a:lnTo>
                  <a:lnTo>
                    <a:pt x="1196" y="822"/>
                  </a:lnTo>
                  <a:lnTo>
                    <a:pt x="1192" y="822"/>
                  </a:lnTo>
                  <a:lnTo>
                    <a:pt x="1192" y="824"/>
                  </a:lnTo>
                  <a:lnTo>
                    <a:pt x="1192" y="828"/>
                  </a:lnTo>
                  <a:lnTo>
                    <a:pt x="1188" y="828"/>
                  </a:lnTo>
                  <a:lnTo>
                    <a:pt x="1192" y="828"/>
                  </a:lnTo>
                  <a:lnTo>
                    <a:pt x="1188" y="832"/>
                  </a:lnTo>
                  <a:lnTo>
                    <a:pt x="1192" y="832"/>
                  </a:lnTo>
                  <a:lnTo>
                    <a:pt x="1192" y="828"/>
                  </a:lnTo>
                  <a:lnTo>
                    <a:pt x="1196" y="824"/>
                  </a:lnTo>
                  <a:lnTo>
                    <a:pt x="1200" y="822"/>
                  </a:lnTo>
                  <a:lnTo>
                    <a:pt x="1200" y="824"/>
                  </a:lnTo>
                  <a:lnTo>
                    <a:pt x="1204" y="824"/>
                  </a:lnTo>
                  <a:lnTo>
                    <a:pt x="1208" y="824"/>
                  </a:lnTo>
                  <a:lnTo>
                    <a:pt x="1212" y="824"/>
                  </a:lnTo>
                  <a:lnTo>
                    <a:pt x="1208" y="824"/>
                  </a:lnTo>
                  <a:lnTo>
                    <a:pt x="1208" y="828"/>
                  </a:lnTo>
                  <a:lnTo>
                    <a:pt x="1204" y="828"/>
                  </a:lnTo>
                  <a:lnTo>
                    <a:pt x="1200" y="832"/>
                  </a:lnTo>
                  <a:lnTo>
                    <a:pt x="1204" y="828"/>
                  </a:lnTo>
                  <a:lnTo>
                    <a:pt x="1204" y="832"/>
                  </a:lnTo>
                  <a:lnTo>
                    <a:pt x="1200" y="832"/>
                  </a:lnTo>
                  <a:lnTo>
                    <a:pt x="1200" y="836"/>
                  </a:lnTo>
                  <a:lnTo>
                    <a:pt x="1204" y="836"/>
                  </a:lnTo>
                  <a:lnTo>
                    <a:pt x="1204" y="832"/>
                  </a:lnTo>
                  <a:lnTo>
                    <a:pt x="1208" y="836"/>
                  </a:lnTo>
                  <a:lnTo>
                    <a:pt x="1212" y="836"/>
                  </a:lnTo>
                  <a:lnTo>
                    <a:pt x="1212" y="832"/>
                  </a:lnTo>
                  <a:lnTo>
                    <a:pt x="1212" y="836"/>
                  </a:lnTo>
                  <a:lnTo>
                    <a:pt x="1212" y="840"/>
                  </a:lnTo>
                  <a:lnTo>
                    <a:pt x="1212" y="836"/>
                  </a:lnTo>
                  <a:lnTo>
                    <a:pt x="1212" y="832"/>
                  </a:lnTo>
                  <a:lnTo>
                    <a:pt x="1216" y="832"/>
                  </a:lnTo>
                  <a:lnTo>
                    <a:pt x="1216" y="836"/>
                  </a:lnTo>
                  <a:lnTo>
                    <a:pt x="1212" y="840"/>
                  </a:lnTo>
                  <a:lnTo>
                    <a:pt x="1212" y="844"/>
                  </a:lnTo>
                  <a:lnTo>
                    <a:pt x="1212" y="840"/>
                  </a:lnTo>
                  <a:lnTo>
                    <a:pt x="1216" y="840"/>
                  </a:lnTo>
                  <a:lnTo>
                    <a:pt x="1216" y="836"/>
                  </a:lnTo>
                  <a:lnTo>
                    <a:pt x="1216" y="840"/>
                  </a:lnTo>
                  <a:lnTo>
                    <a:pt x="1218" y="840"/>
                  </a:lnTo>
                  <a:lnTo>
                    <a:pt x="1222" y="836"/>
                  </a:lnTo>
                  <a:lnTo>
                    <a:pt x="1222" y="832"/>
                  </a:lnTo>
                  <a:lnTo>
                    <a:pt x="1222" y="836"/>
                  </a:lnTo>
                  <a:lnTo>
                    <a:pt x="1222" y="840"/>
                  </a:lnTo>
                  <a:lnTo>
                    <a:pt x="1226" y="836"/>
                  </a:lnTo>
                  <a:lnTo>
                    <a:pt x="1230" y="836"/>
                  </a:lnTo>
                  <a:lnTo>
                    <a:pt x="1234" y="836"/>
                  </a:lnTo>
                  <a:lnTo>
                    <a:pt x="1238" y="840"/>
                  </a:lnTo>
                  <a:lnTo>
                    <a:pt x="1238" y="844"/>
                  </a:lnTo>
                  <a:lnTo>
                    <a:pt x="1234" y="844"/>
                  </a:lnTo>
                  <a:lnTo>
                    <a:pt x="1234" y="848"/>
                  </a:lnTo>
                  <a:lnTo>
                    <a:pt x="1230" y="848"/>
                  </a:lnTo>
                  <a:lnTo>
                    <a:pt x="1234" y="848"/>
                  </a:lnTo>
                  <a:lnTo>
                    <a:pt x="1234" y="852"/>
                  </a:lnTo>
                  <a:lnTo>
                    <a:pt x="1230" y="852"/>
                  </a:lnTo>
                  <a:lnTo>
                    <a:pt x="1234" y="852"/>
                  </a:lnTo>
                  <a:lnTo>
                    <a:pt x="1230" y="852"/>
                  </a:lnTo>
                  <a:lnTo>
                    <a:pt x="1234" y="852"/>
                  </a:lnTo>
                  <a:lnTo>
                    <a:pt x="1238" y="852"/>
                  </a:lnTo>
                  <a:lnTo>
                    <a:pt x="1234" y="852"/>
                  </a:lnTo>
                  <a:lnTo>
                    <a:pt x="1230" y="854"/>
                  </a:lnTo>
                  <a:lnTo>
                    <a:pt x="1234" y="854"/>
                  </a:lnTo>
                  <a:lnTo>
                    <a:pt x="1238" y="854"/>
                  </a:lnTo>
                  <a:lnTo>
                    <a:pt x="1238" y="852"/>
                  </a:lnTo>
                  <a:lnTo>
                    <a:pt x="1242" y="852"/>
                  </a:lnTo>
                  <a:lnTo>
                    <a:pt x="1242" y="854"/>
                  </a:lnTo>
                  <a:lnTo>
                    <a:pt x="1242" y="852"/>
                  </a:lnTo>
                  <a:lnTo>
                    <a:pt x="1244" y="852"/>
                  </a:lnTo>
                  <a:lnTo>
                    <a:pt x="1244" y="854"/>
                  </a:lnTo>
                  <a:lnTo>
                    <a:pt x="1244" y="858"/>
                  </a:lnTo>
                  <a:lnTo>
                    <a:pt x="1242" y="858"/>
                  </a:lnTo>
                  <a:lnTo>
                    <a:pt x="1238" y="858"/>
                  </a:lnTo>
                  <a:lnTo>
                    <a:pt x="1234" y="862"/>
                  </a:lnTo>
                  <a:lnTo>
                    <a:pt x="1230" y="862"/>
                  </a:lnTo>
                  <a:lnTo>
                    <a:pt x="1234" y="862"/>
                  </a:lnTo>
                  <a:lnTo>
                    <a:pt x="1234" y="866"/>
                  </a:lnTo>
                  <a:lnTo>
                    <a:pt x="1230" y="866"/>
                  </a:lnTo>
                  <a:lnTo>
                    <a:pt x="1234" y="866"/>
                  </a:lnTo>
                  <a:lnTo>
                    <a:pt x="1238" y="866"/>
                  </a:lnTo>
                  <a:lnTo>
                    <a:pt x="1234" y="870"/>
                  </a:lnTo>
                  <a:lnTo>
                    <a:pt x="1234" y="874"/>
                  </a:lnTo>
                  <a:lnTo>
                    <a:pt x="1238" y="874"/>
                  </a:lnTo>
                  <a:lnTo>
                    <a:pt x="1238" y="870"/>
                  </a:lnTo>
                  <a:lnTo>
                    <a:pt x="1242" y="866"/>
                  </a:lnTo>
                  <a:lnTo>
                    <a:pt x="1242" y="862"/>
                  </a:lnTo>
                  <a:lnTo>
                    <a:pt x="1242" y="866"/>
                  </a:lnTo>
                  <a:lnTo>
                    <a:pt x="1244" y="862"/>
                  </a:lnTo>
                  <a:lnTo>
                    <a:pt x="1248" y="862"/>
                  </a:lnTo>
                  <a:lnTo>
                    <a:pt x="1244" y="862"/>
                  </a:lnTo>
                  <a:lnTo>
                    <a:pt x="1244" y="866"/>
                  </a:lnTo>
                  <a:lnTo>
                    <a:pt x="1244" y="870"/>
                  </a:lnTo>
                  <a:lnTo>
                    <a:pt x="1242" y="874"/>
                  </a:lnTo>
                  <a:lnTo>
                    <a:pt x="1242" y="878"/>
                  </a:lnTo>
                  <a:lnTo>
                    <a:pt x="1244" y="878"/>
                  </a:lnTo>
                  <a:lnTo>
                    <a:pt x="1244" y="874"/>
                  </a:lnTo>
                  <a:lnTo>
                    <a:pt x="1248" y="870"/>
                  </a:lnTo>
                  <a:lnTo>
                    <a:pt x="1248" y="874"/>
                  </a:lnTo>
                  <a:lnTo>
                    <a:pt x="1248" y="878"/>
                  </a:lnTo>
                  <a:lnTo>
                    <a:pt x="1248" y="880"/>
                  </a:lnTo>
                  <a:lnTo>
                    <a:pt x="1244" y="880"/>
                  </a:lnTo>
                  <a:lnTo>
                    <a:pt x="1244" y="884"/>
                  </a:lnTo>
                  <a:lnTo>
                    <a:pt x="1244" y="888"/>
                  </a:lnTo>
                  <a:lnTo>
                    <a:pt x="1244" y="892"/>
                  </a:lnTo>
                  <a:lnTo>
                    <a:pt x="1242" y="892"/>
                  </a:lnTo>
                  <a:lnTo>
                    <a:pt x="1238" y="892"/>
                  </a:lnTo>
                  <a:lnTo>
                    <a:pt x="1234" y="892"/>
                  </a:lnTo>
                  <a:lnTo>
                    <a:pt x="1234" y="888"/>
                  </a:lnTo>
                  <a:lnTo>
                    <a:pt x="1238" y="888"/>
                  </a:lnTo>
                  <a:lnTo>
                    <a:pt x="1234" y="884"/>
                  </a:lnTo>
                  <a:lnTo>
                    <a:pt x="1238" y="884"/>
                  </a:lnTo>
                  <a:lnTo>
                    <a:pt x="1238" y="880"/>
                  </a:lnTo>
                  <a:lnTo>
                    <a:pt x="1234" y="884"/>
                  </a:lnTo>
                  <a:lnTo>
                    <a:pt x="1230" y="888"/>
                  </a:lnTo>
                  <a:lnTo>
                    <a:pt x="1226" y="888"/>
                  </a:lnTo>
                  <a:lnTo>
                    <a:pt x="1226" y="884"/>
                  </a:lnTo>
                  <a:lnTo>
                    <a:pt x="1230" y="884"/>
                  </a:lnTo>
                  <a:lnTo>
                    <a:pt x="1230" y="880"/>
                  </a:lnTo>
                  <a:lnTo>
                    <a:pt x="1234" y="878"/>
                  </a:lnTo>
                  <a:lnTo>
                    <a:pt x="1230" y="878"/>
                  </a:lnTo>
                  <a:lnTo>
                    <a:pt x="1230" y="874"/>
                  </a:lnTo>
                  <a:lnTo>
                    <a:pt x="1234" y="874"/>
                  </a:lnTo>
                  <a:lnTo>
                    <a:pt x="1230" y="874"/>
                  </a:lnTo>
                  <a:lnTo>
                    <a:pt x="1230" y="870"/>
                  </a:lnTo>
                  <a:lnTo>
                    <a:pt x="1226" y="870"/>
                  </a:lnTo>
                  <a:lnTo>
                    <a:pt x="1226" y="874"/>
                  </a:lnTo>
                  <a:lnTo>
                    <a:pt x="1222" y="874"/>
                  </a:lnTo>
                  <a:lnTo>
                    <a:pt x="1222" y="878"/>
                  </a:lnTo>
                  <a:lnTo>
                    <a:pt x="1226" y="874"/>
                  </a:lnTo>
                  <a:lnTo>
                    <a:pt x="1222" y="874"/>
                  </a:lnTo>
                  <a:lnTo>
                    <a:pt x="1222" y="878"/>
                  </a:lnTo>
                  <a:lnTo>
                    <a:pt x="1218" y="878"/>
                  </a:lnTo>
                  <a:lnTo>
                    <a:pt x="1216" y="880"/>
                  </a:lnTo>
                  <a:lnTo>
                    <a:pt x="1216" y="884"/>
                  </a:lnTo>
                  <a:lnTo>
                    <a:pt x="1212" y="888"/>
                  </a:lnTo>
                  <a:lnTo>
                    <a:pt x="1208" y="888"/>
                  </a:lnTo>
                  <a:lnTo>
                    <a:pt x="1204" y="888"/>
                  </a:lnTo>
                  <a:lnTo>
                    <a:pt x="1204" y="884"/>
                  </a:lnTo>
                  <a:lnTo>
                    <a:pt x="1208" y="884"/>
                  </a:lnTo>
                  <a:lnTo>
                    <a:pt x="1212" y="880"/>
                  </a:lnTo>
                  <a:lnTo>
                    <a:pt x="1212" y="878"/>
                  </a:lnTo>
                  <a:lnTo>
                    <a:pt x="1216" y="878"/>
                  </a:lnTo>
                  <a:lnTo>
                    <a:pt x="1218" y="874"/>
                  </a:lnTo>
                  <a:lnTo>
                    <a:pt x="1216" y="874"/>
                  </a:lnTo>
                  <a:lnTo>
                    <a:pt x="1216" y="870"/>
                  </a:lnTo>
                  <a:lnTo>
                    <a:pt x="1218" y="870"/>
                  </a:lnTo>
                  <a:lnTo>
                    <a:pt x="1216" y="870"/>
                  </a:lnTo>
                  <a:lnTo>
                    <a:pt x="1216" y="874"/>
                  </a:lnTo>
                  <a:lnTo>
                    <a:pt x="1212" y="874"/>
                  </a:lnTo>
                  <a:lnTo>
                    <a:pt x="1212" y="870"/>
                  </a:lnTo>
                  <a:lnTo>
                    <a:pt x="1212" y="874"/>
                  </a:lnTo>
                  <a:lnTo>
                    <a:pt x="1212" y="878"/>
                  </a:lnTo>
                  <a:lnTo>
                    <a:pt x="1208" y="878"/>
                  </a:lnTo>
                  <a:lnTo>
                    <a:pt x="1204" y="878"/>
                  </a:lnTo>
                  <a:lnTo>
                    <a:pt x="1204" y="874"/>
                  </a:lnTo>
                  <a:lnTo>
                    <a:pt x="1204" y="878"/>
                  </a:lnTo>
                  <a:lnTo>
                    <a:pt x="1200" y="878"/>
                  </a:lnTo>
                  <a:lnTo>
                    <a:pt x="1200" y="874"/>
                  </a:lnTo>
                  <a:lnTo>
                    <a:pt x="1204" y="874"/>
                  </a:lnTo>
                  <a:lnTo>
                    <a:pt x="1208" y="874"/>
                  </a:lnTo>
                  <a:lnTo>
                    <a:pt x="1204" y="874"/>
                  </a:lnTo>
                  <a:lnTo>
                    <a:pt x="1204" y="870"/>
                  </a:lnTo>
                  <a:lnTo>
                    <a:pt x="1204" y="866"/>
                  </a:lnTo>
                  <a:lnTo>
                    <a:pt x="1204" y="870"/>
                  </a:lnTo>
                  <a:lnTo>
                    <a:pt x="1200" y="870"/>
                  </a:lnTo>
                  <a:lnTo>
                    <a:pt x="1200" y="874"/>
                  </a:lnTo>
                  <a:lnTo>
                    <a:pt x="1196" y="874"/>
                  </a:lnTo>
                  <a:lnTo>
                    <a:pt x="1192" y="874"/>
                  </a:lnTo>
                  <a:lnTo>
                    <a:pt x="1188" y="874"/>
                  </a:lnTo>
                  <a:lnTo>
                    <a:pt x="1188" y="874"/>
                  </a:lnTo>
                  <a:lnTo>
                    <a:pt x="1188" y="874"/>
                  </a:lnTo>
                  <a:close/>
                  <a:moveTo>
                    <a:pt x="190" y="818"/>
                  </a:moveTo>
                  <a:lnTo>
                    <a:pt x="190" y="814"/>
                  </a:lnTo>
                  <a:lnTo>
                    <a:pt x="190" y="810"/>
                  </a:lnTo>
                  <a:lnTo>
                    <a:pt x="186" y="810"/>
                  </a:lnTo>
                  <a:lnTo>
                    <a:pt x="190" y="810"/>
                  </a:lnTo>
                  <a:lnTo>
                    <a:pt x="190" y="814"/>
                  </a:lnTo>
                  <a:lnTo>
                    <a:pt x="182" y="814"/>
                  </a:lnTo>
                  <a:lnTo>
                    <a:pt x="180" y="814"/>
                  </a:lnTo>
                  <a:lnTo>
                    <a:pt x="180" y="810"/>
                  </a:lnTo>
                  <a:lnTo>
                    <a:pt x="180" y="806"/>
                  </a:lnTo>
                  <a:lnTo>
                    <a:pt x="182" y="806"/>
                  </a:lnTo>
                  <a:lnTo>
                    <a:pt x="186" y="806"/>
                  </a:lnTo>
                  <a:lnTo>
                    <a:pt x="190" y="806"/>
                  </a:lnTo>
                  <a:lnTo>
                    <a:pt x="190" y="810"/>
                  </a:lnTo>
                  <a:lnTo>
                    <a:pt x="194" y="810"/>
                  </a:lnTo>
                  <a:lnTo>
                    <a:pt x="198" y="810"/>
                  </a:lnTo>
                  <a:lnTo>
                    <a:pt x="202" y="814"/>
                  </a:lnTo>
                  <a:lnTo>
                    <a:pt x="206" y="814"/>
                  </a:lnTo>
                  <a:lnTo>
                    <a:pt x="210" y="814"/>
                  </a:lnTo>
                  <a:lnTo>
                    <a:pt x="212" y="814"/>
                  </a:lnTo>
                  <a:lnTo>
                    <a:pt x="212" y="818"/>
                  </a:lnTo>
                  <a:lnTo>
                    <a:pt x="216" y="818"/>
                  </a:lnTo>
                  <a:lnTo>
                    <a:pt x="220" y="818"/>
                  </a:lnTo>
                  <a:lnTo>
                    <a:pt x="220" y="822"/>
                  </a:lnTo>
                  <a:lnTo>
                    <a:pt x="224" y="822"/>
                  </a:lnTo>
                  <a:lnTo>
                    <a:pt x="224" y="824"/>
                  </a:lnTo>
                  <a:lnTo>
                    <a:pt x="228" y="828"/>
                  </a:lnTo>
                  <a:lnTo>
                    <a:pt x="228" y="832"/>
                  </a:lnTo>
                  <a:lnTo>
                    <a:pt x="228" y="836"/>
                  </a:lnTo>
                  <a:lnTo>
                    <a:pt x="232" y="836"/>
                  </a:lnTo>
                  <a:lnTo>
                    <a:pt x="236" y="840"/>
                  </a:lnTo>
                  <a:lnTo>
                    <a:pt x="238" y="840"/>
                  </a:lnTo>
                  <a:lnTo>
                    <a:pt x="242" y="840"/>
                  </a:lnTo>
                  <a:lnTo>
                    <a:pt x="242" y="844"/>
                  </a:lnTo>
                  <a:lnTo>
                    <a:pt x="246" y="848"/>
                  </a:lnTo>
                  <a:lnTo>
                    <a:pt x="246" y="852"/>
                  </a:lnTo>
                  <a:lnTo>
                    <a:pt x="246" y="854"/>
                  </a:lnTo>
                  <a:lnTo>
                    <a:pt x="246" y="852"/>
                  </a:lnTo>
                  <a:lnTo>
                    <a:pt x="250" y="852"/>
                  </a:lnTo>
                  <a:lnTo>
                    <a:pt x="250" y="854"/>
                  </a:lnTo>
                  <a:lnTo>
                    <a:pt x="250" y="858"/>
                  </a:lnTo>
                  <a:lnTo>
                    <a:pt x="250" y="854"/>
                  </a:lnTo>
                  <a:lnTo>
                    <a:pt x="246" y="858"/>
                  </a:lnTo>
                  <a:lnTo>
                    <a:pt x="242" y="858"/>
                  </a:lnTo>
                  <a:lnTo>
                    <a:pt x="236" y="854"/>
                  </a:lnTo>
                  <a:lnTo>
                    <a:pt x="232" y="854"/>
                  </a:lnTo>
                  <a:lnTo>
                    <a:pt x="232" y="852"/>
                  </a:lnTo>
                  <a:lnTo>
                    <a:pt x="228" y="852"/>
                  </a:lnTo>
                  <a:lnTo>
                    <a:pt x="224" y="852"/>
                  </a:lnTo>
                  <a:lnTo>
                    <a:pt x="224" y="848"/>
                  </a:lnTo>
                  <a:lnTo>
                    <a:pt x="228" y="848"/>
                  </a:lnTo>
                  <a:lnTo>
                    <a:pt x="228" y="844"/>
                  </a:lnTo>
                  <a:lnTo>
                    <a:pt x="228" y="840"/>
                  </a:lnTo>
                  <a:lnTo>
                    <a:pt x="228" y="844"/>
                  </a:lnTo>
                  <a:lnTo>
                    <a:pt x="224" y="844"/>
                  </a:lnTo>
                  <a:lnTo>
                    <a:pt x="224" y="848"/>
                  </a:lnTo>
                  <a:lnTo>
                    <a:pt x="220" y="844"/>
                  </a:lnTo>
                  <a:lnTo>
                    <a:pt x="220" y="848"/>
                  </a:lnTo>
                  <a:lnTo>
                    <a:pt x="216" y="844"/>
                  </a:lnTo>
                  <a:lnTo>
                    <a:pt x="216" y="840"/>
                  </a:lnTo>
                  <a:lnTo>
                    <a:pt x="212" y="840"/>
                  </a:lnTo>
                  <a:lnTo>
                    <a:pt x="212" y="836"/>
                  </a:lnTo>
                  <a:lnTo>
                    <a:pt x="210" y="836"/>
                  </a:lnTo>
                  <a:lnTo>
                    <a:pt x="206" y="836"/>
                  </a:lnTo>
                  <a:lnTo>
                    <a:pt x="206" y="832"/>
                  </a:lnTo>
                  <a:lnTo>
                    <a:pt x="210" y="832"/>
                  </a:lnTo>
                  <a:lnTo>
                    <a:pt x="212" y="832"/>
                  </a:lnTo>
                  <a:lnTo>
                    <a:pt x="210" y="832"/>
                  </a:lnTo>
                  <a:lnTo>
                    <a:pt x="206" y="832"/>
                  </a:lnTo>
                  <a:lnTo>
                    <a:pt x="206" y="828"/>
                  </a:lnTo>
                  <a:lnTo>
                    <a:pt x="202" y="828"/>
                  </a:lnTo>
                  <a:lnTo>
                    <a:pt x="202" y="824"/>
                  </a:lnTo>
                  <a:lnTo>
                    <a:pt x="198" y="824"/>
                  </a:lnTo>
                  <a:lnTo>
                    <a:pt x="198" y="828"/>
                  </a:lnTo>
                  <a:lnTo>
                    <a:pt x="194" y="824"/>
                  </a:lnTo>
                  <a:lnTo>
                    <a:pt x="194" y="822"/>
                  </a:lnTo>
                  <a:lnTo>
                    <a:pt x="198" y="822"/>
                  </a:lnTo>
                  <a:lnTo>
                    <a:pt x="194" y="822"/>
                  </a:lnTo>
                  <a:lnTo>
                    <a:pt x="194" y="824"/>
                  </a:lnTo>
                  <a:lnTo>
                    <a:pt x="190" y="822"/>
                  </a:lnTo>
                  <a:lnTo>
                    <a:pt x="186" y="822"/>
                  </a:lnTo>
                  <a:lnTo>
                    <a:pt x="186" y="818"/>
                  </a:lnTo>
                  <a:lnTo>
                    <a:pt x="182" y="818"/>
                  </a:lnTo>
                  <a:lnTo>
                    <a:pt x="186" y="814"/>
                  </a:lnTo>
                  <a:lnTo>
                    <a:pt x="190" y="814"/>
                  </a:lnTo>
                  <a:lnTo>
                    <a:pt x="190" y="818"/>
                  </a:lnTo>
                  <a:lnTo>
                    <a:pt x="190" y="818"/>
                  </a:lnTo>
                  <a:lnTo>
                    <a:pt x="190" y="818"/>
                  </a:lnTo>
                  <a:close/>
                  <a:moveTo>
                    <a:pt x="210" y="806"/>
                  </a:moveTo>
                  <a:lnTo>
                    <a:pt x="210" y="810"/>
                  </a:lnTo>
                  <a:lnTo>
                    <a:pt x="206" y="810"/>
                  </a:lnTo>
                  <a:lnTo>
                    <a:pt x="206" y="806"/>
                  </a:lnTo>
                  <a:lnTo>
                    <a:pt x="210" y="806"/>
                  </a:lnTo>
                  <a:lnTo>
                    <a:pt x="210" y="806"/>
                  </a:lnTo>
                  <a:lnTo>
                    <a:pt x="210" y="806"/>
                  </a:lnTo>
                  <a:close/>
                  <a:moveTo>
                    <a:pt x="220" y="818"/>
                  </a:moveTo>
                  <a:lnTo>
                    <a:pt x="224" y="818"/>
                  </a:lnTo>
                  <a:lnTo>
                    <a:pt x="224" y="822"/>
                  </a:lnTo>
                  <a:lnTo>
                    <a:pt x="224" y="824"/>
                  </a:lnTo>
                  <a:lnTo>
                    <a:pt x="224" y="822"/>
                  </a:lnTo>
                  <a:lnTo>
                    <a:pt x="220" y="822"/>
                  </a:lnTo>
                  <a:lnTo>
                    <a:pt x="220" y="818"/>
                  </a:lnTo>
                  <a:lnTo>
                    <a:pt x="220" y="818"/>
                  </a:lnTo>
                  <a:lnTo>
                    <a:pt x="220" y="818"/>
                  </a:lnTo>
                  <a:close/>
                  <a:moveTo>
                    <a:pt x="1096" y="828"/>
                  </a:moveTo>
                  <a:lnTo>
                    <a:pt x="1100" y="828"/>
                  </a:lnTo>
                  <a:lnTo>
                    <a:pt x="1104" y="828"/>
                  </a:lnTo>
                  <a:lnTo>
                    <a:pt x="1106" y="832"/>
                  </a:lnTo>
                  <a:lnTo>
                    <a:pt x="1110" y="832"/>
                  </a:lnTo>
                  <a:lnTo>
                    <a:pt x="1110" y="836"/>
                  </a:lnTo>
                  <a:lnTo>
                    <a:pt x="1114" y="836"/>
                  </a:lnTo>
                  <a:lnTo>
                    <a:pt x="1118" y="836"/>
                  </a:lnTo>
                  <a:lnTo>
                    <a:pt x="1118" y="840"/>
                  </a:lnTo>
                  <a:lnTo>
                    <a:pt x="1122" y="840"/>
                  </a:lnTo>
                  <a:lnTo>
                    <a:pt x="1122" y="844"/>
                  </a:lnTo>
                  <a:lnTo>
                    <a:pt x="1118" y="844"/>
                  </a:lnTo>
                  <a:lnTo>
                    <a:pt x="1114" y="844"/>
                  </a:lnTo>
                  <a:lnTo>
                    <a:pt x="1110" y="844"/>
                  </a:lnTo>
                  <a:lnTo>
                    <a:pt x="1106" y="840"/>
                  </a:lnTo>
                  <a:lnTo>
                    <a:pt x="1104" y="840"/>
                  </a:lnTo>
                  <a:lnTo>
                    <a:pt x="1100" y="840"/>
                  </a:lnTo>
                  <a:lnTo>
                    <a:pt x="1096" y="836"/>
                  </a:lnTo>
                  <a:lnTo>
                    <a:pt x="1092" y="832"/>
                  </a:lnTo>
                  <a:lnTo>
                    <a:pt x="1088" y="832"/>
                  </a:lnTo>
                  <a:lnTo>
                    <a:pt x="1088" y="828"/>
                  </a:lnTo>
                  <a:lnTo>
                    <a:pt x="1084" y="828"/>
                  </a:lnTo>
                  <a:lnTo>
                    <a:pt x="1080" y="824"/>
                  </a:lnTo>
                  <a:lnTo>
                    <a:pt x="1084" y="824"/>
                  </a:lnTo>
                  <a:lnTo>
                    <a:pt x="1088" y="824"/>
                  </a:lnTo>
                  <a:lnTo>
                    <a:pt x="1096" y="828"/>
                  </a:lnTo>
                  <a:lnTo>
                    <a:pt x="1096" y="828"/>
                  </a:lnTo>
                  <a:lnTo>
                    <a:pt x="1096" y="828"/>
                  </a:lnTo>
                  <a:close/>
                  <a:moveTo>
                    <a:pt x="202" y="824"/>
                  </a:moveTo>
                  <a:lnTo>
                    <a:pt x="202" y="828"/>
                  </a:lnTo>
                  <a:lnTo>
                    <a:pt x="206" y="832"/>
                  </a:lnTo>
                  <a:lnTo>
                    <a:pt x="202" y="832"/>
                  </a:lnTo>
                  <a:lnTo>
                    <a:pt x="198" y="828"/>
                  </a:lnTo>
                  <a:lnTo>
                    <a:pt x="202" y="824"/>
                  </a:lnTo>
                  <a:lnTo>
                    <a:pt x="202" y="824"/>
                  </a:lnTo>
                  <a:lnTo>
                    <a:pt x="202" y="824"/>
                  </a:lnTo>
                  <a:close/>
                  <a:moveTo>
                    <a:pt x="238" y="836"/>
                  </a:moveTo>
                  <a:lnTo>
                    <a:pt x="236" y="832"/>
                  </a:lnTo>
                  <a:lnTo>
                    <a:pt x="232" y="828"/>
                  </a:lnTo>
                  <a:lnTo>
                    <a:pt x="236" y="828"/>
                  </a:lnTo>
                  <a:lnTo>
                    <a:pt x="238" y="832"/>
                  </a:lnTo>
                  <a:lnTo>
                    <a:pt x="238" y="836"/>
                  </a:lnTo>
                  <a:lnTo>
                    <a:pt x="238" y="836"/>
                  </a:lnTo>
                  <a:lnTo>
                    <a:pt x="238" y="836"/>
                  </a:lnTo>
                  <a:close/>
                  <a:moveTo>
                    <a:pt x="210" y="836"/>
                  </a:moveTo>
                  <a:lnTo>
                    <a:pt x="212" y="836"/>
                  </a:lnTo>
                  <a:lnTo>
                    <a:pt x="212" y="840"/>
                  </a:lnTo>
                  <a:lnTo>
                    <a:pt x="210" y="840"/>
                  </a:lnTo>
                  <a:lnTo>
                    <a:pt x="210" y="836"/>
                  </a:lnTo>
                  <a:lnTo>
                    <a:pt x="210" y="836"/>
                  </a:lnTo>
                  <a:lnTo>
                    <a:pt x="210" y="836"/>
                  </a:lnTo>
                  <a:close/>
                  <a:moveTo>
                    <a:pt x="246" y="844"/>
                  </a:moveTo>
                  <a:lnTo>
                    <a:pt x="246" y="848"/>
                  </a:lnTo>
                  <a:lnTo>
                    <a:pt x="250" y="848"/>
                  </a:lnTo>
                  <a:lnTo>
                    <a:pt x="246" y="848"/>
                  </a:lnTo>
                  <a:lnTo>
                    <a:pt x="246" y="844"/>
                  </a:lnTo>
                  <a:lnTo>
                    <a:pt x="246" y="844"/>
                  </a:lnTo>
                  <a:lnTo>
                    <a:pt x="246" y="844"/>
                  </a:lnTo>
                  <a:close/>
                  <a:moveTo>
                    <a:pt x="246" y="848"/>
                  </a:moveTo>
                  <a:lnTo>
                    <a:pt x="250" y="848"/>
                  </a:lnTo>
                  <a:lnTo>
                    <a:pt x="250" y="852"/>
                  </a:lnTo>
                  <a:lnTo>
                    <a:pt x="246" y="852"/>
                  </a:lnTo>
                  <a:lnTo>
                    <a:pt x="246" y="848"/>
                  </a:lnTo>
                  <a:lnTo>
                    <a:pt x="246" y="848"/>
                  </a:lnTo>
                  <a:lnTo>
                    <a:pt x="246" y="848"/>
                  </a:lnTo>
                  <a:close/>
                  <a:moveTo>
                    <a:pt x="1080" y="866"/>
                  </a:moveTo>
                  <a:lnTo>
                    <a:pt x="1080" y="870"/>
                  </a:lnTo>
                  <a:lnTo>
                    <a:pt x="1076" y="870"/>
                  </a:lnTo>
                  <a:lnTo>
                    <a:pt x="1080" y="870"/>
                  </a:lnTo>
                  <a:lnTo>
                    <a:pt x="1080" y="866"/>
                  </a:lnTo>
                  <a:lnTo>
                    <a:pt x="1080" y="866"/>
                  </a:lnTo>
                  <a:lnTo>
                    <a:pt x="1080" y="866"/>
                  </a:lnTo>
                  <a:close/>
                  <a:moveTo>
                    <a:pt x="1126" y="874"/>
                  </a:moveTo>
                  <a:lnTo>
                    <a:pt x="1122" y="874"/>
                  </a:lnTo>
                  <a:lnTo>
                    <a:pt x="1126" y="874"/>
                  </a:lnTo>
                  <a:lnTo>
                    <a:pt x="1122" y="874"/>
                  </a:lnTo>
                  <a:lnTo>
                    <a:pt x="1118" y="878"/>
                  </a:lnTo>
                  <a:lnTo>
                    <a:pt x="1122" y="878"/>
                  </a:lnTo>
                  <a:lnTo>
                    <a:pt x="1122" y="874"/>
                  </a:lnTo>
                  <a:lnTo>
                    <a:pt x="1122" y="878"/>
                  </a:lnTo>
                  <a:lnTo>
                    <a:pt x="1118" y="878"/>
                  </a:lnTo>
                  <a:lnTo>
                    <a:pt x="1118" y="880"/>
                  </a:lnTo>
                  <a:lnTo>
                    <a:pt x="1122" y="880"/>
                  </a:lnTo>
                  <a:lnTo>
                    <a:pt x="1118" y="880"/>
                  </a:lnTo>
                  <a:lnTo>
                    <a:pt x="1118" y="878"/>
                  </a:lnTo>
                  <a:lnTo>
                    <a:pt x="1122" y="874"/>
                  </a:lnTo>
                  <a:lnTo>
                    <a:pt x="1126" y="874"/>
                  </a:lnTo>
                  <a:lnTo>
                    <a:pt x="1126" y="874"/>
                  </a:lnTo>
                  <a:lnTo>
                    <a:pt x="1126" y="874"/>
                  </a:lnTo>
                  <a:close/>
                  <a:moveTo>
                    <a:pt x="1114" y="900"/>
                  </a:moveTo>
                  <a:lnTo>
                    <a:pt x="1110" y="900"/>
                  </a:lnTo>
                  <a:lnTo>
                    <a:pt x="1110" y="904"/>
                  </a:lnTo>
                  <a:lnTo>
                    <a:pt x="1106" y="904"/>
                  </a:lnTo>
                  <a:lnTo>
                    <a:pt x="1110" y="904"/>
                  </a:lnTo>
                  <a:lnTo>
                    <a:pt x="1110" y="908"/>
                  </a:lnTo>
                  <a:lnTo>
                    <a:pt x="1106" y="908"/>
                  </a:lnTo>
                  <a:lnTo>
                    <a:pt x="1104" y="908"/>
                  </a:lnTo>
                  <a:lnTo>
                    <a:pt x="1104" y="904"/>
                  </a:lnTo>
                  <a:lnTo>
                    <a:pt x="1100" y="904"/>
                  </a:lnTo>
                  <a:lnTo>
                    <a:pt x="1104" y="900"/>
                  </a:lnTo>
                  <a:lnTo>
                    <a:pt x="1100" y="904"/>
                  </a:lnTo>
                  <a:lnTo>
                    <a:pt x="1096" y="904"/>
                  </a:lnTo>
                  <a:lnTo>
                    <a:pt x="1092" y="900"/>
                  </a:lnTo>
                  <a:lnTo>
                    <a:pt x="1088" y="900"/>
                  </a:lnTo>
                  <a:lnTo>
                    <a:pt x="1088" y="896"/>
                  </a:lnTo>
                  <a:lnTo>
                    <a:pt x="1088" y="892"/>
                  </a:lnTo>
                  <a:lnTo>
                    <a:pt x="1084" y="892"/>
                  </a:lnTo>
                  <a:lnTo>
                    <a:pt x="1084" y="888"/>
                  </a:lnTo>
                  <a:lnTo>
                    <a:pt x="1088" y="884"/>
                  </a:lnTo>
                  <a:lnTo>
                    <a:pt x="1088" y="888"/>
                  </a:lnTo>
                  <a:lnTo>
                    <a:pt x="1088" y="892"/>
                  </a:lnTo>
                  <a:lnTo>
                    <a:pt x="1092" y="892"/>
                  </a:lnTo>
                  <a:lnTo>
                    <a:pt x="1092" y="896"/>
                  </a:lnTo>
                  <a:lnTo>
                    <a:pt x="1096" y="896"/>
                  </a:lnTo>
                  <a:lnTo>
                    <a:pt x="1100" y="896"/>
                  </a:lnTo>
                  <a:lnTo>
                    <a:pt x="1104" y="896"/>
                  </a:lnTo>
                  <a:lnTo>
                    <a:pt x="1106" y="896"/>
                  </a:lnTo>
                  <a:lnTo>
                    <a:pt x="1110" y="896"/>
                  </a:lnTo>
                  <a:lnTo>
                    <a:pt x="1114" y="896"/>
                  </a:lnTo>
                  <a:lnTo>
                    <a:pt x="1118" y="896"/>
                  </a:lnTo>
                  <a:lnTo>
                    <a:pt x="1114" y="900"/>
                  </a:lnTo>
                  <a:lnTo>
                    <a:pt x="1114" y="900"/>
                  </a:lnTo>
                  <a:lnTo>
                    <a:pt x="1114" y="900"/>
                  </a:lnTo>
                  <a:close/>
                  <a:moveTo>
                    <a:pt x="1136" y="914"/>
                  </a:moveTo>
                  <a:lnTo>
                    <a:pt x="1132" y="914"/>
                  </a:lnTo>
                  <a:lnTo>
                    <a:pt x="1130" y="914"/>
                  </a:lnTo>
                  <a:lnTo>
                    <a:pt x="1126" y="914"/>
                  </a:lnTo>
                  <a:lnTo>
                    <a:pt x="1126" y="910"/>
                  </a:lnTo>
                  <a:lnTo>
                    <a:pt x="1126" y="908"/>
                  </a:lnTo>
                  <a:lnTo>
                    <a:pt x="1126" y="904"/>
                  </a:lnTo>
                  <a:lnTo>
                    <a:pt x="1126" y="900"/>
                  </a:lnTo>
                  <a:lnTo>
                    <a:pt x="1130" y="896"/>
                  </a:lnTo>
                  <a:lnTo>
                    <a:pt x="1132" y="892"/>
                  </a:lnTo>
                  <a:lnTo>
                    <a:pt x="1132" y="888"/>
                  </a:lnTo>
                  <a:lnTo>
                    <a:pt x="1136" y="888"/>
                  </a:lnTo>
                  <a:lnTo>
                    <a:pt x="1136" y="884"/>
                  </a:lnTo>
                  <a:lnTo>
                    <a:pt x="1140" y="884"/>
                  </a:lnTo>
                  <a:lnTo>
                    <a:pt x="1136" y="888"/>
                  </a:lnTo>
                  <a:lnTo>
                    <a:pt x="1140" y="888"/>
                  </a:lnTo>
                  <a:lnTo>
                    <a:pt x="1140" y="892"/>
                  </a:lnTo>
                  <a:lnTo>
                    <a:pt x="1136" y="900"/>
                  </a:lnTo>
                  <a:lnTo>
                    <a:pt x="1136" y="904"/>
                  </a:lnTo>
                  <a:lnTo>
                    <a:pt x="1136" y="900"/>
                  </a:lnTo>
                  <a:lnTo>
                    <a:pt x="1140" y="900"/>
                  </a:lnTo>
                  <a:lnTo>
                    <a:pt x="1136" y="904"/>
                  </a:lnTo>
                  <a:lnTo>
                    <a:pt x="1132" y="904"/>
                  </a:lnTo>
                  <a:lnTo>
                    <a:pt x="1132" y="908"/>
                  </a:lnTo>
                  <a:lnTo>
                    <a:pt x="1130" y="908"/>
                  </a:lnTo>
                  <a:lnTo>
                    <a:pt x="1132" y="908"/>
                  </a:lnTo>
                  <a:lnTo>
                    <a:pt x="1132" y="904"/>
                  </a:lnTo>
                  <a:lnTo>
                    <a:pt x="1136" y="904"/>
                  </a:lnTo>
                  <a:lnTo>
                    <a:pt x="1132" y="908"/>
                  </a:lnTo>
                  <a:lnTo>
                    <a:pt x="1130" y="908"/>
                  </a:lnTo>
                  <a:lnTo>
                    <a:pt x="1132" y="908"/>
                  </a:lnTo>
                  <a:lnTo>
                    <a:pt x="1132" y="910"/>
                  </a:lnTo>
                  <a:lnTo>
                    <a:pt x="1130" y="910"/>
                  </a:lnTo>
                  <a:lnTo>
                    <a:pt x="1132" y="910"/>
                  </a:lnTo>
                  <a:lnTo>
                    <a:pt x="1136" y="910"/>
                  </a:lnTo>
                  <a:lnTo>
                    <a:pt x="1136" y="908"/>
                  </a:lnTo>
                  <a:lnTo>
                    <a:pt x="1140" y="908"/>
                  </a:lnTo>
                  <a:lnTo>
                    <a:pt x="1136" y="908"/>
                  </a:lnTo>
                  <a:lnTo>
                    <a:pt x="1132" y="908"/>
                  </a:lnTo>
                  <a:lnTo>
                    <a:pt x="1136" y="908"/>
                  </a:lnTo>
                  <a:lnTo>
                    <a:pt x="1136" y="904"/>
                  </a:lnTo>
                  <a:lnTo>
                    <a:pt x="1140" y="904"/>
                  </a:lnTo>
                  <a:lnTo>
                    <a:pt x="1140" y="900"/>
                  </a:lnTo>
                  <a:lnTo>
                    <a:pt x="1140" y="904"/>
                  </a:lnTo>
                  <a:lnTo>
                    <a:pt x="1136" y="904"/>
                  </a:lnTo>
                  <a:lnTo>
                    <a:pt x="1140" y="900"/>
                  </a:lnTo>
                  <a:lnTo>
                    <a:pt x="1144" y="900"/>
                  </a:lnTo>
                  <a:lnTo>
                    <a:pt x="1144" y="904"/>
                  </a:lnTo>
                  <a:lnTo>
                    <a:pt x="1148" y="904"/>
                  </a:lnTo>
                  <a:lnTo>
                    <a:pt x="1148" y="908"/>
                  </a:lnTo>
                  <a:lnTo>
                    <a:pt x="1144" y="908"/>
                  </a:lnTo>
                  <a:lnTo>
                    <a:pt x="1144" y="910"/>
                  </a:lnTo>
                  <a:lnTo>
                    <a:pt x="1140" y="910"/>
                  </a:lnTo>
                  <a:lnTo>
                    <a:pt x="1140" y="914"/>
                  </a:lnTo>
                  <a:lnTo>
                    <a:pt x="1136" y="914"/>
                  </a:lnTo>
                  <a:lnTo>
                    <a:pt x="1136" y="914"/>
                  </a:lnTo>
                  <a:lnTo>
                    <a:pt x="1136" y="914"/>
                  </a:lnTo>
                  <a:close/>
                  <a:moveTo>
                    <a:pt x="992" y="884"/>
                  </a:moveTo>
                  <a:lnTo>
                    <a:pt x="992" y="888"/>
                  </a:lnTo>
                  <a:lnTo>
                    <a:pt x="988" y="888"/>
                  </a:lnTo>
                  <a:lnTo>
                    <a:pt x="992" y="884"/>
                  </a:lnTo>
                  <a:lnTo>
                    <a:pt x="992" y="884"/>
                  </a:lnTo>
                  <a:lnTo>
                    <a:pt x="992" y="884"/>
                  </a:lnTo>
                  <a:close/>
                  <a:moveTo>
                    <a:pt x="1132" y="914"/>
                  </a:moveTo>
                  <a:lnTo>
                    <a:pt x="1132" y="918"/>
                  </a:lnTo>
                  <a:lnTo>
                    <a:pt x="1130" y="918"/>
                  </a:lnTo>
                  <a:lnTo>
                    <a:pt x="1130" y="914"/>
                  </a:lnTo>
                  <a:lnTo>
                    <a:pt x="1132" y="914"/>
                  </a:lnTo>
                  <a:lnTo>
                    <a:pt x="1132" y="914"/>
                  </a:lnTo>
                  <a:lnTo>
                    <a:pt x="1132" y="914"/>
                  </a:lnTo>
                  <a:close/>
                  <a:moveTo>
                    <a:pt x="1052" y="930"/>
                  </a:moveTo>
                  <a:lnTo>
                    <a:pt x="1052" y="934"/>
                  </a:lnTo>
                  <a:lnTo>
                    <a:pt x="1048" y="934"/>
                  </a:lnTo>
                  <a:lnTo>
                    <a:pt x="1048" y="930"/>
                  </a:lnTo>
                  <a:lnTo>
                    <a:pt x="1052" y="930"/>
                  </a:lnTo>
                  <a:lnTo>
                    <a:pt x="1052" y="930"/>
                  </a:lnTo>
                  <a:lnTo>
                    <a:pt x="1052" y="930"/>
                  </a:lnTo>
                  <a:close/>
                  <a:moveTo>
                    <a:pt x="820" y="78"/>
                  </a:moveTo>
                  <a:lnTo>
                    <a:pt x="816" y="78"/>
                  </a:lnTo>
                  <a:lnTo>
                    <a:pt x="816" y="76"/>
                  </a:lnTo>
                  <a:lnTo>
                    <a:pt x="820" y="76"/>
                  </a:lnTo>
                  <a:lnTo>
                    <a:pt x="824" y="76"/>
                  </a:lnTo>
                  <a:lnTo>
                    <a:pt x="828" y="76"/>
                  </a:lnTo>
                  <a:lnTo>
                    <a:pt x="828" y="72"/>
                  </a:lnTo>
                  <a:lnTo>
                    <a:pt x="832" y="72"/>
                  </a:lnTo>
                  <a:lnTo>
                    <a:pt x="834" y="72"/>
                  </a:lnTo>
                  <a:lnTo>
                    <a:pt x="838" y="72"/>
                  </a:lnTo>
                  <a:lnTo>
                    <a:pt x="834" y="68"/>
                  </a:lnTo>
                  <a:lnTo>
                    <a:pt x="834" y="72"/>
                  </a:lnTo>
                  <a:lnTo>
                    <a:pt x="832" y="72"/>
                  </a:lnTo>
                  <a:lnTo>
                    <a:pt x="828" y="72"/>
                  </a:lnTo>
                  <a:lnTo>
                    <a:pt x="820" y="72"/>
                  </a:lnTo>
                  <a:lnTo>
                    <a:pt x="816" y="76"/>
                  </a:lnTo>
                  <a:lnTo>
                    <a:pt x="812" y="76"/>
                  </a:lnTo>
                  <a:lnTo>
                    <a:pt x="812" y="72"/>
                  </a:lnTo>
                  <a:lnTo>
                    <a:pt x="816" y="72"/>
                  </a:lnTo>
                  <a:lnTo>
                    <a:pt x="820" y="72"/>
                  </a:lnTo>
                  <a:lnTo>
                    <a:pt x="816" y="68"/>
                  </a:lnTo>
                  <a:lnTo>
                    <a:pt x="816" y="72"/>
                  </a:lnTo>
                  <a:lnTo>
                    <a:pt x="812" y="72"/>
                  </a:lnTo>
                  <a:lnTo>
                    <a:pt x="808" y="72"/>
                  </a:lnTo>
                  <a:lnTo>
                    <a:pt x="808" y="76"/>
                  </a:lnTo>
                  <a:lnTo>
                    <a:pt x="808" y="78"/>
                  </a:lnTo>
                  <a:lnTo>
                    <a:pt x="806" y="78"/>
                  </a:lnTo>
                  <a:lnTo>
                    <a:pt x="802" y="78"/>
                  </a:lnTo>
                  <a:lnTo>
                    <a:pt x="798" y="78"/>
                  </a:lnTo>
                  <a:lnTo>
                    <a:pt x="794" y="78"/>
                  </a:lnTo>
                  <a:lnTo>
                    <a:pt x="790" y="78"/>
                  </a:lnTo>
                  <a:lnTo>
                    <a:pt x="786" y="78"/>
                  </a:lnTo>
                  <a:lnTo>
                    <a:pt x="782" y="78"/>
                  </a:lnTo>
                  <a:lnTo>
                    <a:pt x="778" y="78"/>
                  </a:lnTo>
                  <a:lnTo>
                    <a:pt x="782" y="76"/>
                  </a:lnTo>
                  <a:lnTo>
                    <a:pt x="778" y="76"/>
                  </a:lnTo>
                  <a:lnTo>
                    <a:pt x="778" y="78"/>
                  </a:lnTo>
                  <a:lnTo>
                    <a:pt x="776" y="78"/>
                  </a:lnTo>
                  <a:lnTo>
                    <a:pt x="772" y="78"/>
                  </a:lnTo>
                  <a:lnTo>
                    <a:pt x="768" y="76"/>
                  </a:lnTo>
                  <a:lnTo>
                    <a:pt x="772" y="72"/>
                  </a:lnTo>
                  <a:lnTo>
                    <a:pt x="776" y="72"/>
                  </a:lnTo>
                  <a:lnTo>
                    <a:pt x="776" y="68"/>
                  </a:lnTo>
                  <a:lnTo>
                    <a:pt x="778" y="68"/>
                  </a:lnTo>
                  <a:lnTo>
                    <a:pt x="782" y="68"/>
                  </a:lnTo>
                  <a:lnTo>
                    <a:pt x="782" y="64"/>
                  </a:lnTo>
                  <a:lnTo>
                    <a:pt x="790" y="64"/>
                  </a:lnTo>
                  <a:lnTo>
                    <a:pt x="794" y="64"/>
                  </a:lnTo>
                  <a:lnTo>
                    <a:pt x="802" y="64"/>
                  </a:lnTo>
                  <a:lnTo>
                    <a:pt x="806" y="64"/>
                  </a:lnTo>
                  <a:lnTo>
                    <a:pt x="808" y="64"/>
                  </a:lnTo>
                  <a:lnTo>
                    <a:pt x="812" y="60"/>
                  </a:lnTo>
                  <a:lnTo>
                    <a:pt x="816" y="60"/>
                  </a:lnTo>
                  <a:lnTo>
                    <a:pt x="820" y="60"/>
                  </a:lnTo>
                  <a:lnTo>
                    <a:pt x="824" y="60"/>
                  </a:lnTo>
                  <a:lnTo>
                    <a:pt x="828" y="60"/>
                  </a:lnTo>
                  <a:lnTo>
                    <a:pt x="824" y="60"/>
                  </a:lnTo>
                  <a:lnTo>
                    <a:pt x="820" y="60"/>
                  </a:lnTo>
                  <a:lnTo>
                    <a:pt x="816" y="60"/>
                  </a:lnTo>
                  <a:lnTo>
                    <a:pt x="812" y="60"/>
                  </a:lnTo>
                  <a:lnTo>
                    <a:pt x="808" y="60"/>
                  </a:lnTo>
                  <a:lnTo>
                    <a:pt x="806" y="60"/>
                  </a:lnTo>
                  <a:lnTo>
                    <a:pt x="802" y="60"/>
                  </a:lnTo>
                  <a:lnTo>
                    <a:pt x="798" y="60"/>
                  </a:lnTo>
                  <a:lnTo>
                    <a:pt x="794" y="64"/>
                  </a:lnTo>
                  <a:lnTo>
                    <a:pt x="790" y="64"/>
                  </a:lnTo>
                  <a:lnTo>
                    <a:pt x="786" y="64"/>
                  </a:lnTo>
                  <a:lnTo>
                    <a:pt x="782" y="64"/>
                  </a:lnTo>
                  <a:lnTo>
                    <a:pt x="778" y="64"/>
                  </a:lnTo>
                  <a:lnTo>
                    <a:pt x="776" y="64"/>
                  </a:lnTo>
                  <a:lnTo>
                    <a:pt x="772" y="68"/>
                  </a:lnTo>
                  <a:lnTo>
                    <a:pt x="764" y="72"/>
                  </a:lnTo>
                  <a:lnTo>
                    <a:pt x="760" y="76"/>
                  </a:lnTo>
                  <a:lnTo>
                    <a:pt x="756" y="76"/>
                  </a:lnTo>
                  <a:lnTo>
                    <a:pt x="752" y="76"/>
                  </a:lnTo>
                  <a:lnTo>
                    <a:pt x="748" y="76"/>
                  </a:lnTo>
                  <a:lnTo>
                    <a:pt x="746" y="76"/>
                  </a:lnTo>
                  <a:lnTo>
                    <a:pt x="746" y="72"/>
                  </a:lnTo>
                  <a:lnTo>
                    <a:pt x="742" y="72"/>
                  </a:lnTo>
                  <a:lnTo>
                    <a:pt x="738" y="72"/>
                  </a:lnTo>
                  <a:lnTo>
                    <a:pt x="734" y="72"/>
                  </a:lnTo>
                  <a:lnTo>
                    <a:pt x="732" y="68"/>
                  </a:lnTo>
                  <a:lnTo>
                    <a:pt x="734" y="68"/>
                  </a:lnTo>
                  <a:lnTo>
                    <a:pt x="738" y="64"/>
                  </a:lnTo>
                  <a:lnTo>
                    <a:pt x="742" y="64"/>
                  </a:lnTo>
                  <a:lnTo>
                    <a:pt x="746" y="64"/>
                  </a:lnTo>
                  <a:lnTo>
                    <a:pt x="748" y="64"/>
                  </a:lnTo>
                  <a:lnTo>
                    <a:pt x="752" y="64"/>
                  </a:lnTo>
                  <a:lnTo>
                    <a:pt x="756" y="64"/>
                  </a:lnTo>
                  <a:lnTo>
                    <a:pt x="760" y="64"/>
                  </a:lnTo>
                  <a:lnTo>
                    <a:pt x="764" y="64"/>
                  </a:lnTo>
                  <a:lnTo>
                    <a:pt x="768" y="64"/>
                  </a:lnTo>
                  <a:lnTo>
                    <a:pt x="772" y="64"/>
                  </a:lnTo>
                  <a:lnTo>
                    <a:pt x="776" y="64"/>
                  </a:lnTo>
                  <a:lnTo>
                    <a:pt x="778" y="60"/>
                  </a:lnTo>
                  <a:lnTo>
                    <a:pt x="782" y="60"/>
                  </a:lnTo>
                  <a:lnTo>
                    <a:pt x="786" y="60"/>
                  </a:lnTo>
                  <a:lnTo>
                    <a:pt x="786" y="56"/>
                  </a:lnTo>
                  <a:lnTo>
                    <a:pt x="790" y="56"/>
                  </a:lnTo>
                  <a:lnTo>
                    <a:pt x="794" y="56"/>
                  </a:lnTo>
                  <a:lnTo>
                    <a:pt x="790" y="56"/>
                  </a:lnTo>
                  <a:lnTo>
                    <a:pt x="786" y="56"/>
                  </a:lnTo>
                  <a:lnTo>
                    <a:pt x="782" y="56"/>
                  </a:lnTo>
                  <a:lnTo>
                    <a:pt x="778" y="56"/>
                  </a:lnTo>
                  <a:lnTo>
                    <a:pt x="776" y="60"/>
                  </a:lnTo>
                  <a:lnTo>
                    <a:pt x="772" y="60"/>
                  </a:lnTo>
                  <a:lnTo>
                    <a:pt x="768" y="60"/>
                  </a:lnTo>
                  <a:lnTo>
                    <a:pt x="764" y="60"/>
                  </a:lnTo>
                  <a:lnTo>
                    <a:pt x="760" y="60"/>
                  </a:lnTo>
                  <a:lnTo>
                    <a:pt x="760" y="64"/>
                  </a:lnTo>
                  <a:lnTo>
                    <a:pt x="752" y="64"/>
                  </a:lnTo>
                  <a:lnTo>
                    <a:pt x="748" y="64"/>
                  </a:lnTo>
                  <a:lnTo>
                    <a:pt x="746" y="64"/>
                  </a:lnTo>
                  <a:lnTo>
                    <a:pt x="742" y="64"/>
                  </a:lnTo>
                  <a:lnTo>
                    <a:pt x="738" y="64"/>
                  </a:lnTo>
                  <a:lnTo>
                    <a:pt x="734" y="64"/>
                  </a:lnTo>
                  <a:lnTo>
                    <a:pt x="732" y="64"/>
                  </a:lnTo>
                  <a:lnTo>
                    <a:pt x="728" y="64"/>
                  </a:lnTo>
                  <a:lnTo>
                    <a:pt x="724" y="64"/>
                  </a:lnTo>
                  <a:lnTo>
                    <a:pt x="720" y="64"/>
                  </a:lnTo>
                  <a:lnTo>
                    <a:pt x="716" y="60"/>
                  </a:lnTo>
                  <a:lnTo>
                    <a:pt x="720" y="56"/>
                  </a:lnTo>
                  <a:lnTo>
                    <a:pt x="724" y="56"/>
                  </a:lnTo>
                  <a:lnTo>
                    <a:pt x="728" y="56"/>
                  </a:lnTo>
                  <a:lnTo>
                    <a:pt x="728" y="60"/>
                  </a:lnTo>
                  <a:lnTo>
                    <a:pt x="732" y="60"/>
                  </a:lnTo>
                  <a:lnTo>
                    <a:pt x="732" y="56"/>
                  </a:lnTo>
                  <a:lnTo>
                    <a:pt x="734" y="56"/>
                  </a:lnTo>
                  <a:lnTo>
                    <a:pt x="732" y="56"/>
                  </a:lnTo>
                  <a:lnTo>
                    <a:pt x="728" y="56"/>
                  </a:lnTo>
                  <a:lnTo>
                    <a:pt x="724" y="56"/>
                  </a:lnTo>
                  <a:lnTo>
                    <a:pt x="724" y="52"/>
                  </a:lnTo>
                  <a:lnTo>
                    <a:pt x="728" y="52"/>
                  </a:lnTo>
                  <a:lnTo>
                    <a:pt x="732" y="52"/>
                  </a:lnTo>
                  <a:lnTo>
                    <a:pt x="734" y="52"/>
                  </a:lnTo>
                  <a:lnTo>
                    <a:pt x="738" y="50"/>
                  </a:lnTo>
                  <a:lnTo>
                    <a:pt x="742" y="50"/>
                  </a:lnTo>
                  <a:lnTo>
                    <a:pt x="746" y="50"/>
                  </a:lnTo>
                  <a:lnTo>
                    <a:pt x="748" y="50"/>
                  </a:lnTo>
                  <a:lnTo>
                    <a:pt x="752" y="50"/>
                  </a:lnTo>
                  <a:lnTo>
                    <a:pt x="756" y="50"/>
                  </a:lnTo>
                  <a:lnTo>
                    <a:pt x="760" y="50"/>
                  </a:lnTo>
                  <a:lnTo>
                    <a:pt x="756" y="50"/>
                  </a:lnTo>
                  <a:lnTo>
                    <a:pt x="752" y="50"/>
                  </a:lnTo>
                  <a:lnTo>
                    <a:pt x="748" y="50"/>
                  </a:lnTo>
                  <a:lnTo>
                    <a:pt x="746" y="50"/>
                  </a:lnTo>
                  <a:lnTo>
                    <a:pt x="742" y="50"/>
                  </a:lnTo>
                  <a:lnTo>
                    <a:pt x="738" y="50"/>
                  </a:lnTo>
                  <a:lnTo>
                    <a:pt x="734" y="50"/>
                  </a:lnTo>
                  <a:lnTo>
                    <a:pt x="732" y="50"/>
                  </a:lnTo>
                  <a:lnTo>
                    <a:pt x="728" y="50"/>
                  </a:lnTo>
                  <a:lnTo>
                    <a:pt x="728" y="52"/>
                  </a:lnTo>
                  <a:lnTo>
                    <a:pt x="720" y="52"/>
                  </a:lnTo>
                  <a:lnTo>
                    <a:pt x="716" y="52"/>
                  </a:lnTo>
                  <a:lnTo>
                    <a:pt x="712" y="52"/>
                  </a:lnTo>
                  <a:lnTo>
                    <a:pt x="716" y="52"/>
                  </a:lnTo>
                  <a:lnTo>
                    <a:pt x="712" y="52"/>
                  </a:lnTo>
                  <a:lnTo>
                    <a:pt x="708" y="52"/>
                  </a:lnTo>
                  <a:lnTo>
                    <a:pt x="708" y="50"/>
                  </a:lnTo>
                  <a:lnTo>
                    <a:pt x="712" y="50"/>
                  </a:lnTo>
                  <a:lnTo>
                    <a:pt x="716" y="50"/>
                  </a:lnTo>
                  <a:lnTo>
                    <a:pt x="720" y="50"/>
                  </a:lnTo>
                  <a:lnTo>
                    <a:pt x="724" y="46"/>
                  </a:lnTo>
                  <a:lnTo>
                    <a:pt x="728" y="46"/>
                  </a:lnTo>
                  <a:lnTo>
                    <a:pt x="724" y="46"/>
                  </a:lnTo>
                  <a:lnTo>
                    <a:pt x="720" y="46"/>
                  </a:lnTo>
                  <a:lnTo>
                    <a:pt x="716" y="46"/>
                  </a:lnTo>
                  <a:lnTo>
                    <a:pt x="712" y="46"/>
                  </a:lnTo>
                  <a:lnTo>
                    <a:pt x="708" y="46"/>
                  </a:lnTo>
                  <a:lnTo>
                    <a:pt x="708" y="50"/>
                  </a:lnTo>
                  <a:lnTo>
                    <a:pt x="706" y="50"/>
                  </a:lnTo>
                  <a:lnTo>
                    <a:pt x="702" y="50"/>
                  </a:lnTo>
                  <a:lnTo>
                    <a:pt x="702" y="46"/>
                  </a:lnTo>
                  <a:lnTo>
                    <a:pt x="698" y="46"/>
                  </a:lnTo>
                  <a:lnTo>
                    <a:pt x="694" y="46"/>
                  </a:lnTo>
                  <a:lnTo>
                    <a:pt x="698" y="46"/>
                  </a:lnTo>
                  <a:lnTo>
                    <a:pt x="698" y="42"/>
                  </a:lnTo>
                  <a:lnTo>
                    <a:pt x="702" y="42"/>
                  </a:lnTo>
                  <a:lnTo>
                    <a:pt x="706" y="42"/>
                  </a:lnTo>
                  <a:lnTo>
                    <a:pt x="708" y="42"/>
                  </a:lnTo>
                  <a:lnTo>
                    <a:pt x="708" y="38"/>
                  </a:lnTo>
                  <a:lnTo>
                    <a:pt x="712" y="38"/>
                  </a:lnTo>
                  <a:lnTo>
                    <a:pt x="716" y="38"/>
                  </a:lnTo>
                  <a:lnTo>
                    <a:pt x="720" y="38"/>
                  </a:lnTo>
                  <a:lnTo>
                    <a:pt x="724" y="38"/>
                  </a:lnTo>
                  <a:lnTo>
                    <a:pt x="728" y="38"/>
                  </a:lnTo>
                  <a:lnTo>
                    <a:pt x="732" y="42"/>
                  </a:lnTo>
                  <a:lnTo>
                    <a:pt x="732" y="38"/>
                  </a:lnTo>
                  <a:lnTo>
                    <a:pt x="734" y="38"/>
                  </a:lnTo>
                  <a:lnTo>
                    <a:pt x="734" y="34"/>
                  </a:lnTo>
                  <a:lnTo>
                    <a:pt x="738" y="34"/>
                  </a:lnTo>
                  <a:lnTo>
                    <a:pt x="742" y="34"/>
                  </a:lnTo>
                  <a:lnTo>
                    <a:pt x="746" y="34"/>
                  </a:lnTo>
                  <a:lnTo>
                    <a:pt x="748" y="30"/>
                  </a:lnTo>
                  <a:lnTo>
                    <a:pt x="752" y="34"/>
                  </a:lnTo>
                  <a:lnTo>
                    <a:pt x="752" y="30"/>
                  </a:lnTo>
                  <a:lnTo>
                    <a:pt x="756" y="30"/>
                  </a:lnTo>
                  <a:lnTo>
                    <a:pt x="756" y="34"/>
                  </a:lnTo>
                  <a:lnTo>
                    <a:pt x="760" y="34"/>
                  </a:lnTo>
                  <a:lnTo>
                    <a:pt x="760" y="38"/>
                  </a:lnTo>
                  <a:lnTo>
                    <a:pt x="764" y="38"/>
                  </a:lnTo>
                  <a:lnTo>
                    <a:pt x="768" y="38"/>
                  </a:lnTo>
                  <a:lnTo>
                    <a:pt x="764" y="38"/>
                  </a:lnTo>
                  <a:lnTo>
                    <a:pt x="760" y="38"/>
                  </a:lnTo>
                  <a:lnTo>
                    <a:pt x="760" y="34"/>
                  </a:lnTo>
                  <a:lnTo>
                    <a:pt x="764" y="34"/>
                  </a:lnTo>
                  <a:lnTo>
                    <a:pt x="768" y="34"/>
                  </a:lnTo>
                  <a:lnTo>
                    <a:pt x="772" y="34"/>
                  </a:lnTo>
                  <a:lnTo>
                    <a:pt x="776" y="34"/>
                  </a:lnTo>
                  <a:lnTo>
                    <a:pt x="778" y="34"/>
                  </a:lnTo>
                  <a:lnTo>
                    <a:pt x="782" y="34"/>
                  </a:lnTo>
                  <a:lnTo>
                    <a:pt x="782" y="38"/>
                  </a:lnTo>
                  <a:lnTo>
                    <a:pt x="786" y="38"/>
                  </a:lnTo>
                  <a:lnTo>
                    <a:pt x="782" y="38"/>
                  </a:lnTo>
                  <a:lnTo>
                    <a:pt x="782" y="34"/>
                  </a:lnTo>
                  <a:lnTo>
                    <a:pt x="786" y="34"/>
                  </a:lnTo>
                  <a:lnTo>
                    <a:pt x="790" y="34"/>
                  </a:lnTo>
                  <a:lnTo>
                    <a:pt x="790" y="38"/>
                  </a:lnTo>
                  <a:lnTo>
                    <a:pt x="794" y="38"/>
                  </a:lnTo>
                  <a:lnTo>
                    <a:pt x="790" y="38"/>
                  </a:lnTo>
                  <a:lnTo>
                    <a:pt x="790" y="34"/>
                  </a:lnTo>
                  <a:lnTo>
                    <a:pt x="794" y="34"/>
                  </a:lnTo>
                  <a:lnTo>
                    <a:pt x="794" y="38"/>
                  </a:lnTo>
                  <a:lnTo>
                    <a:pt x="798" y="38"/>
                  </a:lnTo>
                  <a:lnTo>
                    <a:pt x="794" y="34"/>
                  </a:lnTo>
                  <a:lnTo>
                    <a:pt x="790" y="34"/>
                  </a:lnTo>
                  <a:lnTo>
                    <a:pt x="786" y="34"/>
                  </a:lnTo>
                  <a:lnTo>
                    <a:pt x="782" y="34"/>
                  </a:lnTo>
                  <a:lnTo>
                    <a:pt x="778" y="34"/>
                  </a:lnTo>
                  <a:lnTo>
                    <a:pt x="778" y="30"/>
                  </a:lnTo>
                  <a:lnTo>
                    <a:pt x="776" y="30"/>
                  </a:lnTo>
                  <a:lnTo>
                    <a:pt x="772" y="30"/>
                  </a:lnTo>
                  <a:lnTo>
                    <a:pt x="768" y="30"/>
                  </a:lnTo>
                  <a:lnTo>
                    <a:pt x="764" y="30"/>
                  </a:lnTo>
                  <a:lnTo>
                    <a:pt x="764" y="26"/>
                  </a:lnTo>
                  <a:lnTo>
                    <a:pt x="768" y="26"/>
                  </a:lnTo>
                  <a:lnTo>
                    <a:pt x="772" y="26"/>
                  </a:lnTo>
                  <a:lnTo>
                    <a:pt x="776" y="26"/>
                  </a:lnTo>
                  <a:lnTo>
                    <a:pt x="778" y="26"/>
                  </a:lnTo>
                  <a:lnTo>
                    <a:pt x="782" y="26"/>
                  </a:lnTo>
                  <a:lnTo>
                    <a:pt x="786" y="26"/>
                  </a:lnTo>
                  <a:lnTo>
                    <a:pt x="782" y="22"/>
                  </a:lnTo>
                  <a:lnTo>
                    <a:pt x="786" y="22"/>
                  </a:lnTo>
                  <a:lnTo>
                    <a:pt x="782" y="22"/>
                  </a:lnTo>
                  <a:lnTo>
                    <a:pt x="778" y="22"/>
                  </a:lnTo>
                  <a:lnTo>
                    <a:pt x="778" y="20"/>
                  </a:lnTo>
                  <a:lnTo>
                    <a:pt x="782" y="20"/>
                  </a:lnTo>
                  <a:lnTo>
                    <a:pt x="786" y="20"/>
                  </a:lnTo>
                  <a:lnTo>
                    <a:pt x="790" y="20"/>
                  </a:lnTo>
                  <a:lnTo>
                    <a:pt x="798" y="20"/>
                  </a:lnTo>
                  <a:lnTo>
                    <a:pt x="798" y="22"/>
                  </a:lnTo>
                  <a:lnTo>
                    <a:pt x="794" y="22"/>
                  </a:lnTo>
                  <a:lnTo>
                    <a:pt x="798" y="22"/>
                  </a:lnTo>
                  <a:lnTo>
                    <a:pt x="802" y="22"/>
                  </a:lnTo>
                  <a:lnTo>
                    <a:pt x="806" y="22"/>
                  </a:lnTo>
                  <a:lnTo>
                    <a:pt x="808" y="22"/>
                  </a:lnTo>
                  <a:lnTo>
                    <a:pt x="812" y="26"/>
                  </a:lnTo>
                  <a:lnTo>
                    <a:pt x="816" y="26"/>
                  </a:lnTo>
                  <a:lnTo>
                    <a:pt x="816" y="30"/>
                  </a:lnTo>
                  <a:lnTo>
                    <a:pt x="820" y="30"/>
                  </a:lnTo>
                  <a:lnTo>
                    <a:pt x="820" y="34"/>
                  </a:lnTo>
                  <a:lnTo>
                    <a:pt x="824" y="34"/>
                  </a:lnTo>
                  <a:lnTo>
                    <a:pt x="828" y="34"/>
                  </a:lnTo>
                  <a:lnTo>
                    <a:pt x="832" y="34"/>
                  </a:lnTo>
                  <a:lnTo>
                    <a:pt x="834" y="34"/>
                  </a:lnTo>
                  <a:lnTo>
                    <a:pt x="832" y="34"/>
                  </a:lnTo>
                  <a:lnTo>
                    <a:pt x="828" y="30"/>
                  </a:lnTo>
                  <a:lnTo>
                    <a:pt x="824" y="30"/>
                  </a:lnTo>
                  <a:lnTo>
                    <a:pt x="820" y="30"/>
                  </a:lnTo>
                  <a:lnTo>
                    <a:pt x="820" y="26"/>
                  </a:lnTo>
                  <a:lnTo>
                    <a:pt x="824" y="26"/>
                  </a:lnTo>
                  <a:lnTo>
                    <a:pt x="828" y="26"/>
                  </a:lnTo>
                  <a:lnTo>
                    <a:pt x="832" y="26"/>
                  </a:lnTo>
                  <a:lnTo>
                    <a:pt x="832" y="30"/>
                  </a:lnTo>
                  <a:lnTo>
                    <a:pt x="834" y="30"/>
                  </a:lnTo>
                  <a:lnTo>
                    <a:pt x="838" y="30"/>
                  </a:lnTo>
                  <a:lnTo>
                    <a:pt x="842" y="30"/>
                  </a:lnTo>
                  <a:lnTo>
                    <a:pt x="846" y="34"/>
                  </a:lnTo>
                  <a:lnTo>
                    <a:pt x="850" y="34"/>
                  </a:lnTo>
                  <a:lnTo>
                    <a:pt x="854" y="34"/>
                  </a:lnTo>
                  <a:lnTo>
                    <a:pt x="858" y="34"/>
                  </a:lnTo>
                  <a:lnTo>
                    <a:pt x="862" y="34"/>
                  </a:lnTo>
                  <a:lnTo>
                    <a:pt x="864" y="38"/>
                  </a:lnTo>
                  <a:lnTo>
                    <a:pt x="868" y="38"/>
                  </a:lnTo>
                  <a:lnTo>
                    <a:pt x="868" y="42"/>
                  </a:lnTo>
                  <a:lnTo>
                    <a:pt x="872" y="42"/>
                  </a:lnTo>
                  <a:lnTo>
                    <a:pt x="868" y="38"/>
                  </a:lnTo>
                  <a:lnTo>
                    <a:pt x="864" y="34"/>
                  </a:lnTo>
                  <a:lnTo>
                    <a:pt x="862" y="34"/>
                  </a:lnTo>
                  <a:lnTo>
                    <a:pt x="858" y="34"/>
                  </a:lnTo>
                  <a:lnTo>
                    <a:pt x="854" y="34"/>
                  </a:lnTo>
                  <a:lnTo>
                    <a:pt x="850" y="34"/>
                  </a:lnTo>
                  <a:lnTo>
                    <a:pt x="850" y="30"/>
                  </a:lnTo>
                  <a:lnTo>
                    <a:pt x="846" y="30"/>
                  </a:lnTo>
                  <a:lnTo>
                    <a:pt x="842" y="30"/>
                  </a:lnTo>
                  <a:lnTo>
                    <a:pt x="838" y="26"/>
                  </a:lnTo>
                  <a:lnTo>
                    <a:pt x="834" y="26"/>
                  </a:lnTo>
                  <a:lnTo>
                    <a:pt x="832" y="26"/>
                  </a:lnTo>
                  <a:lnTo>
                    <a:pt x="828" y="26"/>
                  </a:lnTo>
                  <a:lnTo>
                    <a:pt x="828" y="22"/>
                  </a:lnTo>
                  <a:lnTo>
                    <a:pt x="824" y="22"/>
                  </a:lnTo>
                  <a:lnTo>
                    <a:pt x="828" y="20"/>
                  </a:lnTo>
                  <a:lnTo>
                    <a:pt x="832" y="20"/>
                  </a:lnTo>
                  <a:lnTo>
                    <a:pt x="838" y="20"/>
                  </a:lnTo>
                  <a:lnTo>
                    <a:pt x="842" y="20"/>
                  </a:lnTo>
                  <a:lnTo>
                    <a:pt x="838" y="20"/>
                  </a:lnTo>
                  <a:lnTo>
                    <a:pt x="834" y="20"/>
                  </a:lnTo>
                  <a:lnTo>
                    <a:pt x="832" y="20"/>
                  </a:lnTo>
                  <a:lnTo>
                    <a:pt x="832" y="16"/>
                  </a:lnTo>
                  <a:lnTo>
                    <a:pt x="828" y="16"/>
                  </a:lnTo>
                  <a:lnTo>
                    <a:pt x="832" y="16"/>
                  </a:lnTo>
                  <a:lnTo>
                    <a:pt x="834" y="16"/>
                  </a:lnTo>
                  <a:lnTo>
                    <a:pt x="842" y="16"/>
                  </a:lnTo>
                  <a:lnTo>
                    <a:pt x="846" y="20"/>
                  </a:lnTo>
                  <a:lnTo>
                    <a:pt x="850" y="20"/>
                  </a:lnTo>
                  <a:lnTo>
                    <a:pt x="854" y="20"/>
                  </a:lnTo>
                  <a:lnTo>
                    <a:pt x="850" y="16"/>
                  </a:lnTo>
                  <a:lnTo>
                    <a:pt x="846" y="16"/>
                  </a:lnTo>
                  <a:lnTo>
                    <a:pt x="846" y="12"/>
                  </a:lnTo>
                  <a:lnTo>
                    <a:pt x="842" y="12"/>
                  </a:lnTo>
                  <a:lnTo>
                    <a:pt x="838" y="12"/>
                  </a:lnTo>
                  <a:lnTo>
                    <a:pt x="842" y="12"/>
                  </a:lnTo>
                  <a:lnTo>
                    <a:pt x="842" y="8"/>
                  </a:lnTo>
                  <a:lnTo>
                    <a:pt x="850" y="12"/>
                  </a:lnTo>
                  <a:lnTo>
                    <a:pt x="858" y="12"/>
                  </a:lnTo>
                  <a:lnTo>
                    <a:pt x="862" y="12"/>
                  </a:lnTo>
                  <a:lnTo>
                    <a:pt x="862" y="16"/>
                  </a:lnTo>
                  <a:lnTo>
                    <a:pt x="864" y="16"/>
                  </a:lnTo>
                  <a:lnTo>
                    <a:pt x="864" y="12"/>
                  </a:lnTo>
                  <a:lnTo>
                    <a:pt x="868" y="16"/>
                  </a:lnTo>
                  <a:lnTo>
                    <a:pt x="872" y="16"/>
                  </a:lnTo>
                  <a:lnTo>
                    <a:pt x="876" y="16"/>
                  </a:lnTo>
                  <a:lnTo>
                    <a:pt x="880" y="16"/>
                  </a:lnTo>
                  <a:lnTo>
                    <a:pt x="884" y="16"/>
                  </a:lnTo>
                  <a:lnTo>
                    <a:pt x="880" y="16"/>
                  </a:lnTo>
                  <a:lnTo>
                    <a:pt x="876" y="16"/>
                  </a:lnTo>
                  <a:lnTo>
                    <a:pt x="872" y="16"/>
                  </a:lnTo>
                  <a:lnTo>
                    <a:pt x="872" y="12"/>
                  </a:lnTo>
                  <a:lnTo>
                    <a:pt x="868" y="12"/>
                  </a:lnTo>
                  <a:lnTo>
                    <a:pt x="864" y="12"/>
                  </a:lnTo>
                  <a:lnTo>
                    <a:pt x="862" y="12"/>
                  </a:lnTo>
                  <a:lnTo>
                    <a:pt x="864" y="12"/>
                  </a:lnTo>
                  <a:lnTo>
                    <a:pt x="868" y="12"/>
                  </a:lnTo>
                  <a:lnTo>
                    <a:pt x="864" y="8"/>
                  </a:lnTo>
                  <a:lnTo>
                    <a:pt x="862" y="8"/>
                  </a:lnTo>
                  <a:lnTo>
                    <a:pt x="858" y="8"/>
                  </a:lnTo>
                  <a:lnTo>
                    <a:pt x="862" y="8"/>
                  </a:lnTo>
                  <a:lnTo>
                    <a:pt x="864" y="4"/>
                  </a:lnTo>
                  <a:lnTo>
                    <a:pt x="868" y="4"/>
                  </a:lnTo>
                  <a:lnTo>
                    <a:pt x="872" y="4"/>
                  </a:lnTo>
                  <a:lnTo>
                    <a:pt x="876" y="4"/>
                  </a:lnTo>
                  <a:lnTo>
                    <a:pt x="876" y="8"/>
                  </a:lnTo>
                  <a:lnTo>
                    <a:pt x="880" y="8"/>
                  </a:lnTo>
                  <a:lnTo>
                    <a:pt x="884" y="8"/>
                  </a:lnTo>
                  <a:lnTo>
                    <a:pt x="888" y="8"/>
                  </a:lnTo>
                  <a:lnTo>
                    <a:pt x="888" y="12"/>
                  </a:lnTo>
                  <a:lnTo>
                    <a:pt x="890" y="8"/>
                  </a:lnTo>
                  <a:lnTo>
                    <a:pt x="888" y="8"/>
                  </a:lnTo>
                  <a:lnTo>
                    <a:pt x="890" y="8"/>
                  </a:lnTo>
                  <a:lnTo>
                    <a:pt x="894" y="8"/>
                  </a:lnTo>
                  <a:lnTo>
                    <a:pt x="898" y="8"/>
                  </a:lnTo>
                  <a:lnTo>
                    <a:pt x="902" y="8"/>
                  </a:lnTo>
                  <a:lnTo>
                    <a:pt x="906" y="12"/>
                  </a:lnTo>
                  <a:lnTo>
                    <a:pt x="910" y="12"/>
                  </a:lnTo>
                  <a:lnTo>
                    <a:pt x="910" y="16"/>
                  </a:lnTo>
                  <a:lnTo>
                    <a:pt x="914" y="16"/>
                  </a:lnTo>
                  <a:lnTo>
                    <a:pt x="918" y="16"/>
                  </a:lnTo>
                  <a:lnTo>
                    <a:pt x="920" y="16"/>
                  </a:lnTo>
                  <a:lnTo>
                    <a:pt x="920" y="20"/>
                  </a:lnTo>
                  <a:lnTo>
                    <a:pt x="918" y="20"/>
                  </a:lnTo>
                  <a:lnTo>
                    <a:pt x="918" y="22"/>
                  </a:lnTo>
                  <a:lnTo>
                    <a:pt x="918" y="20"/>
                  </a:lnTo>
                  <a:lnTo>
                    <a:pt x="920" y="20"/>
                  </a:lnTo>
                  <a:lnTo>
                    <a:pt x="924" y="16"/>
                  </a:lnTo>
                  <a:lnTo>
                    <a:pt x="928" y="16"/>
                  </a:lnTo>
                  <a:lnTo>
                    <a:pt x="924" y="16"/>
                  </a:lnTo>
                  <a:lnTo>
                    <a:pt x="920" y="16"/>
                  </a:lnTo>
                  <a:lnTo>
                    <a:pt x="918" y="16"/>
                  </a:lnTo>
                  <a:lnTo>
                    <a:pt x="918" y="12"/>
                  </a:lnTo>
                  <a:lnTo>
                    <a:pt x="914" y="12"/>
                  </a:lnTo>
                  <a:lnTo>
                    <a:pt x="918" y="12"/>
                  </a:lnTo>
                  <a:lnTo>
                    <a:pt x="920" y="12"/>
                  </a:lnTo>
                  <a:lnTo>
                    <a:pt x="918" y="12"/>
                  </a:lnTo>
                  <a:lnTo>
                    <a:pt x="914" y="12"/>
                  </a:lnTo>
                  <a:lnTo>
                    <a:pt x="910" y="8"/>
                  </a:lnTo>
                  <a:lnTo>
                    <a:pt x="906" y="8"/>
                  </a:lnTo>
                  <a:lnTo>
                    <a:pt x="902" y="8"/>
                  </a:lnTo>
                  <a:lnTo>
                    <a:pt x="898" y="4"/>
                  </a:lnTo>
                  <a:lnTo>
                    <a:pt x="902" y="4"/>
                  </a:lnTo>
                  <a:lnTo>
                    <a:pt x="906" y="4"/>
                  </a:lnTo>
                  <a:lnTo>
                    <a:pt x="910" y="4"/>
                  </a:lnTo>
                  <a:lnTo>
                    <a:pt x="914" y="4"/>
                  </a:lnTo>
                  <a:lnTo>
                    <a:pt x="918" y="4"/>
                  </a:lnTo>
                  <a:lnTo>
                    <a:pt x="920" y="4"/>
                  </a:lnTo>
                  <a:lnTo>
                    <a:pt x="924" y="4"/>
                  </a:lnTo>
                  <a:lnTo>
                    <a:pt x="928" y="4"/>
                  </a:lnTo>
                  <a:lnTo>
                    <a:pt x="932" y="4"/>
                  </a:lnTo>
                  <a:lnTo>
                    <a:pt x="936" y="4"/>
                  </a:lnTo>
                  <a:lnTo>
                    <a:pt x="940" y="4"/>
                  </a:lnTo>
                  <a:lnTo>
                    <a:pt x="944" y="4"/>
                  </a:lnTo>
                  <a:lnTo>
                    <a:pt x="948" y="4"/>
                  </a:lnTo>
                  <a:lnTo>
                    <a:pt x="950" y="8"/>
                  </a:lnTo>
                  <a:lnTo>
                    <a:pt x="954" y="12"/>
                  </a:lnTo>
                  <a:lnTo>
                    <a:pt x="958" y="12"/>
                  </a:lnTo>
                  <a:lnTo>
                    <a:pt x="962" y="12"/>
                  </a:lnTo>
                  <a:lnTo>
                    <a:pt x="966" y="12"/>
                  </a:lnTo>
                  <a:lnTo>
                    <a:pt x="966" y="16"/>
                  </a:lnTo>
                  <a:lnTo>
                    <a:pt x="970" y="12"/>
                  </a:lnTo>
                  <a:lnTo>
                    <a:pt x="966" y="12"/>
                  </a:lnTo>
                  <a:lnTo>
                    <a:pt x="962" y="12"/>
                  </a:lnTo>
                  <a:lnTo>
                    <a:pt x="958" y="12"/>
                  </a:lnTo>
                  <a:lnTo>
                    <a:pt x="954" y="8"/>
                  </a:lnTo>
                  <a:lnTo>
                    <a:pt x="958" y="4"/>
                  </a:lnTo>
                  <a:lnTo>
                    <a:pt x="962" y="4"/>
                  </a:lnTo>
                  <a:lnTo>
                    <a:pt x="966" y="0"/>
                  </a:lnTo>
                  <a:lnTo>
                    <a:pt x="970" y="0"/>
                  </a:lnTo>
                  <a:lnTo>
                    <a:pt x="974" y="0"/>
                  </a:lnTo>
                  <a:lnTo>
                    <a:pt x="976" y="0"/>
                  </a:lnTo>
                  <a:lnTo>
                    <a:pt x="980" y="0"/>
                  </a:lnTo>
                  <a:lnTo>
                    <a:pt x="980" y="4"/>
                  </a:lnTo>
                  <a:lnTo>
                    <a:pt x="980" y="8"/>
                  </a:lnTo>
                  <a:lnTo>
                    <a:pt x="984" y="8"/>
                  </a:lnTo>
                  <a:lnTo>
                    <a:pt x="988" y="8"/>
                  </a:lnTo>
                  <a:lnTo>
                    <a:pt x="992" y="8"/>
                  </a:lnTo>
                  <a:lnTo>
                    <a:pt x="988" y="8"/>
                  </a:lnTo>
                  <a:lnTo>
                    <a:pt x="984" y="4"/>
                  </a:lnTo>
                  <a:lnTo>
                    <a:pt x="988" y="0"/>
                  </a:lnTo>
                  <a:lnTo>
                    <a:pt x="992" y="0"/>
                  </a:lnTo>
                  <a:lnTo>
                    <a:pt x="996" y="0"/>
                  </a:lnTo>
                  <a:lnTo>
                    <a:pt x="1000" y="0"/>
                  </a:lnTo>
                  <a:lnTo>
                    <a:pt x="1004" y="0"/>
                  </a:lnTo>
                  <a:lnTo>
                    <a:pt x="1006" y="0"/>
                  </a:lnTo>
                  <a:lnTo>
                    <a:pt x="1010" y="0"/>
                  </a:lnTo>
                  <a:lnTo>
                    <a:pt x="1010" y="4"/>
                  </a:lnTo>
                  <a:lnTo>
                    <a:pt x="1006" y="4"/>
                  </a:lnTo>
                  <a:lnTo>
                    <a:pt x="1010" y="4"/>
                  </a:lnTo>
                  <a:lnTo>
                    <a:pt x="1014" y="4"/>
                  </a:lnTo>
                  <a:lnTo>
                    <a:pt x="1018" y="4"/>
                  </a:lnTo>
                  <a:lnTo>
                    <a:pt x="1022" y="4"/>
                  </a:lnTo>
                  <a:lnTo>
                    <a:pt x="1026" y="4"/>
                  </a:lnTo>
                  <a:lnTo>
                    <a:pt x="1030" y="4"/>
                  </a:lnTo>
                  <a:lnTo>
                    <a:pt x="1030" y="8"/>
                  </a:lnTo>
                  <a:lnTo>
                    <a:pt x="1032" y="8"/>
                  </a:lnTo>
                  <a:lnTo>
                    <a:pt x="1032" y="4"/>
                  </a:lnTo>
                  <a:lnTo>
                    <a:pt x="1036" y="4"/>
                  </a:lnTo>
                  <a:lnTo>
                    <a:pt x="1040" y="4"/>
                  </a:lnTo>
                  <a:lnTo>
                    <a:pt x="1040" y="8"/>
                  </a:lnTo>
                  <a:lnTo>
                    <a:pt x="1044" y="8"/>
                  </a:lnTo>
                  <a:lnTo>
                    <a:pt x="1044" y="4"/>
                  </a:lnTo>
                  <a:lnTo>
                    <a:pt x="1048" y="4"/>
                  </a:lnTo>
                  <a:lnTo>
                    <a:pt x="1048" y="8"/>
                  </a:lnTo>
                  <a:lnTo>
                    <a:pt x="1052" y="8"/>
                  </a:lnTo>
                  <a:lnTo>
                    <a:pt x="1056" y="8"/>
                  </a:lnTo>
                  <a:lnTo>
                    <a:pt x="1048" y="12"/>
                  </a:lnTo>
                  <a:lnTo>
                    <a:pt x="1044" y="12"/>
                  </a:lnTo>
                  <a:lnTo>
                    <a:pt x="1040" y="12"/>
                  </a:lnTo>
                  <a:lnTo>
                    <a:pt x="1036" y="12"/>
                  </a:lnTo>
                  <a:lnTo>
                    <a:pt x="1032" y="12"/>
                  </a:lnTo>
                  <a:lnTo>
                    <a:pt x="1032" y="16"/>
                  </a:lnTo>
                  <a:lnTo>
                    <a:pt x="1030" y="16"/>
                  </a:lnTo>
                  <a:lnTo>
                    <a:pt x="1026" y="16"/>
                  </a:lnTo>
                  <a:lnTo>
                    <a:pt x="1022" y="16"/>
                  </a:lnTo>
                  <a:lnTo>
                    <a:pt x="1026" y="16"/>
                  </a:lnTo>
                  <a:lnTo>
                    <a:pt x="1030" y="16"/>
                  </a:lnTo>
                  <a:lnTo>
                    <a:pt x="1032" y="16"/>
                  </a:lnTo>
                  <a:lnTo>
                    <a:pt x="1036" y="16"/>
                  </a:lnTo>
                  <a:lnTo>
                    <a:pt x="1040" y="16"/>
                  </a:lnTo>
                  <a:lnTo>
                    <a:pt x="1044" y="16"/>
                  </a:lnTo>
                  <a:lnTo>
                    <a:pt x="1048" y="12"/>
                  </a:lnTo>
                  <a:lnTo>
                    <a:pt x="1052" y="12"/>
                  </a:lnTo>
                  <a:lnTo>
                    <a:pt x="1060" y="12"/>
                  </a:lnTo>
                  <a:lnTo>
                    <a:pt x="1062" y="8"/>
                  </a:lnTo>
                  <a:lnTo>
                    <a:pt x="1066" y="8"/>
                  </a:lnTo>
                  <a:lnTo>
                    <a:pt x="1070" y="8"/>
                  </a:lnTo>
                  <a:lnTo>
                    <a:pt x="1066" y="12"/>
                  </a:lnTo>
                  <a:lnTo>
                    <a:pt x="1070" y="12"/>
                  </a:lnTo>
                  <a:lnTo>
                    <a:pt x="1074" y="12"/>
                  </a:lnTo>
                  <a:lnTo>
                    <a:pt x="1070" y="12"/>
                  </a:lnTo>
                  <a:lnTo>
                    <a:pt x="1070" y="8"/>
                  </a:lnTo>
                  <a:lnTo>
                    <a:pt x="1074" y="8"/>
                  </a:lnTo>
                  <a:lnTo>
                    <a:pt x="1070" y="8"/>
                  </a:lnTo>
                  <a:lnTo>
                    <a:pt x="1074" y="8"/>
                  </a:lnTo>
                  <a:lnTo>
                    <a:pt x="1076" y="8"/>
                  </a:lnTo>
                  <a:lnTo>
                    <a:pt x="1080" y="8"/>
                  </a:lnTo>
                  <a:lnTo>
                    <a:pt x="1076" y="8"/>
                  </a:lnTo>
                  <a:lnTo>
                    <a:pt x="1076" y="12"/>
                  </a:lnTo>
                  <a:lnTo>
                    <a:pt x="1080" y="12"/>
                  </a:lnTo>
                  <a:lnTo>
                    <a:pt x="1084" y="12"/>
                  </a:lnTo>
                  <a:lnTo>
                    <a:pt x="1088" y="8"/>
                  </a:lnTo>
                  <a:lnTo>
                    <a:pt x="1092" y="8"/>
                  </a:lnTo>
                  <a:lnTo>
                    <a:pt x="1096" y="8"/>
                  </a:lnTo>
                  <a:lnTo>
                    <a:pt x="1096" y="12"/>
                  </a:lnTo>
                  <a:lnTo>
                    <a:pt x="1092" y="12"/>
                  </a:lnTo>
                  <a:lnTo>
                    <a:pt x="1096" y="16"/>
                  </a:lnTo>
                  <a:lnTo>
                    <a:pt x="1100" y="16"/>
                  </a:lnTo>
                  <a:lnTo>
                    <a:pt x="1104" y="16"/>
                  </a:lnTo>
                  <a:lnTo>
                    <a:pt x="1104" y="20"/>
                  </a:lnTo>
                  <a:lnTo>
                    <a:pt x="1100" y="20"/>
                  </a:lnTo>
                  <a:lnTo>
                    <a:pt x="1100" y="22"/>
                  </a:lnTo>
                  <a:lnTo>
                    <a:pt x="1104" y="22"/>
                  </a:lnTo>
                  <a:lnTo>
                    <a:pt x="1104" y="20"/>
                  </a:lnTo>
                  <a:lnTo>
                    <a:pt x="1106" y="20"/>
                  </a:lnTo>
                  <a:lnTo>
                    <a:pt x="1110" y="20"/>
                  </a:lnTo>
                  <a:lnTo>
                    <a:pt x="1114" y="20"/>
                  </a:lnTo>
                  <a:lnTo>
                    <a:pt x="1110" y="20"/>
                  </a:lnTo>
                  <a:lnTo>
                    <a:pt x="1114" y="20"/>
                  </a:lnTo>
                  <a:lnTo>
                    <a:pt x="1118" y="20"/>
                  </a:lnTo>
                  <a:lnTo>
                    <a:pt x="1122" y="20"/>
                  </a:lnTo>
                  <a:lnTo>
                    <a:pt x="1126" y="20"/>
                  </a:lnTo>
                  <a:lnTo>
                    <a:pt x="1126" y="22"/>
                  </a:lnTo>
                  <a:lnTo>
                    <a:pt x="1130" y="22"/>
                  </a:lnTo>
                  <a:lnTo>
                    <a:pt x="1130" y="26"/>
                  </a:lnTo>
                  <a:lnTo>
                    <a:pt x="1126" y="30"/>
                  </a:lnTo>
                  <a:lnTo>
                    <a:pt x="1122" y="30"/>
                  </a:lnTo>
                  <a:lnTo>
                    <a:pt x="1118" y="30"/>
                  </a:lnTo>
                  <a:lnTo>
                    <a:pt x="1114" y="34"/>
                  </a:lnTo>
                  <a:lnTo>
                    <a:pt x="1110" y="34"/>
                  </a:lnTo>
                  <a:lnTo>
                    <a:pt x="1104" y="38"/>
                  </a:lnTo>
                  <a:lnTo>
                    <a:pt x="1100" y="38"/>
                  </a:lnTo>
                  <a:lnTo>
                    <a:pt x="1096" y="38"/>
                  </a:lnTo>
                  <a:lnTo>
                    <a:pt x="1092" y="38"/>
                  </a:lnTo>
                  <a:lnTo>
                    <a:pt x="1092" y="42"/>
                  </a:lnTo>
                  <a:lnTo>
                    <a:pt x="1088" y="42"/>
                  </a:lnTo>
                  <a:lnTo>
                    <a:pt x="1084" y="42"/>
                  </a:lnTo>
                  <a:lnTo>
                    <a:pt x="1088" y="42"/>
                  </a:lnTo>
                  <a:lnTo>
                    <a:pt x="1084" y="42"/>
                  </a:lnTo>
                  <a:lnTo>
                    <a:pt x="1080" y="42"/>
                  </a:lnTo>
                  <a:lnTo>
                    <a:pt x="1076" y="42"/>
                  </a:lnTo>
                  <a:lnTo>
                    <a:pt x="1074" y="42"/>
                  </a:lnTo>
                  <a:lnTo>
                    <a:pt x="1070" y="42"/>
                  </a:lnTo>
                  <a:lnTo>
                    <a:pt x="1066" y="46"/>
                  </a:lnTo>
                  <a:lnTo>
                    <a:pt x="1062" y="46"/>
                  </a:lnTo>
                  <a:lnTo>
                    <a:pt x="1060" y="46"/>
                  </a:lnTo>
                  <a:lnTo>
                    <a:pt x="1062" y="46"/>
                  </a:lnTo>
                  <a:lnTo>
                    <a:pt x="1066" y="46"/>
                  </a:lnTo>
                  <a:lnTo>
                    <a:pt x="1070" y="46"/>
                  </a:lnTo>
                  <a:lnTo>
                    <a:pt x="1066" y="46"/>
                  </a:lnTo>
                  <a:lnTo>
                    <a:pt x="1062" y="46"/>
                  </a:lnTo>
                  <a:lnTo>
                    <a:pt x="1060" y="46"/>
                  </a:lnTo>
                  <a:lnTo>
                    <a:pt x="1056" y="46"/>
                  </a:lnTo>
                  <a:lnTo>
                    <a:pt x="1052" y="46"/>
                  </a:lnTo>
                  <a:lnTo>
                    <a:pt x="1048" y="46"/>
                  </a:lnTo>
                  <a:lnTo>
                    <a:pt x="1044" y="46"/>
                  </a:lnTo>
                  <a:lnTo>
                    <a:pt x="1040" y="46"/>
                  </a:lnTo>
                  <a:lnTo>
                    <a:pt x="1036" y="46"/>
                  </a:lnTo>
                  <a:lnTo>
                    <a:pt x="1032" y="50"/>
                  </a:lnTo>
                  <a:lnTo>
                    <a:pt x="1030" y="50"/>
                  </a:lnTo>
                  <a:lnTo>
                    <a:pt x="1026" y="46"/>
                  </a:lnTo>
                  <a:lnTo>
                    <a:pt x="1022" y="46"/>
                  </a:lnTo>
                  <a:lnTo>
                    <a:pt x="1018" y="46"/>
                  </a:lnTo>
                  <a:lnTo>
                    <a:pt x="1014" y="42"/>
                  </a:lnTo>
                  <a:lnTo>
                    <a:pt x="1014" y="46"/>
                  </a:lnTo>
                  <a:lnTo>
                    <a:pt x="1018" y="46"/>
                  </a:lnTo>
                  <a:lnTo>
                    <a:pt x="1022" y="46"/>
                  </a:lnTo>
                  <a:lnTo>
                    <a:pt x="1026" y="46"/>
                  </a:lnTo>
                  <a:lnTo>
                    <a:pt x="1026" y="50"/>
                  </a:lnTo>
                  <a:lnTo>
                    <a:pt x="1030" y="50"/>
                  </a:lnTo>
                  <a:lnTo>
                    <a:pt x="1026" y="50"/>
                  </a:lnTo>
                  <a:lnTo>
                    <a:pt x="1022" y="50"/>
                  </a:lnTo>
                  <a:lnTo>
                    <a:pt x="1026" y="50"/>
                  </a:lnTo>
                  <a:lnTo>
                    <a:pt x="1030" y="50"/>
                  </a:lnTo>
                  <a:lnTo>
                    <a:pt x="1032" y="50"/>
                  </a:lnTo>
                  <a:lnTo>
                    <a:pt x="1036" y="50"/>
                  </a:lnTo>
                  <a:lnTo>
                    <a:pt x="1040" y="50"/>
                  </a:lnTo>
                  <a:lnTo>
                    <a:pt x="1044" y="50"/>
                  </a:lnTo>
                  <a:lnTo>
                    <a:pt x="1048" y="50"/>
                  </a:lnTo>
                  <a:lnTo>
                    <a:pt x="1052" y="50"/>
                  </a:lnTo>
                  <a:lnTo>
                    <a:pt x="1048" y="50"/>
                  </a:lnTo>
                  <a:lnTo>
                    <a:pt x="1044" y="52"/>
                  </a:lnTo>
                  <a:lnTo>
                    <a:pt x="1040" y="52"/>
                  </a:lnTo>
                  <a:lnTo>
                    <a:pt x="1036" y="52"/>
                  </a:lnTo>
                  <a:lnTo>
                    <a:pt x="1032" y="52"/>
                  </a:lnTo>
                  <a:lnTo>
                    <a:pt x="1030" y="52"/>
                  </a:lnTo>
                  <a:lnTo>
                    <a:pt x="1030" y="56"/>
                  </a:lnTo>
                  <a:lnTo>
                    <a:pt x="1026" y="56"/>
                  </a:lnTo>
                  <a:lnTo>
                    <a:pt x="1022" y="56"/>
                  </a:lnTo>
                  <a:lnTo>
                    <a:pt x="1018" y="56"/>
                  </a:lnTo>
                  <a:lnTo>
                    <a:pt x="1014" y="56"/>
                  </a:lnTo>
                  <a:lnTo>
                    <a:pt x="1010" y="56"/>
                  </a:lnTo>
                  <a:lnTo>
                    <a:pt x="1014" y="56"/>
                  </a:lnTo>
                  <a:lnTo>
                    <a:pt x="1010" y="56"/>
                  </a:lnTo>
                  <a:lnTo>
                    <a:pt x="1006" y="60"/>
                  </a:lnTo>
                  <a:lnTo>
                    <a:pt x="1004" y="60"/>
                  </a:lnTo>
                  <a:lnTo>
                    <a:pt x="1006" y="60"/>
                  </a:lnTo>
                  <a:lnTo>
                    <a:pt x="1010" y="60"/>
                  </a:lnTo>
                  <a:lnTo>
                    <a:pt x="1006" y="60"/>
                  </a:lnTo>
                  <a:lnTo>
                    <a:pt x="1004" y="60"/>
                  </a:lnTo>
                  <a:lnTo>
                    <a:pt x="1006" y="60"/>
                  </a:lnTo>
                  <a:lnTo>
                    <a:pt x="1010" y="60"/>
                  </a:lnTo>
                  <a:lnTo>
                    <a:pt x="1014" y="60"/>
                  </a:lnTo>
                  <a:lnTo>
                    <a:pt x="1022" y="56"/>
                  </a:lnTo>
                  <a:lnTo>
                    <a:pt x="1030" y="56"/>
                  </a:lnTo>
                  <a:lnTo>
                    <a:pt x="1032" y="56"/>
                  </a:lnTo>
                  <a:lnTo>
                    <a:pt x="1036" y="56"/>
                  </a:lnTo>
                  <a:lnTo>
                    <a:pt x="1036" y="52"/>
                  </a:lnTo>
                  <a:lnTo>
                    <a:pt x="1040" y="52"/>
                  </a:lnTo>
                  <a:lnTo>
                    <a:pt x="1044" y="52"/>
                  </a:lnTo>
                  <a:lnTo>
                    <a:pt x="1048" y="52"/>
                  </a:lnTo>
                  <a:lnTo>
                    <a:pt x="1052" y="52"/>
                  </a:lnTo>
                  <a:lnTo>
                    <a:pt x="1056" y="52"/>
                  </a:lnTo>
                  <a:lnTo>
                    <a:pt x="1060" y="52"/>
                  </a:lnTo>
                  <a:lnTo>
                    <a:pt x="1062" y="50"/>
                  </a:lnTo>
                  <a:lnTo>
                    <a:pt x="1066" y="50"/>
                  </a:lnTo>
                  <a:lnTo>
                    <a:pt x="1070" y="50"/>
                  </a:lnTo>
                  <a:lnTo>
                    <a:pt x="1074" y="50"/>
                  </a:lnTo>
                  <a:lnTo>
                    <a:pt x="1080" y="50"/>
                  </a:lnTo>
                  <a:lnTo>
                    <a:pt x="1080" y="52"/>
                  </a:lnTo>
                  <a:lnTo>
                    <a:pt x="1076" y="52"/>
                  </a:lnTo>
                  <a:lnTo>
                    <a:pt x="1074" y="56"/>
                  </a:lnTo>
                  <a:lnTo>
                    <a:pt x="1070" y="56"/>
                  </a:lnTo>
                  <a:lnTo>
                    <a:pt x="1066" y="56"/>
                  </a:lnTo>
                  <a:lnTo>
                    <a:pt x="1062" y="56"/>
                  </a:lnTo>
                  <a:lnTo>
                    <a:pt x="1060" y="60"/>
                  </a:lnTo>
                  <a:lnTo>
                    <a:pt x="1056" y="60"/>
                  </a:lnTo>
                  <a:lnTo>
                    <a:pt x="1056" y="64"/>
                  </a:lnTo>
                  <a:lnTo>
                    <a:pt x="1052" y="64"/>
                  </a:lnTo>
                  <a:lnTo>
                    <a:pt x="1048" y="64"/>
                  </a:lnTo>
                  <a:lnTo>
                    <a:pt x="1044" y="68"/>
                  </a:lnTo>
                  <a:lnTo>
                    <a:pt x="1040" y="68"/>
                  </a:lnTo>
                  <a:lnTo>
                    <a:pt x="1036" y="68"/>
                  </a:lnTo>
                  <a:lnTo>
                    <a:pt x="1040" y="68"/>
                  </a:lnTo>
                  <a:lnTo>
                    <a:pt x="1036" y="68"/>
                  </a:lnTo>
                  <a:lnTo>
                    <a:pt x="1032" y="68"/>
                  </a:lnTo>
                  <a:lnTo>
                    <a:pt x="1032" y="72"/>
                  </a:lnTo>
                  <a:lnTo>
                    <a:pt x="1030" y="72"/>
                  </a:lnTo>
                  <a:lnTo>
                    <a:pt x="1022" y="76"/>
                  </a:lnTo>
                  <a:lnTo>
                    <a:pt x="1018" y="76"/>
                  </a:lnTo>
                  <a:lnTo>
                    <a:pt x="1018" y="78"/>
                  </a:lnTo>
                  <a:lnTo>
                    <a:pt x="1014" y="78"/>
                  </a:lnTo>
                  <a:lnTo>
                    <a:pt x="1014" y="82"/>
                  </a:lnTo>
                  <a:lnTo>
                    <a:pt x="1010" y="82"/>
                  </a:lnTo>
                  <a:lnTo>
                    <a:pt x="1006" y="82"/>
                  </a:lnTo>
                  <a:lnTo>
                    <a:pt x="1004" y="82"/>
                  </a:lnTo>
                  <a:lnTo>
                    <a:pt x="1000" y="82"/>
                  </a:lnTo>
                  <a:lnTo>
                    <a:pt x="1000" y="78"/>
                  </a:lnTo>
                  <a:lnTo>
                    <a:pt x="996" y="78"/>
                  </a:lnTo>
                  <a:lnTo>
                    <a:pt x="992" y="78"/>
                  </a:lnTo>
                  <a:lnTo>
                    <a:pt x="996" y="78"/>
                  </a:lnTo>
                  <a:lnTo>
                    <a:pt x="1000" y="78"/>
                  </a:lnTo>
                  <a:lnTo>
                    <a:pt x="1000" y="82"/>
                  </a:lnTo>
                  <a:lnTo>
                    <a:pt x="1000" y="86"/>
                  </a:lnTo>
                  <a:lnTo>
                    <a:pt x="1004" y="86"/>
                  </a:lnTo>
                  <a:lnTo>
                    <a:pt x="1006" y="86"/>
                  </a:lnTo>
                  <a:lnTo>
                    <a:pt x="1004" y="86"/>
                  </a:lnTo>
                  <a:lnTo>
                    <a:pt x="1004" y="90"/>
                  </a:lnTo>
                  <a:lnTo>
                    <a:pt x="1000" y="90"/>
                  </a:lnTo>
                  <a:lnTo>
                    <a:pt x="996" y="86"/>
                  </a:lnTo>
                  <a:lnTo>
                    <a:pt x="992" y="90"/>
                  </a:lnTo>
                  <a:lnTo>
                    <a:pt x="988" y="90"/>
                  </a:lnTo>
                  <a:lnTo>
                    <a:pt x="984" y="90"/>
                  </a:lnTo>
                  <a:lnTo>
                    <a:pt x="980" y="90"/>
                  </a:lnTo>
                  <a:lnTo>
                    <a:pt x="976" y="90"/>
                  </a:lnTo>
                  <a:lnTo>
                    <a:pt x="974" y="90"/>
                  </a:lnTo>
                  <a:lnTo>
                    <a:pt x="974" y="86"/>
                  </a:lnTo>
                  <a:lnTo>
                    <a:pt x="970" y="86"/>
                  </a:lnTo>
                  <a:lnTo>
                    <a:pt x="974" y="90"/>
                  </a:lnTo>
                  <a:lnTo>
                    <a:pt x="976" y="90"/>
                  </a:lnTo>
                  <a:lnTo>
                    <a:pt x="974" y="90"/>
                  </a:lnTo>
                  <a:lnTo>
                    <a:pt x="970" y="90"/>
                  </a:lnTo>
                  <a:lnTo>
                    <a:pt x="970" y="94"/>
                  </a:lnTo>
                  <a:lnTo>
                    <a:pt x="974" y="94"/>
                  </a:lnTo>
                  <a:lnTo>
                    <a:pt x="976" y="94"/>
                  </a:lnTo>
                  <a:lnTo>
                    <a:pt x="980" y="94"/>
                  </a:lnTo>
                  <a:lnTo>
                    <a:pt x="984" y="94"/>
                  </a:lnTo>
                  <a:lnTo>
                    <a:pt x="984" y="90"/>
                  </a:lnTo>
                  <a:lnTo>
                    <a:pt x="988" y="90"/>
                  </a:lnTo>
                  <a:lnTo>
                    <a:pt x="992" y="90"/>
                  </a:lnTo>
                  <a:lnTo>
                    <a:pt x="996" y="90"/>
                  </a:lnTo>
                  <a:lnTo>
                    <a:pt x="996" y="94"/>
                  </a:lnTo>
                  <a:lnTo>
                    <a:pt x="992" y="94"/>
                  </a:lnTo>
                  <a:lnTo>
                    <a:pt x="988" y="94"/>
                  </a:lnTo>
                  <a:lnTo>
                    <a:pt x="984" y="98"/>
                  </a:lnTo>
                  <a:lnTo>
                    <a:pt x="988" y="98"/>
                  </a:lnTo>
                  <a:lnTo>
                    <a:pt x="992" y="98"/>
                  </a:lnTo>
                  <a:lnTo>
                    <a:pt x="988" y="102"/>
                  </a:lnTo>
                  <a:lnTo>
                    <a:pt x="984" y="102"/>
                  </a:lnTo>
                  <a:lnTo>
                    <a:pt x="980" y="102"/>
                  </a:lnTo>
                  <a:lnTo>
                    <a:pt x="976" y="102"/>
                  </a:lnTo>
                  <a:lnTo>
                    <a:pt x="974" y="106"/>
                  </a:lnTo>
                  <a:lnTo>
                    <a:pt x="970" y="106"/>
                  </a:lnTo>
                  <a:lnTo>
                    <a:pt x="970" y="102"/>
                  </a:lnTo>
                  <a:lnTo>
                    <a:pt x="970" y="106"/>
                  </a:lnTo>
                  <a:lnTo>
                    <a:pt x="966" y="106"/>
                  </a:lnTo>
                  <a:lnTo>
                    <a:pt x="962" y="102"/>
                  </a:lnTo>
                  <a:lnTo>
                    <a:pt x="962" y="98"/>
                  </a:lnTo>
                  <a:lnTo>
                    <a:pt x="958" y="98"/>
                  </a:lnTo>
                  <a:lnTo>
                    <a:pt x="954" y="98"/>
                  </a:lnTo>
                  <a:lnTo>
                    <a:pt x="950" y="98"/>
                  </a:lnTo>
                  <a:lnTo>
                    <a:pt x="948" y="98"/>
                  </a:lnTo>
                  <a:lnTo>
                    <a:pt x="944" y="98"/>
                  </a:lnTo>
                  <a:lnTo>
                    <a:pt x="940" y="98"/>
                  </a:lnTo>
                  <a:lnTo>
                    <a:pt x="936" y="98"/>
                  </a:lnTo>
                  <a:lnTo>
                    <a:pt x="936" y="102"/>
                  </a:lnTo>
                  <a:lnTo>
                    <a:pt x="940" y="102"/>
                  </a:lnTo>
                  <a:lnTo>
                    <a:pt x="944" y="102"/>
                  </a:lnTo>
                  <a:lnTo>
                    <a:pt x="948" y="102"/>
                  </a:lnTo>
                  <a:lnTo>
                    <a:pt x="950" y="102"/>
                  </a:lnTo>
                  <a:lnTo>
                    <a:pt x="954" y="102"/>
                  </a:lnTo>
                  <a:lnTo>
                    <a:pt x="958" y="102"/>
                  </a:lnTo>
                  <a:lnTo>
                    <a:pt x="958" y="106"/>
                  </a:lnTo>
                  <a:lnTo>
                    <a:pt x="958" y="108"/>
                  </a:lnTo>
                  <a:lnTo>
                    <a:pt x="954" y="108"/>
                  </a:lnTo>
                  <a:lnTo>
                    <a:pt x="950" y="108"/>
                  </a:lnTo>
                  <a:lnTo>
                    <a:pt x="948" y="108"/>
                  </a:lnTo>
                  <a:lnTo>
                    <a:pt x="944" y="108"/>
                  </a:lnTo>
                  <a:lnTo>
                    <a:pt x="940" y="108"/>
                  </a:lnTo>
                  <a:lnTo>
                    <a:pt x="936" y="108"/>
                  </a:lnTo>
                  <a:lnTo>
                    <a:pt x="932" y="108"/>
                  </a:lnTo>
                  <a:lnTo>
                    <a:pt x="936" y="108"/>
                  </a:lnTo>
                  <a:lnTo>
                    <a:pt x="936" y="112"/>
                  </a:lnTo>
                  <a:lnTo>
                    <a:pt x="932" y="112"/>
                  </a:lnTo>
                  <a:lnTo>
                    <a:pt x="928" y="112"/>
                  </a:lnTo>
                  <a:lnTo>
                    <a:pt x="924" y="112"/>
                  </a:lnTo>
                  <a:lnTo>
                    <a:pt x="920" y="108"/>
                  </a:lnTo>
                  <a:lnTo>
                    <a:pt x="920" y="112"/>
                  </a:lnTo>
                  <a:lnTo>
                    <a:pt x="920" y="108"/>
                  </a:lnTo>
                  <a:lnTo>
                    <a:pt x="918" y="108"/>
                  </a:lnTo>
                  <a:lnTo>
                    <a:pt x="914" y="108"/>
                  </a:lnTo>
                  <a:lnTo>
                    <a:pt x="910" y="108"/>
                  </a:lnTo>
                  <a:lnTo>
                    <a:pt x="906" y="108"/>
                  </a:lnTo>
                  <a:lnTo>
                    <a:pt x="902" y="108"/>
                  </a:lnTo>
                  <a:lnTo>
                    <a:pt x="906" y="108"/>
                  </a:lnTo>
                  <a:lnTo>
                    <a:pt x="910" y="108"/>
                  </a:lnTo>
                  <a:lnTo>
                    <a:pt x="914" y="108"/>
                  </a:lnTo>
                  <a:lnTo>
                    <a:pt x="918" y="108"/>
                  </a:lnTo>
                  <a:lnTo>
                    <a:pt x="918" y="112"/>
                  </a:lnTo>
                  <a:lnTo>
                    <a:pt x="920" y="112"/>
                  </a:lnTo>
                  <a:lnTo>
                    <a:pt x="918" y="112"/>
                  </a:lnTo>
                  <a:lnTo>
                    <a:pt x="914" y="112"/>
                  </a:lnTo>
                  <a:lnTo>
                    <a:pt x="910" y="112"/>
                  </a:lnTo>
                  <a:lnTo>
                    <a:pt x="906" y="112"/>
                  </a:lnTo>
                  <a:lnTo>
                    <a:pt x="902" y="112"/>
                  </a:lnTo>
                  <a:lnTo>
                    <a:pt x="902" y="108"/>
                  </a:lnTo>
                  <a:lnTo>
                    <a:pt x="898" y="108"/>
                  </a:lnTo>
                  <a:lnTo>
                    <a:pt x="902" y="112"/>
                  </a:lnTo>
                  <a:lnTo>
                    <a:pt x="898" y="112"/>
                  </a:lnTo>
                  <a:lnTo>
                    <a:pt x="894" y="112"/>
                  </a:lnTo>
                  <a:lnTo>
                    <a:pt x="890" y="112"/>
                  </a:lnTo>
                  <a:lnTo>
                    <a:pt x="894" y="112"/>
                  </a:lnTo>
                  <a:lnTo>
                    <a:pt x="898" y="112"/>
                  </a:lnTo>
                  <a:lnTo>
                    <a:pt x="898" y="116"/>
                  </a:lnTo>
                  <a:lnTo>
                    <a:pt x="902" y="116"/>
                  </a:lnTo>
                  <a:lnTo>
                    <a:pt x="898" y="116"/>
                  </a:lnTo>
                  <a:lnTo>
                    <a:pt x="902" y="116"/>
                  </a:lnTo>
                  <a:lnTo>
                    <a:pt x="906" y="116"/>
                  </a:lnTo>
                  <a:lnTo>
                    <a:pt x="910" y="116"/>
                  </a:lnTo>
                  <a:lnTo>
                    <a:pt x="918" y="116"/>
                  </a:lnTo>
                  <a:lnTo>
                    <a:pt x="920" y="116"/>
                  </a:lnTo>
                  <a:lnTo>
                    <a:pt x="924" y="116"/>
                  </a:lnTo>
                  <a:lnTo>
                    <a:pt x="928" y="116"/>
                  </a:lnTo>
                  <a:lnTo>
                    <a:pt x="932" y="116"/>
                  </a:lnTo>
                  <a:lnTo>
                    <a:pt x="936" y="116"/>
                  </a:lnTo>
                  <a:lnTo>
                    <a:pt x="940" y="116"/>
                  </a:lnTo>
                  <a:lnTo>
                    <a:pt x="936" y="116"/>
                  </a:lnTo>
                  <a:lnTo>
                    <a:pt x="936" y="120"/>
                  </a:lnTo>
                  <a:lnTo>
                    <a:pt x="940" y="120"/>
                  </a:lnTo>
                  <a:lnTo>
                    <a:pt x="944" y="120"/>
                  </a:lnTo>
                  <a:lnTo>
                    <a:pt x="940" y="120"/>
                  </a:lnTo>
                  <a:lnTo>
                    <a:pt x="940" y="124"/>
                  </a:lnTo>
                  <a:lnTo>
                    <a:pt x="936" y="124"/>
                  </a:lnTo>
                  <a:lnTo>
                    <a:pt x="932" y="124"/>
                  </a:lnTo>
                  <a:lnTo>
                    <a:pt x="928" y="120"/>
                  </a:lnTo>
                  <a:lnTo>
                    <a:pt x="924" y="120"/>
                  </a:lnTo>
                  <a:lnTo>
                    <a:pt x="920" y="120"/>
                  </a:lnTo>
                  <a:lnTo>
                    <a:pt x="920" y="116"/>
                  </a:lnTo>
                  <a:lnTo>
                    <a:pt x="918" y="116"/>
                  </a:lnTo>
                  <a:lnTo>
                    <a:pt x="914" y="116"/>
                  </a:lnTo>
                  <a:lnTo>
                    <a:pt x="906" y="116"/>
                  </a:lnTo>
                  <a:lnTo>
                    <a:pt x="902" y="116"/>
                  </a:lnTo>
                  <a:lnTo>
                    <a:pt x="898" y="116"/>
                  </a:lnTo>
                  <a:lnTo>
                    <a:pt x="894" y="116"/>
                  </a:lnTo>
                  <a:lnTo>
                    <a:pt x="888" y="116"/>
                  </a:lnTo>
                  <a:lnTo>
                    <a:pt x="888" y="120"/>
                  </a:lnTo>
                  <a:lnTo>
                    <a:pt x="890" y="116"/>
                  </a:lnTo>
                  <a:lnTo>
                    <a:pt x="894" y="116"/>
                  </a:lnTo>
                  <a:lnTo>
                    <a:pt x="898" y="116"/>
                  </a:lnTo>
                  <a:lnTo>
                    <a:pt x="902" y="120"/>
                  </a:lnTo>
                  <a:lnTo>
                    <a:pt x="906" y="120"/>
                  </a:lnTo>
                  <a:lnTo>
                    <a:pt x="910" y="120"/>
                  </a:lnTo>
                  <a:lnTo>
                    <a:pt x="914" y="120"/>
                  </a:lnTo>
                  <a:lnTo>
                    <a:pt x="918" y="120"/>
                  </a:lnTo>
                  <a:lnTo>
                    <a:pt x="914" y="120"/>
                  </a:lnTo>
                  <a:lnTo>
                    <a:pt x="910" y="120"/>
                  </a:lnTo>
                  <a:lnTo>
                    <a:pt x="906" y="120"/>
                  </a:lnTo>
                  <a:lnTo>
                    <a:pt x="902" y="120"/>
                  </a:lnTo>
                  <a:lnTo>
                    <a:pt x="898" y="120"/>
                  </a:lnTo>
                  <a:lnTo>
                    <a:pt x="898" y="124"/>
                  </a:lnTo>
                  <a:lnTo>
                    <a:pt x="894" y="124"/>
                  </a:lnTo>
                  <a:lnTo>
                    <a:pt x="894" y="120"/>
                  </a:lnTo>
                  <a:lnTo>
                    <a:pt x="890" y="120"/>
                  </a:lnTo>
                  <a:lnTo>
                    <a:pt x="888" y="120"/>
                  </a:lnTo>
                  <a:lnTo>
                    <a:pt x="884" y="120"/>
                  </a:lnTo>
                  <a:lnTo>
                    <a:pt x="880" y="120"/>
                  </a:lnTo>
                  <a:lnTo>
                    <a:pt x="884" y="120"/>
                  </a:lnTo>
                  <a:lnTo>
                    <a:pt x="888" y="120"/>
                  </a:lnTo>
                  <a:lnTo>
                    <a:pt x="890" y="120"/>
                  </a:lnTo>
                  <a:lnTo>
                    <a:pt x="894" y="120"/>
                  </a:lnTo>
                  <a:lnTo>
                    <a:pt x="894" y="124"/>
                  </a:lnTo>
                  <a:lnTo>
                    <a:pt x="890" y="124"/>
                  </a:lnTo>
                  <a:lnTo>
                    <a:pt x="890" y="128"/>
                  </a:lnTo>
                  <a:lnTo>
                    <a:pt x="888" y="128"/>
                  </a:lnTo>
                  <a:lnTo>
                    <a:pt x="888" y="132"/>
                  </a:lnTo>
                  <a:lnTo>
                    <a:pt x="888" y="128"/>
                  </a:lnTo>
                  <a:lnTo>
                    <a:pt x="890" y="128"/>
                  </a:lnTo>
                  <a:lnTo>
                    <a:pt x="890" y="124"/>
                  </a:lnTo>
                  <a:lnTo>
                    <a:pt x="894" y="124"/>
                  </a:lnTo>
                  <a:lnTo>
                    <a:pt x="898" y="124"/>
                  </a:lnTo>
                  <a:lnTo>
                    <a:pt x="902" y="124"/>
                  </a:lnTo>
                  <a:lnTo>
                    <a:pt x="906" y="124"/>
                  </a:lnTo>
                  <a:lnTo>
                    <a:pt x="910" y="124"/>
                  </a:lnTo>
                  <a:lnTo>
                    <a:pt x="914" y="124"/>
                  </a:lnTo>
                  <a:lnTo>
                    <a:pt x="920" y="124"/>
                  </a:lnTo>
                  <a:lnTo>
                    <a:pt x="924" y="124"/>
                  </a:lnTo>
                  <a:lnTo>
                    <a:pt x="920" y="124"/>
                  </a:lnTo>
                  <a:lnTo>
                    <a:pt x="918" y="124"/>
                  </a:lnTo>
                  <a:lnTo>
                    <a:pt x="918" y="128"/>
                  </a:lnTo>
                  <a:lnTo>
                    <a:pt x="914" y="128"/>
                  </a:lnTo>
                  <a:lnTo>
                    <a:pt x="918" y="128"/>
                  </a:lnTo>
                  <a:lnTo>
                    <a:pt x="920" y="128"/>
                  </a:lnTo>
                  <a:lnTo>
                    <a:pt x="928" y="128"/>
                  </a:lnTo>
                  <a:lnTo>
                    <a:pt x="932" y="128"/>
                  </a:lnTo>
                  <a:lnTo>
                    <a:pt x="936" y="128"/>
                  </a:lnTo>
                  <a:lnTo>
                    <a:pt x="936" y="132"/>
                  </a:lnTo>
                  <a:lnTo>
                    <a:pt x="936" y="136"/>
                  </a:lnTo>
                  <a:lnTo>
                    <a:pt x="932" y="136"/>
                  </a:lnTo>
                  <a:lnTo>
                    <a:pt x="928" y="136"/>
                  </a:lnTo>
                  <a:lnTo>
                    <a:pt x="928" y="138"/>
                  </a:lnTo>
                  <a:lnTo>
                    <a:pt x="920" y="138"/>
                  </a:lnTo>
                  <a:lnTo>
                    <a:pt x="918" y="136"/>
                  </a:lnTo>
                  <a:lnTo>
                    <a:pt x="914" y="136"/>
                  </a:lnTo>
                  <a:lnTo>
                    <a:pt x="910" y="136"/>
                  </a:lnTo>
                  <a:lnTo>
                    <a:pt x="910" y="138"/>
                  </a:lnTo>
                  <a:lnTo>
                    <a:pt x="914" y="138"/>
                  </a:lnTo>
                  <a:lnTo>
                    <a:pt x="918" y="138"/>
                  </a:lnTo>
                  <a:lnTo>
                    <a:pt x="920" y="138"/>
                  </a:lnTo>
                  <a:lnTo>
                    <a:pt x="924" y="138"/>
                  </a:lnTo>
                  <a:lnTo>
                    <a:pt x="928" y="138"/>
                  </a:lnTo>
                  <a:lnTo>
                    <a:pt x="932" y="142"/>
                  </a:lnTo>
                  <a:lnTo>
                    <a:pt x="928" y="142"/>
                  </a:lnTo>
                  <a:lnTo>
                    <a:pt x="928" y="146"/>
                  </a:lnTo>
                  <a:lnTo>
                    <a:pt x="924" y="146"/>
                  </a:lnTo>
                  <a:lnTo>
                    <a:pt x="920" y="146"/>
                  </a:lnTo>
                  <a:lnTo>
                    <a:pt x="918" y="146"/>
                  </a:lnTo>
                  <a:lnTo>
                    <a:pt x="914" y="146"/>
                  </a:lnTo>
                  <a:lnTo>
                    <a:pt x="910" y="146"/>
                  </a:lnTo>
                  <a:lnTo>
                    <a:pt x="906" y="146"/>
                  </a:lnTo>
                  <a:lnTo>
                    <a:pt x="910" y="146"/>
                  </a:lnTo>
                  <a:lnTo>
                    <a:pt x="914" y="146"/>
                  </a:lnTo>
                  <a:lnTo>
                    <a:pt x="920" y="146"/>
                  </a:lnTo>
                  <a:lnTo>
                    <a:pt x="924" y="146"/>
                  </a:lnTo>
                  <a:lnTo>
                    <a:pt x="924" y="150"/>
                  </a:lnTo>
                  <a:lnTo>
                    <a:pt x="920" y="150"/>
                  </a:lnTo>
                  <a:lnTo>
                    <a:pt x="920" y="154"/>
                  </a:lnTo>
                  <a:lnTo>
                    <a:pt x="918" y="150"/>
                  </a:lnTo>
                  <a:lnTo>
                    <a:pt x="914" y="150"/>
                  </a:lnTo>
                  <a:lnTo>
                    <a:pt x="914" y="154"/>
                  </a:lnTo>
                  <a:lnTo>
                    <a:pt x="910" y="154"/>
                  </a:lnTo>
                  <a:lnTo>
                    <a:pt x="906" y="154"/>
                  </a:lnTo>
                  <a:lnTo>
                    <a:pt x="902" y="154"/>
                  </a:lnTo>
                  <a:lnTo>
                    <a:pt x="894" y="154"/>
                  </a:lnTo>
                  <a:lnTo>
                    <a:pt x="890" y="154"/>
                  </a:lnTo>
                  <a:lnTo>
                    <a:pt x="888" y="154"/>
                  </a:lnTo>
                  <a:lnTo>
                    <a:pt x="888" y="150"/>
                  </a:lnTo>
                  <a:lnTo>
                    <a:pt x="884" y="154"/>
                  </a:lnTo>
                  <a:lnTo>
                    <a:pt x="888" y="154"/>
                  </a:lnTo>
                  <a:lnTo>
                    <a:pt x="888" y="158"/>
                  </a:lnTo>
                  <a:lnTo>
                    <a:pt x="890" y="158"/>
                  </a:lnTo>
                  <a:lnTo>
                    <a:pt x="890" y="160"/>
                  </a:lnTo>
                  <a:lnTo>
                    <a:pt x="894" y="160"/>
                  </a:lnTo>
                  <a:lnTo>
                    <a:pt x="890" y="164"/>
                  </a:lnTo>
                  <a:lnTo>
                    <a:pt x="888" y="168"/>
                  </a:lnTo>
                  <a:lnTo>
                    <a:pt x="880" y="172"/>
                  </a:lnTo>
                  <a:lnTo>
                    <a:pt x="880" y="168"/>
                  </a:lnTo>
                  <a:lnTo>
                    <a:pt x="876" y="168"/>
                  </a:lnTo>
                  <a:lnTo>
                    <a:pt x="876" y="172"/>
                  </a:lnTo>
                  <a:lnTo>
                    <a:pt x="872" y="172"/>
                  </a:lnTo>
                  <a:lnTo>
                    <a:pt x="868" y="172"/>
                  </a:lnTo>
                  <a:lnTo>
                    <a:pt x="864" y="172"/>
                  </a:lnTo>
                  <a:lnTo>
                    <a:pt x="862" y="172"/>
                  </a:lnTo>
                  <a:lnTo>
                    <a:pt x="858" y="172"/>
                  </a:lnTo>
                  <a:lnTo>
                    <a:pt x="854" y="168"/>
                  </a:lnTo>
                  <a:lnTo>
                    <a:pt x="850" y="168"/>
                  </a:lnTo>
                  <a:lnTo>
                    <a:pt x="846" y="168"/>
                  </a:lnTo>
                  <a:lnTo>
                    <a:pt x="842" y="168"/>
                  </a:lnTo>
                  <a:lnTo>
                    <a:pt x="842" y="164"/>
                  </a:lnTo>
                  <a:lnTo>
                    <a:pt x="838" y="164"/>
                  </a:lnTo>
                  <a:lnTo>
                    <a:pt x="834" y="160"/>
                  </a:lnTo>
                  <a:lnTo>
                    <a:pt x="838" y="164"/>
                  </a:lnTo>
                  <a:lnTo>
                    <a:pt x="838" y="168"/>
                  </a:lnTo>
                  <a:lnTo>
                    <a:pt x="842" y="168"/>
                  </a:lnTo>
                  <a:lnTo>
                    <a:pt x="846" y="168"/>
                  </a:lnTo>
                  <a:lnTo>
                    <a:pt x="846" y="172"/>
                  </a:lnTo>
                  <a:lnTo>
                    <a:pt x="842" y="172"/>
                  </a:lnTo>
                  <a:lnTo>
                    <a:pt x="834" y="172"/>
                  </a:lnTo>
                  <a:lnTo>
                    <a:pt x="832" y="172"/>
                  </a:lnTo>
                  <a:lnTo>
                    <a:pt x="834" y="172"/>
                  </a:lnTo>
                  <a:lnTo>
                    <a:pt x="834" y="176"/>
                  </a:lnTo>
                  <a:lnTo>
                    <a:pt x="838" y="176"/>
                  </a:lnTo>
                  <a:lnTo>
                    <a:pt x="838" y="172"/>
                  </a:lnTo>
                  <a:lnTo>
                    <a:pt x="842" y="172"/>
                  </a:lnTo>
                  <a:lnTo>
                    <a:pt x="846" y="172"/>
                  </a:lnTo>
                  <a:lnTo>
                    <a:pt x="850" y="172"/>
                  </a:lnTo>
                  <a:lnTo>
                    <a:pt x="854" y="172"/>
                  </a:lnTo>
                  <a:lnTo>
                    <a:pt x="858" y="172"/>
                  </a:lnTo>
                  <a:lnTo>
                    <a:pt x="862" y="172"/>
                  </a:lnTo>
                  <a:lnTo>
                    <a:pt x="862" y="176"/>
                  </a:lnTo>
                  <a:lnTo>
                    <a:pt x="858" y="176"/>
                  </a:lnTo>
                  <a:lnTo>
                    <a:pt x="862" y="176"/>
                  </a:lnTo>
                  <a:lnTo>
                    <a:pt x="864" y="172"/>
                  </a:lnTo>
                  <a:lnTo>
                    <a:pt x="868" y="172"/>
                  </a:lnTo>
                  <a:lnTo>
                    <a:pt x="872" y="172"/>
                  </a:lnTo>
                  <a:lnTo>
                    <a:pt x="876" y="176"/>
                  </a:lnTo>
                  <a:lnTo>
                    <a:pt x="876" y="180"/>
                  </a:lnTo>
                  <a:lnTo>
                    <a:pt x="872" y="180"/>
                  </a:lnTo>
                  <a:lnTo>
                    <a:pt x="872" y="182"/>
                  </a:lnTo>
                  <a:lnTo>
                    <a:pt x="872" y="180"/>
                  </a:lnTo>
                  <a:lnTo>
                    <a:pt x="876" y="180"/>
                  </a:lnTo>
                  <a:lnTo>
                    <a:pt x="880" y="182"/>
                  </a:lnTo>
                  <a:lnTo>
                    <a:pt x="884" y="182"/>
                  </a:lnTo>
                  <a:lnTo>
                    <a:pt x="884" y="180"/>
                  </a:lnTo>
                  <a:lnTo>
                    <a:pt x="888" y="180"/>
                  </a:lnTo>
                  <a:lnTo>
                    <a:pt x="890" y="180"/>
                  </a:lnTo>
                  <a:lnTo>
                    <a:pt x="894" y="186"/>
                  </a:lnTo>
                  <a:lnTo>
                    <a:pt x="894" y="190"/>
                  </a:lnTo>
                  <a:lnTo>
                    <a:pt x="890" y="190"/>
                  </a:lnTo>
                  <a:lnTo>
                    <a:pt x="888" y="190"/>
                  </a:lnTo>
                  <a:lnTo>
                    <a:pt x="888" y="194"/>
                  </a:lnTo>
                  <a:lnTo>
                    <a:pt x="884" y="194"/>
                  </a:lnTo>
                  <a:lnTo>
                    <a:pt x="884" y="190"/>
                  </a:lnTo>
                  <a:lnTo>
                    <a:pt x="880" y="190"/>
                  </a:lnTo>
                  <a:lnTo>
                    <a:pt x="880" y="194"/>
                  </a:lnTo>
                  <a:lnTo>
                    <a:pt x="876" y="194"/>
                  </a:lnTo>
                  <a:lnTo>
                    <a:pt x="872" y="194"/>
                  </a:lnTo>
                  <a:lnTo>
                    <a:pt x="872" y="198"/>
                  </a:lnTo>
                  <a:lnTo>
                    <a:pt x="868" y="198"/>
                  </a:lnTo>
                  <a:lnTo>
                    <a:pt x="864" y="198"/>
                  </a:lnTo>
                  <a:lnTo>
                    <a:pt x="864" y="202"/>
                  </a:lnTo>
                  <a:lnTo>
                    <a:pt x="862" y="202"/>
                  </a:lnTo>
                  <a:lnTo>
                    <a:pt x="858" y="202"/>
                  </a:lnTo>
                  <a:lnTo>
                    <a:pt x="854" y="202"/>
                  </a:lnTo>
                  <a:lnTo>
                    <a:pt x="850" y="202"/>
                  </a:lnTo>
                  <a:lnTo>
                    <a:pt x="846" y="202"/>
                  </a:lnTo>
                  <a:lnTo>
                    <a:pt x="850" y="198"/>
                  </a:lnTo>
                  <a:lnTo>
                    <a:pt x="854" y="194"/>
                  </a:lnTo>
                  <a:lnTo>
                    <a:pt x="850" y="194"/>
                  </a:lnTo>
                  <a:lnTo>
                    <a:pt x="846" y="194"/>
                  </a:lnTo>
                  <a:lnTo>
                    <a:pt x="846" y="190"/>
                  </a:lnTo>
                  <a:lnTo>
                    <a:pt x="842" y="194"/>
                  </a:lnTo>
                  <a:lnTo>
                    <a:pt x="838" y="194"/>
                  </a:lnTo>
                  <a:lnTo>
                    <a:pt x="834" y="194"/>
                  </a:lnTo>
                  <a:lnTo>
                    <a:pt x="834" y="190"/>
                  </a:lnTo>
                  <a:lnTo>
                    <a:pt x="838" y="190"/>
                  </a:lnTo>
                  <a:lnTo>
                    <a:pt x="838" y="186"/>
                  </a:lnTo>
                  <a:lnTo>
                    <a:pt x="834" y="186"/>
                  </a:lnTo>
                  <a:lnTo>
                    <a:pt x="834" y="190"/>
                  </a:lnTo>
                  <a:lnTo>
                    <a:pt x="832" y="190"/>
                  </a:lnTo>
                  <a:lnTo>
                    <a:pt x="828" y="190"/>
                  </a:lnTo>
                  <a:lnTo>
                    <a:pt x="828" y="186"/>
                  </a:lnTo>
                  <a:lnTo>
                    <a:pt x="824" y="182"/>
                  </a:lnTo>
                  <a:lnTo>
                    <a:pt x="824" y="186"/>
                  </a:lnTo>
                  <a:lnTo>
                    <a:pt x="828" y="186"/>
                  </a:lnTo>
                  <a:lnTo>
                    <a:pt x="828" y="190"/>
                  </a:lnTo>
                  <a:lnTo>
                    <a:pt x="832" y="190"/>
                  </a:lnTo>
                  <a:lnTo>
                    <a:pt x="832" y="194"/>
                  </a:lnTo>
                  <a:lnTo>
                    <a:pt x="828" y="194"/>
                  </a:lnTo>
                  <a:lnTo>
                    <a:pt x="824" y="198"/>
                  </a:lnTo>
                  <a:lnTo>
                    <a:pt x="824" y="194"/>
                  </a:lnTo>
                  <a:lnTo>
                    <a:pt x="820" y="194"/>
                  </a:lnTo>
                  <a:lnTo>
                    <a:pt x="820" y="190"/>
                  </a:lnTo>
                  <a:lnTo>
                    <a:pt x="816" y="190"/>
                  </a:lnTo>
                  <a:lnTo>
                    <a:pt x="816" y="186"/>
                  </a:lnTo>
                  <a:lnTo>
                    <a:pt x="812" y="186"/>
                  </a:lnTo>
                  <a:lnTo>
                    <a:pt x="816" y="190"/>
                  </a:lnTo>
                  <a:lnTo>
                    <a:pt x="816" y="194"/>
                  </a:lnTo>
                  <a:lnTo>
                    <a:pt x="812" y="194"/>
                  </a:lnTo>
                  <a:lnTo>
                    <a:pt x="808" y="194"/>
                  </a:lnTo>
                  <a:lnTo>
                    <a:pt x="806" y="194"/>
                  </a:lnTo>
                  <a:lnTo>
                    <a:pt x="806" y="190"/>
                  </a:lnTo>
                  <a:lnTo>
                    <a:pt x="802" y="190"/>
                  </a:lnTo>
                  <a:lnTo>
                    <a:pt x="802" y="194"/>
                  </a:lnTo>
                  <a:lnTo>
                    <a:pt x="806" y="194"/>
                  </a:lnTo>
                  <a:lnTo>
                    <a:pt x="802" y="194"/>
                  </a:lnTo>
                  <a:lnTo>
                    <a:pt x="798" y="194"/>
                  </a:lnTo>
                  <a:lnTo>
                    <a:pt x="794" y="194"/>
                  </a:lnTo>
                  <a:lnTo>
                    <a:pt x="794" y="190"/>
                  </a:lnTo>
                  <a:lnTo>
                    <a:pt x="790" y="190"/>
                  </a:lnTo>
                  <a:lnTo>
                    <a:pt x="790" y="194"/>
                  </a:lnTo>
                  <a:lnTo>
                    <a:pt x="794" y="194"/>
                  </a:lnTo>
                  <a:lnTo>
                    <a:pt x="802" y="198"/>
                  </a:lnTo>
                  <a:lnTo>
                    <a:pt x="798" y="198"/>
                  </a:lnTo>
                  <a:lnTo>
                    <a:pt x="794" y="198"/>
                  </a:lnTo>
                  <a:lnTo>
                    <a:pt x="790" y="198"/>
                  </a:lnTo>
                  <a:lnTo>
                    <a:pt x="786" y="198"/>
                  </a:lnTo>
                  <a:lnTo>
                    <a:pt x="782" y="198"/>
                  </a:lnTo>
                  <a:lnTo>
                    <a:pt x="778" y="198"/>
                  </a:lnTo>
                  <a:lnTo>
                    <a:pt x="776" y="198"/>
                  </a:lnTo>
                  <a:lnTo>
                    <a:pt x="772" y="198"/>
                  </a:lnTo>
                  <a:lnTo>
                    <a:pt x="772" y="194"/>
                  </a:lnTo>
                  <a:lnTo>
                    <a:pt x="776" y="194"/>
                  </a:lnTo>
                  <a:lnTo>
                    <a:pt x="772" y="190"/>
                  </a:lnTo>
                  <a:lnTo>
                    <a:pt x="768" y="190"/>
                  </a:lnTo>
                  <a:lnTo>
                    <a:pt x="772" y="190"/>
                  </a:lnTo>
                  <a:lnTo>
                    <a:pt x="772" y="194"/>
                  </a:lnTo>
                  <a:lnTo>
                    <a:pt x="768" y="194"/>
                  </a:lnTo>
                  <a:lnTo>
                    <a:pt x="768" y="198"/>
                  </a:lnTo>
                  <a:lnTo>
                    <a:pt x="764" y="198"/>
                  </a:lnTo>
                  <a:lnTo>
                    <a:pt x="760" y="194"/>
                  </a:lnTo>
                  <a:lnTo>
                    <a:pt x="756" y="194"/>
                  </a:lnTo>
                  <a:lnTo>
                    <a:pt x="756" y="190"/>
                  </a:lnTo>
                  <a:lnTo>
                    <a:pt x="756" y="194"/>
                  </a:lnTo>
                  <a:lnTo>
                    <a:pt x="756" y="198"/>
                  </a:lnTo>
                  <a:lnTo>
                    <a:pt x="752" y="198"/>
                  </a:lnTo>
                  <a:lnTo>
                    <a:pt x="752" y="194"/>
                  </a:lnTo>
                  <a:lnTo>
                    <a:pt x="752" y="198"/>
                  </a:lnTo>
                  <a:lnTo>
                    <a:pt x="748" y="198"/>
                  </a:lnTo>
                  <a:lnTo>
                    <a:pt x="746" y="198"/>
                  </a:lnTo>
                  <a:lnTo>
                    <a:pt x="742" y="194"/>
                  </a:lnTo>
                  <a:lnTo>
                    <a:pt x="746" y="194"/>
                  </a:lnTo>
                  <a:lnTo>
                    <a:pt x="742" y="190"/>
                  </a:lnTo>
                  <a:lnTo>
                    <a:pt x="742" y="186"/>
                  </a:lnTo>
                  <a:lnTo>
                    <a:pt x="742" y="182"/>
                  </a:lnTo>
                  <a:lnTo>
                    <a:pt x="738" y="186"/>
                  </a:lnTo>
                  <a:lnTo>
                    <a:pt x="742" y="186"/>
                  </a:lnTo>
                  <a:lnTo>
                    <a:pt x="742" y="190"/>
                  </a:lnTo>
                  <a:lnTo>
                    <a:pt x="742" y="194"/>
                  </a:lnTo>
                  <a:lnTo>
                    <a:pt x="738" y="194"/>
                  </a:lnTo>
                  <a:lnTo>
                    <a:pt x="742" y="194"/>
                  </a:lnTo>
                  <a:lnTo>
                    <a:pt x="742" y="190"/>
                  </a:lnTo>
                  <a:lnTo>
                    <a:pt x="738" y="190"/>
                  </a:lnTo>
                  <a:lnTo>
                    <a:pt x="738" y="194"/>
                  </a:lnTo>
                  <a:lnTo>
                    <a:pt x="734" y="194"/>
                  </a:lnTo>
                  <a:lnTo>
                    <a:pt x="732" y="194"/>
                  </a:lnTo>
                  <a:lnTo>
                    <a:pt x="728" y="190"/>
                  </a:lnTo>
                  <a:lnTo>
                    <a:pt x="732" y="186"/>
                  </a:lnTo>
                  <a:lnTo>
                    <a:pt x="728" y="186"/>
                  </a:lnTo>
                  <a:lnTo>
                    <a:pt x="728" y="182"/>
                  </a:lnTo>
                  <a:lnTo>
                    <a:pt x="732" y="182"/>
                  </a:lnTo>
                  <a:lnTo>
                    <a:pt x="734" y="182"/>
                  </a:lnTo>
                  <a:lnTo>
                    <a:pt x="734" y="180"/>
                  </a:lnTo>
                  <a:lnTo>
                    <a:pt x="738" y="180"/>
                  </a:lnTo>
                  <a:lnTo>
                    <a:pt x="742" y="176"/>
                  </a:lnTo>
                  <a:lnTo>
                    <a:pt x="746" y="176"/>
                  </a:lnTo>
                  <a:lnTo>
                    <a:pt x="748" y="176"/>
                  </a:lnTo>
                  <a:lnTo>
                    <a:pt x="752" y="176"/>
                  </a:lnTo>
                  <a:lnTo>
                    <a:pt x="756" y="176"/>
                  </a:lnTo>
                  <a:lnTo>
                    <a:pt x="760" y="176"/>
                  </a:lnTo>
                  <a:lnTo>
                    <a:pt x="756" y="176"/>
                  </a:lnTo>
                  <a:lnTo>
                    <a:pt x="760" y="176"/>
                  </a:lnTo>
                  <a:lnTo>
                    <a:pt x="764" y="176"/>
                  </a:lnTo>
                  <a:lnTo>
                    <a:pt x="768" y="176"/>
                  </a:lnTo>
                  <a:lnTo>
                    <a:pt x="764" y="172"/>
                  </a:lnTo>
                  <a:lnTo>
                    <a:pt x="760" y="172"/>
                  </a:lnTo>
                  <a:lnTo>
                    <a:pt x="764" y="172"/>
                  </a:lnTo>
                  <a:lnTo>
                    <a:pt x="760" y="172"/>
                  </a:lnTo>
                  <a:lnTo>
                    <a:pt x="760" y="168"/>
                  </a:lnTo>
                  <a:lnTo>
                    <a:pt x="764" y="168"/>
                  </a:lnTo>
                  <a:lnTo>
                    <a:pt x="760" y="168"/>
                  </a:lnTo>
                  <a:lnTo>
                    <a:pt x="756" y="168"/>
                  </a:lnTo>
                  <a:lnTo>
                    <a:pt x="752" y="168"/>
                  </a:lnTo>
                  <a:lnTo>
                    <a:pt x="752" y="164"/>
                  </a:lnTo>
                  <a:lnTo>
                    <a:pt x="748" y="160"/>
                  </a:lnTo>
                  <a:lnTo>
                    <a:pt x="746" y="160"/>
                  </a:lnTo>
                  <a:lnTo>
                    <a:pt x="746" y="158"/>
                  </a:lnTo>
                  <a:lnTo>
                    <a:pt x="748" y="158"/>
                  </a:lnTo>
                  <a:lnTo>
                    <a:pt x="752" y="158"/>
                  </a:lnTo>
                  <a:lnTo>
                    <a:pt x="752" y="154"/>
                  </a:lnTo>
                  <a:lnTo>
                    <a:pt x="760" y="154"/>
                  </a:lnTo>
                  <a:lnTo>
                    <a:pt x="764" y="154"/>
                  </a:lnTo>
                  <a:lnTo>
                    <a:pt x="768" y="154"/>
                  </a:lnTo>
                  <a:lnTo>
                    <a:pt x="772" y="158"/>
                  </a:lnTo>
                  <a:lnTo>
                    <a:pt x="776" y="158"/>
                  </a:lnTo>
                  <a:lnTo>
                    <a:pt x="778" y="160"/>
                  </a:lnTo>
                  <a:lnTo>
                    <a:pt x="782" y="164"/>
                  </a:lnTo>
                  <a:lnTo>
                    <a:pt x="782" y="168"/>
                  </a:lnTo>
                  <a:lnTo>
                    <a:pt x="778" y="168"/>
                  </a:lnTo>
                  <a:lnTo>
                    <a:pt x="782" y="168"/>
                  </a:lnTo>
                  <a:lnTo>
                    <a:pt x="782" y="164"/>
                  </a:lnTo>
                  <a:lnTo>
                    <a:pt x="786" y="168"/>
                  </a:lnTo>
                  <a:lnTo>
                    <a:pt x="790" y="168"/>
                  </a:lnTo>
                  <a:lnTo>
                    <a:pt x="794" y="168"/>
                  </a:lnTo>
                  <a:lnTo>
                    <a:pt x="794" y="172"/>
                  </a:lnTo>
                  <a:lnTo>
                    <a:pt x="798" y="172"/>
                  </a:lnTo>
                  <a:lnTo>
                    <a:pt x="798" y="168"/>
                  </a:lnTo>
                  <a:lnTo>
                    <a:pt x="802" y="168"/>
                  </a:lnTo>
                  <a:lnTo>
                    <a:pt x="806" y="168"/>
                  </a:lnTo>
                  <a:lnTo>
                    <a:pt x="808" y="168"/>
                  </a:lnTo>
                  <a:lnTo>
                    <a:pt x="812" y="168"/>
                  </a:lnTo>
                  <a:lnTo>
                    <a:pt x="808" y="168"/>
                  </a:lnTo>
                  <a:lnTo>
                    <a:pt x="808" y="164"/>
                  </a:lnTo>
                  <a:lnTo>
                    <a:pt x="812" y="164"/>
                  </a:lnTo>
                  <a:lnTo>
                    <a:pt x="816" y="164"/>
                  </a:lnTo>
                  <a:lnTo>
                    <a:pt x="820" y="160"/>
                  </a:lnTo>
                  <a:lnTo>
                    <a:pt x="824" y="158"/>
                  </a:lnTo>
                  <a:lnTo>
                    <a:pt x="828" y="154"/>
                  </a:lnTo>
                  <a:lnTo>
                    <a:pt x="828" y="150"/>
                  </a:lnTo>
                  <a:lnTo>
                    <a:pt x="832" y="150"/>
                  </a:lnTo>
                  <a:lnTo>
                    <a:pt x="828" y="150"/>
                  </a:lnTo>
                  <a:lnTo>
                    <a:pt x="824" y="150"/>
                  </a:lnTo>
                  <a:lnTo>
                    <a:pt x="824" y="154"/>
                  </a:lnTo>
                  <a:lnTo>
                    <a:pt x="820" y="154"/>
                  </a:lnTo>
                  <a:lnTo>
                    <a:pt x="820" y="158"/>
                  </a:lnTo>
                  <a:lnTo>
                    <a:pt x="816" y="158"/>
                  </a:lnTo>
                  <a:lnTo>
                    <a:pt x="816" y="160"/>
                  </a:lnTo>
                  <a:lnTo>
                    <a:pt x="812" y="160"/>
                  </a:lnTo>
                  <a:lnTo>
                    <a:pt x="812" y="164"/>
                  </a:lnTo>
                  <a:lnTo>
                    <a:pt x="808" y="164"/>
                  </a:lnTo>
                  <a:lnTo>
                    <a:pt x="806" y="164"/>
                  </a:lnTo>
                  <a:lnTo>
                    <a:pt x="802" y="164"/>
                  </a:lnTo>
                  <a:lnTo>
                    <a:pt x="798" y="164"/>
                  </a:lnTo>
                  <a:lnTo>
                    <a:pt x="794" y="164"/>
                  </a:lnTo>
                  <a:lnTo>
                    <a:pt x="794" y="160"/>
                  </a:lnTo>
                  <a:lnTo>
                    <a:pt x="798" y="160"/>
                  </a:lnTo>
                  <a:lnTo>
                    <a:pt x="802" y="160"/>
                  </a:lnTo>
                  <a:lnTo>
                    <a:pt x="798" y="158"/>
                  </a:lnTo>
                  <a:lnTo>
                    <a:pt x="798" y="160"/>
                  </a:lnTo>
                  <a:lnTo>
                    <a:pt x="794" y="160"/>
                  </a:lnTo>
                  <a:lnTo>
                    <a:pt x="790" y="160"/>
                  </a:lnTo>
                  <a:lnTo>
                    <a:pt x="786" y="160"/>
                  </a:lnTo>
                  <a:lnTo>
                    <a:pt x="786" y="158"/>
                  </a:lnTo>
                  <a:lnTo>
                    <a:pt x="790" y="158"/>
                  </a:lnTo>
                  <a:lnTo>
                    <a:pt x="786" y="158"/>
                  </a:lnTo>
                  <a:lnTo>
                    <a:pt x="786" y="154"/>
                  </a:lnTo>
                  <a:lnTo>
                    <a:pt x="790" y="154"/>
                  </a:lnTo>
                  <a:lnTo>
                    <a:pt x="794" y="154"/>
                  </a:lnTo>
                  <a:lnTo>
                    <a:pt x="798" y="154"/>
                  </a:lnTo>
                  <a:lnTo>
                    <a:pt x="802" y="154"/>
                  </a:lnTo>
                  <a:lnTo>
                    <a:pt x="798" y="154"/>
                  </a:lnTo>
                  <a:lnTo>
                    <a:pt x="794" y="154"/>
                  </a:lnTo>
                  <a:lnTo>
                    <a:pt x="790" y="154"/>
                  </a:lnTo>
                  <a:lnTo>
                    <a:pt x="786" y="154"/>
                  </a:lnTo>
                  <a:lnTo>
                    <a:pt x="782" y="154"/>
                  </a:lnTo>
                  <a:lnTo>
                    <a:pt x="786" y="150"/>
                  </a:lnTo>
                  <a:lnTo>
                    <a:pt x="790" y="150"/>
                  </a:lnTo>
                  <a:lnTo>
                    <a:pt x="794" y="150"/>
                  </a:lnTo>
                  <a:lnTo>
                    <a:pt x="798" y="150"/>
                  </a:lnTo>
                  <a:lnTo>
                    <a:pt x="802" y="150"/>
                  </a:lnTo>
                  <a:lnTo>
                    <a:pt x="798" y="150"/>
                  </a:lnTo>
                  <a:lnTo>
                    <a:pt x="794" y="150"/>
                  </a:lnTo>
                  <a:lnTo>
                    <a:pt x="790" y="150"/>
                  </a:lnTo>
                  <a:lnTo>
                    <a:pt x="790" y="146"/>
                  </a:lnTo>
                  <a:lnTo>
                    <a:pt x="794" y="146"/>
                  </a:lnTo>
                  <a:lnTo>
                    <a:pt x="798" y="146"/>
                  </a:lnTo>
                  <a:lnTo>
                    <a:pt x="802" y="146"/>
                  </a:lnTo>
                  <a:lnTo>
                    <a:pt x="806" y="146"/>
                  </a:lnTo>
                  <a:lnTo>
                    <a:pt x="802" y="146"/>
                  </a:lnTo>
                  <a:lnTo>
                    <a:pt x="798" y="146"/>
                  </a:lnTo>
                  <a:lnTo>
                    <a:pt x="794" y="146"/>
                  </a:lnTo>
                  <a:lnTo>
                    <a:pt x="794" y="142"/>
                  </a:lnTo>
                  <a:lnTo>
                    <a:pt x="798" y="142"/>
                  </a:lnTo>
                  <a:lnTo>
                    <a:pt x="794" y="142"/>
                  </a:lnTo>
                  <a:lnTo>
                    <a:pt x="794" y="138"/>
                  </a:lnTo>
                  <a:lnTo>
                    <a:pt x="794" y="136"/>
                  </a:lnTo>
                  <a:lnTo>
                    <a:pt x="798" y="136"/>
                  </a:lnTo>
                  <a:lnTo>
                    <a:pt x="794" y="138"/>
                  </a:lnTo>
                  <a:lnTo>
                    <a:pt x="794" y="142"/>
                  </a:lnTo>
                  <a:lnTo>
                    <a:pt x="790" y="142"/>
                  </a:lnTo>
                  <a:lnTo>
                    <a:pt x="790" y="146"/>
                  </a:lnTo>
                  <a:lnTo>
                    <a:pt x="786" y="150"/>
                  </a:lnTo>
                  <a:lnTo>
                    <a:pt x="782" y="150"/>
                  </a:lnTo>
                  <a:lnTo>
                    <a:pt x="778" y="150"/>
                  </a:lnTo>
                  <a:lnTo>
                    <a:pt x="776" y="150"/>
                  </a:lnTo>
                  <a:lnTo>
                    <a:pt x="776" y="146"/>
                  </a:lnTo>
                  <a:lnTo>
                    <a:pt x="778" y="146"/>
                  </a:lnTo>
                  <a:lnTo>
                    <a:pt x="778" y="142"/>
                  </a:lnTo>
                  <a:lnTo>
                    <a:pt x="776" y="142"/>
                  </a:lnTo>
                  <a:lnTo>
                    <a:pt x="776" y="146"/>
                  </a:lnTo>
                  <a:lnTo>
                    <a:pt x="772" y="146"/>
                  </a:lnTo>
                  <a:lnTo>
                    <a:pt x="768" y="146"/>
                  </a:lnTo>
                  <a:lnTo>
                    <a:pt x="768" y="150"/>
                  </a:lnTo>
                  <a:lnTo>
                    <a:pt x="764" y="150"/>
                  </a:lnTo>
                  <a:lnTo>
                    <a:pt x="760" y="150"/>
                  </a:lnTo>
                  <a:lnTo>
                    <a:pt x="756" y="150"/>
                  </a:lnTo>
                  <a:lnTo>
                    <a:pt x="756" y="146"/>
                  </a:lnTo>
                  <a:lnTo>
                    <a:pt x="760" y="146"/>
                  </a:lnTo>
                  <a:lnTo>
                    <a:pt x="756" y="146"/>
                  </a:lnTo>
                  <a:lnTo>
                    <a:pt x="756" y="142"/>
                  </a:lnTo>
                  <a:lnTo>
                    <a:pt x="756" y="138"/>
                  </a:lnTo>
                  <a:lnTo>
                    <a:pt x="760" y="138"/>
                  </a:lnTo>
                  <a:lnTo>
                    <a:pt x="760" y="136"/>
                  </a:lnTo>
                  <a:lnTo>
                    <a:pt x="764" y="136"/>
                  </a:lnTo>
                  <a:lnTo>
                    <a:pt x="760" y="136"/>
                  </a:lnTo>
                  <a:lnTo>
                    <a:pt x="764" y="132"/>
                  </a:lnTo>
                  <a:lnTo>
                    <a:pt x="768" y="128"/>
                  </a:lnTo>
                  <a:lnTo>
                    <a:pt x="772" y="128"/>
                  </a:lnTo>
                  <a:lnTo>
                    <a:pt x="776" y="128"/>
                  </a:lnTo>
                  <a:lnTo>
                    <a:pt x="778" y="128"/>
                  </a:lnTo>
                  <a:lnTo>
                    <a:pt x="782" y="128"/>
                  </a:lnTo>
                  <a:lnTo>
                    <a:pt x="786" y="128"/>
                  </a:lnTo>
                  <a:lnTo>
                    <a:pt x="786" y="124"/>
                  </a:lnTo>
                  <a:lnTo>
                    <a:pt x="790" y="124"/>
                  </a:lnTo>
                  <a:lnTo>
                    <a:pt x="794" y="128"/>
                  </a:lnTo>
                  <a:lnTo>
                    <a:pt x="798" y="128"/>
                  </a:lnTo>
                  <a:lnTo>
                    <a:pt x="802" y="128"/>
                  </a:lnTo>
                  <a:lnTo>
                    <a:pt x="806" y="128"/>
                  </a:lnTo>
                  <a:lnTo>
                    <a:pt x="808" y="128"/>
                  </a:lnTo>
                  <a:lnTo>
                    <a:pt x="812" y="128"/>
                  </a:lnTo>
                  <a:lnTo>
                    <a:pt x="816" y="128"/>
                  </a:lnTo>
                  <a:lnTo>
                    <a:pt x="816" y="132"/>
                  </a:lnTo>
                  <a:lnTo>
                    <a:pt x="820" y="132"/>
                  </a:lnTo>
                  <a:lnTo>
                    <a:pt x="824" y="132"/>
                  </a:lnTo>
                  <a:lnTo>
                    <a:pt x="828" y="136"/>
                  </a:lnTo>
                  <a:lnTo>
                    <a:pt x="832" y="136"/>
                  </a:lnTo>
                  <a:lnTo>
                    <a:pt x="828" y="136"/>
                  </a:lnTo>
                  <a:lnTo>
                    <a:pt x="828" y="132"/>
                  </a:lnTo>
                  <a:lnTo>
                    <a:pt x="832" y="132"/>
                  </a:lnTo>
                  <a:lnTo>
                    <a:pt x="828" y="132"/>
                  </a:lnTo>
                  <a:lnTo>
                    <a:pt x="824" y="132"/>
                  </a:lnTo>
                  <a:lnTo>
                    <a:pt x="820" y="132"/>
                  </a:lnTo>
                  <a:lnTo>
                    <a:pt x="820" y="128"/>
                  </a:lnTo>
                  <a:lnTo>
                    <a:pt x="816" y="128"/>
                  </a:lnTo>
                  <a:lnTo>
                    <a:pt x="820" y="128"/>
                  </a:lnTo>
                  <a:lnTo>
                    <a:pt x="824" y="128"/>
                  </a:lnTo>
                  <a:lnTo>
                    <a:pt x="828" y="128"/>
                  </a:lnTo>
                  <a:lnTo>
                    <a:pt x="832" y="128"/>
                  </a:lnTo>
                  <a:lnTo>
                    <a:pt x="834" y="128"/>
                  </a:lnTo>
                  <a:lnTo>
                    <a:pt x="838" y="128"/>
                  </a:lnTo>
                  <a:lnTo>
                    <a:pt x="834" y="128"/>
                  </a:lnTo>
                  <a:lnTo>
                    <a:pt x="838" y="128"/>
                  </a:lnTo>
                  <a:lnTo>
                    <a:pt x="838" y="124"/>
                  </a:lnTo>
                  <a:lnTo>
                    <a:pt x="842" y="124"/>
                  </a:lnTo>
                  <a:lnTo>
                    <a:pt x="842" y="120"/>
                  </a:lnTo>
                  <a:lnTo>
                    <a:pt x="838" y="120"/>
                  </a:lnTo>
                  <a:lnTo>
                    <a:pt x="834" y="124"/>
                  </a:lnTo>
                  <a:lnTo>
                    <a:pt x="832" y="124"/>
                  </a:lnTo>
                  <a:lnTo>
                    <a:pt x="832" y="128"/>
                  </a:lnTo>
                  <a:lnTo>
                    <a:pt x="828" y="128"/>
                  </a:lnTo>
                  <a:lnTo>
                    <a:pt x="824" y="128"/>
                  </a:lnTo>
                  <a:lnTo>
                    <a:pt x="824" y="124"/>
                  </a:lnTo>
                  <a:lnTo>
                    <a:pt x="820" y="124"/>
                  </a:lnTo>
                  <a:lnTo>
                    <a:pt x="816" y="124"/>
                  </a:lnTo>
                  <a:lnTo>
                    <a:pt x="812" y="124"/>
                  </a:lnTo>
                  <a:lnTo>
                    <a:pt x="808" y="124"/>
                  </a:lnTo>
                  <a:lnTo>
                    <a:pt x="806" y="124"/>
                  </a:lnTo>
                  <a:lnTo>
                    <a:pt x="802" y="124"/>
                  </a:lnTo>
                  <a:lnTo>
                    <a:pt x="798" y="124"/>
                  </a:lnTo>
                  <a:lnTo>
                    <a:pt x="794" y="124"/>
                  </a:lnTo>
                  <a:lnTo>
                    <a:pt x="794" y="120"/>
                  </a:lnTo>
                  <a:lnTo>
                    <a:pt x="798" y="120"/>
                  </a:lnTo>
                  <a:lnTo>
                    <a:pt x="806" y="120"/>
                  </a:lnTo>
                  <a:lnTo>
                    <a:pt x="808" y="120"/>
                  </a:lnTo>
                  <a:lnTo>
                    <a:pt x="808" y="124"/>
                  </a:lnTo>
                  <a:lnTo>
                    <a:pt x="812" y="124"/>
                  </a:lnTo>
                  <a:lnTo>
                    <a:pt x="816" y="120"/>
                  </a:lnTo>
                  <a:lnTo>
                    <a:pt x="812" y="120"/>
                  </a:lnTo>
                  <a:lnTo>
                    <a:pt x="808" y="120"/>
                  </a:lnTo>
                  <a:lnTo>
                    <a:pt x="806" y="120"/>
                  </a:lnTo>
                  <a:lnTo>
                    <a:pt x="806" y="116"/>
                  </a:lnTo>
                  <a:lnTo>
                    <a:pt x="802" y="116"/>
                  </a:lnTo>
                  <a:lnTo>
                    <a:pt x="802" y="112"/>
                  </a:lnTo>
                  <a:lnTo>
                    <a:pt x="798" y="112"/>
                  </a:lnTo>
                  <a:lnTo>
                    <a:pt x="798" y="108"/>
                  </a:lnTo>
                  <a:lnTo>
                    <a:pt x="794" y="108"/>
                  </a:lnTo>
                  <a:lnTo>
                    <a:pt x="790" y="106"/>
                  </a:lnTo>
                  <a:lnTo>
                    <a:pt x="786" y="106"/>
                  </a:lnTo>
                  <a:lnTo>
                    <a:pt x="786" y="102"/>
                  </a:lnTo>
                  <a:lnTo>
                    <a:pt x="782" y="102"/>
                  </a:lnTo>
                  <a:lnTo>
                    <a:pt x="778" y="102"/>
                  </a:lnTo>
                  <a:lnTo>
                    <a:pt x="776" y="102"/>
                  </a:lnTo>
                  <a:lnTo>
                    <a:pt x="772" y="102"/>
                  </a:lnTo>
                  <a:lnTo>
                    <a:pt x="772" y="98"/>
                  </a:lnTo>
                  <a:lnTo>
                    <a:pt x="772" y="94"/>
                  </a:lnTo>
                  <a:lnTo>
                    <a:pt x="776" y="94"/>
                  </a:lnTo>
                  <a:lnTo>
                    <a:pt x="778" y="94"/>
                  </a:lnTo>
                  <a:lnTo>
                    <a:pt x="778" y="98"/>
                  </a:lnTo>
                  <a:lnTo>
                    <a:pt x="782" y="98"/>
                  </a:lnTo>
                  <a:lnTo>
                    <a:pt x="786" y="98"/>
                  </a:lnTo>
                  <a:lnTo>
                    <a:pt x="782" y="94"/>
                  </a:lnTo>
                  <a:lnTo>
                    <a:pt x="776" y="94"/>
                  </a:lnTo>
                  <a:lnTo>
                    <a:pt x="772" y="94"/>
                  </a:lnTo>
                  <a:lnTo>
                    <a:pt x="768" y="94"/>
                  </a:lnTo>
                  <a:lnTo>
                    <a:pt x="768" y="90"/>
                  </a:lnTo>
                  <a:lnTo>
                    <a:pt x="772" y="86"/>
                  </a:lnTo>
                  <a:lnTo>
                    <a:pt x="776" y="82"/>
                  </a:lnTo>
                  <a:lnTo>
                    <a:pt x="778" y="82"/>
                  </a:lnTo>
                  <a:lnTo>
                    <a:pt x="782" y="86"/>
                  </a:lnTo>
                  <a:lnTo>
                    <a:pt x="786" y="86"/>
                  </a:lnTo>
                  <a:lnTo>
                    <a:pt x="790" y="86"/>
                  </a:lnTo>
                  <a:lnTo>
                    <a:pt x="794" y="86"/>
                  </a:lnTo>
                  <a:lnTo>
                    <a:pt x="798" y="86"/>
                  </a:lnTo>
                  <a:lnTo>
                    <a:pt x="802" y="86"/>
                  </a:lnTo>
                  <a:lnTo>
                    <a:pt x="806" y="86"/>
                  </a:lnTo>
                  <a:lnTo>
                    <a:pt x="808" y="86"/>
                  </a:lnTo>
                  <a:lnTo>
                    <a:pt x="812" y="86"/>
                  </a:lnTo>
                  <a:lnTo>
                    <a:pt x="812" y="90"/>
                  </a:lnTo>
                  <a:lnTo>
                    <a:pt x="816" y="90"/>
                  </a:lnTo>
                  <a:lnTo>
                    <a:pt x="820" y="90"/>
                  </a:lnTo>
                  <a:lnTo>
                    <a:pt x="820" y="94"/>
                  </a:lnTo>
                  <a:lnTo>
                    <a:pt x="824" y="94"/>
                  </a:lnTo>
                  <a:lnTo>
                    <a:pt x="828" y="94"/>
                  </a:lnTo>
                  <a:lnTo>
                    <a:pt x="832" y="98"/>
                  </a:lnTo>
                  <a:lnTo>
                    <a:pt x="834" y="98"/>
                  </a:lnTo>
                  <a:lnTo>
                    <a:pt x="834" y="102"/>
                  </a:lnTo>
                  <a:lnTo>
                    <a:pt x="838" y="102"/>
                  </a:lnTo>
                  <a:lnTo>
                    <a:pt x="838" y="106"/>
                  </a:lnTo>
                  <a:lnTo>
                    <a:pt x="842" y="106"/>
                  </a:lnTo>
                  <a:lnTo>
                    <a:pt x="846" y="106"/>
                  </a:lnTo>
                  <a:lnTo>
                    <a:pt x="850" y="106"/>
                  </a:lnTo>
                  <a:lnTo>
                    <a:pt x="854" y="106"/>
                  </a:lnTo>
                  <a:lnTo>
                    <a:pt x="858" y="106"/>
                  </a:lnTo>
                  <a:lnTo>
                    <a:pt x="862" y="106"/>
                  </a:lnTo>
                  <a:lnTo>
                    <a:pt x="864" y="106"/>
                  </a:lnTo>
                  <a:lnTo>
                    <a:pt x="864" y="102"/>
                  </a:lnTo>
                  <a:lnTo>
                    <a:pt x="862" y="102"/>
                  </a:lnTo>
                  <a:lnTo>
                    <a:pt x="858" y="102"/>
                  </a:lnTo>
                  <a:lnTo>
                    <a:pt x="858" y="106"/>
                  </a:lnTo>
                  <a:lnTo>
                    <a:pt x="854" y="106"/>
                  </a:lnTo>
                  <a:lnTo>
                    <a:pt x="850" y="106"/>
                  </a:lnTo>
                  <a:lnTo>
                    <a:pt x="846" y="102"/>
                  </a:lnTo>
                  <a:lnTo>
                    <a:pt x="842" y="102"/>
                  </a:lnTo>
                  <a:lnTo>
                    <a:pt x="838" y="98"/>
                  </a:lnTo>
                  <a:lnTo>
                    <a:pt x="842" y="98"/>
                  </a:lnTo>
                  <a:lnTo>
                    <a:pt x="842" y="94"/>
                  </a:lnTo>
                  <a:lnTo>
                    <a:pt x="838" y="94"/>
                  </a:lnTo>
                  <a:lnTo>
                    <a:pt x="834" y="94"/>
                  </a:lnTo>
                  <a:lnTo>
                    <a:pt x="832" y="94"/>
                  </a:lnTo>
                  <a:lnTo>
                    <a:pt x="828" y="94"/>
                  </a:lnTo>
                  <a:lnTo>
                    <a:pt x="824" y="90"/>
                  </a:lnTo>
                  <a:lnTo>
                    <a:pt x="820" y="86"/>
                  </a:lnTo>
                  <a:lnTo>
                    <a:pt x="816" y="86"/>
                  </a:lnTo>
                  <a:lnTo>
                    <a:pt x="816" y="82"/>
                  </a:lnTo>
                  <a:lnTo>
                    <a:pt x="820" y="82"/>
                  </a:lnTo>
                  <a:lnTo>
                    <a:pt x="824" y="82"/>
                  </a:lnTo>
                  <a:lnTo>
                    <a:pt x="828" y="82"/>
                  </a:lnTo>
                  <a:lnTo>
                    <a:pt x="832" y="82"/>
                  </a:lnTo>
                  <a:lnTo>
                    <a:pt x="834" y="82"/>
                  </a:lnTo>
                  <a:lnTo>
                    <a:pt x="838" y="82"/>
                  </a:lnTo>
                  <a:lnTo>
                    <a:pt x="842" y="82"/>
                  </a:lnTo>
                  <a:lnTo>
                    <a:pt x="846" y="82"/>
                  </a:lnTo>
                  <a:lnTo>
                    <a:pt x="850" y="82"/>
                  </a:lnTo>
                  <a:lnTo>
                    <a:pt x="850" y="78"/>
                  </a:lnTo>
                  <a:lnTo>
                    <a:pt x="854" y="78"/>
                  </a:lnTo>
                  <a:lnTo>
                    <a:pt x="858" y="78"/>
                  </a:lnTo>
                  <a:lnTo>
                    <a:pt x="862" y="78"/>
                  </a:lnTo>
                  <a:lnTo>
                    <a:pt x="864" y="78"/>
                  </a:lnTo>
                  <a:lnTo>
                    <a:pt x="868" y="78"/>
                  </a:lnTo>
                  <a:lnTo>
                    <a:pt x="872" y="78"/>
                  </a:lnTo>
                  <a:lnTo>
                    <a:pt x="876" y="78"/>
                  </a:lnTo>
                  <a:lnTo>
                    <a:pt x="880" y="78"/>
                  </a:lnTo>
                  <a:lnTo>
                    <a:pt x="884" y="78"/>
                  </a:lnTo>
                  <a:lnTo>
                    <a:pt x="888" y="78"/>
                  </a:lnTo>
                  <a:lnTo>
                    <a:pt x="890" y="78"/>
                  </a:lnTo>
                  <a:lnTo>
                    <a:pt x="890" y="76"/>
                  </a:lnTo>
                  <a:lnTo>
                    <a:pt x="888" y="76"/>
                  </a:lnTo>
                  <a:lnTo>
                    <a:pt x="880" y="76"/>
                  </a:lnTo>
                  <a:lnTo>
                    <a:pt x="876" y="76"/>
                  </a:lnTo>
                  <a:lnTo>
                    <a:pt x="872" y="76"/>
                  </a:lnTo>
                  <a:lnTo>
                    <a:pt x="868" y="76"/>
                  </a:lnTo>
                  <a:lnTo>
                    <a:pt x="864" y="76"/>
                  </a:lnTo>
                  <a:lnTo>
                    <a:pt x="868" y="76"/>
                  </a:lnTo>
                  <a:lnTo>
                    <a:pt x="872" y="76"/>
                  </a:lnTo>
                  <a:lnTo>
                    <a:pt x="876" y="72"/>
                  </a:lnTo>
                  <a:lnTo>
                    <a:pt x="880" y="72"/>
                  </a:lnTo>
                  <a:lnTo>
                    <a:pt x="884" y="72"/>
                  </a:lnTo>
                  <a:lnTo>
                    <a:pt x="888" y="72"/>
                  </a:lnTo>
                  <a:lnTo>
                    <a:pt x="890" y="72"/>
                  </a:lnTo>
                  <a:lnTo>
                    <a:pt x="894" y="72"/>
                  </a:lnTo>
                  <a:lnTo>
                    <a:pt x="902" y="68"/>
                  </a:lnTo>
                  <a:lnTo>
                    <a:pt x="906" y="68"/>
                  </a:lnTo>
                  <a:lnTo>
                    <a:pt x="910" y="68"/>
                  </a:lnTo>
                  <a:lnTo>
                    <a:pt x="914" y="68"/>
                  </a:lnTo>
                  <a:lnTo>
                    <a:pt x="910" y="68"/>
                  </a:lnTo>
                  <a:lnTo>
                    <a:pt x="906" y="68"/>
                  </a:lnTo>
                  <a:lnTo>
                    <a:pt x="902" y="68"/>
                  </a:lnTo>
                  <a:lnTo>
                    <a:pt x="898" y="68"/>
                  </a:lnTo>
                  <a:lnTo>
                    <a:pt x="894" y="68"/>
                  </a:lnTo>
                  <a:lnTo>
                    <a:pt x="890" y="68"/>
                  </a:lnTo>
                  <a:lnTo>
                    <a:pt x="884" y="68"/>
                  </a:lnTo>
                  <a:lnTo>
                    <a:pt x="880" y="68"/>
                  </a:lnTo>
                  <a:lnTo>
                    <a:pt x="876" y="68"/>
                  </a:lnTo>
                  <a:lnTo>
                    <a:pt x="876" y="64"/>
                  </a:lnTo>
                  <a:lnTo>
                    <a:pt x="880" y="64"/>
                  </a:lnTo>
                  <a:lnTo>
                    <a:pt x="884" y="64"/>
                  </a:lnTo>
                  <a:lnTo>
                    <a:pt x="884" y="60"/>
                  </a:lnTo>
                  <a:lnTo>
                    <a:pt x="888" y="60"/>
                  </a:lnTo>
                  <a:lnTo>
                    <a:pt x="890" y="56"/>
                  </a:lnTo>
                  <a:lnTo>
                    <a:pt x="894" y="56"/>
                  </a:lnTo>
                  <a:lnTo>
                    <a:pt x="898" y="56"/>
                  </a:lnTo>
                  <a:lnTo>
                    <a:pt x="902" y="52"/>
                  </a:lnTo>
                  <a:lnTo>
                    <a:pt x="906" y="52"/>
                  </a:lnTo>
                  <a:lnTo>
                    <a:pt x="910" y="52"/>
                  </a:lnTo>
                  <a:lnTo>
                    <a:pt x="906" y="52"/>
                  </a:lnTo>
                  <a:lnTo>
                    <a:pt x="902" y="52"/>
                  </a:lnTo>
                  <a:lnTo>
                    <a:pt x="898" y="52"/>
                  </a:lnTo>
                  <a:lnTo>
                    <a:pt x="894" y="52"/>
                  </a:lnTo>
                  <a:lnTo>
                    <a:pt x="890" y="56"/>
                  </a:lnTo>
                  <a:lnTo>
                    <a:pt x="888" y="56"/>
                  </a:lnTo>
                  <a:lnTo>
                    <a:pt x="884" y="56"/>
                  </a:lnTo>
                  <a:lnTo>
                    <a:pt x="884" y="60"/>
                  </a:lnTo>
                  <a:lnTo>
                    <a:pt x="880" y="60"/>
                  </a:lnTo>
                  <a:lnTo>
                    <a:pt x="876" y="60"/>
                  </a:lnTo>
                  <a:lnTo>
                    <a:pt x="872" y="60"/>
                  </a:lnTo>
                  <a:lnTo>
                    <a:pt x="868" y="60"/>
                  </a:lnTo>
                  <a:lnTo>
                    <a:pt x="872" y="60"/>
                  </a:lnTo>
                  <a:lnTo>
                    <a:pt x="876" y="60"/>
                  </a:lnTo>
                  <a:lnTo>
                    <a:pt x="876" y="64"/>
                  </a:lnTo>
                  <a:lnTo>
                    <a:pt x="872" y="64"/>
                  </a:lnTo>
                  <a:lnTo>
                    <a:pt x="876" y="64"/>
                  </a:lnTo>
                  <a:lnTo>
                    <a:pt x="872" y="68"/>
                  </a:lnTo>
                  <a:lnTo>
                    <a:pt x="868" y="72"/>
                  </a:lnTo>
                  <a:lnTo>
                    <a:pt x="864" y="72"/>
                  </a:lnTo>
                  <a:lnTo>
                    <a:pt x="862" y="72"/>
                  </a:lnTo>
                  <a:lnTo>
                    <a:pt x="858" y="72"/>
                  </a:lnTo>
                  <a:lnTo>
                    <a:pt x="854" y="72"/>
                  </a:lnTo>
                  <a:lnTo>
                    <a:pt x="854" y="76"/>
                  </a:lnTo>
                  <a:lnTo>
                    <a:pt x="850" y="76"/>
                  </a:lnTo>
                  <a:lnTo>
                    <a:pt x="842" y="76"/>
                  </a:lnTo>
                  <a:lnTo>
                    <a:pt x="838" y="76"/>
                  </a:lnTo>
                  <a:lnTo>
                    <a:pt x="834" y="76"/>
                  </a:lnTo>
                  <a:lnTo>
                    <a:pt x="828" y="78"/>
                  </a:lnTo>
                  <a:lnTo>
                    <a:pt x="824" y="78"/>
                  </a:lnTo>
                  <a:lnTo>
                    <a:pt x="820" y="78"/>
                  </a:lnTo>
                  <a:lnTo>
                    <a:pt x="820" y="78"/>
                  </a:lnTo>
                  <a:lnTo>
                    <a:pt x="820" y="7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76" name="Freeform 69"/>
            <p:cNvSpPr>
              <a:spLocks/>
            </p:cNvSpPr>
            <p:nvPr/>
          </p:nvSpPr>
          <p:spPr bwMode="auto">
            <a:xfrm>
              <a:off x="6277916" y="4034915"/>
              <a:ext cx="30143" cy="36612"/>
            </a:xfrm>
            <a:custGeom>
              <a:avLst/>
              <a:gdLst>
                <a:gd name="T0" fmla="*/ 6 w 48"/>
                <a:gd name="T1" fmla="*/ 22 h 56"/>
                <a:gd name="T2" fmla="*/ 2 w 48"/>
                <a:gd name="T3" fmla="*/ 22 h 56"/>
                <a:gd name="T4" fmla="*/ 2 w 48"/>
                <a:gd name="T5" fmla="*/ 18 h 56"/>
                <a:gd name="T6" fmla="*/ 0 w 48"/>
                <a:gd name="T7" fmla="*/ 16 h 56"/>
                <a:gd name="T8" fmla="*/ 2 w 48"/>
                <a:gd name="T9" fmla="*/ 12 h 56"/>
                <a:gd name="T10" fmla="*/ 0 w 48"/>
                <a:gd name="T11" fmla="*/ 8 h 56"/>
                <a:gd name="T12" fmla="*/ 0 w 48"/>
                <a:gd name="T13" fmla="*/ 4 h 56"/>
                <a:gd name="T14" fmla="*/ 2 w 48"/>
                <a:gd name="T15" fmla="*/ 4 h 56"/>
                <a:gd name="T16" fmla="*/ 2 w 48"/>
                <a:gd name="T17" fmla="*/ 0 h 56"/>
                <a:gd name="T18" fmla="*/ 6 w 48"/>
                <a:gd name="T19" fmla="*/ 4 h 56"/>
                <a:gd name="T20" fmla="*/ 10 w 48"/>
                <a:gd name="T21" fmla="*/ 4 h 56"/>
                <a:gd name="T22" fmla="*/ 18 w 48"/>
                <a:gd name="T23" fmla="*/ 4 h 56"/>
                <a:gd name="T24" fmla="*/ 26 w 48"/>
                <a:gd name="T25" fmla="*/ 8 h 56"/>
                <a:gd name="T26" fmla="*/ 26 w 48"/>
                <a:gd name="T27" fmla="*/ 8 h 56"/>
                <a:gd name="T28" fmla="*/ 28 w 48"/>
                <a:gd name="T29" fmla="*/ 8 h 56"/>
                <a:gd name="T30" fmla="*/ 28 w 48"/>
                <a:gd name="T31" fmla="*/ 8 h 56"/>
                <a:gd name="T32" fmla="*/ 32 w 48"/>
                <a:gd name="T33" fmla="*/ 4 h 56"/>
                <a:gd name="T34" fmla="*/ 32 w 48"/>
                <a:gd name="T35" fmla="*/ 8 h 56"/>
                <a:gd name="T36" fmla="*/ 32 w 48"/>
                <a:gd name="T37" fmla="*/ 8 h 56"/>
                <a:gd name="T38" fmla="*/ 36 w 48"/>
                <a:gd name="T39" fmla="*/ 16 h 56"/>
                <a:gd name="T40" fmla="*/ 40 w 48"/>
                <a:gd name="T41" fmla="*/ 22 h 56"/>
                <a:gd name="T42" fmla="*/ 44 w 48"/>
                <a:gd name="T43" fmla="*/ 26 h 56"/>
                <a:gd name="T44" fmla="*/ 48 w 48"/>
                <a:gd name="T45" fmla="*/ 30 h 56"/>
                <a:gd name="T46" fmla="*/ 44 w 48"/>
                <a:gd name="T47" fmla="*/ 30 h 56"/>
                <a:gd name="T48" fmla="*/ 44 w 48"/>
                <a:gd name="T49" fmla="*/ 26 h 56"/>
                <a:gd name="T50" fmla="*/ 40 w 48"/>
                <a:gd name="T51" fmla="*/ 38 h 56"/>
                <a:gd name="T52" fmla="*/ 44 w 48"/>
                <a:gd name="T53" fmla="*/ 40 h 56"/>
                <a:gd name="T54" fmla="*/ 40 w 48"/>
                <a:gd name="T55" fmla="*/ 40 h 56"/>
                <a:gd name="T56" fmla="*/ 40 w 48"/>
                <a:gd name="T57" fmla="*/ 44 h 56"/>
                <a:gd name="T58" fmla="*/ 40 w 48"/>
                <a:gd name="T59" fmla="*/ 48 h 56"/>
                <a:gd name="T60" fmla="*/ 40 w 48"/>
                <a:gd name="T61" fmla="*/ 48 h 56"/>
                <a:gd name="T62" fmla="*/ 40 w 48"/>
                <a:gd name="T63" fmla="*/ 52 h 56"/>
                <a:gd name="T64" fmla="*/ 40 w 48"/>
                <a:gd name="T65" fmla="*/ 56 h 56"/>
                <a:gd name="T66" fmla="*/ 40 w 48"/>
                <a:gd name="T67" fmla="*/ 52 h 56"/>
                <a:gd name="T68" fmla="*/ 36 w 48"/>
                <a:gd name="T69" fmla="*/ 48 h 56"/>
                <a:gd name="T70" fmla="*/ 36 w 48"/>
                <a:gd name="T71" fmla="*/ 44 h 56"/>
                <a:gd name="T72" fmla="*/ 36 w 48"/>
                <a:gd name="T73" fmla="*/ 40 h 56"/>
                <a:gd name="T74" fmla="*/ 32 w 48"/>
                <a:gd name="T75" fmla="*/ 44 h 56"/>
                <a:gd name="T76" fmla="*/ 36 w 48"/>
                <a:gd name="T77" fmla="*/ 44 h 56"/>
                <a:gd name="T78" fmla="*/ 36 w 48"/>
                <a:gd name="T79" fmla="*/ 48 h 56"/>
                <a:gd name="T80" fmla="*/ 36 w 48"/>
                <a:gd name="T81" fmla="*/ 48 h 56"/>
                <a:gd name="T82" fmla="*/ 32 w 48"/>
                <a:gd name="T83" fmla="*/ 48 h 56"/>
                <a:gd name="T84" fmla="*/ 28 w 48"/>
                <a:gd name="T85" fmla="*/ 44 h 56"/>
                <a:gd name="T86" fmla="*/ 32 w 48"/>
                <a:gd name="T87" fmla="*/ 38 h 56"/>
                <a:gd name="T88" fmla="*/ 28 w 48"/>
                <a:gd name="T89" fmla="*/ 34 h 56"/>
                <a:gd name="T90" fmla="*/ 26 w 48"/>
                <a:gd name="T91" fmla="*/ 30 h 56"/>
                <a:gd name="T92" fmla="*/ 22 w 48"/>
                <a:gd name="T93" fmla="*/ 30 h 56"/>
                <a:gd name="T94" fmla="*/ 18 w 48"/>
                <a:gd name="T95" fmla="*/ 26 h 56"/>
                <a:gd name="T96" fmla="*/ 18 w 48"/>
                <a:gd name="T97" fmla="*/ 26 h 56"/>
                <a:gd name="T98" fmla="*/ 14 w 48"/>
                <a:gd name="T99" fmla="*/ 22 h 56"/>
                <a:gd name="T100" fmla="*/ 10 w 48"/>
                <a:gd name="T101" fmla="*/ 18 h 56"/>
                <a:gd name="T102" fmla="*/ 10 w 48"/>
                <a:gd name="T103" fmla="*/ 18 h 56"/>
                <a:gd name="T104" fmla="*/ 10 w 48"/>
                <a:gd name="T105" fmla="*/ 18 h 56"/>
                <a:gd name="T106" fmla="*/ 14 w 48"/>
                <a:gd name="T107" fmla="*/ 22 h 56"/>
                <a:gd name="T108" fmla="*/ 10 w 48"/>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 h="56">
                  <a:moveTo>
                    <a:pt x="10" y="26"/>
                  </a:moveTo>
                  <a:lnTo>
                    <a:pt x="6" y="26"/>
                  </a:lnTo>
                  <a:lnTo>
                    <a:pt x="6" y="22"/>
                  </a:lnTo>
                  <a:lnTo>
                    <a:pt x="6" y="22"/>
                  </a:lnTo>
                  <a:lnTo>
                    <a:pt x="6" y="22"/>
                  </a:lnTo>
                  <a:lnTo>
                    <a:pt x="2" y="22"/>
                  </a:lnTo>
                  <a:lnTo>
                    <a:pt x="2" y="22"/>
                  </a:lnTo>
                  <a:lnTo>
                    <a:pt x="2" y="22"/>
                  </a:lnTo>
                  <a:lnTo>
                    <a:pt x="2" y="22"/>
                  </a:lnTo>
                  <a:lnTo>
                    <a:pt x="2" y="22"/>
                  </a:lnTo>
                  <a:lnTo>
                    <a:pt x="2" y="22"/>
                  </a:lnTo>
                  <a:lnTo>
                    <a:pt x="2" y="18"/>
                  </a:lnTo>
                  <a:lnTo>
                    <a:pt x="2" y="18"/>
                  </a:lnTo>
                  <a:lnTo>
                    <a:pt x="0" y="18"/>
                  </a:lnTo>
                  <a:lnTo>
                    <a:pt x="0" y="18"/>
                  </a:lnTo>
                  <a:lnTo>
                    <a:pt x="0" y="16"/>
                  </a:lnTo>
                  <a:lnTo>
                    <a:pt x="0" y="16"/>
                  </a:lnTo>
                  <a:lnTo>
                    <a:pt x="0" y="16"/>
                  </a:lnTo>
                  <a:lnTo>
                    <a:pt x="2" y="12"/>
                  </a:lnTo>
                  <a:lnTo>
                    <a:pt x="2" y="12"/>
                  </a:lnTo>
                  <a:lnTo>
                    <a:pt x="2" y="8"/>
                  </a:lnTo>
                  <a:lnTo>
                    <a:pt x="2" y="8"/>
                  </a:lnTo>
                  <a:lnTo>
                    <a:pt x="2" y="8"/>
                  </a:lnTo>
                  <a:lnTo>
                    <a:pt x="0" y="8"/>
                  </a:lnTo>
                  <a:lnTo>
                    <a:pt x="0" y="4"/>
                  </a:lnTo>
                  <a:lnTo>
                    <a:pt x="0" y="4"/>
                  </a:lnTo>
                  <a:lnTo>
                    <a:pt x="0" y="4"/>
                  </a:lnTo>
                  <a:lnTo>
                    <a:pt x="0" y="4"/>
                  </a:lnTo>
                  <a:lnTo>
                    <a:pt x="2" y="4"/>
                  </a:lnTo>
                  <a:lnTo>
                    <a:pt x="2" y="4"/>
                  </a:lnTo>
                  <a:lnTo>
                    <a:pt x="2" y="4"/>
                  </a:lnTo>
                  <a:lnTo>
                    <a:pt x="2" y="4"/>
                  </a:lnTo>
                  <a:lnTo>
                    <a:pt x="2" y="4"/>
                  </a:lnTo>
                  <a:lnTo>
                    <a:pt x="2" y="4"/>
                  </a:lnTo>
                  <a:lnTo>
                    <a:pt x="2" y="0"/>
                  </a:lnTo>
                  <a:lnTo>
                    <a:pt x="2" y="0"/>
                  </a:lnTo>
                  <a:lnTo>
                    <a:pt x="2" y="0"/>
                  </a:lnTo>
                  <a:lnTo>
                    <a:pt x="6" y="0"/>
                  </a:lnTo>
                  <a:lnTo>
                    <a:pt x="6" y="0"/>
                  </a:lnTo>
                  <a:lnTo>
                    <a:pt x="6" y="4"/>
                  </a:lnTo>
                  <a:lnTo>
                    <a:pt x="10" y="4"/>
                  </a:lnTo>
                  <a:lnTo>
                    <a:pt x="10" y="4"/>
                  </a:lnTo>
                  <a:lnTo>
                    <a:pt x="10" y="4"/>
                  </a:lnTo>
                  <a:lnTo>
                    <a:pt x="10" y="4"/>
                  </a:lnTo>
                  <a:lnTo>
                    <a:pt x="10" y="4"/>
                  </a:lnTo>
                  <a:lnTo>
                    <a:pt x="10" y="4"/>
                  </a:lnTo>
                  <a:lnTo>
                    <a:pt x="14" y="4"/>
                  </a:lnTo>
                  <a:lnTo>
                    <a:pt x="18" y="4"/>
                  </a:lnTo>
                  <a:lnTo>
                    <a:pt x="22" y="4"/>
                  </a:lnTo>
                  <a:lnTo>
                    <a:pt x="22" y="4"/>
                  </a:lnTo>
                  <a:lnTo>
                    <a:pt x="22" y="8"/>
                  </a:lnTo>
                  <a:lnTo>
                    <a:pt x="26" y="8"/>
                  </a:lnTo>
                  <a:lnTo>
                    <a:pt x="26" y="8"/>
                  </a:lnTo>
                  <a:lnTo>
                    <a:pt x="26" y="8"/>
                  </a:lnTo>
                  <a:lnTo>
                    <a:pt x="26" y="8"/>
                  </a:lnTo>
                  <a:lnTo>
                    <a:pt x="26" y="8"/>
                  </a:lnTo>
                  <a:lnTo>
                    <a:pt x="26" y="8"/>
                  </a:lnTo>
                  <a:lnTo>
                    <a:pt x="26" y="8"/>
                  </a:lnTo>
                  <a:lnTo>
                    <a:pt x="28" y="8"/>
                  </a:lnTo>
                  <a:lnTo>
                    <a:pt x="28" y="8"/>
                  </a:lnTo>
                  <a:lnTo>
                    <a:pt x="28" y="8"/>
                  </a:lnTo>
                  <a:lnTo>
                    <a:pt x="28" y="8"/>
                  </a:lnTo>
                  <a:lnTo>
                    <a:pt x="28" y="8"/>
                  </a:lnTo>
                  <a:lnTo>
                    <a:pt x="28" y="8"/>
                  </a:lnTo>
                  <a:lnTo>
                    <a:pt x="28" y="8"/>
                  </a:lnTo>
                  <a:lnTo>
                    <a:pt x="32" y="8"/>
                  </a:lnTo>
                  <a:lnTo>
                    <a:pt x="32" y="8"/>
                  </a:lnTo>
                  <a:lnTo>
                    <a:pt x="32" y="4"/>
                  </a:lnTo>
                  <a:lnTo>
                    <a:pt x="32" y="4"/>
                  </a:lnTo>
                  <a:lnTo>
                    <a:pt x="32" y="4"/>
                  </a:lnTo>
                  <a:lnTo>
                    <a:pt x="32" y="4"/>
                  </a:lnTo>
                  <a:lnTo>
                    <a:pt x="32" y="8"/>
                  </a:lnTo>
                  <a:lnTo>
                    <a:pt x="32" y="8"/>
                  </a:lnTo>
                  <a:lnTo>
                    <a:pt x="32" y="8"/>
                  </a:lnTo>
                  <a:lnTo>
                    <a:pt x="32" y="8"/>
                  </a:lnTo>
                  <a:lnTo>
                    <a:pt x="32" y="8"/>
                  </a:lnTo>
                  <a:lnTo>
                    <a:pt x="32" y="12"/>
                  </a:lnTo>
                  <a:lnTo>
                    <a:pt x="32" y="12"/>
                  </a:lnTo>
                  <a:lnTo>
                    <a:pt x="32" y="16"/>
                  </a:lnTo>
                  <a:lnTo>
                    <a:pt x="36" y="16"/>
                  </a:lnTo>
                  <a:lnTo>
                    <a:pt x="40" y="22"/>
                  </a:lnTo>
                  <a:lnTo>
                    <a:pt x="40" y="22"/>
                  </a:lnTo>
                  <a:lnTo>
                    <a:pt x="40" y="22"/>
                  </a:lnTo>
                  <a:lnTo>
                    <a:pt x="40" y="22"/>
                  </a:lnTo>
                  <a:lnTo>
                    <a:pt x="40" y="22"/>
                  </a:lnTo>
                  <a:lnTo>
                    <a:pt x="40" y="22"/>
                  </a:lnTo>
                  <a:lnTo>
                    <a:pt x="44" y="26"/>
                  </a:lnTo>
                  <a:lnTo>
                    <a:pt x="44" y="26"/>
                  </a:lnTo>
                  <a:lnTo>
                    <a:pt x="44" y="26"/>
                  </a:lnTo>
                  <a:lnTo>
                    <a:pt x="44" y="26"/>
                  </a:lnTo>
                  <a:lnTo>
                    <a:pt x="48" y="26"/>
                  </a:lnTo>
                  <a:lnTo>
                    <a:pt x="48" y="30"/>
                  </a:lnTo>
                  <a:lnTo>
                    <a:pt x="48" y="30"/>
                  </a:lnTo>
                  <a:lnTo>
                    <a:pt x="48" y="30"/>
                  </a:lnTo>
                  <a:lnTo>
                    <a:pt x="44" y="30"/>
                  </a:lnTo>
                  <a:lnTo>
                    <a:pt x="44" y="30"/>
                  </a:lnTo>
                  <a:lnTo>
                    <a:pt x="44" y="30"/>
                  </a:lnTo>
                  <a:lnTo>
                    <a:pt x="44" y="26"/>
                  </a:lnTo>
                  <a:lnTo>
                    <a:pt x="44" y="26"/>
                  </a:lnTo>
                  <a:lnTo>
                    <a:pt x="44" y="26"/>
                  </a:lnTo>
                  <a:lnTo>
                    <a:pt x="44" y="26"/>
                  </a:lnTo>
                  <a:lnTo>
                    <a:pt x="40" y="30"/>
                  </a:lnTo>
                  <a:lnTo>
                    <a:pt x="40" y="34"/>
                  </a:lnTo>
                  <a:lnTo>
                    <a:pt x="40" y="38"/>
                  </a:lnTo>
                  <a:lnTo>
                    <a:pt x="40" y="38"/>
                  </a:lnTo>
                  <a:lnTo>
                    <a:pt x="44" y="38"/>
                  </a:lnTo>
                  <a:lnTo>
                    <a:pt x="44" y="40"/>
                  </a:lnTo>
                  <a:lnTo>
                    <a:pt x="44" y="40"/>
                  </a:lnTo>
                  <a:lnTo>
                    <a:pt x="44" y="40"/>
                  </a:lnTo>
                  <a:lnTo>
                    <a:pt x="44" y="40"/>
                  </a:lnTo>
                  <a:lnTo>
                    <a:pt x="44" y="40"/>
                  </a:lnTo>
                  <a:lnTo>
                    <a:pt x="40" y="40"/>
                  </a:lnTo>
                  <a:lnTo>
                    <a:pt x="40" y="40"/>
                  </a:lnTo>
                  <a:lnTo>
                    <a:pt x="40" y="40"/>
                  </a:lnTo>
                  <a:lnTo>
                    <a:pt x="40" y="44"/>
                  </a:lnTo>
                  <a:lnTo>
                    <a:pt x="40" y="44"/>
                  </a:lnTo>
                  <a:lnTo>
                    <a:pt x="44" y="44"/>
                  </a:lnTo>
                  <a:lnTo>
                    <a:pt x="44" y="44"/>
                  </a:lnTo>
                  <a:lnTo>
                    <a:pt x="44" y="48"/>
                  </a:lnTo>
                  <a:lnTo>
                    <a:pt x="40" y="48"/>
                  </a:lnTo>
                  <a:lnTo>
                    <a:pt x="40" y="48"/>
                  </a:lnTo>
                  <a:lnTo>
                    <a:pt x="40" y="48"/>
                  </a:lnTo>
                  <a:lnTo>
                    <a:pt x="40" y="48"/>
                  </a:lnTo>
                  <a:lnTo>
                    <a:pt x="40" y="48"/>
                  </a:lnTo>
                  <a:lnTo>
                    <a:pt x="40" y="48"/>
                  </a:lnTo>
                  <a:lnTo>
                    <a:pt x="40" y="52"/>
                  </a:lnTo>
                  <a:lnTo>
                    <a:pt x="40" y="52"/>
                  </a:lnTo>
                  <a:lnTo>
                    <a:pt x="40" y="52"/>
                  </a:lnTo>
                  <a:lnTo>
                    <a:pt x="40" y="52"/>
                  </a:lnTo>
                  <a:lnTo>
                    <a:pt x="40" y="52"/>
                  </a:lnTo>
                  <a:lnTo>
                    <a:pt x="40" y="56"/>
                  </a:lnTo>
                  <a:lnTo>
                    <a:pt x="40" y="56"/>
                  </a:lnTo>
                  <a:lnTo>
                    <a:pt x="40" y="52"/>
                  </a:lnTo>
                  <a:lnTo>
                    <a:pt x="40" y="52"/>
                  </a:lnTo>
                  <a:lnTo>
                    <a:pt x="40" y="52"/>
                  </a:lnTo>
                  <a:lnTo>
                    <a:pt x="40" y="52"/>
                  </a:lnTo>
                  <a:lnTo>
                    <a:pt x="40" y="48"/>
                  </a:lnTo>
                  <a:lnTo>
                    <a:pt x="40" y="48"/>
                  </a:lnTo>
                  <a:lnTo>
                    <a:pt x="40" y="48"/>
                  </a:lnTo>
                  <a:lnTo>
                    <a:pt x="36" y="48"/>
                  </a:lnTo>
                  <a:lnTo>
                    <a:pt x="40" y="48"/>
                  </a:lnTo>
                  <a:lnTo>
                    <a:pt x="40" y="48"/>
                  </a:lnTo>
                  <a:lnTo>
                    <a:pt x="40" y="48"/>
                  </a:lnTo>
                  <a:lnTo>
                    <a:pt x="36" y="44"/>
                  </a:lnTo>
                  <a:lnTo>
                    <a:pt x="36" y="44"/>
                  </a:lnTo>
                  <a:lnTo>
                    <a:pt x="36" y="44"/>
                  </a:lnTo>
                  <a:lnTo>
                    <a:pt x="36" y="44"/>
                  </a:lnTo>
                  <a:lnTo>
                    <a:pt x="36" y="40"/>
                  </a:lnTo>
                  <a:lnTo>
                    <a:pt x="36" y="40"/>
                  </a:lnTo>
                  <a:lnTo>
                    <a:pt x="32" y="40"/>
                  </a:lnTo>
                  <a:lnTo>
                    <a:pt x="32" y="44"/>
                  </a:lnTo>
                  <a:lnTo>
                    <a:pt x="32" y="44"/>
                  </a:lnTo>
                  <a:lnTo>
                    <a:pt x="36" y="44"/>
                  </a:lnTo>
                  <a:lnTo>
                    <a:pt x="36" y="44"/>
                  </a:lnTo>
                  <a:lnTo>
                    <a:pt x="36" y="44"/>
                  </a:lnTo>
                  <a:lnTo>
                    <a:pt x="36" y="44"/>
                  </a:lnTo>
                  <a:lnTo>
                    <a:pt x="36" y="44"/>
                  </a:lnTo>
                  <a:lnTo>
                    <a:pt x="36" y="48"/>
                  </a:lnTo>
                  <a:lnTo>
                    <a:pt x="36" y="48"/>
                  </a:lnTo>
                  <a:lnTo>
                    <a:pt x="36" y="48"/>
                  </a:lnTo>
                  <a:lnTo>
                    <a:pt x="36" y="48"/>
                  </a:lnTo>
                  <a:lnTo>
                    <a:pt x="36" y="48"/>
                  </a:lnTo>
                  <a:lnTo>
                    <a:pt x="36" y="48"/>
                  </a:lnTo>
                  <a:lnTo>
                    <a:pt x="36" y="48"/>
                  </a:lnTo>
                  <a:lnTo>
                    <a:pt x="32" y="48"/>
                  </a:lnTo>
                  <a:lnTo>
                    <a:pt x="32" y="48"/>
                  </a:lnTo>
                  <a:lnTo>
                    <a:pt x="32" y="48"/>
                  </a:lnTo>
                  <a:lnTo>
                    <a:pt x="32" y="48"/>
                  </a:lnTo>
                  <a:lnTo>
                    <a:pt x="28" y="44"/>
                  </a:lnTo>
                  <a:lnTo>
                    <a:pt x="28" y="44"/>
                  </a:lnTo>
                  <a:lnTo>
                    <a:pt x="28" y="44"/>
                  </a:lnTo>
                  <a:lnTo>
                    <a:pt x="28" y="44"/>
                  </a:lnTo>
                  <a:lnTo>
                    <a:pt x="28" y="44"/>
                  </a:lnTo>
                  <a:lnTo>
                    <a:pt x="32" y="40"/>
                  </a:lnTo>
                  <a:lnTo>
                    <a:pt x="32" y="40"/>
                  </a:lnTo>
                  <a:lnTo>
                    <a:pt x="32" y="38"/>
                  </a:lnTo>
                  <a:lnTo>
                    <a:pt x="32" y="38"/>
                  </a:lnTo>
                  <a:lnTo>
                    <a:pt x="28" y="38"/>
                  </a:lnTo>
                  <a:lnTo>
                    <a:pt x="28" y="38"/>
                  </a:lnTo>
                  <a:lnTo>
                    <a:pt x="28" y="34"/>
                  </a:lnTo>
                  <a:lnTo>
                    <a:pt x="26" y="34"/>
                  </a:lnTo>
                  <a:lnTo>
                    <a:pt x="26" y="34"/>
                  </a:lnTo>
                  <a:lnTo>
                    <a:pt x="26" y="34"/>
                  </a:lnTo>
                  <a:lnTo>
                    <a:pt x="26" y="30"/>
                  </a:lnTo>
                  <a:lnTo>
                    <a:pt x="26" y="30"/>
                  </a:lnTo>
                  <a:lnTo>
                    <a:pt x="26" y="30"/>
                  </a:lnTo>
                  <a:lnTo>
                    <a:pt x="22" y="30"/>
                  </a:lnTo>
                  <a:lnTo>
                    <a:pt x="22" y="30"/>
                  </a:lnTo>
                  <a:lnTo>
                    <a:pt x="18" y="30"/>
                  </a:lnTo>
                  <a:lnTo>
                    <a:pt x="18" y="30"/>
                  </a:lnTo>
                  <a:lnTo>
                    <a:pt x="18" y="30"/>
                  </a:lnTo>
                  <a:lnTo>
                    <a:pt x="18" y="26"/>
                  </a:lnTo>
                  <a:lnTo>
                    <a:pt x="18" y="26"/>
                  </a:lnTo>
                  <a:lnTo>
                    <a:pt x="18" y="26"/>
                  </a:lnTo>
                  <a:lnTo>
                    <a:pt x="18" y="26"/>
                  </a:lnTo>
                  <a:lnTo>
                    <a:pt x="18" y="26"/>
                  </a:lnTo>
                  <a:lnTo>
                    <a:pt x="18" y="26"/>
                  </a:lnTo>
                  <a:lnTo>
                    <a:pt x="18" y="22"/>
                  </a:lnTo>
                  <a:lnTo>
                    <a:pt x="14" y="22"/>
                  </a:lnTo>
                  <a:lnTo>
                    <a:pt x="14" y="22"/>
                  </a:lnTo>
                  <a:lnTo>
                    <a:pt x="14" y="22"/>
                  </a:lnTo>
                  <a:lnTo>
                    <a:pt x="14" y="22"/>
                  </a:lnTo>
                  <a:lnTo>
                    <a:pt x="14" y="18"/>
                  </a:lnTo>
                  <a:lnTo>
                    <a:pt x="10" y="18"/>
                  </a:lnTo>
                  <a:lnTo>
                    <a:pt x="10" y="18"/>
                  </a:lnTo>
                  <a:lnTo>
                    <a:pt x="10" y="18"/>
                  </a:lnTo>
                  <a:lnTo>
                    <a:pt x="10" y="18"/>
                  </a:lnTo>
                  <a:lnTo>
                    <a:pt x="10" y="18"/>
                  </a:lnTo>
                  <a:lnTo>
                    <a:pt x="10" y="18"/>
                  </a:lnTo>
                  <a:lnTo>
                    <a:pt x="10" y="18"/>
                  </a:lnTo>
                  <a:lnTo>
                    <a:pt x="10" y="18"/>
                  </a:lnTo>
                  <a:lnTo>
                    <a:pt x="10" y="18"/>
                  </a:lnTo>
                  <a:lnTo>
                    <a:pt x="10" y="22"/>
                  </a:lnTo>
                  <a:lnTo>
                    <a:pt x="10" y="22"/>
                  </a:lnTo>
                  <a:lnTo>
                    <a:pt x="14" y="22"/>
                  </a:lnTo>
                  <a:lnTo>
                    <a:pt x="14" y="22"/>
                  </a:lnTo>
                  <a:lnTo>
                    <a:pt x="14" y="26"/>
                  </a:lnTo>
                  <a:lnTo>
                    <a:pt x="10" y="26"/>
                  </a:lnTo>
                  <a:lnTo>
                    <a:pt x="10" y="26"/>
                  </a:lnTo>
                  <a:lnTo>
                    <a:pt x="10" y="26"/>
                  </a:lnTo>
                  <a:lnTo>
                    <a:pt x="10" y="2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77" name="Freeform 70"/>
            <p:cNvSpPr>
              <a:spLocks noEditPoints="1"/>
            </p:cNvSpPr>
            <p:nvPr/>
          </p:nvSpPr>
          <p:spPr bwMode="auto">
            <a:xfrm>
              <a:off x="6286708" y="3898927"/>
              <a:ext cx="96709" cy="37920"/>
            </a:xfrm>
            <a:custGeom>
              <a:avLst/>
              <a:gdLst>
                <a:gd name="T0" fmla="*/ 82 w 154"/>
                <a:gd name="T1" fmla="*/ 30 h 58"/>
                <a:gd name="T2" fmla="*/ 68 w 154"/>
                <a:gd name="T3" fmla="*/ 26 h 58"/>
                <a:gd name="T4" fmla="*/ 60 w 154"/>
                <a:gd name="T5" fmla="*/ 18 h 58"/>
                <a:gd name="T6" fmla="*/ 44 w 154"/>
                <a:gd name="T7" fmla="*/ 14 h 58"/>
                <a:gd name="T8" fmla="*/ 38 w 154"/>
                <a:gd name="T9" fmla="*/ 14 h 58"/>
                <a:gd name="T10" fmla="*/ 44 w 154"/>
                <a:gd name="T11" fmla="*/ 8 h 58"/>
                <a:gd name="T12" fmla="*/ 30 w 154"/>
                <a:gd name="T13" fmla="*/ 8 h 58"/>
                <a:gd name="T14" fmla="*/ 22 w 154"/>
                <a:gd name="T15" fmla="*/ 14 h 58"/>
                <a:gd name="T16" fmla="*/ 14 w 154"/>
                <a:gd name="T17" fmla="*/ 18 h 58"/>
                <a:gd name="T18" fmla="*/ 8 w 154"/>
                <a:gd name="T19" fmla="*/ 26 h 58"/>
                <a:gd name="T20" fmla="*/ 4 w 154"/>
                <a:gd name="T21" fmla="*/ 18 h 58"/>
                <a:gd name="T22" fmla="*/ 10 w 154"/>
                <a:gd name="T23" fmla="*/ 8 h 58"/>
                <a:gd name="T24" fmla="*/ 26 w 154"/>
                <a:gd name="T25" fmla="*/ 4 h 58"/>
                <a:gd name="T26" fmla="*/ 40 w 154"/>
                <a:gd name="T27" fmla="*/ 0 h 58"/>
                <a:gd name="T28" fmla="*/ 52 w 154"/>
                <a:gd name="T29" fmla="*/ 4 h 58"/>
                <a:gd name="T30" fmla="*/ 60 w 154"/>
                <a:gd name="T31" fmla="*/ 4 h 58"/>
                <a:gd name="T32" fmla="*/ 70 w 154"/>
                <a:gd name="T33" fmla="*/ 8 h 58"/>
                <a:gd name="T34" fmla="*/ 78 w 154"/>
                <a:gd name="T35" fmla="*/ 14 h 58"/>
                <a:gd name="T36" fmla="*/ 94 w 154"/>
                <a:gd name="T37" fmla="*/ 18 h 58"/>
                <a:gd name="T38" fmla="*/ 100 w 154"/>
                <a:gd name="T39" fmla="*/ 26 h 58"/>
                <a:gd name="T40" fmla="*/ 104 w 154"/>
                <a:gd name="T41" fmla="*/ 22 h 58"/>
                <a:gd name="T42" fmla="*/ 104 w 154"/>
                <a:gd name="T43" fmla="*/ 26 h 58"/>
                <a:gd name="T44" fmla="*/ 112 w 154"/>
                <a:gd name="T45" fmla="*/ 30 h 58"/>
                <a:gd name="T46" fmla="*/ 120 w 154"/>
                <a:gd name="T47" fmla="*/ 34 h 58"/>
                <a:gd name="T48" fmla="*/ 130 w 154"/>
                <a:gd name="T49" fmla="*/ 38 h 58"/>
                <a:gd name="T50" fmla="*/ 130 w 154"/>
                <a:gd name="T51" fmla="*/ 44 h 58"/>
                <a:gd name="T52" fmla="*/ 138 w 154"/>
                <a:gd name="T53" fmla="*/ 44 h 58"/>
                <a:gd name="T54" fmla="*/ 150 w 154"/>
                <a:gd name="T55" fmla="*/ 50 h 58"/>
                <a:gd name="T56" fmla="*/ 146 w 154"/>
                <a:gd name="T57" fmla="*/ 54 h 58"/>
                <a:gd name="T58" fmla="*/ 130 w 154"/>
                <a:gd name="T59" fmla="*/ 58 h 58"/>
                <a:gd name="T60" fmla="*/ 120 w 154"/>
                <a:gd name="T61" fmla="*/ 54 h 58"/>
                <a:gd name="T62" fmla="*/ 112 w 154"/>
                <a:gd name="T63" fmla="*/ 54 h 58"/>
                <a:gd name="T64" fmla="*/ 104 w 154"/>
                <a:gd name="T65" fmla="*/ 58 h 58"/>
                <a:gd name="T66" fmla="*/ 104 w 154"/>
                <a:gd name="T67" fmla="*/ 50 h 58"/>
                <a:gd name="T68" fmla="*/ 108 w 154"/>
                <a:gd name="T69" fmla="*/ 44 h 58"/>
                <a:gd name="T70" fmla="*/ 98 w 154"/>
                <a:gd name="T71" fmla="*/ 40 h 58"/>
                <a:gd name="T72" fmla="*/ 90 w 154"/>
                <a:gd name="T73" fmla="*/ 38 h 58"/>
                <a:gd name="T74" fmla="*/ 90 w 154"/>
                <a:gd name="T75" fmla="*/ 30 h 58"/>
                <a:gd name="T76" fmla="*/ 78 w 154"/>
                <a:gd name="T77" fmla="*/ 8 h 58"/>
                <a:gd name="T78" fmla="*/ 90 w 154"/>
                <a:gd name="T79" fmla="*/ 14 h 58"/>
                <a:gd name="T80" fmla="*/ 90 w 154"/>
                <a:gd name="T81" fmla="*/ 10 h 58"/>
                <a:gd name="T82" fmla="*/ 90 w 154"/>
                <a:gd name="T83" fmla="*/ 14 h 58"/>
                <a:gd name="T84" fmla="*/ 94 w 154"/>
                <a:gd name="T85" fmla="*/ 10 h 58"/>
                <a:gd name="T86" fmla="*/ 98 w 154"/>
                <a:gd name="T87" fmla="*/ 14 h 58"/>
                <a:gd name="T88" fmla="*/ 100 w 154"/>
                <a:gd name="T89" fmla="*/ 14 h 58"/>
                <a:gd name="T90" fmla="*/ 100 w 154"/>
                <a:gd name="T91" fmla="*/ 22 h 58"/>
                <a:gd name="T92" fmla="*/ 100 w 154"/>
                <a:gd name="T93" fmla="*/ 22 h 58"/>
                <a:gd name="T94" fmla="*/ 22 w 154"/>
                <a:gd name="T95" fmla="*/ 26 h 58"/>
                <a:gd name="T96" fmla="*/ 26 w 154"/>
                <a:gd name="T97" fmla="*/ 22 h 58"/>
                <a:gd name="T98" fmla="*/ 34 w 154"/>
                <a:gd name="T99" fmla="*/ 30 h 58"/>
                <a:gd name="T100" fmla="*/ 26 w 154"/>
                <a:gd name="T101"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4" h="58">
                  <a:moveTo>
                    <a:pt x="90" y="30"/>
                  </a:moveTo>
                  <a:lnTo>
                    <a:pt x="86" y="26"/>
                  </a:lnTo>
                  <a:lnTo>
                    <a:pt x="82" y="26"/>
                  </a:lnTo>
                  <a:lnTo>
                    <a:pt x="82" y="30"/>
                  </a:lnTo>
                  <a:lnTo>
                    <a:pt x="78" y="30"/>
                  </a:lnTo>
                  <a:lnTo>
                    <a:pt x="74" y="26"/>
                  </a:lnTo>
                  <a:lnTo>
                    <a:pt x="70" y="26"/>
                  </a:lnTo>
                  <a:lnTo>
                    <a:pt x="68" y="26"/>
                  </a:lnTo>
                  <a:lnTo>
                    <a:pt x="68" y="22"/>
                  </a:lnTo>
                  <a:lnTo>
                    <a:pt x="64" y="22"/>
                  </a:lnTo>
                  <a:lnTo>
                    <a:pt x="64" y="18"/>
                  </a:lnTo>
                  <a:lnTo>
                    <a:pt x="60" y="18"/>
                  </a:lnTo>
                  <a:lnTo>
                    <a:pt x="56" y="18"/>
                  </a:lnTo>
                  <a:lnTo>
                    <a:pt x="52" y="18"/>
                  </a:lnTo>
                  <a:lnTo>
                    <a:pt x="48" y="18"/>
                  </a:lnTo>
                  <a:lnTo>
                    <a:pt x="44" y="14"/>
                  </a:lnTo>
                  <a:lnTo>
                    <a:pt x="44" y="18"/>
                  </a:lnTo>
                  <a:lnTo>
                    <a:pt x="40" y="18"/>
                  </a:lnTo>
                  <a:lnTo>
                    <a:pt x="40" y="14"/>
                  </a:lnTo>
                  <a:lnTo>
                    <a:pt x="38" y="14"/>
                  </a:lnTo>
                  <a:lnTo>
                    <a:pt x="38" y="10"/>
                  </a:lnTo>
                  <a:lnTo>
                    <a:pt x="40" y="10"/>
                  </a:lnTo>
                  <a:lnTo>
                    <a:pt x="44" y="10"/>
                  </a:lnTo>
                  <a:lnTo>
                    <a:pt x="44" y="8"/>
                  </a:lnTo>
                  <a:lnTo>
                    <a:pt x="40" y="8"/>
                  </a:lnTo>
                  <a:lnTo>
                    <a:pt x="38" y="8"/>
                  </a:lnTo>
                  <a:lnTo>
                    <a:pt x="34" y="8"/>
                  </a:lnTo>
                  <a:lnTo>
                    <a:pt x="30" y="8"/>
                  </a:lnTo>
                  <a:lnTo>
                    <a:pt x="30" y="10"/>
                  </a:lnTo>
                  <a:lnTo>
                    <a:pt x="26" y="10"/>
                  </a:lnTo>
                  <a:lnTo>
                    <a:pt x="26" y="14"/>
                  </a:lnTo>
                  <a:lnTo>
                    <a:pt x="22" y="14"/>
                  </a:lnTo>
                  <a:lnTo>
                    <a:pt x="22" y="18"/>
                  </a:lnTo>
                  <a:lnTo>
                    <a:pt x="18" y="18"/>
                  </a:lnTo>
                  <a:lnTo>
                    <a:pt x="18" y="14"/>
                  </a:lnTo>
                  <a:lnTo>
                    <a:pt x="14" y="18"/>
                  </a:lnTo>
                  <a:lnTo>
                    <a:pt x="10" y="18"/>
                  </a:lnTo>
                  <a:lnTo>
                    <a:pt x="10" y="22"/>
                  </a:lnTo>
                  <a:lnTo>
                    <a:pt x="8" y="22"/>
                  </a:lnTo>
                  <a:lnTo>
                    <a:pt x="8" y="26"/>
                  </a:lnTo>
                  <a:lnTo>
                    <a:pt x="4" y="26"/>
                  </a:lnTo>
                  <a:lnTo>
                    <a:pt x="4" y="22"/>
                  </a:lnTo>
                  <a:lnTo>
                    <a:pt x="0" y="22"/>
                  </a:lnTo>
                  <a:lnTo>
                    <a:pt x="4" y="18"/>
                  </a:lnTo>
                  <a:lnTo>
                    <a:pt x="8" y="18"/>
                  </a:lnTo>
                  <a:lnTo>
                    <a:pt x="8" y="14"/>
                  </a:lnTo>
                  <a:lnTo>
                    <a:pt x="8" y="10"/>
                  </a:lnTo>
                  <a:lnTo>
                    <a:pt x="10" y="8"/>
                  </a:lnTo>
                  <a:lnTo>
                    <a:pt x="14" y="8"/>
                  </a:lnTo>
                  <a:lnTo>
                    <a:pt x="18" y="4"/>
                  </a:lnTo>
                  <a:lnTo>
                    <a:pt x="22" y="4"/>
                  </a:lnTo>
                  <a:lnTo>
                    <a:pt x="26" y="4"/>
                  </a:lnTo>
                  <a:lnTo>
                    <a:pt x="30" y="4"/>
                  </a:lnTo>
                  <a:lnTo>
                    <a:pt x="34" y="0"/>
                  </a:lnTo>
                  <a:lnTo>
                    <a:pt x="38" y="0"/>
                  </a:lnTo>
                  <a:lnTo>
                    <a:pt x="40" y="0"/>
                  </a:lnTo>
                  <a:lnTo>
                    <a:pt x="44" y="0"/>
                  </a:lnTo>
                  <a:lnTo>
                    <a:pt x="48" y="0"/>
                  </a:lnTo>
                  <a:lnTo>
                    <a:pt x="52" y="0"/>
                  </a:lnTo>
                  <a:lnTo>
                    <a:pt x="52" y="4"/>
                  </a:lnTo>
                  <a:lnTo>
                    <a:pt x="52" y="0"/>
                  </a:lnTo>
                  <a:lnTo>
                    <a:pt x="56" y="0"/>
                  </a:lnTo>
                  <a:lnTo>
                    <a:pt x="60" y="0"/>
                  </a:lnTo>
                  <a:lnTo>
                    <a:pt x="60" y="4"/>
                  </a:lnTo>
                  <a:lnTo>
                    <a:pt x="64" y="4"/>
                  </a:lnTo>
                  <a:lnTo>
                    <a:pt x="68" y="4"/>
                  </a:lnTo>
                  <a:lnTo>
                    <a:pt x="70" y="4"/>
                  </a:lnTo>
                  <a:lnTo>
                    <a:pt x="70" y="8"/>
                  </a:lnTo>
                  <a:lnTo>
                    <a:pt x="74" y="8"/>
                  </a:lnTo>
                  <a:lnTo>
                    <a:pt x="74" y="10"/>
                  </a:lnTo>
                  <a:lnTo>
                    <a:pt x="78" y="10"/>
                  </a:lnTo>
                  <a:lnTo>
                    <a:pt x="78" y="14"/>
                  </a:lnTo>
                  <a:lnTo>
                    <a:pt x="82" y="14"/>
                  </a:lnTo>
                  <a:lnTo>
                    <a:pt x="86" y="14"/>
                  </a:lnTo>
                  <a:lnTo>
                    <a:pt x="90" y="14"/>
                  </a:lnTo>
                  <a:lnTo>
                    <a:pt x="94" y="18"/>
                  </a:lnTo>
                  <a:lnTo>
                    <a:pt x="98" y="18"/>
                  </a:lnTo>
                  <a:lnTo>
                    <a:pt x="98" y="22"/>
                  </a:lnTo>
                  <a:lnTo>
                    <a:pt x="100" y="22"/>
                  </a:lnTo>
                  <a:lnTo>
                    <a:pt x="100" y="26"/>
                  </a:lnTo>
                  <a:lnTo>
                    <a:pt x="104" y="26"/>
                  </a:lnTo>
                  <a:lnTo>
                    <a:pt x="108" y="26"/>
                  </a:lnTo>
                  <a:lnTo>
                    <a:pt x="104" y="26"/>
                  </a:lnTo>
                  <a:lnTo>
                    <a:pt x="104" y="22"/>
                  </a:lnTo>
                  <a:lnTo>
                    <a:pt x="100" y="22"/>
                  </a:lnTo>
                  <a:lnTo>
                    <a:pt x="104" y="22"/>
                  </a:lnTo>
                  <a:lnTo>
                    <a:pt x="108" y="26"/>
                  </a:lnTo>
                  <a:lnTo>
                    <a:pt x="104" y="26"/>
                  </a:lnTo>
                  <a:lnTo>
                    <a:pt x="108" y="30"/>
                  </a:lnTo>
                  <a:lnTo>
                    <a:pt x="108" y="26"/>
                  </a:lnTo>
                  <a:lnTo>
                    <a:pt x="112" y="26"/>
                  </a:lnTo>
                  <a:lnTo>
                    <a:pt x="112" y="30"/>
                  </a:lnTo>
                  <a:lnTo>
                    <a:pt x="112" y="34"/>
                  </a:lnTo>
                  <a:lnTo>
                    <a:pt x="116" y="30"/>
                  </a:lnTo>
                  <a:lnTo>
                    <a:pt x="116" y="34"/>
                  </a:lnTo>
                  <a:lnTo>
                    <a:pt x="120" y="34"/>
                  </a:lnTo>
                  <a:lnTo>
                    <a:pt x="124" y="34"/>
                  </a:lnTo>
                  <a:lnTo>
                    <a:pt x="124" y="38"/>
                  </a:lnTo>
                  <a:lnTo>
                    <a:pt x="128" y="38"/>
                  </a:lnTo>
                  <a:lnTo>
                    <a:pt x="130" y="38"/>
                  </a:lnTo>
                  <a:lnTo>
                    <a:pt x="130" y="40"/>
                  </a:lnTo>
                  <a:lnTo>
                    <a:pt x="128" y="40"/>
                  </a:lnTo>
                  <a:lnTo>
                    <a:pt x="128" y="44"/>
                  </a:lnTo>
                  <a:lnTo>
                    <a:pt x="130" y="44"/>
                  </a:lnTo>
                  <a:lnTo>
                    <a:pt x="134" y="44"/>
                  </a:lnTo>
                  <a:lnTo>
                    <a:pt x="134" y="40"/>
                  </a:lnTo>
                  <a:lnTo>
                    <a:pt x="134" y="44"/>
                  </a:lnTo>
                  <a:lnTo>
                    <a:pt x="138" y="44"/>
                  </a:lnTo>
                  <a:lnTo>
                    <a:pt x="142" y="44"/>
                  </a:lnTo>
                  <a:lnTo>
                    <a:pt x="146" y="44"/>
                  </a:lnTo>
                  <a:lnTo>
                    <a:pt x="146" y="48"/>
                  </a:lnTo>
                  <a:lnTo>
                    <a:pt x="150" y="50"/>
                  </a:lnTo>
                  <a:lnTo>
                    <a:pt x="150" y="48"/>
                  </a:lnTo>
                  <a:lnTo>
                    <a:pt x="154" y="50"/>
                  </a:lnTo>
                  <a:lnTo>
                    <a:pt x="150" y="54"/>
                  </a:lnTo>
                  <a:lnTo>
                    <a:pt x="146" y="54"/>
                  </a:lnTo>
                  <a:lnTo>
                    <a:pt x="142" y="54"/>
                  </a:lnTo>
                  <a:lnTo>
                    <a:pt x="138" y="54"/>
                  </a:lnTo>
                  <a:lnTo>
                    <a:pt x="134" y="58"/>
                  </a:lnTo>
                  <a:lnTo>
                    <a:pt x="130" y="58"/>
                  </a:lnTo>
                  <a:lnTo>
                    <a:pt x="130" y="54"/>
                  </a:lnTo>
                  <a:lnTo>
                    <a:pt x="128" y="54"/>
                  </a:lnTo>
                  <a:lnTo>
                    <a:pt x="124" y="54"/>
                  </a:lnTo>
                  <a:lnTo>
                    <a:pt x="120" y="54"/>
                  </a:lnTo>
                  <a:lnTo>
                    <a:pt x="116" y="54"/>
                  </a:lnTo>
                  <a:lnTo>
                    <a:pt x="112" y="54"/>
                  </a:lnTo>
                  <a:lnTo>
                    <a:pt x="112" y="58"/>
                  </a:lnTo>
                  <a:lnTo>
                    <a:pt x="112" y="54"/>
                  </a:lnTo>
                  <a:lnTo>
                    <a:pt x="112" y="58"/>
                  </a:lnTo>
                  <a:lnTo>
                    <a:pt x="108" y="54"/>
                  </a:lnTo>
                  <a:lnTo>
                    <a:pt x="108" y="58"/>
                  </a:lnTo>
                  <a:lnTo>
                    <a:pt x="104" y="58"/>
                  </a:lnTo>
                  <a:lnTo>
                    <a:pt x="100" y="58"/>
                  </a:lnTo>
                  <a:lnTo>
                    <a:pt x="100" y="54"/>
                  </a:lnTo>
                  <a:lnTo>
                    <a:pt x="104" y="54"/>
                  </a:lnTo>
                  <a:lnTo>
                    <a:pt x="104" y="50"/>
                  </a:lnTo>
                  <a:lnTo>
                    <a:pt x="108" y="50"/>
                  </a:lnTo>
                  <a:lnTo>
                    <a:pt x="108" y="48"/>
                  </a:lnTo>
                  <a:lnTo>
                    <a:pt x="112" y="48"/>
                  </a:lnTo>
                  <a:lnTo>
                    <a:pt x="108" y="44"/>
                  </a:lnTo>
                  <a:lnTo>
                    <a:pt x="104" y="44"/>
                  </a:lnTo>
                  <a:lnTo>
                    <a:pt x="100" y="44"/>
                  </a:lnTo>
                  <a:lnTo>
                    <a:pt x="100" y="40"/>
                  </a:lnTo>
                  <a:lnTo>
                    <a:pt x="98" y="40"/>
                  </a:lnTo>
                  <a:lnTo>
                    <a:pt x="98" y="44"/>
                  </a:lnTo>
                  <a:lnTo>
                    <a:pt x="94" y="40"/>
                  </a:lnTo>
                  <a:lnTo>
                    <a:pt x="94" y="38"/>
                  </a:lnTo>
                  <a:lnTo>
                    <a:pt x="90" y="38"/>
                  </a:lnTo>
                  <a:lnTo>
                    <a:pt x="90" y="34"/>
                  </a:lnTo>
                  <a:lnTo>
                    <a:pt x="90" y="30"/>
                  </a:lnTo>
                  <a:lnTo>
                    <a:pt x="90" y="30"/>
                  </a:lnTo>
                  <a:lnTo>
                    <a:pt x="90" y="30"/>
                  </a:lnTo>
                  <a:close/>
                  <a:moveTo>
                    <a:pt x="78" y="10"/>
                  </a:moveTo>
                  <a:lnTo>
                    <a:pt x="78" y="8"/>
                  </a:lnTo>
                  <a:lnTo>
                    <a:pt x="74" y="8"/>
                  </a:lnTo>
                  <a:lnTo>
                    <a:pt x="78" y="8"/>
                  </a:lnTo>
                  <a:lnTo>
                    <a:pt x="78" y="10"/>
                  </a:lnTo>
                  <a:lnTo>
                    <a:pt x="78" y="10"/>
                  </a:lnTo>
                  <a:lnTo>
                    <a:pt x="78" y="10"/>
                  </a:lnTo>
                  <a:close/>
                  <a:moveTo>
                    <a:pt x="90" y="14"/>
                  </a:moveTo>
                  <a:lnTo>
                    <a:pt x="94" y="10"/>
                  </a:lnTo>
                  <a:lnTo>
                    <a:pt x="90" y="10"/>
                  </a:lnTo>
                  <a:lnTo>
                    <a:pt x="86" y="10"/>
                  </a:lnTo>
                  <a:lnTo>
                    <a:pt x="90" y="10"/>
                  </a:lnTo>
                  <a:lnTo>
                    <a:pt x="94" y="10"/>
                  </a:lnTo>
                  <a:lnTo>
                    <a:pt x="90" y="10"/>
                  </a:lnTo>
                  <a:lnTo>
                    <a:pt x="90" y="14"/>
                  </a:lnTo>
                  <a:lnTo>
                    <a:pt x="90" y="14"/>
                  </a:lnTo>
                  <a:lnTo>
                    <a:pt x="90" y="14"/>
                  </a:lnTo>
                  <a:close/>
                  <a:moveTo>
                    <a:pt x="98" y="14"/>
                  </a:moveTo>
                  <a:lnTo>
                    <a:pt x="94" y="14"/>
                  </a:lnTo>
                  <a:lnTo>
                    <a:pt x="94" y="10"/>
                  </a:lnTo>
                  <a:lnTo>
                    <a:pt x="98" y="10"/>
                  </a:lnTo>
                  <a:lnTo>
                    <a:pt x="98" y="14"/>
                  </a:lnTo>
                  <a:lnTo>
                    <a:pt x="98" y="14"/>
                  </a:lnTo>
                  <a:lnTo>
                    <a:pt x="98" y="14"/>
                  </a:lnTo>
                  <a:close/>
                  <a:moveTo>
                    <a:pt x="100" y="18"/>
                  </a:moveTo>
                  <a:lnTo>
                    <a:pt x="98" y="18"/>
                  </a:lnTo>
                  <a:lnTo>
                    <a:pt x="98" y="14"/>
                  </a:lnTo>
                  <a:lnTo>
                    <a:pt x="100" y="14"/>
                  </a:lnTo>
                  <a:lnTo>
                    <a:pt x="100" y="18"/>
                  </a:lnTo>
                  <a:lnTo>
                    <a:pt x="100" y="18"/>
                  </a:lnTo>
                  <a:lnTo>
                    <a:pt x="100" y="18"/>
                  </a:lnTo>
                  <a:close/>
                  <a:moveTo>
                    <a:pt x="100" y="22"/>
                  </a:moveTo>
                  <a:lnTo>
                    <a:pt x="98" y="18"/>
                  </a:lnTo>
                  <a:lnTo>
                    <a:pt x="100" y="18"/>
                  </a:lnTo>
                  <a:lnTo>
                    <a:pt x="100" y="22"/>
                  </a:lnTo>
                  <a:lnTo>
                    <a:pt x="100" y="22"/>
                  </a:lnTo>
                  <a:lnTo>
                    <a:pt x="100" y="22"/>
                  </a:lnTo>
                  <a:close/>
                  <a:moveTo>
                    <a:pt x="26" y="30"/>
                  </a:moveTo>
                  <a:lnTo>
                    <a:pt x="22" y="30"/>
                  </a:lnTo>
                  <a:lnTo>
                    <a:pt x="22" y="26"/>
                  </a:lnTo>
                  <a:lnTo>
                    <a:pt x="26" y="26"/>
                  </a:lnTo>
                  <a:lnTo>
                    <a:pt x="26" y="30"/>
                  </a:lnTo>
                  <a:lnTo>
                    <a:pt x="26" y="26"/>
                  </a:lnTo>
                  <a:lnTo>
                    <a:pt x="26" y="22"/>
                  </a:lnTo>
                  <a:lnTo>
                    <a:pt x="30" y="22"/>
                  </a:lnTo>
                  <a:lnTo>
                    <a:pt x="30" y="26"/>
                  </a:lnTo>
                  <a:lnTo>
                    <a:pt x="34" y="26"/>
                  </a:lnTo>
                  <a:lnTo>
                    <a:pt x="34" y="30"/>
                  </a:lnTo>
                  <a:lnTo>
                    <a:pt x="30" y="30"/>
                  </a:lnTo>
                  <a:lnTo>
                    <a:pt x="26" y="30"/>
                  </a:lnTo>
                  <a:lnTo>
                    <a:pt x="26" y="30"/>
                  </a:lnTo>
                  <a:lnTo>
                    <a:pt x="26" y="3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78" name="Freeform 71"/>
            <p:cNvSpPr>
              <a:spLocks noEditPoints="1"/>
            </p:cNvSpPr>
            <p:nvPr/>
          </p:nvSpPr>
          <p:spPr bwMode="auto">
            <a:xfrm>
              <a:off x="6402256" y="3934231"/>
              <a:ext cx="31399" cy="27459"/>
            </a:xfrm>
            <a:custGeom>
              <a:avLst/>
              <a:gdLst>
                <a:gd name="T0" fmla="*/ 24 w 50"/>
                <a:gd name="T1" fmla="*/ 30 h 42"/>
                <a:gd name="T2" fmla="*/ 22 w 50"/>
                <a:gd name="T3" fmla="*/ 30 h 42"/>
                <a:gd name="T4" fmla="*/ 18 w 50"/>
                <a:gd name="T5" fmla="*/ 30 h 42"/>
                <a:gd name="T6" fmla="*/ 18 w 50"/>
                <a:gd name="T7" fmla="*/ 30 h 42"/>
                <a:gd name="T8" fmla="*/ 18 w 50"/>
                <a:gd name="T9" fmla="*/ 26 h 42"/>
                <a:gd name="T10" fmla="*/ 18 w 50"/>
                <a:gd name="T11" fmla="*/ 30 h 42"/>
                <a:gd name="T12" fmla="*/ 14 w 50"/>
                <a:gd name="T13" fmla="*/ 30 h 42"/>
                <a:gd name="T14" fmla="*/ 10 w 50"/>
                <a:gd name="T15" fmla="*/ 30 h 42"/>
                <a:gd name="T16" fmla="*/ 10 w 50"/>
                <a:gd name="T17" fmla="*/ 34 h 42"/>
                <a:gd name="T18" fmla="*/ 10 w 50"/>
                <a:gd name="T19" fmla="*/ 38 h 42"/>
                <a:gd name="T20" fmla="*/ 2 w 50"/>
                <a:gd name="T21" fmla="*/ 38 h 42"/>
                <a:gd name="T22" fmla="*/ 2 w 50"/>
                <a:gd name="T23" fmla="*/ 34 h 42"/>
                <a:gd name="T24" fmla="*/ 2 w 50"/>
                <a:gd name="T25" fmla="*/ 30 h 42"/>
                <a:gd name="T26" fmla="*/ 0 w 50"/>
                <a:gd name="T27" fmla="*/ 26 h 42"/>
                <a:gd name="T28" fmla="*/ 0 w 50"/>
                <a:gd name="T29" fmla="*/ 26 h 42"/>
                <a:gd name="T30" fmla="*/ 0 w 50"/>
                <a:gd name="T31" fmla="*/ 26 h 42"/>
                <a:gd name="T32" fmla="*/ 2 w 50"/>
                <a:gd name="T33" fmla="*/ 24 h 42"/>
                <a:gd name="T34" fmla="*/ 2 w 50"/>
                <a:gd name="T35" fmla="*/ 24 h 42"/>
                <a:gd name="T36" fmla="*/ 2 w 50"/>
                <a:gd name="T37" fmla="*/ 16 h 42"/>
                <a:gd name="T38" fmla="*/ 2 w 50"/>
                <a:gd name="T39" fmla="*/ 16 h 42"/>
                <a:gd name="T40" fmla="*/ 2 w 50"/>
                <a:gd name="T41" fmla="*/ 8 h 42"/>
                <a:gd name="T42" fmla="*/ 2 w 50"/>
                <a:gd name="T43" fmla="*/ 8 h 42"/>
                <a:gd name="T44" fmla="*/ 2 w 50"/>
                <a:gd name="T45" fmla="*/ 4 h 42"/>
                <a:gd name="T46" fmla="*/ 2 w 50"/>
                <a:gd name="T47" fmla="*/ 4 h 42"/>
                <a:gd name="T48" fmla="*/ 6 w 50"/>
                <a:gd name="T49" fmla="*/ 0 h 42"/>
                <a:gd name="T50" fmla="*/ 10 w 50"/>
                <a:gd name="T51" fmla="*/ 4 h 42"/>
                <a:gd name="T52" fmla="*/ 10 w 50"/>
                <a:gd name="T53" fmla="*/ 0 h 42"/>
                <a:gd name="T54" fmla="*/ 14 w 50"/>
                <a:gd name="T55" fmla="*/ 0 h 42"/>
                <a:gd name="T56" fmla="*/ 18 w 50"/>
                <a:gd name="T57" fmla="*/ 4 h 42"/>
                <a:gd name="T58" fmla="*/ 22 w 50"/>
                <a:gd name="T59" fmla="*/ 4 h 42"/>
                <a:gd name="T60" fmla="*/ 24 w 50"/>
                <a:gd name="T61" fmla="*/ 8 h 42"/>
                <a:gd name="T62" fmla="*/ 24 w 50"/>
                <a:gd name="T63" fmla="*/ 4 h 42"/>
                <a:gd name="T64" fmla="*/ 28 w 50"/>
                <a:gd name="T65" fmla="*/ 8 h 42"/>
                <a:gd name="T66" fmla="*/ 28 w 50"/>
                <a:gd name="T67" fmla="*/ 12 h 42"/>
                <a:gd name="T68" fmla="*/ 28 w 50"/>
                <a:gd name="T69" fmla="*/ 12 h 42"/>
                <a:gd name="T70" fmla="*/ 36 w 50"/>
                <a:gd name="T71" fmla="*/ 12 h 42"/>
                <a:gd name="T72" fmla="*/ 40 w 50"/>
                <a:gd name="T73" fmla="*/ 12 h 42"/>
                <a:gd name="T74" fmla="*/ 32 w 50"/>
                <a:gd name="T75" fmla="*/ 16 h 42"/>
                <a:gd name="T76" fmla="*/ 32 w 50"/>
                <a:gd name="T77" fmla="*/ 16 h 42"/>
                <a:gd name="T78" fmla="*/ 36 w 50"/>
                <a:gd name="T79" fmla="*/ 16 h 42"/>
                <a:gd name="T80" fmla="*/ 36 w 50"/>
                <a:gd name="T81" fmla="*/ 16 h 42"/>
                <a:gd name="T82" fmla="*/ 40 w 50"/>
                <a:gd name="T83" fmla="*/ 20 h 42"/>
                <a:gd name="T84" fmla="*/ 44 w 50"/>
                <a:gd name="T85" fmla="*/ 20 h 42"/>
                <a:gd name="T86" fmla="*/ 48 w 50"/>
                <a:gd name="T87" fmla="*/ 24 h 42"/>
                <a:gd name="T88" fmla="*/ 50 w 50"/>
                <a:gd name="T89" fmla="*/ 26 h 42"/>
                <a:gd name="T90" fmla="*/ 48 w 50"/>
                <a:gd name="T91" fmla="*/ 30 h 42"/>
                <a:gd name="T92" fmla="*/ 48 w 50"/>
                <a:gd name="T93" fmla="*/ 30 h 42"/>
                <a:gd name="T94" fmla="*/ 44 w 50"/>
                <a:gd name="T95" fmla="*/ 30 h 42"/>
                <a:gd name="T96" fmla="*/ 44 w 50"/>
                <a:gd name="T97" fmla="*/ 30 h 42"/>
                <a:gd name="T98" fmla="*/ 40 w 50"/>
                <a:gd name="T99" fmla="*/ 30 h 42"/>
                <a:gd name="T100" fmla="*/ 32 w 50"/>
                <a:gd name="T101" fmla="*/ 26 h 42"/>
                <a:gd name="T102" fmla="*/ 28 w 50"/>
                <a:gd name="T103" fmla="*/ 26 h 42"/>
                <a:gd name="T104" fmla="*/ 24 w 50"/>
                <a:gd name="T105" fmla="*/ 26 h 42"/>
                <a:gd name="T106" fmla="*/ 44 w 50"/>
                <a:gd name="T107" fmla="*/ 34 h 42"/>
                <a:gd name="T108" fmla="*/ 44 w 50"/>
                <a:gd name="T109" fmla="*/ 34 h 42"/>
                <a:gd name="T110" fmla="*/ 48 w 50"/>
                <a:gd name="T11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 h="42">
                  <a:moveTo>
                    <a:pt x="24" y="26"/>
                  </a:moveTo>
                  <a:lnTo>
                    <a:pt x="24" y="26"/>
                  </a:lnTo>
                  <a:lnTo>
                    <a:pt x="24" y="26"/>
                  </a:lnTo>
                  <a:lnTo>
                    <a:pt x="24" y="30"/>
                  </a:lnTo>
                  <a:lnTo>
                    <a:pt x="24" y="30"/>
                  </a:lnTo>
                  <a:lnTo>
                    <a:pt x="24" y="30"/>
                  </a:lnTo>
                  <a:lnTo>
                    <a:pt x="24" y="30"/>
                  </a:lnTo>
                  <a:lnTo>
                    <a:pt x="24" y="30"/>
                  </a:lnTo>
                  <a:lnTo>
                    <a:pt x="24"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8" y="26"/>
                  </a:lnTo>
                  <a:lnTo>
                    <a:pt x="18" y="26"/>
                  </a:lnTo>
                  <a:lnTo>
                    <a:pt x="18" y="26"/>
                  </a:lnTo>
                  <a:lnTo>
                    <a:pt x="18" y="26"/>
                  </a:lnTo>
                  <a:lnTo>
                    <a:pt x="18" y="30"/>
                  </a:lnTo>
                  <a:lnTo>
                    <a:pt x="18" y="30"/>
                  </a:lnTo>
                  <a:lnTo>
                    <a:pt x="18" y="30"/>
                  </a:lnTo>
                  <a:lnTo>
                    <a:pt x="18" y="30"/>
                  </a:lnTo>
                  <a:lnTo>
                    <a:pt x="18" y="30"/>
                  </a:lnTo>
                  <a:lnTo>
                    <a:pt x="18" y="30"/>
                  </a:lnTo>
                  <a:lnTo>
                    <a:pt x="14" y="30"/>
                  </a:lnTo>
                  <a:lnTo>
                    <a:pt x="14" y="30"/>
                  </a:lnTo>
                  <a:lnTo>
                    <a:pt x="14" y="30"/>
                  </a:lnTo>
                  <a:lnTo>
                    <a:pt x="10" y="30"/>
                  </a:lnTo>
                  <a:lnTo>
                    <a:pt x="10" y="30"/>
                  </a:lnTo>
                  <a:lnTo>
                    <a:pt x="10" y="30"/>
                  </a:lnTo>
                  <a:lnTo>
                    <a:pt x="10" y="30"/>
                  </a:lnTo>
                  <a:lnTo>
                    <a:pt x="10" y="30"/>
                  </a:lnTo>
                  <a:lnTo>
                    <a:pt x="10" y="30"/>
                  </a:lnTo>
                  <a:lnTo>
                    <a:pt x="10" y="30"/>
                  </a:lnTo>
                  <a:lnTo>
                    <a:pt x="10" y="30"/>
                  </a:lnTo>
                  <a:lnTo>
                    <a:pt x="10" y="30"/>
                  </a:lnTo>
                  <a:lnTo>
                    <a:pt x="10" y="34"/>
                  </a:lnTo>
                  <a:lnTo>
                    <a:pt x="10" y="34"/>
                  </a:lnTo>
                  <a:lnTo>
                    <a:pt x="10" y="34"/>
                  </a:lnTo>
                  <a:lnTo>
                    <a:pt x="10" y="34"/>
                  </a:lnTo>
                  <a:lnTo>
                    <a:pt x="10" y="38"/>
                  </a:lnTo>
                  <a:lnTo>
                    <a:pt x="10" y="38"/>
                  </a:lnTo>
                  <a:lnTo>
                    <a:pt x="10" y="38"/>
                  </a:lnTo>
                  <a:lnTo>
                    <a:pt x="10" y="38"/>
                  </a:lnTo>
                  <a:lnTo>
                    <a:pt x="10" y="38"/>
                  </a:lnTo>
                  <a:lnTo>
                    <a:pt x="10" y="38"/>
                  </a:lnTo>
                  <a:lnTo>
                    <a:pt x="6" y="42"/>
                  </a:lnTo>
                  <a:lnTo>
                    <a:pt x="6" y="42"/>
                  </a:lnTo>
                  <a:lnTo>
                    <a:pt x="6" y="42"/>
                  </a:lnTo>
                  <a:lnTo>
                    <a:pt x="2" y="38"/>
                  </a:lnTo>
                  <a:lnTo>
                    <a:pt x="2" y="38"/>
                  </a:lnTo>
                  <a:lnTo>
                    <a:pt x="2" y="38"/>
                  </a:lnTo>
                  <a:lnTo>
                    <a:pt x="2" y="34"/>
                  </a:lnTo>
                  <a:lnTo>
                    <a:pt x="2" y="34"/>
                  </a:lnTo>
                  <a:lnTo>
                    <a:pt x="2" y="34"/>
                  </a:lnTo>
                  <a:lnTo>
                    <a:pt x="2" y="34"/>
                  </a:lnTo>
                  <a:lnTo>
                    <a:pt x="2" y="34"/>
                  </a:lnTo>
                  <a:lnTo>
                    <a:pt x="2" y="34"/>
                  </a:lnTo>
                  <a:lnTo>
                    <a:pt x="2" y="34"/>
                  </a:lnTo>
                  <a:lnTo>
                    <a:pt x="2" y="34"/>
                  </a:lnTo>
                  <a:lnTo>
                    <a:pt x="2" y="30"/>
                  </a:lnTo>
                  <a:lnTo>
                    <a:pt x="2" y="30"/>
                  </a:lnTo>
                  <a:lnTo>
                    <a:pt x="2" y="30"/>
                  </a:lnTo>
                  <a:lnTo>
                    <a:pt x="2" y="30"/>
                  </a:lnTo>
                  <a:lnTo>
                    <a:pt x="2" y="30"/>
                  </a:lnTo>
                  <a:lnTo>
                    <a:pt x="2" y="30"/>
                  </a:lnTo>
                  <a:lnTo>
                    <a:pt x="2" y="30"/>
                  </a:lnTo>
                  <a:lnTo>
                    <a:pt x="0" y="30"/>
                  </a:lnTo>
                  <a:lnTo>
                    <a:pt x="0" y="26"/>
                  </a:lnTo>
                  <a:lnTo>
                    <a:pt x="0" y="26"/>
                  </a:lnTo>
                  <a:lnTo>
                    <a:pt x="0" y="26"/>
                  </a:lnTo>
                  <a:lnTo>
                    <a:pt x="0" y="26"/>
                  </a:lnTo>
                  <a:lnTo>
                    <a:pt x="0" y="26"/>
                  </a:lnTo>
                  <a:lnTo>
                    <a:pt x="0" y="26"/>
                  </a:lnTo>
                  <a:lnTo>
                    <a:pt x="0" y="26"/>
                  </a:lnTo>
                  <a:lnTo>
                    <a:pt x="0" y="26"/>
                  </a:lnTo>
                  <a:lnTo>
                    <a:pt x="0" y="24"/>
                  </a:lnTo>
                  <a:lnTo>
                    <a:pt x="0" y="24"/>
                  </a:lnTo>
                  <a:lnTo>
                    <a:pt x="0" y="24"/>
                  </a:lnTo>
                  <a:lnTo>
                    <a:pt x="0" y="24"/>
                  </a:lnTo>
                  <a:lnTo>
                    <a:pt x="0" y="26"/>
                  </a:lnTo>
                  <a:lnTo>
                    <a:pt x="0" y="24"/>
                  </a:lnTo>
                  <a:lnTo>
                    <a:pt x="0" y="24"/>
                  </a:lnTo>
                  <a:lnTo>
                    <a:pt x="0" y="24"/>
                  </a:lnTo>
                  <a:lnTo>
                    <a:pt x="2" y="24"/>
                  </a:lnTo>
                  <a:lnTo>
                    <a:pt x="2" y="24"/>
                  </a:lnTo>
                  <a:lnTo>
                    <a:pt x="2" y="24"/>
                  </a:lnTo>
                  <a:lnTo>
                    <a:pt x="2" y="24"/>
                  </a:lnTo>
                  <a:lnTo>
                    <a:pt x="2" y="24"/>
                  </a:lnTo>
                  <a:lnTo>
                    <a:pt x="2" y="24"/>
                  </a:lnTo>
                  <a:lnTo>
                    <a:pt x="2" y="24"/>
                  </a:lnTo>
                  <a:lnTo>
                    <a:pt x="2" y="24"/>
                  </a:lnTo>
                  <a:lnTo>
                    <a:pt x="2" y="24"/>
                  </a:lnTo>
                  <a:lnTo>
                    <a:pt x="2" y="24"/>
                  </a:lnTo>
                  <a:lnTo>
                    <a:pt x="2" y="20"/>
                  </a:lnTo>
                  <a:lnTo>
                    <a:pt x="2" y="20"/>
                  </a:lnTo>
                  <a:lnTo>
                    <a:pt x="2" y="20"/>
                  </a:lnTo>
                  <a:lnTo>
                    <a:pt x="2" y="16"/>
                  </a:lnTo>
                  <a:lnTo>
                    <a:pt x="2" y="16"/>
                  </a:lnTo>
                  <a:lnTo>
                    <a:pt x="2" y="16"/>
                  </a:lnTo>
                  <a:lnTo>
                    <a:pt x="2" y="16"/>
                  </a:lnTo>
                  <a:lnTo>
                    <a:pt x="2" y="16"/>
                  </a:lnTo>
                  <a:lnTo>
                    <a:pt x="2" y="16"/>
                  </a:lnTo>
                  <a:lnTo>
                    <a:pt x="2" y="16"/>
                  </a:lnTo>
                  <a:lnTo>
                    <a:pt x="2" y="16"/>
                  </a:lnTo>
                  <a:lnTo>
                    <a:pt x="2" y="16"/>
                  </a:lnTo>
                  <a:lnTo>
                    <a:pt x="2" y="12"/>
                  </a:lnTo>
                  <a:lnTo>
                    <a:pt x="2" y="12"/>
                  </a:lnTo>
                  <a:lnTo>
                    <a:pt x="2" y="12"/>
                  </a:lnTo>
                  <a:lnTo>
                    <a:pt x="2" y="12"/>
                  </a:lnTo>
                  <a:lnTo>
                    <a:pt x="2" y="8"/>
                  </a:lnTo>
                  <a:lnTo>
                    <a:pt x="2" y="8"/>
                  </a:lnTo>
                  <a:lnTo>
                    <a:pt x="2" y="8"/>
                  </a:lnTo>
                  <a:lnTo>
                    <a:pt x="2" y="8"/>
                  </a:lnTo>
                  <a:lnTo>
                    <a:pt x="2" y="8"/>
                  </a:lnTo>
                  <a:lnTo>
                    <a:pt x="2" y="8"/>
                  </a:lnTo>
                  <a:lnTo>
                    <a:pt x="2" y="8"/>
                  </a:lnTo>
                  <a:lnTo>
                    <a:pt x="2" y="8"/>
                  </a:lnTo>
                  <a:lnTo>
                    <a:pt x="2" y="8"/>
                  </a:lnTo>
                  <a:lnTo>
                    <a:pt x="2" y="8"/>
                  </a:lnTo>
                  <a:lnTo>
                    <a:pt x="2" y="4"/>
                  </a:lnTo>
                  <a:lnTo>
                    <a:pt x="2" y="4"/>
                  </a:lnTo>
                  <a:lnTo>
                    <a:pt x="2" y="4"/>
                  </a:lnTo>
                  <a:lnTo>
                    <a:pt x="2" y="4"/>
                  </a:lnTo>
                  <a:lnTo>
                    <a:pt x="2" y="4"/>
                  </a:lnTo>
                  <a:lnTo>
                    <a:pt x="2" y="4"/>
                  </a:lnTo>
                  <a:lnTo>
                    <a:pt x="2" y="4"/>
                  </a:lnTo>
                  <a:lnTo>
                    <a:pt x="2" y="4"/>
                  </a:lnTo>
                  <a:lnTo>
                    <a:pt x="2" y="4"/>
                  </a:lnTo>
                  <a:lnTo>
                    <a:pt x="2" y="4"/>
                  </a:lnTo>
                  <a:lnTo>
                    <a:pt x="2" y="0"/>
                  </a:lnTo>
                  <a:lnTo>
                    <a:pt x="2" y="0"/>
                  </a:lnTo>
                  <a:lnTo>
                    <a:pt x="2" y="0"/>
                  </a:lnTo>
                  <a:lnTo>
                    <a:pt x="6" y="0"/>
                  </a:lnTo>
                  <a:lnTo>
                    <a:pt x="6" y="0"/>
                  </a:lnTo>
                  <a:lnTo>
                    <a:pt x="6" y="0"/>
                  </a:lnTo>
                  <a:lnTo>
                    <a:pt x="6" y="0"/>
                  </a:lnTo>
                  <a:lnTo>
                    <a:pt x="6" y="4"/>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4" y="0"/>
                  </a:lnTo>
                  <a:lnTo>
                    <a:pt x="14" y="0"/>
                  </a:lnTo>
                  <a:lnTo>
                    <a:pt x="14" y="4"/>
                  </a:lnTo>
                  <a:lnTo>
                    <a:pt x="14" y="4"/>
                  </a:lnTo>
                  <a:lnTo>
                    <a:pt x="18" y="4"/>
                  </a:lnTo>
                  <a:lnTo>
                    <a:pt x="18" y="4"/>
                  </a:lnTo>
                  <a:lnTo>
                    <a:pt x="18" y="4"/>
                  </a:lnTo>
                  <a:lnTo>
                    <a:pt x="18" y="4"/>
                  </a:lnTo>
                  <a:lnTo>
                    <a:pt x="22" y="4"/>
                  </a:lnTo>
                  <a:lnTo>
                    <a:pt x="22" y="4"/>
                  </a:lnTo>
                  <a:lnTo>
                    <a:pt x="22" y="4"/>
                  </a:lnTo>
                  <a:lnTo>
                    <a:pt x="22" y="4"/>
                  </a:lnTo>
                  <a:lnTo>
                    <a:pt x="22" y="4"/>
                  </a:lnTo>
                  <a:lnTo>
                    <a:pt x="22" y="4"/>
                  </a:lnTo>
                  <a:lnTo>
                    <a:pt x="22" y="8"/>
                  </a:lnTo>
                  <a:lnTo>
                    <a:pt x="22" y="8"/>
                  </a:lnTo>
                  <a:lnTo>
                    <a:pt x="22" y="8"/>
                  </a:lnTo>
                  <a:lnTo>
                    <a:pt x="22" y="8"/>
                  </a:lnTo>
                  <a:lnTo>
                    <a:pt x="24" y="8"/>
                  </a:lnTo>
                  <a:lnTo>
                    <a:pt x="24" y="8"/>
                  </a:lnTo>
                  <a:lnTo>
                    <a:pt x="24" y="8"/>
                  </a:lnTo>
                  <a:lnTo>
                    <a:pt x="24" y="8"/>
                  </a:lnTo>
                  <a:lnTo>
                    <a:pt x="24" y="8"/>
                  </a:lnTo>
                  <a:lnTo>
                    <a:pt x="24" y="8"/>
                  </a:lnTo>
                  <a:lnTo>
                    <a:pt x="24" y="8"/>
                  </a:lnTo>
                  <a:lnTo>
                    <a:pt x="24" y="4"/>
                  </a:lnTo>
                  <a:lnTo>
                    <a:pt x="24" y="4"/>
                  </a:lnTo>
                  <a:lnTo>
                    <a:pt x="24" y="4"/>
                  </a:lnTo>
                  <a:lnTo>
                    <a:pt x="28" y="4"/>
                  </a:lnTo>
                  <a:lnTo>
                    <a:pt x="28" y="4"/>
                  </a:lnTo>
                  <a:lnTo>
                    <a:pt x="28" y="8"/>
                  </a:lnTo>
                  <a:lnTo>
                    <a:pt x="28" y="8"/>
                  </a:lnTo>
                  <a:lnTo>
                    <a:pt x="28" y="8"/>
                  </a:lnTo>
                  <a:lnTo>
                    <a:pt x="28" y="8"/>
                  </a:lnTo>
                  <a:lnTo>
                    <a:pt x="28" y="8"/>
                  </a:lnTo>
                  <a:lnTo>
                    <a:pt x="28" y="12"/>
                  </a:lnTo>
                  <a:lnTo>
                    <a:pt x="28" y="12"/>
                  </a:lnTo>
                  <a:lnTo>
                    <a:pt x="28" y="12"/>
                  </a:lnTo>
                  <a:lnTo>
                    <a:pt x="28" y="12"/>
                  </a:lnTo>
                  <a:lnTo>
                    <a:pt x="28" y="12"/>
                  </a:lnTo>
                  <a:lnTo>
                    <a:pt x="28" y="12"/>
                  </a:lnTo>
                  <a:lnTo>
                    <a:pt x="28" y="12"/>
                  </a:lnTo>
                  <a:lnTo>
                    <a:pt x="28" y="12"/>
                  </a:lnTo>
                  <a:lnTo>
                    <a:pt x="28" y="12"/>
                  </a:lnTo>
                  <a:lnTo>
                    <a:pt x="28" y="12"/>
                  </a:lnTo>
                  <a:lnTo>
                    <a:pt x="32" y="12"/>
                  </a:lnTo>
                  <a:lnTo>
                    <a:pt x="32" y="12"/>
                  </a:lnTo>
                  <a:lnTo>
                    <a:pt x="32" y="12"/>
                  </a:lnTo>
                  <a:lnTo>
                    <a:pt x="32" y="12"/>
                  </a:lnTo>
                  <a:lnTo>
                    <a:pt x="36" y="12"/>
                  </a:lnTo>
                  <a:lnTo>
                    <a:pt x="36" y="12"/>
                  </a:lnTo>
                  <a:lnTo>
                    <a:pt x="36" y="12"/>
                  </a:lnTo>
                  <a:lnTo>
                    <a:pt x="36" y="12"/>
                  </a:lnTo>
                  <a:lnTo>
                    <a:pt x="36" y="12"/>
                  </a:lnTo>
                  <a:lnTo>
                    <a:pt x="40" y="12"/>
                  </a:lnTo>
                  <a:lnTo>
                    <a:pt x="40" y="12"/>
                  </a:lnTo>
                  <a:lnTo>
                    <a:pt x="40" y="12"/>
                  </a:lnTo>
                  <a:lnTo>
                    <a:pt x="36" y="16"/>
                  </a:lnTo>
                  <a:lnTo>
                    <a:pt x="36" y="16"/>
                  </a:lnTo>
                  <a:lnTo>
                    <a:pt x="36" y="16"/>
                  </a:lnTo>
                  <a:lnTo>
                    <a:pt x="36"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36" y="16"/>
                  </a:lnTo>
                  <a:lnTo>
                    <a:pt x="36" y="16"/>
                  </a:lnTo>
                  <a:lnTo>
                    <a:pt x="36" y="20"/>
                  </a:lnTo>
                  <a:lnTo>
                    <a:pt x="36" y="20"/>
                  </a:lnTo>
                  <a:lnTo>
                    <a:pt x="36" y="20"/>
                  </a:lnTo>
                  <a:lnTo>
                    <a:pt x="40" y="20"/>
                  </a:lnTo>
                  <a:lnTo>
                    <a:pt x="40" y="20"/>
                  </a:lnTo>
                  <a:lnTo>
                    <a:pt x="40" y="20"/>
                  </a:lnTo>
                  <a:lnTo>
                    <a:pt x="44" y="20"/>
                  </a:lnTo>
                  <a:lnTo>
                    <a:pt x="44" y="20"/>
                  </a:lnTo>
                  <a:lnTo>
                    <a:pt x="44" y="20"/>
                  </a:lnTo>
                  <a:lnTo>
                    <a:pt x="44" y="20"/>
                  </a:lnTo>
                  <a:lnTo>
                    <a:pt x="44" y="20"/>
                  </a:lnTo>
                  <a:lnTo>
                    <a:pt x="44" y="20"/>
                  </a:lnTo>
                  <a:lnTo>
                    <a:pt x="44" y="20"/>
                  </a:lnTo>
                  <a:lnTo>
                    <a:pt x="48" y="24"/>
                  </a:lnTo>
                  <a:lnTo>
                    <a:pt x="48" y="24"/>
                  </a:lnTo>
                  <a:lnTo>
                    <a:pt x="48" y="24"/>
                  </a:lnTo>
                  <a:lnTo>
                    <a:pt x="48" y="24"/>
                  </a:lnTo>
                  <a:lnTo>
                    <a:pt x="50" y="24"/>
                  </a:lnTo>
                  <a:lnTo>
                    <a:pt x="50" y="24"/>
                  </a:lnTo>
                  <a:lnTo>
                    <a:pt x="50" y="24"/>
                  </a:lnTo>
                  <a:lnTo>
                    <a:pt x="50" y="26"/>
                  </a:lnTo>
                  <a:lnTo>
                    <a:pt x="50" y="26"/>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8"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30"/>
                  </a:lnTo>
                  <a:lnTo>
                    <a:pt x="44" y="26"/>
                  </a:lnTo>
                  <a:lnTo>
                    <a:pt x="44" y="26"/>
                  </a:lnTo>
                  <a:lnTo>
                    <a:pt x="40" y="26"/>
                  </a:lnTo>
                  <a:lnTo>
                    <a:pt x="40" y="26"/>
                  </a:lnTo>
                  <a:lnTo>
                    <a:pt x="40" y="30"/>
                  </a:lnTo>
                  <a:lnTo>
                    <a:pt x="40" y="30"/>
                  </a:lnTo>
                  <a:lnTo>
                    <a:pt x="40" y="30"/>
                  </a:lnTo>
                  <a:lnTo>
                    <a:pt x="40" y="26"/>
                  </a:lnTo>
                  <a:lnTo>
                    <a:pt x="36" y="26"/>
                  </a:lnTo>
                  <a:lnTo>
                    <a:pt x="36" y="26"/>
                  </a:lnTo>
                  <a:lnTo>
                    <a:pt x="32" y="26"/>
                  </a:lnTo>
                  <a:lnTo>
                    <a:pt x="32" y="26"/>
                  </a:lnTo>
                  <a:lnTo>
                    <a:pt x="32" y="26"/>
                  </a:lnTo>
                  <a:lnTo>
                    <a:pt x="32" y="26"/>
                  </a:lnTo>
                  <a:lnTo>
                    <a:pt x="28" y="26"/>
                  </a:lnTo>
                  <a:lnTo>
                    <a:pt x="28" y="26"/>
                  </a:lnTo>
                  <a:lnTo>
                    <a:pt x="28" y="26"/>
                  </a:lnTo>
                  <a:lnTo>
                    <a:pt x="28" y="26"/>
                  </a:lnTo>
                  <a:lnTo>
                    <a:pt x="28" y="26"/>
                  </a:lnTo>
                  <a:lnTo>
                    <a:pt x="28" y="26"/>
                  </a:lnTo>
                  <a:lnTo>
                    <a:pt x="28" y="26"/>
                  </a:lnTo>
                  <a:lnTo>
                    <a:pt x="24" y="26"/>
                  </a:lnTo>
                  <a:lnTo>
                    <a:pt x="24" y="26"/>
                  </a:lnTo>
                  <a:lnTo>
                    <a:pt x="24" y="26"/>
                  </a:lnTo>
                  <a:close/>
                  <a:moveTo>
                    <a:pt x="48" y="34"/>
                  </a:moveTo>
                  <a:lnTo>
                    <a:pt x="48" y="34"/>
                  </a:lnTo>
                  <a:lnTo>
                    <a:pt x="48" y="34"/>
                  </a:lnTo>
                  <a:lnTo>
                    <a:pt x="48" y="34"/>
                  </a:lnTo>
                  <a:lnTo>
                    <a:pt x="44" y="34"/>
                  </a:lnTo>
                  <a:lnTo>
                    <a:pt x="44" y="34"/>
                  </a:lnTo>
                  <a:lnTo>
                    <a:pt x="44" y="34"/>
                  </a:lnTo>
                  <a:lnTo>
                    <a:pt x="44" y="34"/>
                  </a:lnTo>
                  <a:lnTo>
                    <a:pt x="44" y="34"/>
                  </a:lnTo>
                  <a:lnTo>
                    <a:pt x="44" y="34"/>
                  </a:lnTo>
                  <a:lnTo>
                    <a:pt x="44" y="34"/>
                  </a:lnTo>
                  <a:lnTo>
                    <a:pt x="44" y="34"/>
                  </a:lnTo>
                  <a:lnTo>
                    <a:pt x="44" y="30"/>
                  </a:lnTo>
                  <a:lnTo>
                    <a:pt x="48" y="34"/>
                  </a:lnTo>
                  <a:lnTo>
                    <a:pt x="48" y="34"/>
                  </a:lnTo>
                  <a:lnTo>
                    <a:pt x="48" y="34"/>
                  </a:lnTo>
                  <a:lnTo>
                    <a:pt x="48" y="34"/>
                  </a:lnTo>
                  <a:lnTo>
                    <a:pt x="48" y="34"/>
                  </a:lnTo>
                  <a:lnTo>
                    <a:pt x="48" y="34"/>
                  </a:lnTo>
                  <a:lnTo>
                    <a:pt x="48" y="34"/>
                  </a:lnTo>
                  <a:lnTo>
                    <a:pt x="48" y="3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79" name="Freeform 72"/>
            <p:cNvSpPr>
              <a:spLocks/>
            </p:cNvSpPr>
            <p:nvPr/>
          </p:nvSpPr>
          <p:spPr bwMode="auto">
            <a:xfrm>
              <a:off x="6240237" y="3998303"/>
              <a:ext cx="20095" cy="14383"/>
            </a:xfrm>
            <a:custGeom>
              <a:avLst/>
              <a:gdLst>
                <a:gd name="T0" fmla="*/ 32 w 32"/>
                <a:gd name="T1" fmla="*/ 16 h 22"/>
                <a:gd name="T2" fmla="*/ 32 w 32"/>
                <a:gd name="T3" fmla="*/ 16 h 22"/>
                <a:gd name="T4" fmla="*/ 32 w 32"/>
                <a:gd name="T5" fmla="*/ 18 h 22"/>
                <a:gd name="T6" fmla="*/ 32 w 32"/>
                <a:gd name="T7" fmla="*/ 18 h 22"/>
                <a:gd name="T8" fmla="*/ 32 w 32"/>
                <a:gd name="T9" fmla="*/ 18 h 22"/>
                <a:gd name="T10" fmla="*/ 32 w 32"/>
                <a:gd name="T11" fmla="*/ 22 h 22"/>
                <a:gd name="T12" fmla="*/ 28 w 32"/>
                <a:gd name="T13" fmla="*/ 22 h 22"/>
                <a:gd name="T14" fmla="*/ 28 w 32"/>
                <a:gd name="T15" fmla="*/ 22 h 22"/>
                <a:gd name="T16" fmla="*/ 22 w 32"/>
                <a:gd name="T17" fmla="*/ 22 h 22"/>
                <a:gd name="T18" fmla="*/ 22 w 32"/>
                <a:gd name="T19" fmla="*/ 18 h 22"/>
                <a:gd name="T20" fmla="*/ 22 w 32"/>
                <a:gd name="T21" fmla="*/ 18 h 22"/>
                <a:gd name="T22" fmla="*/ 22 w 32"/>
                <a:gd name="T23" fmla="*/ 22 h 22"/>
                <a:gd name="T24" fmla="*/ 18 w 32"/>
                <a:gd name="T25" fmla="*/ 22 h 22"/>
                <a:gd name="T26" fmla="*/ 18 w 32"/>
                <a:gd name="T27" fmla="*/ 18 h 22"/>
                <a:gd name="T28" fmla="*/ 14 w 32"/>
                <a:gd name="T29" fmla="*/ 18 h 22"/>
                <a:gd name="T30" fmla="*/ 14 w 32"/>
                <a:gd name="T31" fmla="*/ 18 h 22"/>
                <a:gd name="T32" fmla="*/ 10 w 32"/>
                <a:gd name="T33" fmla="*/ 16 h 22"/>
                <a:gd name="T34" fmla="*/ 8 w 32"/>
                <a:gd name="T35" fmla="*/ 16 h 22"/>
                <a:gd name="T36" fmla="*/ 4 w 32"/>
                <a:gd name="T37" fmla="*/ 16 h 22"/>
                <a:gd name="T38" fmla="*/ 4 w 32"/>
                <a:gd name="T39" fmla="*/ 16 h 22"/>
                <a:gd name="T40" fmla="*/ 4 w 32"/>
                <a:gd name="T41" fmla="*/ 16 h 22"/>
                <a:gd name="T42" fmla="*/ 0 w 32"/>
                <a:gd name="T43" fmla="*/ 12 h 22"/>
                <a:gd name="T44" fmla="*/ 0 w 32"/>
                <a:gd name="T45" fmla="*/ 8 h 22"/>
                <a:gd name="T46" fmla="*/ 4 w 32"/>
                <a:gd name="T47" fmla="*/ 8 h 22"/>
                <a:gd name="T48" fmla="*/ 8 w 32"/>
                <a:gd name="T49" fmla="*/ 4 h 22"/>
                <a:gd name="T50" fmla="*/ 8 w 32"/>
                <a:gd name="T51" fmla="*/ 4 h 22"/>
                <a:gd name="T52" fmla="*/ 8 w 32"/>
                <a:gd name="T53" fmla="*/ 4 h 22"/>
                <a:gd name="T54" fmla="*/ 8 w 32"/>
                <a:gd name="T55" fmla="*/ 4 h 22"/>
                <a:gd name="T56" fmla="*/ 8 w 32"/>
                <a:gd name="T57" fmla="*/ 0 h 22"/>
                <a:gd name="T58" fmla="*/ 10 w 32"/>
                <a:gd name="T59" fmla="*/ 0 h 22"/>
                <a:gd name="T60" fmla="*/ 10 w 32"/>
                <a:gd name="T61" fmla="*/ 0 h 22"/>
                <a:gd name="T62" fmla="*/ 14 w 32"/>
                <a:gd name="T63" fmla="*/ 0 h 22"/>
                <a:gd name="T64" fmla="*/ 14 w 32"/>
                <a:gd name="T65" fmla="*/ 4 h 22"/>
                <a:gd name="T66" fmla="*/ 14 w 32"/>
                <a:gd name="T67" fmla="*/ 4 h 22"/>
                <a:gd name="T68" fmla="*/ 18 w 32"/>
                <a:gd name="T69" fmla="*/ 4 h 22"/>
                <a:gd name="T70" fmla="*/ 18 w 32"/>
                <a:gd name="T71" fmla="*/ 4 h 22"/>
                <a:gd name="T72" fmla="*/ 18 w 32"/>
                <a:gd name="T73" fmla="*/ 8 h 22"/>
                <a:gd name="T74" fmla="*/ 18 w 32"/>
                <a:gd name="T75" fmla="*/ 8 h 22"/>
                <a:gd name="T76" fmla="*/ 22 w 32"/>
                <a:gd name="T77" fmla="*/ 8 h 22"/>
                <a:gd name="T78" fmla="*/ 22 w 32"/>
                <a:gd name="T79" fmla="*/ 8 h 22"/>
                <a:gd name="T80" fmla="*/ 22 w 32"/>
                <a:gd name="T81" fmla="*/ 12 h 22"/>
                <a:gd name="T82" fmla="*/ 24 w 32"/>
                <a:gd name="T83" fmla="*/ 12 h 22"/>
                <a:gd name="T84" fmla="*/ 24 w 32"/>
                <a:gd name="T85" fmla="*/ 12 h 22"/>
                <a:gd name="T86" fmla="*/ 24 w 32"/>
                <a:gd name="T87" fmla="*/ 8 h 22"/>
                <a:gd name="T88" fmla="*/ 28 w 32"/>
                <a:gd name="T89" fmla="*/ 8 h 22"/>
                <a:gd name="T90" fmla="*/ 28 w 32"/>
                <a:gd name="T91" fmla="*/ 12 h 22"/>
                <a:gd name="T92" fmla="*/ 28 w 32"/>
                <a:gd name="T93" fmla="*/ 12 h 22"/>
                <a:gd name="T94" fmla="*/ 32 w 32"/>
                <a:gd name="T95" fmla="*/ 12 h 22"/>
                <a:gd name="T96" fmla="*/ 32 w 32"/>
                <a:gd name="T97"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 h="22">
                  <a:moveTo>
                    <a:pt x="32" y="12"/>
                  </a:moveTo>
                  <a:lnTo>
                    <a:pt x="32" y="12"/>
                  </a:lnTo>
                  <a:lnTo>
                    <a:pt x="32" y="16"/>
                  </a:lnTo>
                  <a:lnTo>
                    <a:pt x="32" y="16"/>
                  </a:lnTo>
                  <a:lnTo>
                    <a:pt x="32" y="16"/>
                  </a:lnTo>
                  <a:lnTo>
                    <a:pt x="32" y="16"/>
                  </a:lnTo>
                  <a:lnTo>
                    <a:pt x="32" y="16"/>
                  </a:lnTo>
                  <a:lnTo>
                    <a:pt x="32" y="18"/>
                  </a:lnTo>
                  <a:lnTo>
                    <a:pt x="32" y="18"/>
                  </a:lnTo>
                  <a:lnTo>
                    <a:pt x="32" y="18"/>
                  </a:lnTo>
                  <a:lnTo>
                    <a:pt x="32" y="18"/>
                  </a:lnTo>
                  <a:lnTo>
                    <a:pt x="32" y="18"/>
                  </a:lnTo>
                  <a:lnTo>
                    <a:pt x="32" y="18"/>
                  </a:lnTo>
                  <a:lnTo>
                    <a:pt x="32" y="18"/>
                  </a:lnTo>
                  <a:lnTo>
                    <a:pt x="32" y="18"/>
                  </a:lnTo>
                  <a:lnTo>
                    <a:pt x="32" y="18"/>
                  </a:lnTo>
                  <a:lnTo>
                    <a:pt x="32" y="18"/>
                  </a:lnTo>
                  <a:lnTo>
                    <a:pt x="32" y="22"/>
                  </a:lnTo>
                  <a:lnTo>
                    <a:pt x="28" y="22"/>
                  </a:lnTo>
                  <a:lnTo>
                    <a:pt x="28" y="22"/>
                  </a:lnTo>
                  <a:lnTo>
                    <a:pt x="28" y="22"/>
                  </a:lnTo>
                  <a:lnTo>
                    <a:pt x="28" y="22"/>
                  </a:lnTo>
                  <a:lnTo>
                    <a:pt x="28" y="22"/>
                  </a:lnTo>
                  <a:lnTo>
                    <a:pt x="28" y="22"/>
                  </a:lnTo>
                  <a:lnTo>
                    <a:pt x="24" y="22"/>
                  </a:lnTo>
                  <a:lnTo>
                    <a:pt x="24" y="22"/>
                  </a:lnTo>
                  <a:lnTo>
                    <a:pt x="22" y="22"/>
                  </a:lnTo>
                  <a:lnTo>
                    <a:pt x="22" y="22"/>
                  </a:lnTo>
                  <a:lnTo>
                    <a:pt x="22" y="18"/>
                  </a:lnTo>
                  <a:lnTo>
                    <a:pt x="22" y="18"/>
                  </a:lnTo>
                  <a:lnTo>
                    <a:pt x="18" y="18"/>
                  </a:lnTo>
                  <a:lnTo>
                    <a:pt x="22" y="22"/>
                  </a:lnTo>
                  <a:lnTo>
                    <a:pt x="22" y="18"/>
                  </a:lnTo>
                  <a:lnTo>
                    <a:pt x="22" y="18"/>
                  </a:lnTo>
                  <a:lnTo>
                    <a:pt x="22" y="22"/>
                  </a:lnTo>
                  <a:lnTo>
                    <a:pt x="22" y="22"/>
                  </a:lnTo>
                  <a:lnTo>
                    <a:pt x="22" y="22"/>
                  </a:lnTo>
                  <a:lnTo>
                    <a:pt x="22" y="22"/>
                  </a:lnTo>
                  <a:lnTo>
                    <a:pt x="18" y="22"/>
                  </a:lnTo>
                  <a:lnTo>
                    <a:pt x="18" y="22"/>
                  </a:lnTo>
                  <a:lnTo>
                    <a:pt x="18" y="22"/>
                  </a:lnTo>
                  <a:lnTo>
                    <a:pt x="18" y="18"/>
                  </a:lnTo>
                  <a:lnTo>
                    <a:pt x="18" y="18"/>
                  </a:lnTo>
                  <a:lnTo>
                    <a:pt x="18" y="18"/>
                  </a:lnTo>
                  <a:lnTo>
                    <a:pt x="14" y="18"/>
                  </a:lnTo>
                  <a:lnTo>
                    <a:pt x="14" y="18"/>
                  </a:lnTo>
                  <a:lnTo>
                    <a:pt x="14" y="18"/>
                  </a:lnTo>
                  <a:lnTo>
                    <a:pt x="14" y="18"/>
                  </a:lnTo>
                  <a:lnTo>
                    <a:pt x="14" y="18"/>
                  </a:lnTo>
                  <a:lnTo>
                    <a:pt x="10" y="18"/>
                  </a:lnTo>
                  <a:lnTo>
                    <a:pt x="10" y="16"/>
                  </a:lnTo>
                  <a:lnTo>
                    <a:pt x="10" y="16"/>
                  </a:lnTo>
                  <a:lnTo>
                    <a:pt x="8" y="16"/>
                  </a:lnTo>
                  <a:lnTo>
                    <a:pt x="8" y="16"/>
                  </a:lnTo>
                  <a:lnTo>
                    <a:pt x="8" y="16"/>
                  </a:lnTo>
                  <a:lnTo>
                    <a:pt x="8" y="16"/>
                  </a:lnTo>
                  <a:lnTo>
                    <a:pt x="4" y="16"/>
                  </a:lnTo>
                  <a:lnTo>
                    <a:pt x="4" y="16"/>
                  </a:lnTo>
                  <a:lnTo>
                    <a:pt x="4" y="16"/>
                  </a:lnTo>
                  <a:lnTo>
                    <a:pt x="4" y="16"/>
                  </a:lnTo>
                  <a:lnTo>
                    <a:pt x="4" y="16"/>
                  </a:lnTo>
                  <a:lnTo>
                    <a:pt x="4" y="16"/>
                  </a:lnTo>
                  <a:lnTo>
                    <a:pt x="4" y="16"/>
                  </a:lnTo>
                  <a:lnTo>
                    <a:pt x="0" y="12"/>
                  </a:lnTo>
                  <a:lnTo>
                    <a:pt x="0" y="12"/>
                  </a:lnTo>
                  <a:lnTo>
                    <a:pt x="0" y="12"/>
                  </a:lnTo>
                  <a:lnTo>
                    <a:pt x="0" y="12"/>
                  </a:lnTo>
                  <a:lnTo>
                    <a:pt x="0" y="12"/>
                  </a:lnTo>
                  <a:lnTo>
                    <a:pt x="0" y="8"/>
                  </a:lnTo>
                  <a:lnTo>
                    <a:pt x="4" y="8"/>
                  </a:lnTo>
                  <a:lnTo>
                    <a:pt x="4" y="8"/>
                  </a:lnTo>
                  <a:lnTo>
                    <a:pt x="4" y="8"/>
                  </a:lnTo>
                  <a:lnTo>
                    <a:pt x="4" y="8"/>
                  </a:lnTo>
                  <a:lnTo>
                    <a:pt x="4" y="8"/>
                  </a:lnTo>
                  <a:lnTo>
                    <a:pt x="8" y="4"/>
                  </a:lnTo>
                  <a:lnTo>
                    <a:pt x="8" y="4"/>
                  </a:lnTo>
                  <a:lnTo>
                    <a:pt x="8" y="4"/>
                  </a:lnTo>
                  <a:lnTo>
                    <a:pt x="8" y="4"/>
                  </a:lnTo>
                  <a:lnTo>
                    <a:pt x="8" y="4"/>
                  </a:lnTo>
                  <a:lnTo>
                    <a:pt x="8" y="4"/>
                  </a:lnTo>
                  <a:lnTo>
                    <a:pt x="8" y="4"/>
                  </a:lnTo>
                  <a:lnTo>
                    <a:pt x="8" y="4"/>
                  </a:lnTo>
                  <a:lnTo>
                    <a:pt x="8" y="4"/>
                  </a:lnTo>
                  <a:lnTo>
                    <a:pt x="8" y="4"/>
                  </a:lnTo>
                  <a:lnTo>
                    <a:pt x="8" y="4"/>
                  </a:lnTo>
                  <a:lnTo>
                    <a:pt x="8" y="0"/>
                  </a:lnTo>
                  <a:lnTo>
                    <a:pt x="8" y="0"/>
                  </a:lnTo>
                  <a:lnTo>
                    <a:pt x="8" y="0"/>
                  </a:lnTo>
                  <a:lnTo>
                    <a:pt x="8" y="0"/>
                  </a:lnTo>
                  <a:lnTo>
                    <a:pt x="10" y="0"/>
                  </a:lnTo>
                  <a:lnTo>
                    <a:pt x="10" y="0"/>
                  </a:lnTo>
                  <a:lnTo>
                    <a:pt x="10" y="0"/>
                  </a:lnTo>
                  <a:lnTo>
                    <a:pt x="10" y="0"/>
                  </a:lnTo>
                  <a:lnTo>
                    <a:pt x="10" y="0"/>
                  </a:lnTo>
                  <a:lnTo>
                    <a:pt x="10" y="0"/>
                  </a:lnTo>
                  <a:lnTo>
                    <a:pt x="14" y="0"/>
                  </a:lnTo>
                  <a:lnTo>
                    <a:pt x="14" y="4"/>
                  </a:lnTo>
                  <a:lnTo>
                    <a:pt x="14" y="0"/>
                  </a:lnTo>
                  <a:lnTo>
                    <a:pt x="14" y="4"/>
                  </a:lnTo>
                  <a:lnTo>
                    <a:pt x="14" y="4"/>
                  </a:lnTo>
                  <a:lnTo>
                    <a:pt x="14" y="4"/>
                  </a:lnTo>
                  <a:lnTo>
                    <a:pt x="14" y="4"/>
                  </a:lnTo>
                  <a:lnTo>
                    <a:pt x="14" y="4"/>
                  </a:lnTo>
                  <a:lnTo>
                    <a:pt x="18" y="4"/>
                  </a:lnTo>
                  <a:lnTo>
                    <a:pt x="18" y="4"/>
                  </a:lnTo>
                  <a:lnTo>
                    <a:pt x="18" y="4"/>
                  </a:lnTo>
                  <a:lnTo>
                    <a:pt x="18" y="4"/>
                  </a:lnTo>
                  <a:lnTo>
                    <a:pt x="18" y="4"/>
                  </a:lnTo>
                  <a:lnTo>
                    <a:pt x="18" y="8"/>
                  </a:lnTo>
                  <a:lnTo>
                    <a:pt x="18" y="8"/>
                  </a:lnTo>
                  <a:lnTo>
                    <a:pt x="18" y="8"/>
                  </a:lnTo>
                  <a:lnTo>
                    <a:pt x="18" y="4"/>
                  </a:lnTo>
                  <a:lnTo>
                    <a:pt x="18" y="4"/>
                  </a:lnTo>
                  <a:lnTo>
                    <a:pt x="18" y="8"/>
                  </a:lnTo>
                  <a:lnTo>
                    <a:pt x="18" y="8"/>
                  </a:lnTo>
                  <a:lnTo>
                    <a:pt x="18" y="8"/>
                  </a:lnTo>
                  <a:lnTo>
                    <a:pt x="22" y="8"/>
                  </a:lnTo>
                  <a:lnTo>
                    <a:pt x="22" y="8"/>
                  </a:lnTo>
                  <a:lnTo>
                    <a:pt x="22" y="8"/>
                  </a:lnTo>
                  <a:lnTo>
                    <a:pt x="22" y="8"/>
                  </a:lnTo>
                  <a:lnTo>
                    <a:pt x="22" y="8"/>
                  </a:lnTo>
                  <a:lnTo>
                    <a:pt x="22" y="12"/>
                  </a:lnTo>
                  <a:lnTo>
                    <a:pt x="22" y="12"/>
                  </a:lnTo>
                  <a:lnTo>
                    <a:pt x="22" y="12"/>
                  </a:lnTo>
                  <a:lnTo>
                    <a:pt x="24" y="12"/>
                  </a:lnTo>
                  <a:lnTo>
                    <a:pt x="24" y="12"/>
                  </a:lnTo>
                  <a:lnTo>
                    <a:pt x="24" y="12"/>
                  </a:lnTo>
                  <a:lnTo>
                    <a:pt x="24" y="12"/>
                  </a:lnTo>
                  <a:lnTo>
                    <a:pt x="24" y="12"/>
                  </a:lnTo>
                  <a:lnTo>
                    <a:pt x="24" y="8"/>
                  </a:lnTo>
                  <a:lnTo>
                    <a:pt x="24" y="8"/>
                  </a:lnTo>
                  <a:lnTo>
                    <a:pt x="24" y="8"/>
                  </a:lnTo>
                  <a:lnTo>
                    <a:pt x="24" y="8"/>
                  </a:lnTo>
                  <a:lnTo>
                    <a:pt x="28" y="8"/>
                  </a:lnTo>
                  <a:lnTo>
                    <a:pt x="28" y="8"/>
                  </a:lnTo>
                  <a:lnTo>
                    <a:pt x="28" y="8"/>
                  </a:lnTo>
                  <a:lnTo>
                    <a:pt x="28" y="12"/>
                  </a:lnTo>
                  <a:lnTo>
                    <a:pt x="28" y="12"/>
                  </a:lnTo>
                  <a:lnTo>
                    <a:pt x="28" y="12"/>
                  </a:lnTo>
                  <a:lnTo>
                    <a:pt x="28" y="12"/>
                  </a:lnTo>
                  <a:lnTo>
                    <a:pt x="28" y="12"/>
                  </a:lnTo>
                  <a:lnTo>
                    <a:pt x="32" y="12"/>
                  </a:lnTo>
                  <a:lnTo>
                    <a:pt x="32" y="12"/>
                  </a:lnTo>
                  <a:lnTo>
                    <a:pt x="32" y="12"/>
                  </a:lnTo>
                  <a:lnTo>
                    <a:pt x="32" y="12"/>
                  </a:lnTo>
                  <a:lnTo>
                    <a:pt x="32" y="12"/>
                  </a:lnTo>
                  <a:lnTo>
                    <a:pt x="32" y="12"/>
                  </a:lnTo>
                  <a:lnTo>
                    <a:pt x="32" y="1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80" name="Freeform 73"/>
            <p:cNvSpPr>
              <a:spLocks noEditPoints="1"/>
            </p:cNvSpPr>
            <p:nvPr/>
          </p:nvSpPr>
          <p:spPr bwMode="auto">
            <a:xfrm>
              <a:off x="6392208" y="3016308"/>
              <a:ext cx="540064" cy="409274"/>
            </a:xfrm>
            <a:custGeom>
              <a:avLst/>
              <a:gdLst>
                <a:gd name="T0" fmla="*/ 472 w 860"/>
                <a:gd name="T1" fmla="*/ 18 h 626"/>
                <a:gd name="T2" fmla="*/ 342 w 860"/>
                <a:gd name="T3" fmla="*/ 34 h 626"/>
                <a:gd name="T4" fmla="*/ 738 w 860"/>
                <a:gd name="T5" fmla="*/ 60 h 626"/>
                <a:gd name="T6" fmla="*/ 764 w 860"/>
                <a:gd name="T7" fmla="*/ 160 h 626"/>
                <a:gd name="T8" fmla="*/ 734 w 860"/>
                <a:gd name="T9" fmla="*/ 204 h 626"/>
                <a:gd name="T10" fmla="*/ 742 w 860"/>
                <a:gd name="T11" fmla="*/ 256 h 626"/>
                <a:gd name="T12" fmla="*/ 234 w 860"/>
                <a:gd name="T13" fmla="*/ 284 h 626"/>
                <a:gd name="T14" fmla="*/ 246 w 860"/>
                <a:gd name="T15" fmla="*/ 294 h 626"/>
                <a:gd name="T16" fmla="*/ 252 w 860"/>
                <a:gd name="T17" fmla="*/ 314 h 626"/>
                <a:gd name="T18" fmla="*/ 506 w 860"/>
                <a:gd name="T19" fmla="*/ 484 h 626"/>
                <a:gd name="T20" fmla="*/ 332 w 860"/>
                <a:gd name="T21" fmla="*/ 578 h 626"/>
                <a:gd name="T22" fmla="*/ 418 w 860"/>
                <a:gd name="T23" fmla="*/ 622 h 626"/>
                <a:gd name="T24" fmla="*/ 308 w 860"/>
                <a:gd name="T25" fmla="*/ 398 h 626"/>
                <a:gd name="T26" fmla="*/ 312 w 860"/>
                <a:gd name="T27" fmla="*/ 366 h 626"/>
                <a:gd name="T28" fmla="*/ 268 w 860"/>
                <a:gd name="T29" fmla="*/ 320 h 626"/>
                <a:gd name="T30" fmla="*/ 256 w 860"/>
                <a:gd name="T31" fmla="*/ 306 h 626"/>
                <a:gd name="T32" fmla="*/ 200 w 860"/>
                <a:gd name="T33" fmla="*/ 238 h 626"/>
                <a:gd name="T34" fmla="*/ 86 w 860"/>
                <a:gd name="T35" fmla="*/ 216 h 626"/>
                <a:gd name="T36" fmla="*/ 86 w 860"/>
                <a:gd name="T37" fmla="*/ 190 h 626"/>
                <a:gd name="T38" fmla="*/ 30 w 860"/>
                <a:gd name="T39" fmla="*/ 172 h 626"/>
                <a:gd name="T40" fmla="*/ 122 w 860"/>
                <a:gd name="T41" fmla="*/ 104 h 626"/>
                <a:gd name="T42" fmla="*/ 178 w 860"/>
                <a:gd name="T43" fmla="*/ 52 h 626"/>
                <a:gd name="T44" fmla="*/ 276 w 860"/>
                <a:gd name="T45" fmla="*/ 60 h 626"/>
                <a:gd name="T46" fmla="*/ 406 w 860"/>
                <a:gd name="T47" fmla="*/ 56 h 626"/>
                <a:gd name="T48" fmla="*/ 464 w 860"/>
                <a:gd name="T49" fmla="*/ 26 h 626"/>
                <a:gd name="T50" fmla="*/ 418 w 860"/>
                <a:gd name="T51" fmla="*/ 12 h 626"/>
                <a:gd name="T52" fmla="*/ 524 w 860"/>
                <a:gd name="T53" fmla="*/ 4 h 626"/>
                <a:gd name="T54" fmla="*/ 584 w 860"/>
                <a:gd name="T55" fmla="*/ 18 h 626"/>
                <a:gd name="T56" fmla="*/ 678 w 860"/>
                <a:gd name="T57" fmla="*/ 16 h 626"/>
                <a:gd name="T58" fmla="*/ 606 w 860"/>
                <a:gd name="T59" fmla="*/ 44 h 626"/>
                <a:gd name="T60" fmla="*/ 692 w 860"/>
                <a:gd name="T61" fmla="*/ 48 h 626"/>
                <a:gd name="T62" fmla="*/ 786 w 860"/>
                <a:gd name="T63" fmla="*/ 52 h 626"/>
                <a:gd name="T64" fmla="*/ 748 w 860"/>
                <a:gd name="T65" fmla="*/ 90 h 626"/>
                <a:gd name="T66" fmla="*/ 756 w 860"/>
                <a:gd name="T67" fmla="*/ 124 h 626"/>
                <a:gd name="T68" fmla="*/ 744 w 860"/>
                <a:gd name="T69" fmla="*/ 178 h 626"/>
                <a:gd name="T70" fmla="*/ 726 w 860"/>
                <a:gd name="T71" fmla="*/ 208 h 626"/>
                <a:gd name="T72" fmla="*/ 734 w 860"/>
                <a:gd name="T73" fmla="*/ 238 h 626"/>
                <a:gd name="T74" fmla="*/ 738 w 860"/>
                <a:gd name="T75" fmla="*/ 280 h 626"/>
                <a:gd name="T76" fmla="*/ 660 w 860"/>
                <a:gd name="T77" fmla="*/ 294 h 626"/>
                <a:gd name="T78" fmla="*/ 704 w 860"/>
                <a:gd name="T79" fmla="*/ 328 h 626"/>
                <a:gd name="T80" fmla="*/ 688 w 860"/>
                <a:gd name="T81" fmla="*/ 358 h 626"/>
                <a:gd name="T82" fmla="*/ 632 w 860"/>
                <a:gd name="T83" fmla="*/ 358 h 626"/>
                <a:gd name="T84" fmla="*/ 704 w 860"/>
                <a:gd name="T85" fmla="*/ 388 h 626"/>
                <a:gd name="T86" fmla="*/ 580 w 860"/>
                <a:gd name="T87" fmla="*/ 426 h 626"/>
                <a:gd name="T88" fmla="*/ 502 w 860"/>
                <a:gd name="T89" fmla="*/ 484 h 626"/>
                <a:gd name="T90" fmla="*/ 458 w 860"/>
                <a:gd name="T91" fmla="*/ 530 h 626"/>
                <a:gd name="T92" fmla="*/ 436 w 860"/>
                <a:gd name="T93" fmla="*/ 578 h 626"/>
                <a:gd name="T94" fmla="*/ 420 w 860"/>
                <a:gd name="T95" fmla="*/ 618 h 626"/>
                <a:gd name="T96" fmla="*/ 388 w 860"/>
                <a:gd name="T97" fmla="*/ 596 h 626"/>
                <a:gd name="T98" fmla="*/ 332 w 860"/>
                <a:gd name="T99" fmla="*/ 578 h 626"/>
                <a:gd name="T100" fmla="*/ 306 w 860"/>
                <a:gd name="T101" fmla="*/ 534 h 626"/>
                <a:gd name="T102" fmla="*/ 302 w 860"/>
                <a:gd name="T103" fmla="*/ 518 h 626"/>
                <a:gd name="T104" fmla="*/ 286 w 860"/>
                <a:gd name="T105" fmla="*/ 482 h 626"/>
                <a:gd name="T106" fmla="*/ 278 w 860"/>
                <a:gd name="T107" fmla="*/ 462 h 626"/>
                <a:gd name="T108" fmla="*/ 290 w 860"/>
                <a:gd name="T109" fmla="*/ 436 h 626"/>
                <a:gd name="T110" fmla="*/ 278 w 860"/>
                <a:gd name="T111" fmla="*/ 432 h 626"/>
                <a:gd name="T112" fmla="*/ 306 w 860"/>
                <a:gd name="T113" fmla="*/ 418 h 626"/>
                <a:gd name="T114" fmla="*/ 768 w 860"/>
                <a:gd name="T115" fmla="*/ 216 h 626"/>
                <a:gd name="T116" fmla="*/ 712 w 860"/>
                <a:gd name="T117" fmla="*/ 310 h 626"/>
                <a:gd name="T118" fmla="*/ 648 w 860"/>
                <a:gd name="T119" fmla="*/ 358 h 626"/>
                <a:gd name="T120" fmla="*/ 264 w 860"/>
                <a:gd name="T121" fmla="*/ 380 h 626"/>
                <a:gd name="T122" fmla="*/ 610 w 860"/>
                <a:gd name="T123" fmla="*/ 426 h 626"/>
                <a:gd name="T124" fmla="*/ 462 w 860"/>
                <a:gd name="T125" fmla="*/ 51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0" h="626">
                  <a:moveTo>
                    <a:pt x="472" y="8"/>
                  </a:moveTo>
                  <a:lnTo>
                    <a:pt x="476" y="8"/>
                  </a:lnTo>
                  <a:lnTo>
                    <a:pt x="480" y="8"/>
                  </a:lnTo>
                  <a:lnTo>
                    <a:pt x="480" y="12"/>
                  </a:lnTo>
                  <a:lnTo>
                    <a:pt x="476" y="12"/>
                  </a:lnTo>
                  <a:lnTo>
                    <a:pt x="472" y="8"/>
                  </a:lnTo>
                  <a:lnTo>
                    <a:pt x="472" y="8"/>
                  </a:lnTo>
                  <a:lnTo>
                    <a:pt x="472" y="8"/>
                  </a:lnTo>
                  <a:close/>
                  <a:moveTo>
                    <a:pt x="480" y="16"/>
                  </a:moveTo>
                  <a:lnTo>
                    <a:pt x="476" y="16"/>
                  </a:lnTo>
                  <a:lnTo>
                    <a:pt x="472" y="16"/>
                  </a:lnTo>
                  <a:lnTo>
                    <a:pt x="468" y="16"/>
                  </a:lnTo>
                  <a:lnTo>
                    <a:pt x="468" y="12"/>
                  </a:lnTo>
                  <a:lnTo>
                    <a:pt x="464" y="12"/>
                  </a:lnTo>
                  <a:lnTo>
                    <a:pt x="462" y="12"/>
                  </a:lnTo>
                  <a:lnTo>
                    <a:pt x="458" y="12"/>
                  </a:lnTo>
                  <a:lnTo>
                    <a:pt x="458" y="8"/>
                  </a:lnTo>
                  <a:lnTo>
                    <a:pt x="462" y="8"/>
                  </a:lnTo>
                  <a:lnTo>
                    <a:pt x="464" y="12"/>
                  </a:lnTo>
                  <a:lnTo>
                    <a:pt x="468" y="12"/>
                  </a:lnTo>
                  <a:lnTo>
                    <a:pt x="472" y="12"/>
                  </a:lnTo>
                  <a:lnTo>
                    <a:pt x="476" y="12"/>
                  </a:lnTo>
                  <a:lnTo>
                    <a:pt x="476" y="16"/>
                  </a:lnTo>
                  <a:lnTo>
                    <a:pt x="480" y="16"/>
                  </a:lnTo>
                  <a:lnTo>
                    <a:pt x="484" y="16"/>
                  </a:lnTo>
                  <a:lnTo>
                    <a:pt x="480" y="16"/>
                  </a:lnTo>
                  <a:lnTo>
                    <a:pt x="480" y="16"/>
                  </a:lnTo>
                  <a:lnTo>
                    <a:pt x="480" y="16"/>
                  </a:lnTo>
                  <a:close/>
                  <a:moveTo>
                    <a:pt x="446" y="12"/>
                  </a:moveTo>
                  <a:lnTo>
                    <a:pt x="442" y="12"/>
                  </a:lnTo>
                  <a:lnTo>
                    <a:pt x="446" y="8"/>
                  </a:lnTo>
                  <a:lnTo>
                    <a:pt x="450" y="12"/>
                  </a:lnTo>
                  <a:lnTo>
                    <a:pt x="446" y="12"/>
                  </a:lnTo>
                  <a:lnTo>
                    <a:pt x="446" y="12"/>
                  </a:lnTo>
                  <a:lnTo>
                    <a:pt x="446" y="12"/>
                  </a:lnTo>
                  <a:close/>
                  <a:moveTo>
                    <a:pt x="432" y="12"/>
                  </a:moveTo>
                  <a:lnTo>
                    <a:pt x="436" y="12"/>
                  </a:lnTo>
                  <a:lnTo>
                    <a:pt x="440" y="12"/>
                  </a:lnTo>
                  <a:lnTo>
                    <a:pt x="436" y="12"/>
                  </a:lnTo>
                  <a:lnTo>
                    <a:pt x="432" y="12"/>
                  </a:lnTo>
                  <a:lnTo>
                    <a:pt x="432" y="12"/>
                  </a:lnTo>
                  <a:lnTo>
                    <a:pt x="432" y="12"/>
                  </a:lnTo>
                  <a:close/>
                  <a:moveTo>
                    <a:pt x="442" y="12"/>
                  </a:moveTo>
                  <a:lnTo>
                    <a:pt x="446" y="12"/>
                  </a:lnTo>
                  <a:lnTo>
                    <a:pt x="450" y="12"/>
                  </a:lnTo>
                  <a:lnTo>
                    <a:pt x="446" y="12"/>
                  </a:lnTo>
                  <a:lnTo>
                    <a:pt x="442" y="12"/>
                  </a:lnTo>
                  <a:lnTo>
                    <a:pt x="442" y="12"/>
                  </a:lnTo>
                  <a:lnTo>
                    <a:pt x="442" y="12"/>
                  </a:lnTo>
                  <a:close/>
                  <a:moveTo>
                    <a:pt x="488" y="16"/>
                  </a:moveTo>
                  <a:lnTo>
                    <a:pt x="484" y="16"/>
                  </a:lnTo>
                  <a:lnTo>
                    <a:pt x="488" y="16"/>
                  </a:lnTo>
                  <a:lnTo>
                    <a:pt x="490" y="16"/>
                  </a:lnTo>
                  <a:lnTo>
                    <a:pt x="494" y="16"/>
                  </a:lnTo>
                  <a:lnTo>
                    <a:pt x="490" y="16"/>
                  </a:lnTo>
                  <a:lnTo>
                    <a:pt x="488" y="16"/>
                  </a:lnTo>
                  <a:lnTo>
                    <a:pt x="488" y="16"/>
                  </a:lnTo>
                  <a:lnTo>
                    <a:pt x="488" y="16"/>
                  </a:lnTo>
                  <a:close/>
                  <a:moveTo>
                    <a:pt x="468" y="18"/>
                  </a:moveTo>
                  <a:lnTo>
                    <a:pt x="464" y="18"/>
                  </a:lnTo>
                  <a:lnTo>
                    <a:pt x="462" y="18"/>
                  </a:lnTo>
                  <a:lnTo>
                    <a:pt x="458" y="18"/>
                  </a:lnTo>
                  <a:lnTo>
                    <a:pt x="454" y="18"/>
                  </a:lnTo>
                  <a:lnTo>
                    <a:pt x="450" y="16"/>
                  </a:lnTo>
                  <a:lnTo>
                    <a:pt x="446" y="16"/>
                  </a:lnTo>
                  <a:lnTo>
                    <a:pt x="450" y="16"/>
                  </a:lnTo>
                  <a:lnTo>
                    <a:pt x="454" y="16"/>
                  </a:lnTo>
                  <a:lnTo>
                    <a:pt x="458" y="16"/>
                  </a:lnTo>
                  <a:lnTo>
                    <a:pt x="462" y="18"/>
                  </a:lnTo>
                  <a:lnTo>
                    <a:pt x="464" y="18"/>
                  </a:lnTo>
                  <a:lnTo>
                    <a:pt x="468" y="18"/>
                  </a:lnTo>
                  <a:lnTo>
                    <a:pt x="468" y="18"/>
                  </a:lnTo>
                  <a:lnTo>
                    <a:pt x="468" y="18"/>
                  </a:lnTo>
                  <a:close/>
                  <a:moveTo>
                    <a:pt x="472" y="18"/>
                  </a:moveTo>
                  <a:lnTo>
                    <a:pt x="468" y="18"/>
                  </a:lnTo>
                  <a:lnTo>
                    <a:pt x="464" y="18"/>
                  </a:lnTo>
                  <a:lnTo>
                    <a:pt x="464" y="16"/>
                  </a:lnTo>
                  <a:lnTo>
                    <a:pt x="462" y="16"/>
                  </a:lnTo>
                  <a:lnTo>
                    <a:pt x="458" y="16"/>
                  </a:lnTo>
                  <a:lnTo>
                    <a:pt x="462" y="16"/>
                  </a:lnTo>
                  <a:lnTo>
                    <a:pt x="464" y="16"/>
                  </a:lnTo>
                  <a:lnTo>
                    <a:pt x="468" y="16"/>
                  </a:lnTo>
                  <a:lnTo>
                    <a:pt x="472" y="16"/>
                  </a:lnTo>
                  <a:lnTo>
                    <a:pt x="476" y="16"/>
                  </a:lnTo>
                  <a:lnTo>
                    <a:pt x="476" y="18"/>
                  </a:lnTo>
                  <a:lnTo>
                    <a:pt x="472" y="18"/>
                  </a:lnTo>
                  <a:lnTo>
                    <a:pt x="472" y="18"/>
                  </a:lnTo>
                  <a:lnTo>
                    <a:pt x="472" y="18"/>
                  </a:lnTo>
                  <a:close/>
                  <a:moveTo>
                    <a:pt x="368" y="22"/>
                  </a:moveTo>
                  <a:lnTo>
                    <a:pt x="364" y="22"/>
                  </a:lnTo>
                  <a:lnTo>
                    <a:pt x="368" y="22"/>
                  </a:lnTo>
                  <a:lnTo>
                    <a:pt x="372" y="22"/>
                  </a:lnTo>
                  <a:lnTo>
                    <a:pt x="376" y="22"/>
                  </a:lnTo>
                  <a:lnTo>
                    <a:pt x="372" y="22"/>
                  </a:lnTo>
                  <a:lnTo>
                    <a:pt x="368" y="22"/>
                  </a:lnTo>
                  <a:lnTo>
                    <a:pt x="368" y="22"/>
                  </a:lnTo>
                  <a:lnTo>
                    <a:pt x="368" y="22"/>
                  </a:lnTo>
                  <a:close/>
                  <a:moveTo>
                    <a:pt x="350" y="26"/>
                  </a:moveTo>
                  <a:lnTo>
                    <a:pt x="346" y="26"/>
                  </a:lnTo>
                  <a:lnTo>
                    <a:pt x="346" y="22"/>
                  </a:lnTo>
                  <a:lnTo>
                    <a:pt x="350" y="22"/>
                  </a:lnTo>
                  <a:lnTo>
                    <a:pt x="354" y="22"/>
                  </a:lnTo>
                  <a:lnTo>
                    <a:pt x="358" y="22"/>
                  </a:lnTo>
                  <a:lnTo>
                    <a:pt x="362" y="22"/>
                  </a:lnTo>
                  <a:lnTo>
                    <a:pt x="362" y="26"/>
                  </a:lnTo>
                  <a:lnTo>
                    <a:pt x="358" y="26"/>
                  </a:lnTo>
                  <a:lnTo>
                    <a:pt x="354" y="26"/>
                  </a:lnTo>
                  <a:lnTo>
                    <a:pt x="350" y="26"/>
                  </a:lnTo>
                  <a:lnTo>
                    <a:pt x="350" y="26"/>
                  </a:lnTo>
                  <a:lnTo>
                    <a:pt x="350" y="26"/>
                  </a:lnTo>
                  <a:close/>
                  <a:moveTo>
                    <a:pt x="394" y="48"/>
                  </a:moveTo>
                  <a:lnTo>
                    <a:pt x="392" y="44"/>
                  </a:lnTo>
                  <a:lnTo>
                    <a:pt x="388" y="44"/>
                  </a:lnTo>
                  <a:lnTo>
                    <a:pt x="388" y="42"/>
                  </a:lnTo>
                  <a:lnTo>
                    <a:pt x="384" y="42"/>
                  </a:lnTo>
                  <a:lnTo>
                    <a:pt x="380" y="42"/>
                  </a:lnTo>
                  <a:lnTo>
                    <a:pt x="376" y="42"/>
                  </a:lnTo>
                  <a:lnTo>
                    <a:pt x="372" y="42"/>
                  </a:lnTo>
                  <a:lnTo>
                    <a:pt x="368" y="38"/>
                  </a:lnTo>
                  <a:lnTo>
                    <a:pt x="364" y="38"/>
                  </a:lnTo>
                  <a:lnTo>
                    <a:pt x="364" y="34"/>
                  </a:lnTo>
                  <a:lnTo>
                    <a:pt x="362" y="34"/>
                  </a:lnTo>
                  <a:lnTo>
                    <a:pt x="362" y="30"/>
                  </a:lnTo>
                  <a:lnTo>
                    <a:pt x="358" y="30"/>
                  </a:lnTo>
                  <a:lnTo>
                    <a:pt x="362" y="30"/>
                  </a:lnTo>
                  <a:lnTo>
                    <a:pt x="364" y="30"/>
                  </a:lnTo>
                  <a:lnTo>
                    <a:pt x="368" y="30"/>
                  </a:lnTo>
                  <a:lnTo>
                    <a:pt x="372" y="30"/>
                  </a:lnTo>
                  <a:lnTo>
                    <a:pt x="376" y="30"/>
                  </a:lnTo>
                  <a:lnTo>
                    <a:pt x="380" y="30"/>
                  </a:lnTo>
                  <a:lnTo>
                    <a:pt x="384" y="30"/>
                  </a:lnTo>
                  <a:lnTo>
                    <a:pt x="392" y="34"/>
                  </a:lnTo>
                  <a:lnTo>
                    <a:pt x="394" y="34"/>
                  </a:lnTo>
                  <a:lnTo>
                    <a:pt x="398" y="34"/>
                  </a:lnTo>
                  <a:lnTo>
                    <a:pt x="398" y="38"/>
                  </a:lnTo>
                  <a:lnTo>
                    <a:pt x="402" y="38"/>
                  </a:lnTo>
                  <a:lnTo>
                    <a:pt x="402" y="42"/>
                  </a:lnTo>
                  <a:lnTo>
                    <a:pt x="398" y="42"/>
                  </a:lnTo>
                  <a:lnTo>
                    <a:pt x="394" y="42"/>
                  </a:lnTo>
                  <a:lnTo>
                    <a:pt x="394" y="44"/>
                  </a:lnTo>
                  <a:lnTo>
                    <a:pt x="398" y="44"/>
                  </a:lnTo>
                  <a:lnTo>
                    <a:pt x="398" y="48"/>
                  </a:lnTo>
                  <a:lnTo>
                    <a:pt x="394" y="48"/>
                  </a:lnTo>
                  <a:lnTo>
                    <a:pt x="394" y="48"/>
                  </a:lnTo>
                  <a:lnTo>
                    <a:pt x="394" y="48"/>
                  </a:lnTo>
                  <a:close/>
                  <a:moveTo>
                    <a:pt x="350" y="38"/>
                  </a:moveTo>
                  <a:lnTo>
                    <a:pt x="346" y="34"/>
                  </a:lnTo>
                  <a:lnTo>
                    <a:pt x="342" y="34"/>
                  </a:lnTo>
                  <a:lnTo>
                    <a:pt x="346" y="34"/>
                  </a:lnTo>
                  <a:lnTo>
                    <a:pt x="350" y="34"/>
                  </a:lnTo>
                  <a:lnTo>
                    <a:pt x="354" y="34"/>
                  </a:lnTo>
                  <a:lnTo>
                    <a:pt x="350" y="38"/>
                  </a:lnTo>
                  <a:lnTo>
                    <a:pt x="350" y="38"/>
                  </a:lnTo>
                  <a:lnTo>
                    <a:pt x="350" y="38"/>
                  </a:lnTo>
                  <a:close/>
                  <a:moveTo>
                    <a:pt x="308" y="48"/>
                  </a:moveTo>
                  <a:lnTo>
                    <a:pt x="306" y="48"/>
                  </a:lnTo>
                  <a:lnTo>
                    <a:pt x="302" y="48"/>
                  </a:lnTo>
                  <a:lnTo>
                    <a:pt x="298" y="48"/>
                  </a:lnTo>
                  <a:lnTo>
                    <a:pt x="294" y="48"/>
                  </a:lnTo>
                  <a:lnTo>
                    <a:pt x="290" y="48"/>
                  </a:lnTo>
                  <a:lnTo>
                    <a:pt x="286" y="48"/>
                  </a:lnTo>
                  <a:lnTo>
                    <a:pt x="282" y="48"/>
                  </a:lnTo>
                  <a:lnTo>
                    <a:pt x="282" y="44"/>
                  </a:lnTo>
                  <a:lnTo>
                    <a:pt x="278" y="44"/>
                  </a:lnTo>
                  <a:lnTo>
                    <a:pt x="278" y="42"/>
                  </a:lnTo>
                  <a:lnTo>
                    <a:pt x="282" y="42"/>
                  </a:lnTo>
                  <a:lnTo>
                    <a:pt x="286" y="42"/>
                  </a:lnTo>
                  <a:lnTo>
                    <a:pt x="290" y="42"/>
                  </a:lnTo>
                  <a:lnTo>
                    <a:pt x="286" y="42"/>
                  </a:lnTo>
                  <a:lnTo>
                    <a:pt x="290" y="42"/>
                  </a:lnTo>
                  <a:lnTo>
                    <a:pt x="290" y="44"/>
                  </a:lnTo>
                  <a:lnTo>
                    <a:pt x="294" y="44"/>
                  </a:lnTo>
                  <a:lnTo>
                    <a:pt x="298" y="44"/>
                  </a:lnTo>
                  <a:lnTo>
                    <a:pt x="306" y="48"/>
                  </a:lnTo>
                  <a:lnTo>
                    <a:pt x="308" y="48"/>
                  </a:lnTo>
                  <a:lnTo>
                    <a:pt x="308" y="48"/>
                  </a:lnTo>
                  <a:lnTo>
                    <a:pt x="308" y="48"/>
                  </a:lnTo>
                  <a:close/>
                  <a:moveTo>
                    <a:pt x="294" y="42"/>
                  </a:moveTo>
                  <a:lnTo>
                    <a:pt x="298" y="42"/>
                  </a:lnTo>
                  <a:lnTo>
                    <a:pt x="298" y="44"/>
                  </a:lnTo>
                  <a:lnTo>
                    <a:pt x="294" y="44"/>
                  </a:lnTo>
                  <a:lnTo>
                    <a:pt x="294" y="42"/>
                  </a:lnTo>
                  <a:lnTo>
                    <a:pt x="294" y="42"/>
                  </a:lnTo>
                  <a:lnTo>
                    <a:pt x="294" y="42"/>
                  </a:lnTo>
                  <a:close/>
                  <a:moveTo>
                    <a:pt x="764" y="48"/>
                  </a:moveTo>
                  <a:lnTo>
                    <a:pt x="760" y="44"/>
                  </a:lnTo>
                  <a:lnTo>
                    <a:pt x="756" y="44"/>
                  </a:lnTo>
                  <a:lnTo>
                    <a:pt x="756" y="42"/>
                  </a:lnTo>
                  <a:lnTo>
                    <a:pt x="760" y="42"/>
                  </a:lnTo>
                  <a:lnTo>
                    <a:pt x="760" y="44"/>
                  </a:lnTo>
                  <a:lnTo>
                    <a:pt x="764" y="48"/>
                  </a:lnTo>
                  <a:lnTo>
                    <a:pt x="768" y="48"/>
                  </a:lnTo>
                  <a:lnTo>
                    <a:pt x="764" y="48"/>
                  </a:lnTo>
                  <a:lnTo>
                    <a:pt x="764" y="48"/>
                  </a:lnTo>
                  <a:lnTo>
                    <a:pt x="764" y="48"/>
                  </a:lnTo>
                  <a:close/>
                  <a:moveTo>
                    <a:pt x="744" y="52"/>
                  </a:moveTo>
                  <a:lnTo>
                    <a:pt x="742" y="48"/>
                  </a:lnTo>
                  <a:lnTo>
                    <a:pt x="738" y="48"/>
                  </a:lnTo>
                  <a:lnTo>
                    <a:pt x="738" y="44"/>
                  </a:lnTo>
                  <a:lnTo>
                    <a:pt x="742" y="44"/>
                  </a:lnTo>
                  <a:lnTo>
                    <a:pt x="744" y="44"/>
                  </a:lnTo>
                  <a:lnTo>
                    <a:pt x="744" y="48"/>
                  </a:lnTo>
                  <a:lnTo>
                    <a:pt x="748" y="48"/>
                  </a:lnTo>
                  <a:lnTo>
                    <a:pt x="752" y="48"/>
                  </a:lnTo>
                  <a:lnTo>
                    <a:pt x="752" y="52"/>
                  </a:lnTo>
                  <a:lnTo>
                    <a:pt x="748" y="52"/>
                  </a:lnTo>
                  <a:lnTo>
                    <a:pt x="744" y="52"/>
                  </a:lnTo>
                  <a:lnTo>
                    <a:pt x="744" y="52"/>
                  </a:lnTo>
                  <a:lnTo>
                    <a:pt x="744" y="52"/>
                  </a:lnTo>
                  <a:close/>
                  <a:moveTo>
                    <a:pt x="768" y="60"/>
                  </a:moveTo>
                  <a:lnTo>
                    <a:pt x="764" y="60"/>
                  </a:lnTo>
                  <a:lnTo>
                    <a:pt x="760" y="56"/>
                  </a:lnTo>
                  <a:lnTo>
                    <a:pt x="764" y="56"/>
                  </a:lnTo>
                  <a:lnTo>
                    <a:pt x="768" y="56"/>
                  </a:lnTo>
                  <a:lnTo>
                    <a:pt x="770" y="56"/>
                  </a:lnTo>
                  <a:lnTo>
                    <a:pt x="770" y="60"/>
                  </a:lnTo>
                  <a:lnTo>
                    <a:pt x="774" y="60"/>
                  </a:lnTo>
                  <a:lnTo>
                    <a:pt x="770" y="60"/>
                  </a:lnTo>
                  <a:lnTo>
                    <a:pt x="768" y="60"/>
                  </a:lnTo>
                  <a:lnTo>
                    <a:pt x="768" y="60"/>
                  </a:lnTo>
                  <a:lnTo>
                    <a:pt x="768" y="60"/>
                  </a:lnTo>
                  <a:close/>
                  <a:moveTo>
                    <a:pt x="738" y="60"/>
                  </a:moveTo>
                  <a:lnTo>
                    <a:pt x="734" y="56"/>
                  </a:lnTo>
                  <a:lnTo>
                    <a:pt x="738" y="56"/>
                  </a:lnTo>
                  <a:lnTo>
                    <a:pt x="742" y="60"/>
                  </a:lnTo>
                  <a:lnTo>
                    <a:pt x="744" y="60"/>
                  </a:lnTo>
                  <a:lnTo>
                    <a:pt x="742" y="60"/>
                  </a:lnTo>
                  <a:lnTo>
                    <a:pt x="738" y="60"/>
                  </a:lnTo>
                  <a:lnTo>
                    <a:pt x="738" y="60"/>
                  </a:lnTo>
                  <a:lnTo>
                    <a:pt x="738" y="60"/>
                  </a:lnTo>
                  <a:close/>
                  <a:moveTo>
                    <a:pt x="86" y="90"/>
                  </a:moveTo>
                  <a:lnTo>
                    <a:pt x="90" y="90"/>
                  </a:lnTo>
                  <a:lnTo>
                    <a:pt x="94" y="90"/>
                  </a:lnTo>
                  <a:lnTo>
                    <a:pt x="90" y="90"/>
                  </a:lnTo>
                  <a:lnTo>
                    <a:pt x="86" y="90"/>
                  </a:lnTo>
                  <a:lnTo>
                    <a:pt x="86" y="90"/>
                  </a:lnTo>
                  <a:lnTo>
                    <a:pt x="86" y="90"/>
                  </a:lnTo>
                  <a:close/>
                  <a:moveTo>
                    <a:pt x="760" y="130"/>
                  </a:moveTo>
                  <a:lnTo>
                    <a:pt x="760" y="134"/>
                  </a:lnTo>
                  <a:lnTo>
                    <a:pt x="756" y="134"/>
                  </a:lnTo>
                  <a:lnTo>
                    <a:pt x="756" y="130"/>
                  </a:lnTo>
                  <a:lnTo>
                    <a:pt x="760" y="130"/>
                  </a:lnTo>
                  <a:lnTo>
                    <a:pt x="760" y="130"/>
                  </a:lnTo>
                  <a:lnTo>
                    <a:pt x="760" y="130"/>
                  </a:lnTo>
                  <a:close/>
                  <a:moveTo>
                    <a:pt x="782" y="130"/>
                  </a:moveTo>
                  <a:lnTo>
                    <a:pt x="782" y="134"/>
                  </a:lnTo>
                  <a:lnTo>
                    <a:pt x="778" y="134"/>
                  </a:lnTo>
                  <a:lnTo>
                    <a:pt x="778" y="138"/>
                  </a:lnTo>
                  <a:lnTo>
                    <a:pt x="774" y="138"/>
                  </a:lnTo>
                  <a:lnTo>
                    <a:pt x="774" y="134"/>
                  </a:lnTo>
                  <a:lnTo>
                    <a:pt x="778" y="130"/>
                  </a:lnTo>
                  <a:lnTo>
                    <a:pt x="782" y="130"/>
                  </a:lnTo>
                  <a:lnTo>
                    <a:pt x="782" y="130"/>
                  </a:lnTo>
                  <a:lnTo>
                    <a:pt x="782" y="130"/>
                  </a:lnTo>
                  <a:close/>
                  <a:moveTo>
                    <a:pt x="774" y="146"/>
                  </a:moveTo>
                  <a:lnTo>
                    <a:pt x="770" y="142"/>
                  </a:lnTo>
                  <a:lnTo>
                    <a:pt x="774" y="142"/>
                  </a:lnTo>
                  <a:lnTo>
                    <a:pt x="774" y="146"/>
                  </a:lnTo>
                  <a:lnTo>
                    <a:pt x="774" y="146"/>
                  </a:lnTo>
                  <a:lnTo>
                    <a:pt x="774" y="146"/>
                  </a:lnTo>
                  <a:close/>
                  <a:moveTo>
                    <a:pt x="770" y="146"/>
                  </a:moveTo>
                  <a:lnTo>
                    <a:pt x="770" y="150"/>
                  </a:lnTo>
                  <a:lnTo>
                    <a:pt x="768" y="150"/>
                  </a:lnTo>
                  <a:lnTo>
                    <a:pt x="768" y="146"/>
                  </a:lnTo>
                  <a:lnTo>
                    <a:pt x="770" y="146"/>
                  </a:lnTo>
                  <a:lnTo>
                    <a:pt x="770" y="146"/>
                  </a:lnTo>
                  <a:lnTo>
                    <a:pt x="770" y="146"/>
                  </a:lnTo>
                  <a:close/>
                  <a:moveTo>
                    <a:pt x="760" y="154"/>
                  </a:moveTo>
                  <a:lnTo>
                    <a:pt x="764" y="158"/>
                  </a:lnTo>
                  <a:lnTo>
                    <a:pt x="760" y="158"/>
                  </a:lnTo>
                  <a:lnTo>
                    <a:pt x="756" y="158"/>
                  </a:lnTo>
                  <a:lnTo>
                    <a:pt x="756" y="154"/>
                  </a:lnTo>
                  <a:lnTo>
                    <a:pt x="760" y="154"/>
                  </a:lnTo>
                  <a:lnTo>
                    <a:pt x="760" y="154"/>
                  </a:lnTo>
                  <a:lnTo>
                    <a:pt x="760" y="154"/>
                  </a:lnTo>
                  <a:close/>
                  <a:moveTo>
                    <a:pt x="756" y="158"/>
                  </a:moveTo>
                  <a:lnTo>
                    <a:pt x="752" y="158"/>
                  </a:lnTo>
                  <a:lnTo>
                    <a:pt x="752" y="154"/>
                  </a:lnTo>
                  <a:lnTo>
                    <a:pt x="756" y="154"/>
                  </a:lnTo>
                  <a:lnTo>
                    <a:pt x="756" y="158"/>
                  </a:lnTo>
                  <a:lnTo>
                    <a:pt x="756" y="158"/>
                  </a:lnTo>
                  <a:lnTo>
                    <a:pt x="756" y="158"/>
                  </a:lnTo>
                  <a:close/>
                  <a:moveTo>
                    <a:pt x="760" y="160"/>
                  </a:moveTo>
                  <a:lnTo>
                    <a:pt x="760" y="158"/>
                  </a:lnTo>
                  <a:lnTo>
                    <a:pt x="764" y="158"/>
                  </a:lnTo>
                  <a:lnTo>
                    <a:pt x="760" y="160"/>
                  </a:lnTo>
                  <a:lnTo>
                    <a:pt x="760" y="160"/>
                  </a:lnTo>
                  <a:lnTo>
                    <a:pt x="760" y="160"/>
                  </a:lnTo>
                  <a:close/>
                  <a:moveTo>
                    <a:pt x="744" y="160"/>
                  </a:moveTo>
                  <a:lnTo>
                    <a:pt x="742" y="160"/>
                  </a:lnTo>
                  <a:lnTo>
                    <a:pt x="738" y="160"/>
                  </a:lnTo>
                  <a:lnTo>
                    <a:pt x="742" y="160"/>
                  </a:lnTo>
                  <a:lnTo>
                    <a:pt x="744" y="160"/>
                  </a:lnTo>
                  <a:lnTo>
                    <a:pt x="744" y="160"/>
                  </a:lnTo>
                  <a:lnTo>
                    <a:pt x="744" y="160"/>
                  </a:lnTo>
                  <a:close/>
                  <a:moveTo>
                    <a:pt x="764" y="160"/>
                  </a:moveTo>
                  <a:lnTo>
                    <a:pt x="764" y="164"/>
                  </a:lnTo>
                  <a:lnTo>
                    <a:pt x="760" y="164"/>
                  </a:lnTo>
                  <a:lnTo>
                    <a:pt x="760" y="160"/>
                  </a:lnTo>
                  <a:lnTo>
                    <a:pt x="764" y="160"/>
                  </a:lnTo>
                  <a:lnTo>
                    <a:pt x="768" y="160"/>
                  </a:lnTo>
                  <a:lnTo>
                    <a:pt x="764" y="160"/>
                  </a:lnTo>
                  <a:lnTo>
                    <a:pt x="764" y="160"/>
                  </a:lnTo>
                  <a:lnTo>
                    <a:pt x="764" y="160"/>
                  </a:lnTo>
                  <a:close/>
                  <a:moveTo>
                    <a:pt x="734" y="164"/>
                  </a:moveTo>
                  <a:lnTo>
                    <a:pt x="734" y="168"/>
                  </a:lnTo>
                  <a:lnTo>
                    <a:pt x="730" y="168"/>
                  </a:lnTo>
                  <a:lnTo>
                    <a:pt x="730" y="164"/>
                  </a:lnTo>
                  <a:lnTo>
                    <a:pt x="734" y="164"/>
                  </a:lnTo>
                  <a:lnTo>
                    <a:pt x="734" y="164"/>
                  </a:lnTo>
                  <a:lnTo>
                    <a:pt x="734" y="164"/>
                  </a:lnTo>
                  <a:close/>
                  <a:moveTo>
                    <a:pt x="748" y="174"/>
                  </a:moveTo>
                  <a:lnTo>
                    <a:pt x="748" y="178"/>
                  </a:lnTo>
                  <a:lnTo>
                    <a:pt x="744" y="174"/>
                  </a:lnTo>
                  <a:lnTo>
                    <a:pt x="742" y="174"/>
                  </a:lnTo>
                  <a:lnTo>
                    <a:pt x="744" y="174"/>
                  </a:lnTo>
                  <a:lnTo>
                    <a:pt x="748" y="174"/>
                  </a:lnTo>
                  <a:lnTo>
                    <a:pt x="748" y="174"/>
                  </a:lnTo>
                  <a:lnTo>
                    <a:pt x="748" y="174"/>
                  </a:lnTo>
                  <a:close/>
                  <a:moveTo>
                    <a:pt x="752" y="178"/>
                  </a:moveTo>
                  <a:lnTo>
                    <a:pt x="748" y="178"/>
                  </a:lnTo>
                  <a:lnTo>
                    <a:pt x="752" y="178"/>
                  </a:lnTo>
                  <a:lnTo>
                    <a:pt x="752" y="178"/>
                  </a:lnTo>
                  <a:lnTo>
                    <a:pt x="752" y="178"/>
                  </a:lnTo>
                  <a:close/>
                  <a:moveTo>
                    <a:pt x="96" y="178"/>
                  </a:moveTo>
                  <a:lnTo>
                    <a:pt x="94" y="178"/>
                  </a:lnTo>
                  <a:lnTo>
                    <a:pt x="90" y="178"/>
                  </a:lnTo>
                  <a:lnTo>
                    <a:pt x="94" y="178"/>
                  </a:lnTo>
                  <a:lnTo>
                    <a:pt x="96" y="178"/>
                  </a:lnTo>
                  <a:lnTo>
                    <a:pt x="96" y="178"/>
                  </a:lnTo>
                  <a:lnTo>
                    <a:pt x="96" y="178"/>
                  </a:lnTo>
                  <a:close/>
                  <a:moveTo>
                    <a:pt x="26" y="182"/>
                  </a:moveTo>
                  <a:lnTo>
                    <a:pt x="26" y="178"/>
                  </a:lnTo>
                  <a:lnTo>
                    <a:pt x="30" y="178"/>
                  </a:lnTo>
                  <a:lnTo>
                    <a:pt x="34" y="178"/>
                  </a:lnTo>
                  <a:lnTo>
                    <a:pt x="34" y="182"/>
                  </a:lnTo>
                  <a:lnTo>
                    <a:pt x="38" y="182"/>
                  </a:lnTo>
                  <a:lnTo>
                    <a:pt x="40" y="182"/>
                  </a:lnTo>
                  <a:lnTo>
                    <a:pt x="38" y="182"/>
                  </a:lnTo>
                  <a:lnTo>
                    <a:pt x="34" y="182"/>
                  </a:lnTo>
                  <a:lnTo>
                    <a:pt x="30" y="182"/>
                  </a:lnTo>
                  <a:lnTo>
                    <a:pt x="26" y="182"/>
                  </a:lnTo>
                  <a:lnTo>
                    <a:pt x="22" y="182"/>
                  </a:lnTo>
                  <a:lnTo>
                    <a:pt x="26" y="182"/>
                  </a:lnTo>
                  <a:lnTo>
                    <a:pt x="26" y="182"/>
                  </a:lnTo>
                  <a:lnTo>
                    <a:pt x="26" y="182"/>
                  </a:lnTo>
                  <a:close/>
                  <a:moveTo>
                    <a:pt x="10" y="182"/>
                  </a:moveTo>
                  <a:lnTo>
                    <a:pt x="14" y="182"/>
                  </a:lnTo>
                  <a:lnTo>
                    <a:pt x="18" y="182"/>
                  </a:lnTo>
                  <a:lnTo>
                    <a:pt x="22" y="182"/>
                  </a:lnTo>
                  <a:lnTo>
                    <a:pt x="18" y="186"/>
                  </a:lnTo>
                  <a:lnTo>
                    <a:pt x="14" y="186"/>
                  </a:lnTo>
                  <a:lnTo>
                    <a:pt x="10" y="186"/>
                  </a:lnTo>
                  <a:lnTo>
                    <a:pt x="10" y="182"/>
                  </a:lnTo>
                  <a:lnTo>
                    <a:pt x="8" y="182"/>
                  </a:lnTo>
                  <a:lnTo>
                    <a:pt x="10" y="182"/>
                  </a:lnTo>
                  <a:lnTo>
                    <a:pt x="10" y="182"/>
                  </a:lnTo>
                  <a:lnTo>
                    <a:pt x="10" y="182"/>
                  </a:lnTo>
                  <a:close/>
                  <a:moveTo>
                    <a:pt x="752" y="198"/>
                  </a:moveTo>
                  <a:lnTo>
                    <a:pt x="756" y="198"/>
                  </a:lnTo>
                  <a:lnTo>
                    <a:pt x="752" y="200"/>
                  </a:lnTo>
                  <a:lnTo>
                    <a:pt x="752" y="198"/>
                  </a:lnTo>
                  <a:lnTo>
                    <a:pt x="752" y="198"/>
                  </a:lnTo>
                  <a:lnTo>
                    <a:pt x="752" y="198"/>
                  </a:lnTo>
                  <a:close/>
                  <a:moveTo>
                    <a:pt x="752" y="200"/>
                  </a:moveTo>
                  <a:lnTo>
                    <a:pt x="756" y="200"/>
                  </a:lnTo>
                  <a:lnTo>
                    <a:pt x="752" y="200"/>
                  </a:lnTo>
                  <a:lnTo>
                    <a:pt x="752" y="200"/>
                  </a:lnTo>
                  <a:lnTo>
                    <a:pt x="752" y="200"/>
                  </a:lnTo>
                  <a:close/>
                  <a:moveTo>
                    <a:pt x="734" y="204"/>
                  </a:moveTo>
                  <a:lnTo>
                    <a:pt x="730" y="204"/>
                  </a:lnTo>
                  <a:lnTo>
                    <a:pt x="726" y="204"/>
                  </a:lnTo>
                  <a:lnTo>
                    <a:pt x="730" y="204"/>
                  </a:lnTo>
                  <a:lnTo>
                    <a:pt x="734" y="204"/>
                  </a:lnTo>
                  <a:lnTo>
                    <a:pt x="734" y="204"/>
                  </a:lnTo>
                  <a:lnTo>
                    <a:pt x="734" y="204"/>
                  </a:lnTo>
                  <a:close/>
                  <a:moveTo>
                    <a:pt x="48" y="204"/>
                  </a:moveTo>
                  <a:lnTo>
                    <a:pt x="44" y="204"/>
                  </a:lnTo>
                  <a:lnTo>
                    <a:pt x="40" y="204"/>
                  </a:lnTo>
                  <a:lnTo>
                    <a:pt x="44" y="204"/>
                  </a:lnTo>
                  <a:lnTo>
                    <a:pt x="48" y="204"/>
                  </a:lnTo>
                  <a:lnTo>
                    <a:pt x="48" y="204"/>
                  </a:lnTo>
                  <a:lnTo>
                    <a:pt x="48" y="204"/>
                  </a:lnTo>
                  <a:close/>
                  <a:moveTo>
                    <a:pt x="738" y="208"/>
                  </a:moveTo>
                  <a:lnTo>
                    <a:pt x="738" y="212"/>
                  </a:lnTo>
                  <a:lnTo>
                    <a:pt x="738" y="208"/>
                  </a:lnTo>
                  <a:lnTo>
                    <a:pt x="734" y="208"/>
                  </a:lnTo>
                  <a:lnTo>
                    <a:pt x="738" y="208"/>
                  </a:lnTo>
                  <a:lnTo>
                    <a:pt x="738" y="204"/>
                  </a:lnTo>
                  <a:lnTo>
                    <a:pt x="738" y="208"/>
                  </a:lnTo>
                  <a:lnTo>
                    <a:pt x="738" y="208"/>
                  </a:lnTo>
                  <a:lnTo>
                    <a:pt x="738" y="208"/>
                  </a:lnTo>
                  <a:close/>
                  <a:moveTo>
                    <a:pt x="40" y="208"/>
                  </a:moveTo>
                  <a:lnTo>
                    <a:pt x="44" y="208"/>
                  </a:lnTo>
                  <a:lnTo>
                    <a:pt x="40" y="208"/>
                  </a:lnTo>
                  <a:lnTo>
                    <a:pt x="40" y="208"/>
                  </a:lnTo>
                  <a:lnTo>
                    <a:pt x="40" y="208"/>
                  </a:lnTo>
                  <a:close/>
                  <a:moveTo>
                    <a:pt x="744" y="208"/>
                  </a:moveTo>
                  <a:lnTo>
                    <a:pt x="748" y="208"/>
                  </a:lnTo>
                  <a:lnTo>
                    <a:pt x="748" y="212"/>
                  </a:lnTo>
                  <a:lnTo>
                    <a:pt x="744" y="212"/>
                  </a:lnTo>
                  <a:lnTo>
                    <a:pt x="744" y="208"/>
                  </a:lnTo>
                  <a:lnTo>
                    <a:pt x="742" y="212"/>
                  </a:lnTo>
                  <a:lnTo>
                    <a:pt x="742" y="208"/>
                  </a:lnTo>
                  <a:lnTo>
                    <a:pt x="744" y="208"/>
                  </a:lnTo>
                  <a:lnTo>
                    <a:pt x="744" y="208"/>
                  </a:lnTo>
                  <a:lnTo>
                    <a:pt x="744" y="208"/>
                  </a:lnTo>
                  <a:close/>
                  <a:moveTo>
                    <a:pt x="734" y="212"/>
                  </a:moveTo>
                  <a:lnTo>
                    <a:pt x="738" y="212"/>
                  </a:lnTo>
                  <a:lnTo>
                    <a:pt x="742" y="212"/>
                  </a:lnTo>
                  <a:lnTo>
                    <a:pt x="742" y="216"/>
                  </a:lnTo>
                  <a:lnTo>
                    <a:pt x="742" y="212"/>
                  </a:lnTo>
                  <a:lnTo>
                    <a:pt x="738" y="212"/>
                  </a:lnTo>
                  <a:lnTo>
                    <a:pt x="734" y="212"/>
                  </a:lnTo>
                  <a:lnTo>
                    <a:pt x="734" y="212"/>
                  </a:lnTo>
                  <a:lnTo>
                    <a:pt x="734" y="212"/>
                  </a:lnTo>
                  <a:close/>
                  <a:moveTo>
                    <a:pt x="744" y="212"/>
                  </a:moveTo>
                  <a:lnTo>
                    <a:pt x="742" y="212"/>
                  </a:lnTo>
                  <a:lnTo>
                    <a:pt x="744" y="212"/>
                  </a:lnTo>
                  <a:lnTo>
                    <a:pt x="748" y="212"/>
                  </a:lnTo>
                  <a:lnTo>
                    <a:pt x="744" y="212"/>
                  </a:lnTo>
                  <a:lnTo>
                    <a:pt x="744" y="212"/>
                  </a:lnTo>
                  <a:lnTo>
                    <a:pt x="744" y="212"/>
                  </a:lnTo>
                  <a:close/>
                  <a:moveTo>
                    <a:pt x="110" y="220"/>
                  </a:moveTo>
                  <a:lnTo>
                    <a:pt x="114" y="220"/>
                  </a:lnTo>
                  <a:lnTo>
                    <a:pt x="110" y="220"/>
                  </a:lnTo>
                  <a:lnTo>
                    <a:pt x="108" y="220"/>
                  </a:lnTo>
                  <a:lnTo>
                    <a:pt x="110" y="220"/>
                  </a:lnTo>
                  <a:lnTo>
                    <a:pt x="110" y="220"/>
                  </a:lnTo>
                  <a:lnTo>
                    <a:pt x="110" y="220"/>
                  </a:lnTo>
                  <a:close/>
                  <a:moveTo>
                    <a:pt x="748" y="224"/>
                  </a:moveTo>
                  <a:lnTo>
                    <a:pt x="744" y="224"/>
                  </a:lnTo>
                  <a:lnTo>
                    <a:pt x="748" y="220"/>
                  </a:lnTo>
                  <a:lnTo>
                    <a:pt x="748" y="224"/>
                  </a:lnTo>
                  <a:lnTo>
                    <a:pt x="748" y="224"/>
                  </a:lnTo>
                  <a:lnTo>
                    <a:pt x="748" y="224"/>
                  </a:lnTo>
                  <a:close/>
                  <a:moveTo>
                    <a:pt x="744" y="246"/>
                  </a:moveTo>
                  <a:lnTo>
                    <a:pt x="748" y="250"/>
                  </a:lnTo>
                  <a:lnTo>
                    <a:pt x="744" y="250"/>
                  </a:lnTo>
                  <a:lnTo>
                    <a:pt x="748" y="250"/>
                  </a:lnTo>
                  <a:lnTo>
                    <a:pt x="752" y="254"/>
                  </a:lnTo>
                  <a:lnTo>
                    <a:pt x="748" y="256"/>
                  </a:lnTo>
                  <a:lnTo>
                    <a:pt x="744" y="256"/>
                  </a:lnTo>
                  <a:lnTo>
                    <a:pt x="742" y="256"/>
                  </a:lnTo>
                  <a:lnTo>
                    <a:pt x="742" y="254"/>
                  </a:lnTo>
                  <a:lnTo>
                    <a:pt x="742" y="250"/>
                  </a:lnTo>
                  <a:lnTo>
                    <a:pt x="742" y="246"/>
                  </a:lnTo>
                  <a:lnTo>
                    <a:pt x="744" y="246"/>
                  </a:lnTo>
                  <a:lnTo>
                    <a:pt x="744" y="246"/>
                  </a:lnTo>
                  <a:lnTo>
                    <a:pt x="744" y="246"/>
                  </a:lnTo>
                  <a:close/>
                  <a:moveTo>
                    <a:pt x="770" y="256"/>
                  </a:moveTo>
                  <a:lnTo>
                    <a:pt x="768" y="256"/>
                  </a:lnTo>
                  <a:lnTo>
                    <a:pt x="770" y="256"/>
                  </a:lnTo>
                  <a:lnTo>
                    <a:pt x="774" y="256"/>
                  </a:lnTo>
                  <a:lnTo>
                    <a:pt x="770" y="256"/>
                  </a:lnTo>
                  <a:lnTo>
                    <a:pt x="770" y="256"/>
                  </a:lnTo>
                  <a:lnTo>
                    <a:pt x="770" y="256"/>
                  </a:lnTo>
                  <a:close/>
                  <a:moveTo>
                    <a:pt x="768" y="260"/>
                  </a:moveTo>
                  <a:lnTo>
                    <a:pt x="764" y="260"/>
                  </a:lnTo>
                  <a:lnTo>
                    <a:pt x="760" y="260"/>
                  </a:lnTo>
                  <a:lnTo>
                    <a:pt x="764" y="256"/>
                  </a:lnTo>
                  <a:lnTo>
                    <a:pt x="768" y="256"/>
                  </a:lnTo>
                  <a:lnTo>
                    <a:pt x="768" y="260"/>
                  </a:lnTo>
                  <a:lnTo>
                    <a:pt x="768" y="260"/>
                  </a:lnTo>
                  <a:lnTo>
                    <a:pt x="768" y="260"/>
                  </a:lnTo>
                  <a:close/>
                  <a:moveTo>
                    <a:pt x="226" y="260"/>
                  </a:moveTo>
                  <a:lnTo>
                    <a:pt x="222" y="260"/>
                  </a:lnTo>
                  <a:lnTo>
                    <a:pt x="226" y="260"/>
                  </a:lnTo>
                  <a:lnTo>
                    <a:pt x="226" y="260"/>
                  </a:lnTo>
                  <a:lnTo>
                    <a:pt x="226" y="260"/>
                  </a:lnTo>
                  <a:close/>
                  <a:moveTo>
                    <a:pt x="220" y="260"/>
                  </a:moveTo>
                  <a:lnTo>
                    <a:pt x="222" y="260"/>
                  </a:lnTo>
                  <a:lnTo>
                    <a:pt x="226" y="260"/>
                  </a:lnTo>
                  <a:lnTo>
                    <a:pt x="230" y="260"/>
                  </a:lnTo>
                  <a:lnTo>
                    <a:pt x="234" y="260"/>
                  </a:lnTo>
                  <a:lnTo>
                    <a:pt x="230" y="260"/>
                  </a:lnTo>
                  <a:lnTo>
                    <a:pt x="226" y="260"/>
                  </a:lnTo>
                  <a:lnTo>
                    <a:pt x="222" y="264"/>
                  </a:lnTo>
                  <a:lnTo>
                    <a:pt x="220" y="260"/>
                  </a:lnTo>
                  <a:lnTo>
                    <a:pt x="220" y="260"/>
                  </a:lnTo>
                  <a:lnTo>
                    <a:pt x="220" y="260"/>
                  </a:lnTo>
                  <a:close/>
                  <a:moveTo>
                    <a:pt x="734" y="264"/>
                  </a:moveTo>
                  <a:lnTo>
                    <a:pt x="738" y="264"/>
                  </a:lnTo>
                  <a:lnTo>
                    <a:pt x="742" y="264"/>
                  </a:lnTo>
                  <a:lnTo>
                    <a:pt x="742" y="268"/>
                  </a:lnTo>
                  <a:lnTo>
                    <a:pt x="744" y="268"/>
                  </a:lnTo>
                  <a:lnTo>
                    <a:pt x="748" y="268"/>
                  </a:lnTo>
                  <a:lnTo>
                    <a:pt x="748" y="272"/>
                  </a:lnTo>
                  <a:lnTo>
                    <a:pt x="744" y="272"/>
                  </a:lnTo>
                  <a:lnTo>
                    <a:pt x="742" y="272"/>
                  </a:lnTo>
                  <a:lnTo>
                    <a:pt x="738" y="272"/>
                  </a:lnTo>
                  <a:lnTo>
                    <a:pt x="734" y="272"/>
                  </a:lnTo>
                  <a:lnTo>
                    <a:pt x="730" y="272"/>
                  </a:lnTo>
                  <a:lnTo>
                    <a:pt x="726" y="272"/>
                  </a:lnTo>
                  <a:lnTo>
                    <a:pt x="722" y="272"/>
                  </a:lnTo>
                  <a:lnTo>
                    <a:pt x="722" y="268"/>
                  </a:lnTo>
                  <a:lnTo>
                    <a:pt x="722" y="264"/>
                  </a:lnTo>
                  <a:lnTo>
                    <a:pt x="726" y="264"/>
                  </a:lnTo>
                  <a:lnTo>
                    <a:pt x="730" y="264"/>
                  </a:lnTo>
                  <a:lnTo>
                    <a:pt x="734" y="264"/>
                  </a:lnTo>
                  <a:lnTo>
                    <a:pt x="734" y="264"/>
                  </a:lnTo>
                  <a:lnTo>
                    <a:pt x="734" y="264"/>
                  </a:lnTo>
                  <a:close/>
                  <a:moveTo>
                    <a:pt x="234" y="280"/>
                  </a:moveTo>
                  <a:lnTo>
                    <a:pt x="230" y="280"/>
                  </a:lnTo>
                  <a:lnTo>
                    <a:pt x="234" y="280"/>
                  </a:lnTo>
                  <a:lnTo>
                    <a:pt x="238" y="280"/>
                  </a:lnTo>
                  <a:lnTo>
                    <a:pt x="242" y="280"/>
                  </a:lnTo>
                  <a:lnTo>
                    <a:pt x="238" y="280"/>
                  </a:lnTo>
                  <a:lnTo>
                    <a:pt x="234" y="280"/>
                  </a:lnTo>
                  <a:lnTo>
                    <a:pt x="234" y="280"/>
                  </a:lnTo>
                  <a:lnTo>
                    <a:pt x="234" y="280"/>
                  </a:lnTo>
                  <a:close/>
                  <a:moveTo>
                    <a:pt x="234" y="284"/>
                  </a:moveTo>
                  <a:lnTo>
                    <a:pt x="230" y="286"/>
                  </a:lnTo>
                  <a:lnTo>
                    <a:pt x="226" y="286"/>
                  </a:lnTo>
                  <a:lnTo>
                    <a:pt x="226" y="284"/>
                  </a:lnTo>
                  <a:lnTo>
                    <a:pt x="230" y="284"/>
                  </a:lnTo>
                  <a:lnTo>
                    <a:pt x="234" y="284"/>
                  </a:lnTo>
                  <a:lnTo>
                    <a:pt x="234" y="284"/>
                  </a:lnTo>
                  <a:lnTo>
                    <a:pt x="234" y="284"/>
                  </a:lnTo>
                  <a:close/>
                  <a:moveTo>
                    <a:pt x="234" y="286"/>
                  </a:moveTo>
                  <a:lnTo>
                    <a:pt x="230" y="286"/>
                  </a:lnTo>
                  <a:lnTo>
                    <a:pt x="234" y="286"/>
                  </a:lnTo>
                  <a:lnTo>
                    <a:pt x="234" y="284"/>
                  </a:lnTo>
                  <a:lnTo>
                    <a:pt x="238" y="284"/>
                  </a:lnTo>
                  <a:lnTo>
                    <a:pt x="238" y="286"/>
                  </a:lnTo>
                  <a:lnTo>
                    <a:pt x="234" y="286"/>
                  </a:lnTo>
                  <a:lnTo>
                    <a:pt x="234" y="286"/>
                  </a:lnTo>
                  <a:lnTo>
                    <a:pt x="234" y="286"/>
                  </a:lnTo>
                  <a:close/>
                  <a:moveTo>
                    <a:pt x="242" y="286"/>
                  </a:moveTo>
                  <a:lnTo>
                    <a:pt x="246" y="286"/>
                  </a:lnTo>
                  <a:lnTo>
                    <a:pt x="246" y="290"/>
                  </a:lnTo>
                  <a:lnTo>
                    <a:pt x="242" y="290"/>
                  </a:lnTo>
                  <a:lnTo>
                    <a:pt x="246" y="290"/>
                  </a:lnTo>
                  <a:lnTo>
                    <a:pt x="242" y="290"/>
                  </a:lnTo>
                  <a:lnTo>
                    <a:pt x="238" y="286"/>
                  </a:lnTo>
                  <a:lnTo>
                    <a:pt x="242" y="286"/>
                  </a:lnTo>
                  <a:lnTo>
                    <a:pt x="242" y="286"/>
                  </a:lnTo>
                  <a:lnTo>
                    <a:pt x="242" y="286"/>
                  </a:lnTo>
                  <a:close/>
                  <a:moveTo>
                    <a:pt x="242" y="290"/>
                  </a:moveTo>
                  <a:lnTo>
                    <a:pt x="238" y="290"/>
                  </a:lnTo>
                  <a:lnTo>
                    <a:pt x="242" y="290"/>
                  </a:lnTo>
                  <a:lnTo>
                    <a:pt x="242" y="290"/>
                  </a:lnTo>
                  <a:lnTo>
                    <a:pt x="242" y="290"/>
                  </a:lnTo>
                  <a:close/>
                  <a:moveTo>
                    <a:pt x="686" y="290"/>
                  </a:moveTo>
                  <a:lnTo>
                    <a:pt x="688" y="290"/>
                  </a:lnTo>
                  <a:lnTo>
                    <a:pt x="692" y="294"/>
                  </a:lnTo>
                  <a:lnTo>
                    <a:pt x="696" y="294"/>
                  </a:lnTo>
                  <a:lnTo>
                    <a:pt x="700" y="294"/>
                  </a:lnTo>
                  <a:lnTo>
                    <a:pt x="704" y="294"/>
                  </a:lnTo>
                  <a:lnTo>
                    <a:pt x="704" y="298"/>
                  </a:lnTo>
                  <a:lnTo>
                    <a:pt x="696" y="298"/>
                  </a:lnTo>
                  <a:lnTo>
                    <a:pt x="696" y="294"/>
                  </a:lnTo>
                  <a:lnTo>
                    <a:pt x="692" y="294"/>
                  </a:lnTo>
                  <a:lnTo>
                    <a:pt x="688" y="294"/>
                  </a:lnTo>
                  <a:lnTo>
                    <a:pt x="686" y="294"/>
                  </a:lnTo>
                  <a:lnTo>
                    <a:pt x="682" y="294"/>
                  </a:lnTo>
                  <a:lnTo>
                    <a:pt x="678" y="294"/>
                  </a:lnTo>
                  <a:lnTo>
                    <a:pt x="682" y="294"/>
                  </a:lnTo>
                  <a:lnTo>
                    <a:pt x="686" y="294"/>
                  </a:lnTo>
                  <a:lnTo>
                    <a:pt x="688" y="294"/>
                  </a:lnTo>
                  <a:lnTo>
                    <a:pt x="692" y="294"/>
                  </a:lnTo>
                  <a:lnTo>
                    <a:pt x="692" y="298"/>
                  </a:lnTo>
                  <a:lnTo>
                    <a:pt x="696" y="298"/>
                  </a:lnTo>
                  <a:lnTo>
                    <a:pt x="700" y="298"/>
                  </a:lnTo>
                  <a:lnTo>
                    <a:pt x="704" y="298"/>
                  </a:lnTo>
                  <a:lnTo>
                    <a:pt x="708" y="298"/>
                  </a:lnTo>
                  <a:lnTo>
                    <a:pt x="704" y="298"/>
                  </a:lnTo>
                  <a:lnTo>
                    <a:pt x="700" y="298"/>
                  </a:lnTo>
                  <a:lnTo>
                    <a:pt x="700" y="302"/>
                  </a:lnTo>
                  <a:lnTo>
                    <a:pt x="696" y="302"/>
                  </a:lnTo>
                  <a:lnTo>
                    <a:pt x="692" y="302"/>
                  </a:lnTo>
                  <a:lnTo>
                    <a:pt x="688" y="302"/>
                  </a:lnTo>
                  <a:lnTo>
                    <a:pt x="686" y="302"/>
                  </a:lnTo>
                  <a:lnTo>
                    <a:pt x="682" y="302"/>
                  </a:lnTo>
                  <a:lnTo>
                    <a:pt x="678" y="298"/>
                  </a:lnTo>
                  <a:lnTo>
                    <a:pt x="674" y="298"/>
                  </a:lnTo>
                  <a:lnTo>
                    <a:pt x="670" y="298"/>
                  </a:lnTo>
                  <a:lnTo>
                    <a:pt x="666" y="298"/>
                  </a:lnTo>
                  <a:lnTo>
                    <a:pt x="670" y="294"/>
                  </a:lnTo>
                  <a:lnTo>
                    <a:pt x="674" y="294"/>
                  </a:lnTo>
                  <a:lnTo>
                    <a:pt x="674" y="290"/>
                  </a:lnTo>
                  <a:lnTo>
                    <a:pt x="678" y="290"/>
                  </a:lnTo>
                  <a:lnTo>
                    <a:pt x="682" y="290"/>
                  </a:lnTo>
                  <a:lnTo>
                    <a:pt x="686" y="290"/>
                  </a:lnTo>
                  <a:lnTo>
                    <a:pt x="686" y="290"/>
                  </a:lnTo>
                  <a:lnTo>
                    <a:pt x="686" y="290"/>
                  </a:lnTo>
                  <a:close/>
                  <a:moveTo>
                    <a:pt x="246" y="294"/>
                  </a:moveTo>
                  <a:lnTo>
                    <a:pt x="250" y="290"/>
                  </a:lnTo>
                  <a:lnTo>
                    <a:pt x="250" y="294"/>
                  </a:lnTo>
                  <a:lnTo>
                    <a:pt x="246" y="294"/>
                  </a:lnTo>
                  <a:lnTo>
                    <a:pt x="246" y="294"/>
                  </a:lnTo>
                  <a:lnTo>
                    <a:pt x="246" y="294"/>
                  </a:lnTo>
                  <a:close/>
                  <a:moveTo>
                    <a:pt x="242" y="290"/>
                  </a:moveTo>
                  <a:lnTo>
                    <a:pt x="242" y="294"/>
                  </a:lnTo>
                  <a:lnTo>
                    <a:pt x="238" y="294"/>
                  </a:lnTo>
                  <a:lnTo>
                    <a:pt x="238" y="290"/>
                  </a:lnTo>
                  <a:lnTo>
                    <a:pt x="242" y="290"/>
                  </a:lnTo>
                  <a:lnTo>
                    <a:pt x="242" y="290"/>
                  </a:lnTo>
                  <a:lnTo>
                    <a:pt x="242" y="290"/>
                  </a:lnTo>
                  <a:close/>
                  <a:moveTo>
                    <a:pt x="246" y="294"/>
                  </a:moveTo>
                  <a:lnTo>
                    <a:pt x="242" y="294"/>
                  </a:lnTo>
                  <a:lnTo>
                    <a:pt x="246" y="294"/>
                  </a:lnTo>
                  <a:lnTo>
                    <a:pt x="246" y="294"/>
                  </a:lnTo>
                  <a:lnTo>
                    <a:pt x="246" y="294"/>
                  </a:lnTo>
                  <a:close/>
                  <a:moveTo>
                    <a:pt x="242" y="294"/>
                  </a:moveTo>
                  <a:lnTo>
                    <a:pt x="242" y="298"/>
                  </a:lnTo>
                  <a:lnTo>
                    <a:pt x="238" y="298"/>
                  </a:lnTo>
                  <a:lnTo>
                    <a:pt x="238" y="294"/>
                  </a:lnTo>
                  <a:lnTo>
                    <a:pt x="242" y="294"/>
                  </a:lnTo>
                  <a:lnTo>
                    <a:pt x="242" y="294"/>
                  </a:lnTo>
                  <a:lnTo>
                    <a:pt x="242" y="294"/>
                  </a:lnTo>
                  <a:close/>
                  <a:moveTo>
                    <a:pt x="250" y="306"/>
                  </a:moveTo>
                  <a:lnTo>
                    <a:pt x="250" y="302"/>
                  </a:lnTo>
                  <a:lnTo>
                    <a:pt x="246" y="302"/>
                  </a:lnTo>
                  <a:lnTo>
                    <a:pt x="250" y="302"/>
                  </a:lnTo>
                  <a:lnTo>
                    <a:pt x="252" y="302"/>
                  </a:lnTo>
                  <a:lnTo>
                    <a:pt x="252" y="306"/>
                  </a:lnTo>
                  <a:lnTo>
                    <a:pt x="250" y="306"/>
                  </a:lnTo>
                  <a:lnTo>
                    <a:pt x="250" y="306"/>
                  </a:lnTo>
                  <a:lnTo>
                    <a:pt x="250" y="306"/>
                  </a:lnTo>
                  <a:close/>
                  <a:moveTo>
                    <a:pt x="682" y="306"/>
                  </a:moveTo>
                  <a:lnTo>
                    <a:pt x="682" y="310"/>
                  </a:lnTo>
                  <a:lnTo>
                    <a:pt x="678" y="310"/>
                  </a:lnTo>
                  <a:lnTo>
                    <a:pt x="674" y="306"/>
                  </a:lnTo>
                  <a:lnTo>
                    <a:pt x="678" y="306"/>
                  </a:lnTo>
                  <a:lnTo>
                    <a:pt x="682" y="306"/>
                  </a:lnTo>
                  <a:lnTo>
                    <a:pt x="682" y="306"/>
                  </a:lnTo>
                  <a:lnTo>
                    <a:pt x="682" y="306"/>
                  </a:lnTo>
                  <a:close/>
                  <a:moveTo>
                    <a:pt x="246" y="306"/>
                  </a:moveTo>
                  <a:lnTo>
                    <a:pt x="250" y="306"/>
                  </a:lnTo>
                  <a:lnTo>
                    <a:pt x="246" y="306"/>
                  </a:lnTo>
                  <a:lnTo>
                    <a:pt x="246" y="306"/>
                  </a:lnTo>
                  <a:lnTo>
                    <a:pt x="246" y="306"/>
                  </a:lnTo>
                  <a:close/>
                  <a:moveTo>
                    <a:pt x="252" y="306"/>
                  </a:moveTo>
                  <a:lnTo>
                    <a:pt x="252" y="310"/>
                  </a:lnTo>
                  <a:lnTo>
                    <a:pt x="250" y="310"/>
                  </a:lnTo>
                  <a:lnTo>
                    <a:pt x="250" y="314"/>
                  </a:lnTo>
                  <a:lnTo>
                    <a:pt x="246" y="314"/>
                  </a:lnTo>
                  <a:lnTo>
                    <a:pt x="242" y="314"/>
                  </a:lnTo>
                  <a:lnTo>
                    <a:pt x="246" y="310"/>
                  </a:lnTo>
                  <a:lnTo>
                    <a:pt x="250" y="310"/>
                  </a:lnTo>
                  <a:lnTo>
                    <a:pt x="250" y="306"/>
                  </a:lnTo>
                  <a:lnTo>
                    <a:pt x="252" y="306"/>
                  </a:lnTo>
                  <a:lnTo>
                    <a:pt x="252" y="306"/>
                  </a:lnTo>
                  <a:lnTo>
                    <a:pt x="252" y="306"/>
                  </a:lnTo>
                  <a:close/>
                  <a:moveTo>
                    <a:pt x="246" y="310"/>
                  </a:moveTo>
                  <a:lnTo>
                    <a:pt x="242" y="310"/>
                  </a:lnTo>
                  <a:lnTo>
                    <a:pt x="238" y="314"/>
                  </a:lnTo>
                  <a:lnTo>
                    <a:pt x="238" y="310"/>
                  </a:lnTo>
                  <a:lnTo>
                    <a:pt x="242" y="310"/>
                  </a:lnTo>
                  <a:lnTo>
                    <a:pt x="246" y="310"/>
                  </a:lnTo>
                  <a:lnTo>
                    <a:pt x="246" y="310"/>
                  </a:lnTo>
                  <a:lnTo>
                    <a:pt x="246" y="310"/>
                  </a:lnTo>
                  <a:close/>
                  <a:moveTo>
                    <a:pt x="252" y="310"/>
                  </a:moveTo>
                  <a:lnTo>
                    <a:pt x="256" y="310"/>
                  </a:lnTo>
                  <a:lnTo>
                    <a:pt x="252" y="310"/>
                  </a:lnTo>
                  <a:lnTo>
                    <a:pt x="252" y="310"/>
                  </a:lnTo>
                  <a:lnTo>
                    <a:pt x="252" y="310"/>
                  </a:lnTo>
                  <a:close/>
                  <a:moveTo>
                    <a:pt x="252" y="310"/>
                  </a:moveTo>
                  <a:lnTo>
                    <a:pt x="252" y="314"/>
                  </a:lnTo>
                  <a:lnTo>
                    <a:pt x="250" y="314"/>
                  </a:lnTo>
                  <a:lnTo>
                    <a:pt x="250" y="310"/>
                  </a:lnTo>
                  <a:lnTo>
                    <a:pt x="252" y="310"/>
                  </a:lnTo>
                  <a:lnTo>
                    <a:pt x="252" y="310"/>
                  </a:lnTo>
                  <a:lnTo>
                    <a:pt x="252" y="310"/>
                  </a:lnTo>
                  <a:close/>
                  <a:moveTo>
                    <a:pt x="252" y="314"/>
                  </a:moveTo>
                  <a:lnTo>
                    <a:pt x="250" y="314"/>
                  </a:lnTo>
                  <a:lnTo>
                    <a:pt x="252" y="314"/>
                  </a:lnTo>
                  <a:lnTo>
                    <a:pt x="252" y="314"/>
                  </a:lnTo>
                  <a:lnTo>
                    <a:pt x="252" y="314"/>
                  </a:lnTo>
                  <a:close/>
                  <a:moveTo>
                    <a:pt x="252" y="316"/>
                  </a:moveTo>
                  <a:lnTo>
                    <a:pt x="252" y="320"/>
                  </a:lnTo>
                  <a:lnTo>
                    <a:pt x="250" y="320"/>
                  </a:lnTo>
                  <a:lnTo>
                    <a:pt x="250" y="324"/>
                  </a:lnTo>
                  <a:lnTo>
                    <a:pt x="246" y="324"/>
                  </a:lnTo>
                  <a:lnTo>
                    <a:pt x="246" y="320"/>
                  </a:lnTo>
                  <a:lnTo>
                    <a:pt x="250" y="320"/>
                  </a:lnTo>
                  <a:lnTo>
                    <a:pt x="252" y="320"/>
                  </a:lnTo>
                  <a:lnTo>
                    <a:pt x="252" y="316"/>
                  </a:lnTo>
                  <a:lnTo>
                    <a:pt x="252" y="316"/>
                  </a:lnTo>
                  <a:lnTo>
                    <a:pt x="252" y="316"/>
                  </a:lnTo>
                  <a:close/>
                  <a:moveTo>
                    <a:pt x="670" y="350"/>
                  </a:moveTo>
                  <a:lnTo>
                    <a:pt x="674" y="354"/>
                  </a:lnTo>
                  <a:lnTo>
                    <a:pt x="670" y="350"/>
                  </a:lnTo>
                  <a:lnTo>
                    <a:pt x="670" y="350"/>
                  </a:lnTo>
                  <a:lnTo>
                    <a:pt x="670" y="350"/>
                  </a:lnTo>
                  <a:close/>
                  <a:moveTo>
                    <a:pt x="308" y="370"/>
                  </a:moveTo>
                  <a:lnTo>
                    <a:pt x="306" y="370"/>
                  </a:lnTo>
                  <a:lnTo>
                    <a:pt x="306" y="366"/>
                  </a:lnTo>
                  <a:lnTo>
                    <a:pt x="302" y="366"/>
                  </a:lnTo>
                  <a:lnTo>
                    <a:pt x="306" y="366"/>
                  </a:lnTo>
                  <a:lnTo>
                    <a:pt x="308" y="370"/>
                  </a:lnTo>
                  <a:lnTo>
                    <a:pt x="308" y="370"/>
                  </a:lnTo>
                  <a:lnTo>
                    <a:pt x="308" y="370"/>
                  </a:lnTo>
                  <a:close/>
                  <a:moveTo>
                    <a:pt x="704" y="388"/>
                  </a:moveTo>
                  <a:lnTo>
                    <a:pt x="700" y="388"/>
                  </a:lnTo>
                  <a:lnTo>
                    <a:pt x="696" y="388"/>
                  </a:lnTo>
                  <a:lnTo>
                    <a:pt x="700" y="388"/>
                  </a:lnTo>
                  <a:lnTo>
                    <a:pt x="704" y="388"/>
                  </a:lnTo>
                  <a:lnTo>
                    <a:pt x="704" y="388"/>
                  </a:lnTo>
                  <a:lnTo>
                    <a:pt x="704" y="388"/>
                  </a:lnTo>
                  <a:close/>
                  <a:moveTo>
                    <a:pt x="298" y="414"/>
                  </a:moveTo>
                  <a:lnTo>
                    <a:pt x="294" y="418"/>
                  </a:lnTo>
                  <a:lnTo>
                    <a:pt x="290" y="418"/>
                  </a:lnTo>
                  <a:lnTo>
                    <a:pt x="290" y="414"/>
                  </a:lnTo>
                  <a:lnTo>
                    <a:pt x="294" y="414"/>
                  </a:lnTo>
                  <a:lnTo>
                    <a:pt x="298" y="414"/>
                  </a:lnTo>
                  <a:lnTo>
                    <a:pt x="294" y="414"/>
                  </a:lnTo>
                  <a:lnTo>
                    <a:pt x="294" y="418"/>
                  </a:lnTo>
                  <a:lnTo>
                    <a:pt x="298" y="414"/>
                  </a:lnTo>
                  <a:lnTo>
                    <a:pt x="298" y="414"/>
                  </a:lnTo>
                  <a:lnTo>
                    <a:pt x="298" y="414"/>
                  </a:lnTo>
                  <a:close/>
                  <a:moveTo>
                    <a:pt x="282" y="418"/>
                  </a:moveTo>
                  <a:lnTo>
                    <a:pt x="282" y="422"/>
                  </a:lnTo>
                  <a:lnTo>
                    <a:pt x="278" y="422"/>
                  </a:lnTo>
                  <a:lnTo>
                    <a:pt x="282" y="418"/>
                  </a:lnTo>
                  <a:lnTo>
                    <a:pt x="282" y="418"/>
                  </a:lnTo>
                  <a:lnTo>
                    <a:pt x="282" y="418"/>
                  </a:lnTo>
                  <a:close/>
                  <a:moveTo>
                    <a:pt x="584" y="426"/>
                  </a:moveTo>
                  <a:lnTo>
                    <a:pt x="580" y="426"/>
                  </a:lnTo>
                  <a:lnTo>
                    <a:pt x="584" y="426"/>
                  </a:lnTo>
                  <a:lnTo>
                    <a:pt x="580" y="426"/>
                  </a:lnTo>
                  <a:lnTo>
                    <a:pt x="584" y="426"/>
                  </a:lnTo>
                  <a:lnTo>
                    <a:pt x="584" y="426"/>
                  </a:lnTo>
                  <a:lnTo>
                    <a:pt x="584" y="426"/>
                  </a:lnTo>
                  <a:close/>
                  <a:moveTo>
                    <a:pt x="282" y="458"/>
                  </a:moveTo>
                  <a:lnTo>
                    <a:pt x="278" y="458"/>
                  </a:lnTo>
                  <a:lnTo>
                    <a:pt x="276" y="458"/>
                  </a:lnTo>
                  <a:lnTo>
                    <a:pt x="278" y="458"/>
                  </a:lnTo>
                  <a:lnTo>
                    <a:pt x="282" y="458"/>
                  </a:lnTo>
                  <a:lnTo>
                    <a:pt x="282" y="458"/>
                  </a:lnTo>
                  <a:lnTo>
                    <a:pt x="282" y="458"/>
                  </a:lnTo>
                  <a:close/>
                  <a:moveTo>
                    <a:pt x="510" y="484"/>
                  </a:moveTo>
                  <a:lnTo>
                    <a:pt x="510" y="482"/>
                  </a:lnTo>
                  <a:lnTo>
                    <a:pt x="510" y="484"/>
                  </a:lnTo>
                  <a:lnTo>
                    <a:pt x="510" y="484"/>
                  </a:lnTo>
                  <a:lnTo>
                    <a:pt x="510" y="484"/>
                  </a:lnTo>
                  <a:close/>
                  <a:moveTo>
                    <a:pt x="510" y="488"/>
                  </a:moveTo>
                  <a:lnTo>
                    <a:pt x="506" y="488"/>
                  </a:lnTo>
                  <a:lnTo>
                    <a:pt x="506" y="484"/>
                  </a:lnTo>
                  <a:lnTo>
                    <a:pt x="510" y="488"/>
                  </a:lnTo>
                  <a:lnTo>
                    <a:pt x="510" y="488"/>
                  </a:lnTo>
                  <a:lnTo>
                    <a:pt x="510" y="488"/>
                  </a:lnTo>
                  <a:close/>
                  <a:moveTo>
                    <a:pt x="278" y="488"/>
                  </a:moveTo>
                  <a:lnTo>
                    <a:pt x="282" y="488"/>
                  </a:lnTo>
                  <a:lnTo>
                    <a:pt x="282" y="492"/>
                  </a:lnTo>
                  <a:lnTo>
                    <a:pt x="278" y="488"/>
                  </a:lnTo>
                  <a:lnTo>
                    <a:pt x="278" y="488"/>
                  </a:lnTo>
                  <a:lnTo>
                    <a:pt x="278" y="488"/>
                  </a:lnTo>
                  <a:close/>
                  <a:moveTo>
                    <a:pt x="450" y="522"/>
                  </a:moveTo>
                  <a:lnTo>
                    <a:pt x="454" y="522"/>
                  </a:lnTo>
                  <a:lnTo>
                    <a:pt x="458" y="522"/>
                  </a:lnTo>
                  <a:lnTo>
                    <a:pt x="454" y="522"/>
                  </a:lnTo>
                  <a:lnTo>
                    <a:pt x="450" y="522"/>
                  </a:lnTo>
                  <a:lnTo>
                    <a:pt x="450" y="522"/>
                  </a:lnTo>
                  <a:lnTo>
                    <a:pt x="450" y="522"/>
                  </a:lnTo>
                  <a:close/>
                  <a:moveTo>
                    <a:pt x="450" y="548"/>
                  </a:moveTo>
                  <a:lnTo>
                    <a:pt x="450" y="544"/>
                  </a:lnTo>
                  <a:lnTo>
                    <a:pt x="446" y="544"/>
                  </a:lnTo>
                  <a:lnTo>
                    <a:pt x="442" y="544"/>
                  </a:lnTo>
                  <a:lnTo>
                    <a:pt x="442" y="540"/>
                  </a:lnTo>
                  <a:lnTo>
                    <a:pt x="440" y="540"/>
                  </a:lnTo>
                  <a:lnTo>
                    <a:pt x="442" y="540"/>
                  </a:lnTo>
                  <a:lnTo>
                    <a:pt x="446" y="540"/>
                  </a:lnTo>
                  <a:lnTo>
                    <a:pt x="446" y="544"/>
                  </a:lnTo>
                  <a:lnTo>
                    <a:pt x="450" y="544"/>
                  </a:lnTo>
                  <a:lnTo>
                    <a:pt x="450" y="548"/>
                  </a:lnTo>
                  <a:lnTo>
                    <a:pt x="450" y="548"/>
                  </a:lnTo>
                  <a:lnTo>
                    <a:pt x="450" y="548"/>
                  </a:lnTo>
                  <a:close/>
                  <a:moveTo>
                    <a:pt x="450" y="548"/>
                  </a:moveTo>
                  <a:lnTo>
                    <a:pt x="446" y="548"/>
                  </a:lnTo>
                  <a:lnTo>
                    <a:pt x="450" y="548"/>
                  </a:lnTo>
                  <a:lnTo>
                    <a:pt x="450" y="548"/>
                  </a:lnTo>
                  <a:lnTo>
                    <a:pt x="450" y="548"/>
                  </a:lnTo>
                  <a:close/>
                  <a:moveTo>
                    <a:pt x="312" y="548"/>
                  </a:moveTo>
                  <a:lnTo>
                    <a:pt x="316" y="548"/>
                  </a:lnTo>
                  <a:lnTo>
                    <a:pt x="312" y="548"/>
                  </a:lnTo>
                  <a:lnTo>
                    <a:pt x="312" y="548"/>
                  </a:lnTo>
                  <a:lnTo>
                    <a:pt x="312" y="548"/>
                  </a:lnTo>
                  <a:close/>
                  <a:moveTo>
                    <a:pt x="446" y="548"/>
                  </a:moveTo>
                  <a:lnTo>
                    <a:pt x="442" y="548"/>
                  </a:lnTo>
                  <a:lnTo>
                    <a:pt x="446" y="548"/>
                  </a:lnTo>
                  <a:lnTo>
                    <a:pt x="446" y="552"/>
                  </a:lnTo>
                  <a:lnTo>
                    <a:pt x="446" y="548"/>
                  </a:lnTo>
                  <a:lnTo>
                    <a:pt x="446" y="548"/>
                  </a:lnTo>
                  <a:lnTo>
                    <a:pt x="446" y="548"/>
                  </a:lnTo>
                  <a:close/>
                  <a:moveTo>
                    <a:pt x="442" y="556"/>
                  </a:moveTo>
                  <a:lnTo>
                    <a:pt x="442" y="552"/>
                  </a:lnTo>
                  <a:lnTo>
                    <a:pt x="446" y="552"/>
                  </a:lnTo>
                  <a:lnTo>
                    <a:pt x="442" y="556"/>
                  </a:lnTo>
                  <a:lnTo>
                    <a:pt x="442" y="556"/>
                  </a:lnTo>
                  <a:lnTo>
                    <a:pt x="442" y="556"/>
                  </a:lnTo>
                  <a:close/>
                  <a:moveTo>
                    <a:pt x="432" y="560"/>
                  </a:moveTo>
                  <a:lnTo>
                    <a:pt x="432" y="556"/>
                  </a:lnTo>
                  <a:lnTo>
                    <a:pt x="436" y="556"/>
                  </a:lnTo>
                  <a:lnTo>
                    <a:pt x="440" y="556"/>
                  </a:lnTo>
                  <a:lnTo>
                    <a:pt x="440" y="560"/>
                  </a:lnTo>
                  <a:lnTo>
                    <a:pt x="440" y="556"/>
                  </a:lnTo>
                  <a:lnTo>
                    <a:pt x="436" y="556"/>
                  </a:lnTo>
                  <a:lnTo>
                    <a:pt x="436" y="560"/>
                  </a:lnTo>
                  <a:lnTo>
                    <a:pt x="440" y="560"/>
                  </a:lnTo>
                  <a:lnTo>
                    <a:pt x="436" y="560"/>
                  </a:lnTo>
                  <a:lnTo>
                    <a:pt x="432" y="560"/>
                  </a:lnTo>
                  <a:lnTo>
                    <a:pt x="432" y="560"/>
                  </a:lnTo>
                  <a:lnTo>
                    <a:pt x="432" y="560"/>
                  </a:lnTo>
                  <a:close/>
                  <a:moveTo>
                    <a:pt x="436" y="564"/>
                  </a:moveTo>
                  <a:lnTo>
                    <a:pt x="432" y="564"/>
                  </a:lnTo>
                  <a:lnTo>
                    <a:pt x="436" y="560"/>
                  </a:lnTo>
                  <a:lnTo>
                    <a:pt x="436" y="564"/>
                  </a:lnTo>
                  <a:lnTo>
                    <a:pt x="436" y="564"/>
                  </a:lnTo>
                  <a:lnTo>
                    <a:pt x="436" y="564"/>
                  </a:lnTo>
                  <a:close/>
                  <a:moveTo>
                    <a:pt x="332" y="578"/>
                  </a:moveTo>
                  <a:lnTo>
                    <a:pt x="332" y="574"/>
                  </a:lnTo>
                  <a:lnTo>
                    <a:pt x="332" y="578"/>
                  </a:lnTo>
                  <a:lnTo>
                    <a:pt x="332" y="578"/>
                  </a:lnTo>
                  <a:lnTo>
                    <a:pt x="332" y="578"/>
                  </a:lnTo>
                  <a:close/>
                  <a:moveTo>
                    <a:pt x="436" y="582"/>
                  </a:moveTo>
                  <a:lnTo>
                    <a:pt x="436" y="578"/>
                  </a:lnTo>
                  <a:lnTo>
                    <a:pt x="436" y="582"/>
                  </a:lnTo>
                  <a:lnTo>
                    <a:pt x="436" y="582"/>
                  </a:lnTo>
                  <a:lnTo>
                    <a:pt x="436" y="582"/>
                  </a:lnTo>
                  <a:close/>
                  <a:moveTo>
                    <a:pt x="346" y="588"/>
                  </a:moveTo>
                  <a:lnTo>
                    <a:pt x="342" y="588"/>
                  </a:lnTo>
                  <a:lnTo>
                    <a:pt x="346" y="588"/>
                  </a:lnTo>
                  <a:lnTo>
                    <a:pt x="346" y="588"/>
                  </a:lnTo>
                  <a:lnTo>
                    <a:pt x="346" y="588"/>
                  </a:lnTo>
                  <a:close/>
                  <a:moveTo>
                    <a:pt x="350" y="596"/>
                  </a:moveTo>
                  <a:lnTo>
                    <a:pt x="354" y="596"/>
                  </a:lnTo>
                  <a:lnTo>
                    <a:pt x="350" y="596"/>
                  </a:lnTo>
                  <a:lnTo>
                    <a:pt x="346" y="596"/>
                  </a:lnTo>
                  <a:lnTo>
                    <a:pt x="350" y="596"/>
                  </a:lnTo>
                  <a:lnTo>
                    <a:pt x="350" y="596"/>
                  </a:lnTo>
                  <a:lnTo>
                    <a:pt x="350" y="596"/>
                  </a:lnTo>
                  <a:close/>
                  <a:moveTo>
                    <a:pt x="380" y="600"/>
                  </a:moveTo>
                  <a:lnTo>
                    <a:pt x="376" y="600"/>
                  </a:lnTo>
                  <a:lnTo>
                    <a:pt x="376" y="604"/>
                  </a:lnTo>
                  <a:lnTo>
                    <a:pt x="372" y="604"/>
                  </a:lnTo>
                  <a:lnTo>
                    <a:pt x="368" y="604"/>
                  </a:lnTo>
                  <a:lnTo>
                    <a:pt x="372" y="604"/>
                  </a:lnTo>
                  <a:lnTo>
                    <a:pt x="372" y="600"/>
                  </a:lnTo>
                  <a:lnTo>
                    <a:pt x="376" y="600"/>
                  </a:lnTo>
                  <a:lnTo>
                    <a:pt x="380" y="600"/>
                  </a:lnTo>
                  <a:lnTo>
                    <a:pt x="380" y="600"/>
                  </a:lnTo>
                  <a:lnTo>
                    <a:pt x="380" y="600"/>
                  </a:lnTo>
                  <a:close/>
                  <a:moveTo>
                    <a:pt x="424" y="600"/>
                  </a:moveTo>
                  <a:lnTo>
                    <a:pt x="428" y="600"/>
                  </a:lnTo>
                  <a:lnTo>
                    <a:pt x="424" y="600"/>
                  </a:lnTo>
                  <a:lnTo>
                    <a:pt x="424" y="600"/>
                  </a:lnTo>
                  <a:lnTo>
                    <a:pt x="424" y="600"/>
                  </a:lnTo>
                  <a:close/>
                  <a:moveTo>
                    <a:pt x="358" y="604"/>
                  </a:moveTo>
                  <a:lnTo>
                    <a:pt x="354" y="604"/>
                  </a:lnTo>
                  <a:lnTo>
                    <a:pt x="350" y="604"/>
                  </a:lnTo>
                  <a:lnTo>
                    <a:pt x="354" y="600"/>
                  </a:lnTo>
                  <a:lnTo>
                    <a:pt x="358" y="600"/>
                  </a:lnTo>
                  <a:lnTo>
                    <a:pt x="358" y="604"/>
                  </a:lnTo>
                  <a:lnTo>
                    <a:pt x="358" y="604"/>
                  </a:lnTo>
                  <a:lnTo>
                    <a:pt x="358" y="604"/>
                  </a:lnTo>
                  <a:close/>
                  <a:moveTo>
                    <a:pt x="384" y="604"/>
                  </a:moveTo>
                  <a:lnTo>
                    <a:pt x="380" y="604"/>
                  </a:lnTo>
                  <a:lnTo>
                    <a:pt x="380" y="608"/>
                  </a:lnTo>
                  <a:lnTo>
                    <a:pt x="380" y="604"/>
                  </a:lnTo>
                  <a:lnTo>
                    <a:pt x="384" y="604"/>
                  </a:lnTo>
                  <a:lnTo>
                    <a:pt x="384" y="604"/>
                  </a:lnTo>
                  <a:lnTo>
                    <a:pt x="384" y="604"/>
                  </a:lnTo>
                  <a:close/>
                  <a:moveTo>
                    <a:pt x="384" y="604"/>
                  </a:moveTo>
                  <a:lnTo>
                    <a:pt x="384" y="608"/>
                  </a:lnTo>
                  <a:lnTo>
                    <a:pt x="380" y="608"/>
                  </a:lnTo>
                  <a:lnTo>
                    <a:pt x="384" y="604"/>
                  </a:lnTo>
                  <a:lnTo>
                    <a:pt x="384" y="604"/>
                  </a:lnTo>
                  <a:lnTo>
                    <a:pt x="384" y="604"/>
                  </a:lnTo>
                  <a:close/>
                  <a:moveTo>
                    <a:pt x="394" y="612"/>
                  </a:moveTo>
                  <a:lnTo>
                    <a:pt x="394" y="614"/>
                  </a:lnTo>
                  <a:lnTo>
                    <a:pt x="392" y="614"/>
                  </a:lnTo>
                  <a:lnTo>
                    <a:pt x="392" y="612"/>
                  </a:lnTo>
                  <a:lnTo>
                    <a:pt x="394" y="612"/>
                  </a:lnTo>
                  <a:lnTo>
                    <a:pt x="394" y="612"/>
                  </a:lnTo>
                  <a:lnTo>
                    <a:pt x="394" y="612"/>
                  </a:lnTo>
                  <a:close/>
                  <a:moveTo>
                    <a:pt x="418" y="622"/>
                  </a:moveTo>
                  <a:lnTo>
                    <a:pt x="414" y="622"/>
                  </a:lnTo>
                  <a:lnTo>
                    <a:pt x="410" y="618"/>
                  </a:lnTo>
                  <a:lnTo>
                    <a:pt x="410" y="614"/>
                  </a:lnTo>
                  <a:lnTo>
                    <a:pt x="414" y="618"/>
                  </a:lnTo>
                  <a:lnTo>
                    <a:pt x="418" y="618"/>
                  </a:lnTo>
                  <a:lnTo>
                    <a:pt x="420" y="618"/>
                  </a:lnTo>
                  <a:lnTo>
                    <a:pt x="420" y="622"/>
                  </a:lnTo>
                  <a:lnTo>
                    <a:pt x="420" y="618"/>
                  </a:lnTo>
                  <a:lnTo>
                    <a:pt x="418" y="618"/>
                  </a:lnTo>
                  <a:lnTo>
                    <a:pt x="418" y="622"/>
                  </a:lnTo>
                  <a:lnTo>
                    <a:pt x="418" y="622"/>
                  </a:lnTo>
                  <a:lnTo>
                    <a:pt x="418" y="622"/>
                  </a:lnTo>
                  <a:close/>
                  <a:moveTo>
                    <a:pt x="406" y="614"/>
                  </a:moveTo>
                  <a:lnTo>
                    <a:pt x="406" y="618"/>
                  </a:lnTo>
                  <a:lnTo>
                    <a:pt x="410" y="618"/>
                  </a:lnTo>
                  <a:lnTo>
                    <a:pt x="406" y="618"/>
                  </a:lnTo>
                  <a:lnTo>
                    <a:pt x="406" y="614"/>
                  </a:lnTo>
                  <a:lnTo>
                    <a:pt x="406" y="614"/>
                  </a:lnTo>
                  <a:lnTo>
                    <a:pt x="406" y="614"/>
                  </a:lnTo>
                  <a:close/>
                  <a:moveTo>
                    <a:pt x="406" y="618"/>
                  </a:moveTo>
                  <a:lnTo>
                    <a:pt x="406" y="622"/>
                  </a:lnTo>
                  <a:lnTo>
                    <a:pt x="402" y="622"/>
                  </a:lnTo>
                  <a:lnTo>
                    <a:pt x="402" y="618"/>
                  </a:lnTo>
                  <a:lnTo>
                    <a:pt x="406" y="618"/>
                  </a:lnTo>
                  <a:lnTo>
                    <a:pt x="406" y="618"/>
                  </a:lnTo>
                  <a:lnTo>
                    <a:pt x="406" y="618"/>
                  </a:lnTo>
                  <a:close/>
                  <a:moveTo>
                    <a:pt x="418" y="622"/>
                  </a:moveTo>
                  <a:lnTo>
                    <a:pt x="418" y="618"/>
                  </a:lnTo>
                  <a:lnTo>
                    <a:pt x="420" y="618"/>
                  </a:lnTo>
                  <a:lnTo>
                    <a:pt x="418" y="622"/>
                  </a:lnTo>
                  <a:lnTo>
                    <a:pt x="418" y="622"/>
                  </a:lnTo>
                  <a:lnTo>
                    <a:pt x="418" y="622"/>
                  </a:lnTo>
                  <a:close/>
                  <a:moveTo>
                    <a:pt x="406" y="622"/>
                  </a:moveTo>
                  <a:lnTo>
                    <a:pt x="406" y="618"/>
                  </a:lnTo>
                  <a:lnTo>
                    <a:pt x="410" y="618"/>
                  </a:lnTo>
                  <a:lnTo>
                    <a:pt x="410" y="622"/>
                  </a:lnTo>
                  <a:lnTo>
                    <a:pt x="406" y="622"/>
                  </a:lnTo>
                  <a:lnTo>
                    <a:pt x="406" y="622"/>
                  </a:lnTo>
                  <a:lnTo>
                    <a:pt x="406" y="622"/>
                  </a:lnTo>
                  <a:close/>
                  <a:moveTo>
                    <a:pt x="410" y="626"/>
                  </a:moveTo>
                  <a:lnTo>
                    <a:pt x="410" y="622"/>
                  </a:lnTo>
                  <a:lnTo>
                    <a:pt x="414" y="622"/>
                  </a:lnTo>
                  <a:lnTo>
                    <a:pt x="414" y="626"/>
                  </a:lnTo>
                  <a:lnTo>
                    <a:pt x="410" y="626"/>
                  </a:lnTo>
                  <a:lnTo>
                    <a:pt x="410" y="626"/>
                  </a:lnTo>
                  <a:lnTo>
                    <a:pt x="410" y="626"/>
                  </a:lnTo>
                  <a:close/>
                  <a:moveTo>
                    <a:pt x="312" y="414"/>
                  </a:moveTo>
                  <a:lnTo>
                    <a:pt x="312" y="410"/>
                  </a:lnTo>
                  <a:lnTo>
                    <a:pt x="316" y="410"/>
                  </a:lnTo>
                  <a:lnTo>
                    <a:pt x="312" y="410"/>
                  </a:lnTo>
                  <a:lnTo>
                    <a:pt x="308" y="410"/>
                  </a:lnTo>
                  <a:lnTo>
                    <a:pt x="308" y="414"/>
                  </a:lnTo>
                  <a:lnTo>
                    <a:pt x="308" y="410"/>
                  </a:lnTo>
                  <a:lnTo>
                    <a:pt x="306" y="410"/>
                  </a:lnTo>
                  <a:lnTo>
                    <a:pt x="308" y="410"/>
                  </a:lnTo>
                  <a:lnTo>
                    <a:pt x="312" y="406"/>
                  </a:lnTo>
                  <a:lnTo>
                    <a:pt x="308" y="406"/>
                  </a:lnTo>
                  <a:lnTo>
                    <a:pt x="308" y="402"/>
                  </a:lnTo>
                  <a:lnTo>
                    <a:pt x="312" y="402"/>
                  </a:lnTo>
                  <a:lnTo>
                    <a:pt x="312" y="406"/>
                  </a:lnTo>
                  <a:lnTo>
                    <a:pt x="312" y="402"/>
                  </a:lnTo>
                  <a:lnTo>
                    <a:pt x="316" y="402"/>
                  </a:lnTo>
                  <a:lnTo>
                    <a:pt x="316" y="406"/>
                  </a:lnTo>
                  <a:lnTo>
                    <a:pt x="320" y="406"/>
                  </a:lnTo>
                  <a:lnTo>
                    <a:pt x="316" y="406"/>
                  </a:lnTo>
                  <a:lnTo>
                    <a:pt x="320" y="406"/>
                  </a:lnTo>
                  <a:lnTo>
                    <a:pt x="320" y="402"/>
                  </a:lnTo>
                  <a:lnTo>
                    <a:pt x="320" y="406"/>
                  </a:lnTo>
                  <a:lnTo>
                    <a:pt x="324" y="406"/>
                  </a:lnTo>
                  <a:lnTo>
                    <a:pt x="324" y="402"/>
                  </a:lnTo>
                  <a:lnTo>
                    <a:pt x="320" y="402"/>
                  </a:lnTo>
                  <a:lnTo>
                    <a:pt x="316" y="402"/>
                  </a:lnTo>
                  <a:lnTo>
                    <a:pt x="320" y="402"/>
                  </a:lnTo>
                  <a:lnTo>
                    <a:pt x="324" y="402"/>
                  </a:lnTo>
                  <a:lnTo>
                    <a:pt x="324" y="398"/>
                  </a:lnTo>
                  <a:lnTo>
                    <a:pt x="320" y="398"/>
                  </a:lnTo>
                  <a:lnTo>
                    <a:pt x="316" y="398"/>
                  </a:lnTo>
                  <a:lnTo>
                    <a:pt x="320" y="398"/>
                  </a:lnTo>
                  <a:lnTo>
                    <a:pt x="320" y="396"/>
                  </a:lnTo>
                  <a:lnTo>
                    <a:pt x="316" y="396"/>
                  </a:lnTo>
                  <a:lnTo>
                    <a:pt x="316" y="398"/>
                  </a:lnTo>
                  <a:lnTo>
                    <a:pt x="312" y="402"/>
                  </a:lnTo>
                  <a:lnTo>
                    <a:pt x="308" y="402"/>
                  </a:lnTo>
                  <a:lnTo>
                    <a:pt x="308" y="398"/>
                  </a:lnTo>
                  <a:lnTo>
                    <a:pt x="312" y="398"/>
                  </a:lnTo>
                  <a:lnTo>
                    <a:pt x="312" y="396"/>
                  </a:lnTo>
                  <a:lnTo>
                    <a:pt x="316" y="392"/>
                  </a:lnTo>
                  <a:lnTo>
                    <a:pt x="320" y="392"/>
                  </a:lnTo>
                  <a:lnTo>
                    <a:pt x="316" y="392"/>
                  </a:lnTo>
                  <a:lnTo>
                    <a:pt x="312" y="392"/>
                  </a:lnTo>
                  <a:lnTo>
                    <a:pt x="312" y="388"/>
                  </a:lnTo>
                  <a:lnTo>
                    <a:pt x="316" y="388"/>
                  </a:lnTo>
                  <a:lnTo>
                    <a:pt x="316" y="392"/>
                  </a:lnTo>
                  <a:lnTo>
                    <a:pt x="320" y="392"/>
                  </a:lnTo>
                  <a:lnTo>
                    <a:pt x="320" y="388"/>
                  </a:lnTo>
                  <a:lnTo>
                    <a:pt x="316" y="388"/>
                  </a:lnTo>
                  <a:lnTo>
                    <a:pt x="312" y="388"/>
                  </a:lnTo>
                  <a:lnTo>
                    <a:pt x="316" y="388"/>
                  </a:lnTo>
                  <a:lnTo>
                    <a:pt x="316" y="384"/>
                  </a:lnTo>
                  <a:lnTo>
                    <a:pt x="320" y="388"/>
                  </a:lnTo>
                  <a:lnTo>
                    <a:pt x="324" y="388"/>
                  </a:lnTo>
                  <a:lnTo>
                    <a:pt x="320" y="384"/>
                  </a:lnTo>
                  <a:lnTo>
                    <a:pt x="316" y="384"/>
                  </a:lnTo>
                  <a:lnTo>
                    <a:pt x="316" y="380"/>
                  </a:lnTo>
                  <a:lnTo>
                    <a:pt x="320" y="380"/>
                  </a:lnTo>
                  <a:lnTo>
                    <a:pt x="316" y="380"/>
                  </a:lnTo>
                  <a:lnTo>
                    <a:pt x="312" y="380"/>
                  </a:lnTo>
                  <a:lnTo>
                    <a:pt x="308" y="380"/>
                  </a:lnTo>
                  <a:lnTo>
                    <a:pt x="306" y="380"/>
                  </a:lnTo>
                  <a:lnTo>
                    <a:pt x="308" y="380"/>
                  </a:lnTo>
                  <a:lnTo>
                    <a:pt x="312" y="380"/>
                  </a:lnTo>
                  <a:lnTo>
                    <a:pt x="308" y="376"/>
                  </a:lnTo>
                  <a:lnTo>
                    <a:pt x="306" y="376"/>
                  </a:lnTo>
                  <a:lnTo>
                    <a:pt x="306" y="380"/>
                  </a:lnTo>
                  <a:lnTo>
                    <a:pt x="302" y="380"/>
                  </a:lnTo>
                  <a:lnTo>
                    <a:pt x="298" y="380"/>
                  </a:lnTo>
                  <a:lnTo>
                    <a:pt x="294" y="380"/>
                  </a:lnTo>
                  <a:lnTo>
                    <a:pt x="290" y="380"/>
                  </a:lnTo>
                  <a:lnTo>
                    <a:pt x="290" y="376"/>
                  </a:lnTo>
                  <a:lnTo>
                    <a:pt x="286" y="376"/>
                  </a:lnTo>
                  <a:lnTo>
                    <a:pt x="286" y="372"/>
                  </a:lnTo>
                  <a:lnTo>
                    <a:pt x="282" y="372"/>
                  </a:lnTo>
                  <a:lnTo>
                    <a:pt x="278" y="372"/>
                  </a:lnTo>
                  <a:lnTo>
                    <a:pt x="276" y="370"/>
                  </a:lnTo>
                  <a:lnTo>
                    <a:pt x="272" y="370"/>
                  </a:lnTo>
                  <a:lnTo>
                    <a:pt x="268" y="370"/>
                  </a:lnTo>
                  <a:lnTo>
                    <a:pt x="264" y="370"/>
                  </a:lnTo>
                  <a:lnTo>
                    <a:pt x="264" y="366"/>
                  </a:lnTo>
                  <a:lnTo>
                    <a:pt x="260" y="362"/>
                  </a:lnTo>
                  <a:lnTo>
                    <a:pt x="264" y="362"/>
                  </a:lnTo>
                  <a:lnTo>
                    <a:pt x="264" y="358"/>
                  </a:lnTo>
                  <a:lnTo>
                    <a:pt x="268" y="358"/>
                  </a:lnTo>
                  <a:lnTo>
                    <a:pt x="272" y="358"/>
                  </a:lnTo>
                  <a:lnTo>
                    <a:pt x="276" y="362"/>
                  </a:lnTo>
                  <a:lnTo>
                    <a:pt x="278" y="362"/>
                  </a:lnTo>
                  <a:lnTo>
                    <a:pt x="282" y="362"/>
                  </a:lnTo>
                  <a:lnTo>
                    <a:pt x="286" y="362"/>
                  </a:lnTo>
                  <a:lnTo>
                    <a:pt x="290" y="362"/>
                  </a:lnTo>
                  <a:lnTo>
                    <a:pt x="294" y="366"/>
                  </a:lnTo>
                  <a:lnTo>
                    <a:pt x="298" y="366"/>
                  </a:lnTo>
                  <a:lnTo>
                    <a:pt x="302" y="370"/>
                  </a:lnTo>
                  <a:lnTo>
                    <a:pt x="306" y="370"/>
                  </a:lnTo>
                  <a:lnTo>
                    <a:pt x="308" y="370"/>
                  </a:lnTo>
                  <a:lnTo>
                    <a:pt x="312" y="370"/>
                  </a:lnTo>
                  <a:lnTo>
                    <a:pt x="312" y="372"/>
                  </a:lnTo>
                  <a:lnTo>
                    <a:pt x="316" y="372"/>
                  </a:lnTo>
                  <a:lnTo>
                    <a:pt x="316" y="370"/>
                  </a:lnTo>
                  <a:lnTo>
                    <a:pt x="316" y="366"/>
                  </a:lnTo>
                  <a:lnTo>
                    <a:pt x="316" y="370"/>
                  </a:lnTo>
                  <a:lnTo>
                    <a:pt x="312" y="370"/>
                  </a:lnTo>
                  <a:lnTo>
                    <a:pt x="308" y="370"/>
                  </a:lnTo>
                  <a:lnTo>
                    <a:pt x="312" y="370"/>
                  </a:lnTo>
                  <a:lnTo>
                    <a:pt x="308" y="366"/>
                  </a:lnTo>
                  <a:lnTo>
                    <a:pt x="306" y="366"/>
                  </a:lnTo>
                  <a:lnTo>
                    <a:pt x="308" y="366"/>
                  </a:lnTo>
                  <a:lnTo>
                    <a:pt x="312" y="366"/>
                  </a:lnTo>
                  <a:lnTo>
                    <a:pt x="312" y="362"/>
                  </a:lnTo>
                  <a:lnTo>
                    <a:pt x="312" y="366"/>
                  </a:lnTo>
                  <a:lnTo>
                    <a:pt x="316" y="366"/>
                  </a:lnTo>
                  <a:lnTo>
                    <a:pt x="312" y="362"/>
                  </a:lnTo>
                  <a:lnTo>
                    <a:pt x="308" y="362"/>
                  </a:lnTo>
                  <a:lnTo>
                    <a:pt x="306" y="362"/>
                  </a:lnTo>
                  <a:lnTo>
                    <a:pt x="306" y="358"/>
                  </a:lnTo>
                  <a:lnTo>
                    <a:pt x="308" y="358"/>
                  </a:lnTo>
                  <a:lnTo>
                    <a:pt x="312" y="362"/>
                  </a:lnTo>
                  <a:lnTo>
                    <a:pt x="316" y="362"/>
                  </a:lnTo>
                  <a:lnTo>
                    <a:pt x="312" y="362"/>
                  </a:lnTo>
                  <a:lnTo>
                    <a:pt x="312" y="358"/>
                  </a:lnTo>
                  <a:lnTo>
                    <a:pt x="308" y="358"/>
                  </a:lnTo>
                  <a:lnTo>
                    <a:pt x="306" y="358"/>
                  </a:lnTo>
                  <a:lnTo>
                    <a:pt x="302" y="358"/>
                  </a:lnTo>
                  <a:lnTo>
                    <a:pt x="302" y="354"/>
                  </a:lnTo>
                  <a:lnTo>
                    <a:pt x="298" y="354"/>
                  </a:lnTo>
                  <a:lnTo>
                    <a:pt x="302" y="354"/>
                  </a:lnTo>
                  <a:lnTo>
                    <a:pt x="306" y="354"/>
                  </a:lnTo>
                  <a:lnTo>
                    <a:pt x="308" y="354"/>
                  </a:lnTo>
                  <a:lnTo>
                    <a:pt x="312" y="354"/>
                  </a:lnTo>
                  <a:lnTo>
                    <a:pt x="308" y="354"/>
                  </a:lnTo>
                  <a:lnTo>
                    <a:pt x="306" y="354"/>
                  </a:lnTo>
                  <a:lnTo>
                    <a:pt x="306" y="350"/>
                  </a:lnTo>
                  <a:lnTo>
                    <a:pt x="308" y="350"/>
                  </a:lnTo>
                  <a:lnTo>
                    <a:pt x="306" y="350"/>
                  </a:lnTo>
                  <a:lnTo>
                    <a:pt x="302" y="350"/>
                  </a:lnTo>
                  <a:lnTo>
                    <a:pt x="298" y="350"/>
                  </a:lnTo>
                  <a:lnTo>
                    <a:pt x="294" y="350"/>
                  </a:lnTo>
                  <a:lnTo>
                    <a:pt x="298" y="350"/>
                  </a:lnTo>
                  <a:lnTo>
                    <a:pt x="298" y="346"/>
                  </a:lnTo>
                  <a:lnTo>
                    <a:pt x="302" y="346"/>
                  </a:lnTo>
                  <a:lnTo>
                    <a:pt x="298" y="346"/>
                  </a:lnTo>
                  <a:lnTo>
                    <a:pt x="294" y="346"/>
                  </a:lnTo>
                  <a:lnTo>
                    <a:pt x="294" y="350"/>
                  </a:lnTo>
                  <a:lnTo>
                    <a:pt x="290" y="350"/>
                  </a:lnTo>
                  <a:lnTo>
                    <a:pt x="290" y="346"/>
                  </a:lnTo>
                  <a:lnTo>
                    <a:pt x="294" y="346"/>
                  </a:lnTo>
                  <a:lnTo>
                    <a:pt x="294" y="342"/>
                  </a:lnTo>
                  <a:lnTo>
                    <a:pt x="298" y="342"/>
                  </a:lnTo>
                  <a:lnTo>
                    <a:pt x="302" y="342"/>
                  </a:lnTo>
                  <a:lnTo>
                    <a:pt x="306" y="342"/>
                  </a:lnTo>
                  <a:lnTo>
                    <a:pt x="302" y="342"/>
                  </a:lnTo>
                  <a:lnTo>
                    <a:pt x="298" y="342"/>
                  </a:lnTo>
                  <a:lnTo>
                    <a:pt x="294" y="342"/>
                  </a:lnTo>
                  <a:lnTo>
                    <a:pt x="290" y="342"/>
                  </a:lnTo>
                  <a:lnTo>
                    <a:pt x="286" y="342"/>
                  </a:lnTo>
                  <a:lnTo>
                    <a:pt x="282" y="342"/>
                  </a:lnTo>
                  <a:lnTo>
                    <a:pt x="286" y="342"/>
                  </a:lnTo>
                  <a:lnTo>
                    <a:pt x="286" y="340"/>
                  </a:lnTo>
                  <a:lnTo>
                    <a:pt x="290" y="340"/>
                  </a:lnTo>
                  <a:lnTo>
                    <a:pt x="294" y="340"/>
                  </a:lnTo>
                  <a:lnTo>
                    <a:pt x="298" y="340"/>
                  </a:lnTo>
                  <a:lnTo>
                    <a:pt x="302" y="340"/>
                  </a:lnTo>
                  <a:lnTo>
                    <a:pt x="302" y="336"/>
                  </a:lnTo>
                  <a:lnTo>
                    <a:pt x="298" y="336"/>
                  </a:lnTo>
                  <a:lnTo>
                    <a:pt x="298" y="340"/>
                  </a:lnTo>
                  <a:lnTo>
                    <a:pt x="294" y="340"/>
                  </a:lnTo>
                  <a:lnTo>
                    <a:pt x="290" y="340"/>
                  </a:lnTo>
                  <a:lnTo>
                    <a:pt x="286" y="340"/>
                  </a:lnTo>
                  <a:lnTo>
                    <a:pt x="286" y="336"/>
                  </a:lnTo>
                  <a:lnTo>
                    <a:pt x="282" y="336"/>
                  </a:lnTo>
                  <a:lnTo>
                    <a:pt x="278" y="336"/>
                  </a:lnTo>
                  <a:lnTo>
                    <a:pt x="282" y="336"/>
                  </a:lnTo>
                  <a:lnTo>
                    <a:pt x="282" y="332"/>
                  </a:lnTo>
                  <a:lnTo>
                    <a:pt x="286" y="328"/>
                  </a:lnTo>
                  <a:lnTo>
                    <a:pt x="282" y="332"/>
                  </a:lnTo>
                  <a:lnTo>
                    <a:pt x="278" y="332"/>
                  </a:lnTo>
                  <a:lnTo>
                    <a:pt x="276" y="332"/>
                  </a:lnTo>
                  <a:lnTo>
                    <a:pt x="276" y="328"/>
                  </a:lnTo>
                  <a:lnTo>
                    <a:pt x="276" y="324"/>
                  </a:lnTo>
                  <a:lnTo>
                    <a:pt x="272" y="324"/>
                  </a:lnTo>
                  <a:lnTo>
                    <a:pt x="272" y="320"/>
                  </a:lnTo>
                  <a:lnTo>
                    <a:pt x="276" y="320"/>
                  </a:lnTo>
                  <a:lnTo>
                    <a:pt x="272" y="320"/>
                  </a:lnTo>
                  <a:lnTo>
                    <a:pt x="268" y="320"/>
                  </a:lnTo>
                  <a:lnTo>
                    <a:pt x="272" y="324"/>
                  </a:lnTo>
                  <a:lnTo>
                    <a:pt x="272" y="328"/>
                  </a:lnTo>
                  <a:lnTo>
                    <a:pt x="276" y="328"/>
                  </a:lnTo>
                  <a:lnTo>
                    <a:pt x="276" y="332"/>
                  </a:lnTo>
                  <a:lnTo>
                    <a:pt x="276" y="336"/>
                  </a:lnTo>
                  <a:lnTo>
                    <a:pt x="272" y="336"/>
                  </a:lnTo>
                  <a:lnTo>
                    <a:pt x="268" y="336"/>
                  </a:lnTo>
                  <a:lnTo>
                    <a:pt x="272" y="336"/>
                  </a:lnTo>
                  <a:lnTo>
                    <a:pt x="272" y="340"/>
                  </a:lnTo>
                  <a:lnTo>
                    <a:pt x="268" y="340"/>
                  </a:lnTo>
                  <a:lnTo>
                    <a:pt x="268" y="336"/>
                  </a:lnTo>
                  <a:lnTo>
                    <a:pt x="268" y="340"/>
                  </a:lnTo>
                  <a:lnTo>
                    <a:pt x="272" y="340"/>
                  </a:lnTo>
                  <a:lnTo>
                    <a:pt x="272" y="342"/>
                  </a:lnTo>
                  <a:lnTo>
                    <a:pt x="268" y="342"/>
                  </a:lnTo>
                  <a:lnTo>
                    <a:pt x="264" y="342"/>
                  </a:lnTo>
                  <a:lnTo>
                    <a:pt x="264" y="346"/>
                  </a:lnTo>
                  <a:lnTo>
                    <a:pt x="260" y="346"/>
                  </a:lnTo>
                  <a:lnTo>
                    <a:pt x="256" y="346"/>
                  </a:lnTo>
                  <a:lnTo>
                    <a:pt x="252" y="342"/>
                  </a:lnTo>
                  <a:lnTo>
                    <a:pt x="250" y="342"/>
                  </a:lnTo>
                  <a:lnTo>
                    <a:pt x="252" y="342"/>
                  </a:lnTo>
                  <a:lnTo>
                    <a:pt x="250" y="342"/>
                  </a:lnTo>
                  <a:lnTo>
                    <a:pt x="246" y="342"/>
                  </a:lnTo>
                  <a:lnTo>
                    <a:pt x="246" y="340"/>
                  </a:lnTo>
                  <a:lnTo>
                    <a:pt x="242" y="336"/>
                  </a:lnTo>
                  <a:lnTo>
                    <a:pt x="246" y="336"/>
                  </a:lnTo>
                  <a:lnTo>
                    <a:pt x="250" y="336"/>
                  </a:lnTo>
                  <a:lnTo>
                    <a:pt x="250" y="332"/>
                  </a:lnTo>
                  <a:lnTo>
                    <a:pt x="252" y="332"/>
                  </a:lnTo>
                  <a:lnTo>
                    <a:pt x="256" y="332"/>
                  </a:lnTo>
                  <a:lnTo>
                    <a:pt x="260" y="328"/>
                  </a:lnTo>
                  <a:lnTo>
                    <a:pt x="260" y="324"/>
                  </a:lnTo>
                  <a:lnTo>
                    <a:pt x="264" y="324"/>
                  </a:lnTo>
                  <a:lnTo>
                    <a:pt x="260" y="324"/>
                  </a:lnTo>
                  <a:lnTo>
                    <a:pt x="260" y="328"/>
                  </a:lnTo>
                  <a:lnTo>
                    <a:pt x="256" y="328"/>
                  </a:lnTo>
                  <a:lnTo>
                    <a:pt x="256" y="332"/>
                  </a:lnTo>
                  <a:lnTo>
                    <a:pt x="252" y="332"/>
                  </a:lnTo>
                  <a:lnTo>
                    <a:pt x="250" y="332"/>
                  </a:lnTo>
                  <a:lnTo>
                    <a:pt x="250" y="328"/>
                  </a:lnTo>
                  <a:lnTo>
                    <a:pt x="246" y="328"/>
                  </a:lnTo>
                  <a:lnTo>
                    <a:pt x="250" y="328"/>
                  </a:lnTo>
                  <a:lnTo>
                    <a:pt x="250" y="324"/>
                  </a:lnTo>
                  <a:lnTo>
                    <a:pt x="256" y="320"/>
                  </a:lnTo>
                  <a:lnTo>
                    <a:pt x="252" y="320"/>
                  </a:lnTo>
                  <a:lnTo>
                    <a:pt x="256" y="320"/>
                  </a:lnTo>
                  <a:lnTo>
                    <a:pt x="256" y="316"/>
                  </a:lnTo>
                  <a:lnTo>
                    <a:pt x="252" y="316"/>
                  </a:lnTo>
                  <a:lnTo>
                    <a:pt x="256" y="316"/>
                  </a:lnTo>
                  <a:lnTo>
                    <a:pt x="252" y="316"/>
                  </a:lnTo>
                  <a:lnTo>
                    <a:pt x="250" y="320"/>
                  </a:lnTo>
                  <a:lnTo>
                    <a:pt x="250" y="316"/>
                  </a:lnTo>
                  <a:lnTo>
                    <a:pt x="246" y="316"/>
                  </a:lnTo>
                  <a:lnTo>
                    <a:pt x="246" y="314"/>
                  </a:lnTo>
                  <a:lnTo>
                    <a:pt x="250" y="314"/>
                  </a:lnTo>
                  <a:lnTo>
                    <a:pt x="250" y="316"/>
                  </a:lnTo>
                  <a:lnTo>
                    <a:pt x="252" y="316"/>
                  </a:lnTo>
                  <a:lnTo>
                    <a:pt x="260" y="316"/>
                  </a:lnTo>
                  <a:lnTo>
                    <a:pt x="264" y="316"/>
                  </a:lnTo>
                  <a:lnTo>
                    <a:pt x="260" y="316"/>
                  </a:lnTo>
                  <a:lnTo>
                    <a:pt x="256" y="316"/>
                  </a:lnTo>
                  <a:lnTo>
                    <a:pt x="256" y="314"/>
                  </a:lnTo>
                  <a:lnTo>
                    <a:pt x="252" y="316"/>
                  </a:lnTo>
                  <a:lnTo>
                    <a:pt x="252" y="314"/>
                  </a:lnTo>
                  <a:lnTo>
                    <a:pt x="256" y="314"/>
                  </a:lnTo>
                  <a:lnTo>
                    <a:pt x="260" y="314"/>
                  </a:lnTo>
                  <a:lnTo>
                    <a:pt x="256" y="314"/>
                  </a:lnTo>
                  <a:lnTo>
                    <a:pt x="256" y="310"/>
                  </a:lnTo>
                  <a:lnTo>
                    <a:pt x="260" y="310"/>
                  </a:lnTo>
                  <a:lnTo>
                    <a:pt x="256" y="310"/>
                  </a:lnTo>
                  <a:lnTo>
                    <a:pt x="256" y="306"/>
                  </a:lnTo>
                  <a:lnTo>
                    <a:pt x="260" y="306"/>
                  </a:lnTo>
                  <a:lnTo>
                    <a:pt x="256" y="306"/>
                  </a:lnTo>
                  <a:lnTo>
                    <a:pt x="256" y="302"/>
                  </a:lnTo>
                  <a:lnTo>
                    <a:pt x="252" y="302"/>
                  </a:lnTo>
                  <a:lnTo>
                    <a:pt x="250" y="302"/>
                  </a:lnTo>
                  <a:lnTo>
                    <a:pt x="246" y="302"/>
                  </a:lnTo>
                  <a:lnTo>
                    <a:pt x="246" y="298"/>
                  </a:lnTo>
                  <a:lnTo>
                    <a:pt x="250" y="298"/>
                  </a:lnTo>
                  <a:lnTo>
                    <a:pt x="252" y="298"/>
                  </a:lnTo>
                  <a:lnTo>
                    <a:pt x="250" y="294"/>
                  </a:lnTo>
                  <a:lnTo>
                    <a:pt x="250" y="290"/>
                  </a:lnTo>
                  <a:lnTo>
                    <a:pt x="252" y="290"/>
                  </a:lnTo>
                  <a:lnTo>
                    <a:pt x="252" y="294"/>
                  </a:lnTo>
                  <a:lnTo>
                    <a:pt x="252" y="290"/>
                  </a:lnTo>
                  <a:lnTo>
                    <a:pt x="250" y="290"/>
                  </a:lnTo>
                  <a:lnTo>
                    <a:pt x="246" y="290"/>
                  </a:lnTo>
                  <a:lnTo>
                    <a:pt x="246" y="286"/>
                  </a:lnTo>
                  <a:lnTo>
                    <a:pt x="242" y="286"/>
                  </a:lnTo>
                  <a:lnTo>
                    <a:pt x="238" y="286"/>
                  </a:lnTo>
                  <a:lnTo>
                    <a:pt x="238" y="284"/>
                  </a:lnTo>
                  <a:lnTo>
                    <a:pt x="242" y="284"/>
                  </a:lnTo>
                  <a:lnTo>
                    <a:pt x="238" y="284"/>
                  </a:lnTo>
                  <a:lnTo>
                    <a:pt x="242" y="284"/>
                  </a:lnTo>
                  <a:lnTo>
                    <a:pt x="246" y="284"/>
                  </a:lnTo>
                  <a:lnTo>
                    <a:pt x="242" y="284"/>
                  </a:lnTo>
                  <a:lnTo>
                    <a:pt x="242" y="280"/>
                  </a:lnTo>
                  <a:lnTo>
                    <a:pt x="246" y="280"/>
                  </a:lnTo>
                  <a:lnTo>
                    <a:pt x="242" y="280"/>
                  </a:lnTo>
                  <a:lnTo>
                    <a:pt x="242" y="276"/>
                  </a:lnTo>
                  <a:lnTo>
                    <a:pt x="238" y="276"/>
                  </a:lnTo>
                  <a:lnTo>
                    <a:pt x="242" y="276"/>
                  </a:lnTo>
                  <a:lnTo>
                    <a:pt x="238" y="276"/>
                  </a:lnTo>
                  <a:lnTo>
                    <a:pt x="234" y="276"/>
                  </a:lnTo>
                  <a:lnTo>
                    <a:pt x="234" y="272"/>
                  </a:lnTo>
                  <a:lnTo>
                    <a:pt x="238" y="272"/>
                  </a:lnTo>
                  <a:lnTo>
                    <a:pt x="238" y="268"/>
                  </a:lnTo>
                  <a:lnTo>
                    <a:pt x="234" y="268"/>
                  </a:lnTo>
                  <a:lnTo>
                    <a:pt x="230" y="272"/>
                  </a:lnTo>
                  <a:lnTo>
                    <a:pt x="226" y="272"/>
                  </a:lnTo>
                  <a:lnTo>
                    <a:pt x="222" y="272"/>
                  </a:lnTo>
                  <a:lnTo>
                    <a:pt x="220" y="272"/>
                  </a:lnTo>
                  <a:lnTo>
                    <a:pt x="222" y="272"/>
                  </a:lnTo>
                  <a:lnTo>
                    <a:pt x="226" y="272"/>
                  </a:lnTo>
                  <a:lnTo>
                    <a:pt x="230" y="272"/>
                  </a:lnTo>
                  <a:lnTo>
                    <a:pt x="230" y="268"/>
                  </a:lnTo>
                  <a:lnTo>
                    <a:pt x="234" y="268"/>
                  </a:lnTo>
                  <a:lnTo>
                    <a:pt x="230" y="268"/>
                  </a:lnTo>
                  <a:lnTo>
                    <a:pt x="230" y="264"/>
                  </a:lnTo>
                  <a:lnTo>
                    <a:pt x="234" y="264"/>
                  </a:lnTo>
                  <a:lnTo>
                    <a:pt x="238" y="264"/>
                  </a:lnTo>
                  <a:lnTo>
                    <a:pt x="234" y="264"/>
                  </a:lnTo>
                  <a:lnTo>
                    <a:pt x="230" y="264"/>
                  </a:lnTo>
                  <a:lnTo>
                    <a:pt x="226" y="264"/>
                  </a:lnTo>
                  <a:lnTo>
                    <a:pt x="230" y="264"/>
                  </a:lnTo>
                  <a:lnTo>
                    <a:pt x="234" y="264"/>
                  </a:lnTo>
                  <a:lnTo>
                    <a:pt x="238" y="260"/>
                  </a:lnTo>
                  <a:lnTo>
                    <a:pt x="234" y="260"/>
                  </a:lnTo>
                  <a:lnTo>
                    <a:pt x="230" y="260"/>
                  </a:lnTo>
                  <a:lnTo>
                    <a:pt x="230" y="256"/>
                  </a:lnTo>
                  <a:lnTo>
                    <a:pt x="226" y="256"/>
                  </a:lnTo>
                  <a:lnTo>
                    <a:pt x="222" y="256"/>
                  </a:lnTo>
                  <a:lnTo>
                    <a:pt x="222" y="254"/>
                  </a:lnTo>
                  <a:lnTo>
                    <a:pt x="226" y="254"/>
                  </a:lnTo>
                  <a:lnTo>
                    <a:pt x="226" y="250"/>
                  </a:lnTo>
                  <a:lnTo>
                    <a:pt x="222" y="250"/>
                  </a:lnTo>
                  <a:lnTo>
                    <a:pt x="220" y="250"/>
                  </a:lnTo>
                  <a:lnTo>
                    <a:pt x="216" y="250"/>
                  </a:lnTo>
                  <a:lnTo>
                    <a:pt x="212" y="250"/>
                  </a:lnTo>
                  <a:lnTo>
                    <a:pt x="212" y="246"/>
                  </a:lnTo>
                  <a:lnTo>
                    <a:pt x="208" y="246"/>
                  </a:lnTo>
                  <a:lnTo>
                    <a:pt x="212" y="246"/>
                  </a:lnTo>
                  <a:lnTo>
                    <a:pt x="212" y="242"/>
                  </a:lnTo>
                  <a:lnTo>
                    <a:pt x="208" y="242"/>
                  </a:lnTo>
                  <a:lnTo>
                    <a:pt x="208" y="238"/>
                  </a:lnTo>
                  <a:lnTo>
                    <a:pt x="204" y="238"/>
                  </a:lnTo>
                  <a:lnTo>
                    <a:pt x="200" y="238"/>
                  </a:lnTo>
                  <a:lnTo>
                    <a:pt x="204" y="238"/>
                  </a:lnTo>
                  <a:lnTo>
                    <a:pt x="208" y="238"/>
                  </a:lnTo>
                  <a:lnTo>
                    <a:pt x="208" y="234"/>
                  </a:lnTo>
                  <a:lnTo>
                    <a:pt x="204" y="234"/>
                  </a:lnTo>
                  <a:lnTo>
                    <a:pt x="204" y="230"/>
                  </a:lnTo>
                  <a:lnTo>
                    <a:pt x="208" y="230"/>
                  </a:lnTo>
                  <a:lnTo>
                    <a:pt x="204" y="230"/>
                  </a:lnTo>
                  <a:lnTo>
                    <a:pt x="204" y="228"/>
                  </a:lnTo>
                  <a:lnTo>
                    <a:pt x="200" y="228"/>
                  </a:lnTo>
                  <a:lnTo>
                    <a:pt x="200" y="230"/>
                  </a:lnTo>
                  <a:lnTo>
                    <a:pt x="196" y="230"/>
                  </a:lnTo>
                  <a:lnTo>
                    <a:pt x="194" y="228"/>
                  </a:lnTo>
                  <a:lnTo>
                    <a:pt x="196" y="228"/>
                  </a:lnTo>
                  <a:lnTo>
                    <a:pt x="196" y="224"/>
                  </a:lnTo>
                  <a:lnTo>
                    <a:pt x="194" y="224"/>
                  </a:lnTo>
                  <a:lnTo>
                    <a:pt x="190" y="224"/>
                  </a:lnTo>
                  <a:lnTo>
                    <a:pt x="190" y="228"/>
                  </a:lnTo>
                  <a:lnTo>
                    <a:pt x="186" y="228"/>
                  </a:lnTo>
                  <a:lnTo>
                    <a:pt x="186" y="224"/>
                  </a:lnTo>
                  <a:lnTo>
                    <a:pt x="190" y="224"/>
                  </a:lnTo>
                  <a:lnTo>
                    <a:pt x="186" y="224"/>
                  </a:lnTo>
                  <a:lnTo>
                    <a:pt x="182" y="224"/>
                  </a:lnTo>
                  <a:lnTo>
                    <a:pt x="182" y="220"/>
                  </a:lnTo>
                  <a:lnTo>
                    <a:pt x="178" y="220"/>
                  </a:lnTo>
                  <a:lnTo>
                    <a:pt x="174" y="220"/>
                  </a:lnTo>
                  <a:lnTo>
                    <a:pt x="170" y="220"/>
                  </a:lnTo>
                  <a:lnTo>
                    <a:pt x="170" y="216"/>
                  </a:lnTo>
                  <a:lnTo>
                    <a:pt x="164" y="216"/>
                  </a:lnTo>
                  <a:lnTo>
                    <a:pt x="160" y="216"/>
                  </a:lnTo>
                  <a:lnTo>
                    <a:pt x="156" y="216"/>
                  </a:lnTo>
                  <a:lnTo>
                    <a:pt x="152" y="216"/>
                  </a:lnTo>
                  <a:lnTo>
                    <a:pt x="152" y="212"/>
                  </a:lnTo>
                  <a:lnTo>
                    <a:pt x="148" y="212"/>
                  </a:lnTo>
                  <a:lnTo>
                    <a:pt x="148" y="216"/>
                  </a:lnTo>
                  <a:lnTo>
                    <a:pt x="148" y="212"/>
                  </a:lnTo>
                  <a:lnTo>
                    <a:pt x="144" y="212"/>
                  </a:lnTo>
                  <a:lnTo>
                    <a:pt x="144" y="216"/>
                  </a:lnTo>
                  <a:lnTo>
                    <a:pt x="140" y="216"/>
                  </a:lnTo>
                  <a:lnTo>
                    <a:pt x="144" y="212"/>
                  </a:lnTo>
                  <a:lnTo>
                    <a:pt x="140" y="212"/>
                  </a:lnTo>
                  <a:lnTo>
                    <a:pt x="136" y="212"/>
                  </a:lnTo>
                  <a:lnTo>
                    <a:pt x="134" y="212"/>
                  </a:lnTo>
                  <a:lnTo>
                    <a:pt x="130" y="216"/>
                  </a:lnTo>
                  <a:lnTo>
                    <a:pt x="126" y="216"/>
                  </a:lnTo>
                  <a:lnTo>
                    <a:pt x="122" y="216"/>
                  </a:lnTo>
                  <a:lnTo>
                    <a:pt x="122" y="212"/>
                  </a:lnTo>
                  <a:lnTo>
                    <a:pt x="118" y="216"/>
                  </a:lnTo>
                  <a:lnTo>
                    <a:pt x="118" y="212"/>
                  </a:lnTo>
                  <a:lnTo>
                    <a:pt x="118" y="216"/>
                  </a:lnTo>
                  <a:lnTo>
                    <a:pt x="114" y="216"/>
                  </a:lnTo>
                  <a:lnTo>
                    <a:pt x="118" y="216"/>
                  </a:lnTo>
                  <a:lnTo>
                    <a:pt x="118" y="220"/>
                  </a:lnTo>
                  <a:lnTo>
                    <a:pt x="114" y="220"/>
                  </a:lnTo>
                  <a:lnTo>
                    <a:pt x="114" y="216"/>
                  </a:lnTo>
                  <a:lnTo>
                    <a:pt x="110" y="216"/>
                  </a:lnTo>
                  <a:lnTo>
                    <a:pt x="110" y="220"/>
                  </a:lnTo>
                  <a:lnTo>
                    <a:pt x="110" y="216"/>
                  </a:lnTo>
                  <a:lnTo>
                    <a:pt x="108" y="216"/>
                  </a:lnTo>
                  <a:lnTo>
                    <a:pt x="110" y="216"/>
                  </a:lnTo>
                  <a:lnTo>
                    <a:pt x="108" y="216"/>
                  </a:lnTo>
                  <a:lnTo>
                    <a:pt x="108" y="220"/>
                  </a:lnTo>
                  <a:lnTo>
                    <a:pt x="104" y="220"/>
                  </a:lnTo>
                  <a:lnTo>
                    <a:pt x="100" y="220"/>
                  </a:lnTo>
                  <a:lnTo>
                    <a:pt x="100" y="216"/>
                  </a:lnTo>
                  <a:lnTo>
                    <a:pt x="104" y="216"/>
                  </a:lnTo>
                  <a:lnTo>
                    <a:pt x="100" y="216"/>
                  </a:lnTo>
                  <a:lnTo>
                    <a:pt x="104" y="216"/>
                  </a:lnTo>
                  <a:lnTo>
                    <a:pt x="104" y="212"/>
                  </a:lnTo>
                  <a:lnTo>
                    <a:pt x="100" y="212"/>
                  </a:lnTo>
                  <a:lnTo>
                    <a:pt x="96" y="212"/>
                  </a:lnTo>
                  <a:lnTo>
                    <a:pt x="94" y="216"/>
                  </a:lnTo>
                  <a:lnTo>
                    <a:pt x="94" y="220"/>
                  </a:lnTo>
                  <a:lnTo>
                    <a:pt x="90" y="216"/>
                  </a:lnTo>
                  <a:lnTo>
                    <a:pt x="86" y="216"/>
                  </a:lnTo>
                  <a:lnTo>
                    <a:pt x="86" y="212"/>
                  </a:lnTo>
                  <a:lnTo>
                    <a:pt x="82" y="216"/>
                  </a:lnTo>
                  <a:lnTo>
                    <a:pt x="86" y="216"/>
                  </a:lnTo>
                  <a:lnTo>
                    <a:pt x="86" y="220"/>
                  </a:lnTo>
                  <a:lnTo>
                    <a:pt x="90" y="220"/>
                  </a:lnTo>
                  <a:lnTo>
                    <a:pt x="94" y="224"/>
                  </a:lnTo>
                  <a:lnTo>
                    <a:pt x="90" y="224"/>
                  </a:lnTo>
                  <a:lnTo>
                    <a:pt x="86" y="224"/>
                  </a:lnTo>
                  <a:lnTo>
                    <a:pt x="82" y="220"/>
                  </a:lnTo>
                  <a:lnTo>
                    <a:pt x="78" y="220"/>
                  </a:lnTo>
                  <a:lnTo>
                    <a:pt x="74" y="220"/>
                  </a:lnTo>
                  <a:lnTo>
                    <a:pt x="70" y="220"/>
                  </a:lnTo>
                  <a:lnTo>
                    <a:pt x="66" y="220"/>
                  </a:lnTo>
                  <a:lnTo>
                    <a:pt x="64" y="220"/>
                  </a:lnTo>
                  <a:lnTo>
                    <a:pt x="64" y="216"/>
                  </a:lnTo>
                  <a:lnTo>
                    <a:pt x="60" y="216"/>
                  </a:lnTo>
                  <a:lnTo>
                    <a:pt x="56" y="216"/>
                  </a:lnTo>
                  <a:lnTo>
                    <a:pt x="56" y="212"/>
                  </a:lnTo>
                  <a:lnTo>
                    <a:pt x="52" y="212"/>
                  </a:lnTo>
                  <a:lnTo>
                    <a:pt x="48" y="212"/>
                  </a:lnTo>
                  <a:lnTo>
                    <a:pt x="48" y="208"/>
                  </a:lnTo>
                  <a:lnTo>
                    <a:pt x="52" y="208"/>
                  </a:lnTo>
                  <a:lnTo>
                    <a:pt x="56" y="208"/>
                  </a:lnTo>
                  <a:lnTo>
                    <a:pt x="60" y="204"/>
                  </a:lnTo>
                  <a:lnTo>
                    <a:pt x="64" y="204"/>
                  </a:lnTo>
                  <a:lnTo>
                    <a:pt x="70" y="204"/>
                  </a:lnTo>
                  <a:lnTo>
                    <a:pt x="70" y="200"/>
                  </a:lnTo>
                  <a:lnTo>
                    <a:pt x="66" y="200"/>
                  </a:lnTo>
                  <a:lnTo>
                    <a:pt x="64" y="200"/>
                  </a:lnTo>
                  <a:lnTo>
                    <a:pt x="64" y="204"/>
                  </a:lnTo>
                  <a:lnTo>
                    <a:pt x="60" y="204"/>
                  </a:lnTo>
                  <a:lnTo>
                    <a:pt x="60" y="200"/>
                  </a:lnTo>
                  <a:lnTo>
                    <a:pt x="56" y="200"/>
                  </a:lnTo>
                  <a:lnTo>
                    <a:pt x="52" y="200"/>
                  </a:lnTo>
                  <a:lnTo>
                    <a:pt x="48" y="200"/>
                  </a:lnTo>
                  <a:lnTo>
                    <a:pt x="44" y="200"/>
                  </a:lnTo>
                  <a:lnTo>
                    <a:pt x="40" y="200"/>
                  </a:lnTo>
                  <a:lnTo>
                    <a:pt x="40" y="198"/>
                  </a:lnTo>
                  <a:lnTo>
                    <a:pt x="44" y="198"/>
                  </a:lnTo>
                  <a:lnTo>
                    <a:pt x="44" y="194"/>
                  </a:lnTo>
                  <a:lnTo>
                    <a:pt x="48" y="194"/>
                  </a:lnTo>
                  <a:lnTo>
                    <a:pt x="44" y="194"/>
                  </a:lnTo>
                  <a:lnTo>
                    <a:pt x="40" y="198"/>
                  </a:lnTo>
                  <a:lnTo>
                    <a:pt x="38" y="198"/>
                  </a:lnTo>
                  <a:lnTo>
                    <a:pt x="38" y="200"/>
                  </a:lnTo>
                  <a:lnTo>
                    <a:pt x="34" y="200"/>
                  </a:lnTo>
                  <a:lnTo>
                    <a:pt x="34" y="198"/>
                  </a:lnTo>
                  <a:lnTo>
                    <a:pt x="30" y="198"/>
                  </a:lnTo>
                  <a:lnTo>
                    <a:pt x="34" y="194"/>
                  </a:lnTo>
                  <a:lnTo>
                    <a:pt x="30" y="198"/>
                  </a:lnTo>
                  <a:lnTo>
                    <a:pt x="30" y="194"/>
                  </a:lnTo>
                  <a:lnTo>
                    <a:pt x="26" y="194"/>
                  </a:lnTo>
                  <a:lnTo>
                    <a:pt x="22" y="194"/>
                  </a:lnTo>
                  <a:lnTo>
                    <a:pt x="22" y="190"/>
                  </a:lnTo>
                  <a:lnTo>
                    <a:pt x="26" y="190"/>
                  </a:lnTo>
                  <a:lnTo>
                    <a:pt x="30" y="190"/>
                  </a:lnTo>
                  <a:lnTo>
                    <a:pt x="34" y="186"/>
                  </a:lnTo>
                  <a:lnTo>
                    <a:pt x="38" y="186"/>
                  </a:lnTo>
                  <a:lnTo>
                    <a:pt x="40" y="186"/>
                  </a:lnTo>
                  <a:lnTo>
                    <a:pt x="44" y="186"/>
                  </a:lnTo>
                  <a:lnTo>
                    <a:pt x="48" y="186"/>
                  </a:lnTo>
                  <a:lnTo>
                    <a:pt x="52" y="186"/>
                  </a:lnTo>
                  <a:lnTo>
                    <a:pt x="56" y="186"/>
                  </a:lnTo>
                  <a:lnTo>
                    <a:pt x="56" y="190"/>
                  </a:lnTo>
                  <a:lnTo>
                    <a:pt x="60" y="190"/>
                  </a:lnTo>
                  <a:lnTo>
                    <a:pt x="64" y="190"/>
                  </a:lnTo>
                  <a:lnTo>
                    <a:pt x="66" y="190"/>
                  </a:lnTo>
                  <a:lnTo>
                    <a:pt x="70" y="190"/>
                  </a:lnTo>
                  <a:lnTo>
                    <a:pt x="70" y="186"/>
                  </a:lnTo>
                  <a:lnTo>
                    <a:pt x="74" y="186"/>
                  </a:lnTo>
                  <a:lnTo>
                    <a:pt x="74" y="190"/>
                  </a:lnTo>
                  <a:lnTo>
                    <a:pt x="78" y="190"/>
                  </a:lnTo>
                  <a:lnTo>
                    <a:pt x="82" y="190"/>
                  </a:lnTo>
                  <a:lnTo>
                    <a:pt x="86" y="190"/>
                  </a:lnTo>
                  <a:lnTo>
                    <a:pt x="90" y="190"/>
                  </a:lnTo>
                  <a:lnTo>
                    <a:pt x="94" y="190"/>
                  </a:lnTo>
                  <a:lnTo>
                    <a:pt x="96" y="190"/>
                  </a:lnTo>
                  <a:lnTo>
                    <a:pt x="96" y="186"/>
                  </a:lnTo>
                  <a:lnTo>
                    <a:pt x="94" y="190"/>
                  </a:lnTo>
                  <a:lnTo>
                    <a:pt x="90" y="190"/>
                  </a:lnTo>
                  <a:lnTo>
                    <a:pt x="86" y="190"/>
                  </a:lnTo>
                  <a:lnTo>
                    <a:pt x="82" y="190"/>
                  </a:lnTo>
                  <a:lnTo>
                    <a:pt x="78" y="190"/>
                  </a:lnTo>
                  <a:lnTo>
                    <a:pt x="78" y="186"/>
                  </a:lnTo>
                  <a:lnTo>
                    <a:pt x="74" y="186"/>
                  </a:lnTo>
                  <a:lnTo>
                    <a:pt x="70" y="186"/>
                  </a:lnTo>
                  <a:lnTo>
                    <a:pt x="66" y="186"/>
                  </a:lnTo>
                  <a:lnTo>
                    <a:pt x="64" y="186"/>
                  </a:lnTo>
                  <a:lnTo>
                    <a:pt x="60" y="186"/>
                  </a:lnTo>
                  <a:lnTo>
                    <a:pt x="56" y="186"/>
                  </a:lnTo>
                  <a:lnTo>
                    <a:pt x="60" y="186"/>
                  </a:lnTo>
                  <a:lnTo>
                    <a:pt x="64" y="182"/>
                  </a:lnTo>
                  <a:lnTo>
                    <a:pt x="66" y="182"/>
                  </a:lnTo>
                  <a:lnTo>
                    <a:pt x="70" y="182"/>
                  </a:lnTo>
                  <a:lnTo>
                    <a:pt x="74" y="182"/>
                  </a:lnTo>
                  <a:lnTo>
                    <a:pt x="78" y="182"/>
                  </a:lnTo>
                  <a:lnTo>
                    <a:pt x="82" y="182"/>
                  </a:lnTo>
                  <a:lnTo>
                    <a:pt x="86" y="182"/>
                  </a:lnTo>
                  <a:lnTo>
                    <a:pt x="90" y="182"/>
                  </a:lnTo>
                  <a:lnTo>
                    <a:pt x="90" y="186"/>
                  </a:lnTo>
                  <a:lnTo>
                    <a:pt x="94" y="186"/>
                  </a:lnTo>
                  <a:lnTo>
                    <a:pt x="96" y="186"/>
                  </a:lnTo>
                  <a:lnTo>
                    <a:pt x="94" y="186"/>
                  </a:lnTo>
                  <a:lnTo>
                    <a:pt x="90" y="182"/>
                  </a:lnTo>
                  <a:lnTo>
                    <a:pt x="94" y="182"/>
                  </a:lnTo>
                  <a:lnTo>
                    <a:pt x="96" y="182"/>
                  </a:lnTo>
                  <a:lnTo>
                    <a:pt x="96" y="178"/>
                  </a:lnTo>
                  <a:lnTo>
                    <a:pt x="96" y="174"/>
                  </a:lnTo>
                  <a:lnTo>
                    <a:pt x="94" y="174"/>
                  </a:lnTo>
                  <a:lnTo>
                    <a:pt x="90" y="174"/>
                  </a:lnTo>
                  <a:lnTo>
                    <a:pt x="86" y="174"/>
                  </a:lnTo>
                  <a:lnTo>
                    <a:pt x="82" y="174"/>
                  </a:lnTo>
                  <a:lnTo>
                    <a:pt x="82" y="178"/>
                  </a:lnTo>
                  <a:lnTo>
                    <a:pt x="78" y="178"/>
                  </a:lnTo>
                  <a:lnTo>
                    <a:pt x="74" y="178"/>
                  </a:lnTo>
                  <a:lnTo>
                    <a:pt x="70" y="178"/>
                  </a:lnTo>
                  <a:lnTo>
                    <a:pt x="66" y="178"/>
                  </a:lnTo>
                  <a:lnTo>
                    <a:pt x="64" y="178"/>
                  </a:lnTo>
                  <a:lnTo>
                    <a:pt x="66" y="178"/>
                  </a:lnTo>
                  <a:lnTo>
                    <a:pt x="64" y="178"/>
                  </a:lnTo>
                  <a:lnTo>
                    <a:pt x="64" y="174"/>
                  </a:lnTo>
                  <a:lnTo>
                    <a:pt x="60" y="174"/>
                  </a:lnTo>
                  <a:lnTo>
                    <a:pt x="60" y="178"/>
                  </a:lnTo>
                  <a:lnTo>
                    <a:pt x="64" y="178"/>
                  </a:lnTo>
                  <a:lnTo>
                    <a:pt x="60" y="178"/>
                  </a:lnTo>
                  <a:lnTo>
                    <a:pt x="56" y="178"/>
                  </a:lnTo>
                  <a:lnTo>
                    <a:pt x="56" y="182"/>
                  </a:lnTo>
                  <a:lnTo>
                    <a:pt x="52" y="182"/>
                  </a:lnTo>
                  <a:lnTo>
                    <a:pt x="52" y="178"/>
                  </a:lnTo>
                  <a:lnTo>
                    <a:pt x="48" y="178"/>
                  </a:lnTo>
                  <a:lnTo>
                    <a:pt x="44" y="178"/>
                  </a:lnTo>
                  <a:lnTo>
                    <a:pt x="40" y="178"/>
                  </a:lnTo>
                  <a:lnTo>
                    <a:pt x="38" y="178"/>
                  </a:lnTo>
                  <a:lnTo>
                    <a:pt x="40" y="174"/>
                  </a:lnTo>
                  <a:lnTo>
                    <a:pt x="44" y="174"/>
                  </a:lnTo>
                  <a:lnTo>
                    <a:pt x="48" y="174"/>
                  </a:lnTo>
                  <a:lnTo>
                    <a:pt x="48" y="172"/>
                  </a:lnTo>
                  <a:lnTo>
                    <a:pt x="48" y="174"/>
                  </a:lnTo>
                  <a:lnTo>
                    <a:pt x="44" y="174"/>
                  </a:lnTo>
                  <a:lnTo>
                    <a:pt x="40" y="174"/>
                  </a:lnTo>
                  <a:lnTo>
                    <a:pt x="38" y="174"/>
                  </a:lnTo>
                  <a:lnTo>
                    <a:pt x="34" y="174"/>
                  </a:lnTo>
                  <a:lnTo>
                    <a:pt x="34" y="172"/>
                  </a:lnTo>
                  <a:lnTo>
                    <a:pt x="38" y="172"/>
                  </a:lnTo>
                  <a:lnTo>
                    <a:pt x="40" y="172"/>
                  </a:lnTo>
                  <a:lnTo>
                    <a:pt x="38" y="172"/>
                  </a:lnTo>
                  <a:lnTo>
                    <a:pt x="34" y="172"/>
                  </a:lnTo>
                  <a:lnTo>
                    <a:pt x="30" y="172"/>
                  </a:lnTo>
                  <a:lnTo>
                    <a:pt x="26" y="172"/>
                  </a:lnTo>
                  <a:lnTo>
                    <a:pt x="22" y="172"/>
                  </a:lnTo>
                  <a:lnTo>
                    <a:pt x="26" y="172"/>
                  </a:lnTo>
                  <a:lnTo>
                    <a:pt x="26" y="168"/>
                  </a:lnTo>
                  <a:lnTo>
                    <a:pt x="22" y="168"/>
                  </a:lnTo>
                  <a:lnTo>
                    <a:pt x="22" y="172"/>
                  </a:lnTo>
                  <a:lnTo>
                    <a:pt x="18" y="172"/>
                  </a:lnTo>
                  <a:lnTo>
                    <a:pt x="18" y="168"/>
                  </a:lnTo>
                  <a:lnTo>
                    <a:pt x="14" y="168"/>
                  </a:lnTo>
                  <a:lnTo>
                    <a:pt x="10" y="168"/>
                  </a:lnTo>
                  <a:lnTo>
                    <a:pt x="8" y="164"/>
                  </a:lnTo>
                  <a:lnTo>
                    <a:pt x="10" y="164"/>
                  </a:lnTo>
                  <a:lnTo>
                    <a:pt x="8" y="164"/>
                  </a:lnTo>
                  <a:lnTo>
                    <a:pt x="4" y="164"/>
                  </a:lnTo>
                  <a:lnTo>
                    <a:pt x="0" y="160"/>
                  </a:lnTo>
                  <a:lnTo>
                    <a:pt x="4" y="160"/>
                  </a:lnTo>
                  <a:lnTo>
                    <a:pt x="4" y="158"/>
                  </a:lnTo>
                  <a:lnTo>
                    <a:pt x="8" y="158"/>
                  </a:lnTo>
                  <a:lnTo>
                    <a:pt x="4" y="158"/>
                  </a:lnTo>
                  <a:lnTo>
                    <a:pt x="4" y="154"/>
                  </a:lnTo>
                  <a:lnTo>
                    <a:pt x="8" y="154"/>
                  </a:lnTo>
                  <a:lnTo>
                    <a:pt x="4" y="154"/>
                  </a:lnTo>
                  <a:lnTo>
                    <a:pt x="8" y="150"/>
                  </a:lnTo>
                  <a:lnTo>
                    <a:pt x="10" y="150"/>
                  </a:lnTo>
                  <a:lnTo>
                    <a:pt x="14" y="150"/>
                  </a:lnTo>
                  <a:lnTo>
                    <a:pt x="18" y="150"/>
                  </a:lnTo>
                  <a:lnTo>
                    <a:pt x="22" y="150"/>
                  </a:lnTo>
                  <a:lnTo>
                    <a:pt x="26" y="150"/>
                  </a:lnTo>
                  <a:lnTo>
                    <a:pt x="30" y="150"/>
                  </a:lnTo>
                  <a:lnTo>
                    <a:pt x="30" y="146"/>
                  </a:lnTo>
                  <a:lnTo>
                    <a:pt x="34" y="146"/>
                  </a:lnTo>
                  <a:lnTo>
                    <a:pt x="38" y="146"/>
                  </a:lnTo>
                  <a:lnTo>
                    <a:pt x="40" y="146"/>
                  </a:lnTo>
                  <a:lnTo>
                    <a:pt x="44" y="146"/>
                  </a:lnTo>
                  <a:lnTo>
                    <a:pt x="40" y="146"/>
                  </a:lnTo>
                  <a:lnTo>
                    <a:pt x="40" y="142"/>
                  </a:lnTo>
                  <a:lnTo>
                    <a:pt x="44" y="142"/>
                  </a:lnTo>
                  <a:lnTo>
                    <a:pt x="48" y="142"/>
                  </a:lnTo>
                  <a:lnTo>
                    <a:pt x="52" y="142"/>
                  </a:lnTo>
                  <a:lnTo>
                    <a:pt x="56" y="142"/>
                  </a:lnTo>
                  <a:lnTo>
                    <a:pt x="60" y="142"/>
                  </a:lnTo>
                  <a:lnTo>
                    <a:pt x="56" y="142"/>
                  </a:lnTo>
                  <a:lnTo>
                    <a:pt x="56" y="138"/>
                  </a:lnTo>
                  <a:lnTo>
                    <a:pt x="60" y="138"/>
                  </a:lnTo>
                  <a:lnTo>
                    <a:pt x="66" y="134"/>
                  </a:lnTo>
                  <a:lnTo>
                    <a:pt x="70" y="134"/>
                  </a:lnTo>
                  <a:lnTo>
                    <a:pt x="74" y="138"/>
                  </a:lnTo>
                  <a:lnTo>
                    <a:pt x="74" y="134"/>
                  </a:lnTo>
                  <a:lnTo>
                    <a:pt x="78" y="134"/>
                  </a:lnTo>
                  <a:lnTo>
                    <a:pt x="82" y="134"/>
                  </a:lnTo>
                  <a:lnTo>
                    <a:pt x="86" y="134"/>
                  </a:lnTo>
                  <a:lnTo>
                    <a:pt x="90" y="134"/>
                  </a:lnTo>
                  <a:lnTo>
                    <a:pt x="94" y="134"/>
                  </a:lnTo>
                  <a:lnTo>
                    <a:pt x="96" y="134"/>
                  </a:lnTo>
                  <a:lnTo>
                    <a:pt x="100" y="134"/>
                  </a:lnTo>
                  <a:lnTo>
                    <a:pt x="104" y="130"/>
                  </a:lnTo>
                  <a:lnTo>
                    <a:pt x="108" y="128"/>
                  </a:lnTo>
                  <a:lnTo>
                    <a:pt x="110" y="128"/>
                  </a:lnTo>
                  <a:lnTo>
                    <a:pt x="110" y="124"/>
                  </a:lnTo>
                  <a:lnTo>
                    <a:pt x="114" y="124"/>
                  </a:lnTo>
                  <a:lnTo>
                    <a:pt x="114" y="120"/>
                  </a:lnTo>
                  <a:lnTo>
                    <a:pt x="110" y="120"/>
                  </a:lnTo>
                  <a:lnTo>
                    <a:pt x="110" y="116"/>
                  </a:lnTo>
                  <a:lnTo>
                    <a:pt x="110" y="112"/>
                  </a:lnTo>
                  <a:lnTo>
                    <a:pt x="110" y="108"/>
                  </a:lnTo>
                  <a:lnTo>
                    <a:pt x="114" y="108"/>
                  </a:lnTo>
                  <a:lnTo>
                    <a:pt x="122" y="108"/>
                  </a:lnTo>
                  <a:lnTo>
                    <a:pt x="122" y="104"/>
                  </a:lnTo>
                  <a:lnTo>
                    <a:pt x="126" y="104"/>
                  </a:lnTo>
                  <a:lnTo>
                    <a:pt x="130" y="104"/>
                  </a:lnTo>
                  <a:lnTo>
                    <a:pt x="126" y="104"/>
                  </a:lnTo>
                  <a:lnTo>
                    <a:pt x="122" y="104"/>
                  </a:lnTo>
                  <a:lnTo>
                    <a:pt x="122" y="100"/>
                  </a:lnTo>
                  <a:lnTo>
                    <a:pt x="122" y="104"/>
                  </a:lnTo>
                  <a:lnTo>
                    <a:pt x="118" y="104"/>
                  </a:lnTo>
                  <a:lnTo>
                    <a:pt x="114" y="104"/>
                  </a:lnTo>
                  <a:lnTo>
                    <a:pt x="114" y="108"/>
                  </a:lnTo>
                  <a:lnTo>
                    <a:pt x="110" y="108"/>
                  </a:lnTo>
                  <a:lnTo>
                    <a:pt x="110" y="104"/>
                  </a:lnTo>
                  <a:lnTo>
                    <a:pt x="108" y="104"/>
                  </a:lnTo>
                  <a:lnTo>
                    <a:pt x="108" y="108"/>
                  </a:lnTo>
                  <a:lnTo>
                    <a:pt x="104" y="108"/>
                  </a:lnTo>
                  <a:lnTo>
                    <a:pt x="100" y="108"/>
                  </a:lnTo>
                  <a:lnTo>
                    <a:pt x="96" y="108"/>
                  </a:lnTo>
                  <a:lnTo>
                    <a:pt x="96" y="104"/>
                  </a:lnTo>
                  <a:lnTo>
                    <a:pt x="94" y="104"/>
                  </a:lnTo>
                  <a:lnTo>
                    <a:pt x="90" y="104"/>
                  </a:lnTo>
                  <a:lnTo>
                    <a:pt x="90" y="108"/>
                  </a:lnTo>
                  <a:lnTo>
                    <a:pt x="86" y="108"/>
                  </a:lnTo>
                  <a:lnTo>
                    <a:pt x="82" y="108"/>
                  </a:lnTo>
                  <a:lnTo>
                    <a:pt x="82" y="104"/>
                  </a:lnTo>
                  <a:lnTo>
                    <a:pt x="78" y="104"/>
                  </a:lnTo>
                  <a:lnTo>
                    <a:pt x="78" y="100"/>
                  </a:lnTo>
                  <a:lnTo>
                    <a:pt x="78" y="98"/>
                  </a:lnTo>
                  <a:lnTo>
                    <a:pt x="82" y="98"/>
                  </a:lnTo>
                  <a:lnTo>
                    <a:pt x="86" y="98"/>
                  </a:lnTo>
                  <a:lnTo>
                    <a:pt x="90" y="94"/>
                  </a:lnTo>
                  <a:lnTo>
                    <a:pt x="94" y="94"/>
                  </a:lnTo>
                  <a:lnTo>
                    <a:pt x="94" y="90"/>
                  </a:lnTo>
                  <a:lnTo>
                    <a:pt x="96" y="90"/>
                  </a:lnTo>
                  <a:lnTo>
                    <a:pt x="100" y="90"/>
                  </a:lnTo>
                  <a:lnTo>
                    <a:pt x="104" y="90"/>
                  </a:lnTo>
                  <a:lnTo>
                    <a:pt x="104" y="86"/>
                  </a:lnTo>
                  <a:lnTo>
                    <a:pt x="108" y="86"/>
                  </a:lnTo>
                  <a:lnTo>
                    <a:pt x="110" y="86"/>
                  </a:lnTo>
                  <a:lnTo>
                    <a:pt x="110" y="82"/>
                  </a:lnTo>
                  <a:lnTo>
                    <a:pt x="114" y="82"/>
                  </a:lnTo>
                  <a:lnTo>
                    <a:pt x="114" y="78"/>
                  </a:lnTo>
                  <a:lnTo>
                    <a:pt x="118" y="78"/>
                  </a:lnTo>
                  <a:lnTo>
                    <a:pt x="122" y="78"/>
                  </a:lnTo>
                  <a:lnTo>
                    <a:pt x="126" y="78"/>
                  </a:lnTo>
                  <a:lnTo>
                    <a:pt x="130" y="78"/>
                  </a:lnTo>
                  <a:lnTo>
                    <a:pt x="130" y="74"/>
                  </a:lnTo>
                  <a:lnTo>
                    <a:pt x="134" y="74"/>
                  </a:lnTo>
                  <a:lnTo>
                    <a:pt x="134" y="78"/>
                  </a:lnTo>
                  <a:lnTo>
                    <a:pt x="136" y="82"/>
                  </a:lnTo>
                  <a:lnTo>
                    <a:pt x="140" y="86"/>
                  </a:lnTo>
                  <a:lnTo>
                    <a:pt x="144" y="86"/>
                  </a:lnTo>
                  <a:lnTo>
                    <a:pt x="140" y="86"/>
                  </a:lnTo>
                  <a:lnTo>
                    <a:pt x="140" y="82"/>
                  </a:lnTo>
                  <a:lnTo>
                    <a:pt x="136" y="82"/>
                  </a:lnTo>
                  <a:lnTo>
                    <a:pt x="136" y="78"/>
                  </a:lnTo>
                  <a:lnTo>
                    <a:pt x="136" y="74"/>
                  </a:lnTo>
                  <a:lnTo>
                    <a:pt x="140" y="72"/>
                  </a:lnTo>
                  <a:lnTo>
                    <a:pt x="144" y="72"/>
                  </a:lnTo>
                  <a:lnTo>
                    <a:pt x="144" y="74"/>
                  </a:lnTo>
                  <a:lnTo>
                    <a:pt x="148" y="74"/>
                  </a:lnTo>
                  <a:lnTo>
                    <a:pt x="152" y="74"/>
                  </a:lnTo>
                  <a:lnTo>
                    <a:pt x="156" y="74"/>
                  </a:lnTo>
                  <a:lnTo>
                    <a:pt x="160" y="78"/>
                  </a:lnTo>
                  <a:lnTo>
                    <a:pt x="164" y="78"/>
                  </a:lnTo>
                  <a:lnTo>
                    <a:pt x="164" y="74"/>
                  </a:lnTo>
                  <a:lnTo>
                    <a:pt x="166" y="74"/>
                  </a:lnTo>
                  <a:lnTo>
                    <a:pt x="170" y="74"/>
                  </a:lnTo>
                  <a:lnTo>
                    <a:pt x="166" y="74"/>
                  </a:lnTo>
                  <a:lnTo>
                    <a:pt x="166" y="72"/>
                  </a:lnTo>
                  <a:lnTo>
                    <a:pt x="164" y="68"/>
                  </a:lnTo>
                  <a:lnTo>
                    <a:pt x="166" y="68"/>
                  </a:lnTo>
                  <a:lnTo>
                    <a:pt x="170" y="68"/>
                  </a:lnTo>
                  <a:lnTo>
                    <a:pt x="170" y="64"/>
                  </a:lnTo>
                  <a:lnTo>
                    <a:pt x="166" y="64"/>
                  </a:lnTo>
                  <a:lnTo>
                    <a:pt x="166" y="60"/>
                  </a:lnTo>
                  <a:lnTo>
                    <a:pt x="164" y="60"/>
                  </a:lnTo>
                  <a:lnTo>
                    <a:pt x="164" y="56"/>
                  </a:lnTo>
                  <a:lnTo>
                    <a:pt x="166" y="56"/>
                  </a:lnTo>
                  <a:lnTo>
                    <a:pt x="170" y="52"/>
                  </a:lnTo>
                  <a:lnTo>
                    <a:pt x="174" y="52"/>
                  </a:lnTo>
                  <a:lnTo>
                    <a:pt x="178" y="52"/>
                  </a:lnTo>
                  <a:lnTo>
                    <a:pt x="182" y="52"/>
                  </a:lnTo>
                  <a:lnTo>
                    <a:pt x="186" y="52"/>
                  </a:lnTo>
                  <a:lnTo>
                    <a:pt x="190" y="52"/>
                  </a:lnTo>
                  <a:lnTo>
                    <a:pt x="194" y="52"/>
                  </a:lnTo>
                  <a:lnTo>
                    <a:pt x="196" y="52"/>
                  </a:lnTo>
                  <a:lnTo>
                    <a:pt x="200" y="52"/>
                  </a:lnTo>
                  <a:lnTo>
                    <a:pt x="200" y="56"/>
                  </a:lnTo>
                  <a:lnTo>
                    <a:pt x="200" y="60"/>
                  </a:lnTo>
                  <a:lnTo>
                    <a:pt x="204" y="60"/>
                  </a:lnTo>
                  <a:lnTo>
                    <a:pt x="212" y="60"/>
                  </a:lnTo>
                  <a:lnTo>
                    <a:pt x="212" y="64"/>
                  </a:lnTo>
                  <a:lnTo>
                    <a:pt x="216" y="64"/>
                  </a:lnTo>
                  <a:lnTo>
                    <a:pt x="216" y="60"/>
                  </a:lnTo>
                  <a:lnTo>
                    <a:pt x="216" y="64"/>
                  </a:lnTo>
                  <a:lnTo>
                    <a:pt x="220" y="64"/>
                  </a:lnTo>
                  <a:lnTo>
                    <a:pt x="222" y="64"/>
                  </a:lnTo>
                  <a:lnTo>
                    <a:pt x="222" y="68"/>
                  </a:lnTo>
                  <a:lnTo>
                    <a:pt x="226" y="68"/>
                  </a:lnTo>
                  <a:lnTo>
                    <a:pt x="230" y="68"/>
                  </a:lnTo>
                  <a:lnTo>
                    <a:pt x="230" y="72"/>
                  </a:lnTo>
                  <a:lnTo>
                    <a:pt x="234" y="72"/>
                  </a:lnTo>
                  <a:lnTo>
                    <a:pt x="234" y="68"/>
                  </a:lnTo>
                  <a:lnTo>
                    <a:pt x="230" y="68"/>
                  </a:lnTo>
                  <a:lnTo>
                    <a:pt x="226" y="68"/>
                  </a:lnTo>
                  <a:lnTo>
                    <a:pt x="222" y="68"/>
                  </a:lnTo>
                  <a:lnTo>
                    <a:pt x="222" y="64"/>
                  </a:lnTo>
                  <a:lnTo>
                    <a:pt x="220" y="64"/>
                  </a:lnTo>
                  <a:lnTo>
                    <a:pt x="216" y="60"/>
                  </a:lnTo>
                  <a:lnTo>
                    <a:pt x="212" y="60"/>
                  </a:lnTo>
                  <a:lnTo>
                    <a:pt x="208" y="60"/>
                  </a:lnTo>
                  <a:lnTo>
                    <a:pt x="208" y="56"/>
                  </a:lnTo>
                  <a:lnTo>
                    <a:pt x="204" y="52"/>
                  </a:lnTo>
                  <a:lnTo>
                    <a:pt x="200" y="52"/>
                  </a:lnTo>
                  <a:lnTo>
                    <a:pt x="196" y="52"/>
                  </a:lnTo>
                  <a:lnTo>
                    <a:pt x="194" y="52"/>
                  </a:lnTo>
                  <a:lnTo>
                    <a:pt x="194" y="48"/>
                  </a:lnTo>
                  <a:lnTo>
                    <a:pt x="190" y="48"/>
                  </a:lnTo>
                  <a:lnTo>
                    <a:pt x="194" y="48"/>
                  </a:lnTo>
                  <a:lnTo>
                    <a:pt x="196" y="48"/>
                  </a:lnTo>
                  <a:lnTo>
                    <a:pt x="200" y="44"/>
                  </a:lnTo>
                  <a:lnTo>
                    <a:pt x="204" y="44"/>
                  </a:lnTo>
                  <a:lnTo>
                    <a:pt x="208" y="44"/>
                  </a:lnTo>
                  <a:lnTo>
                    <a:pt x="212" y="44"/>
                  </a:lnTo>
                  <a:lnTo>
                    <a:pt x="216" y="44"/>
                  </a:lnTo>
                  <a:lnTo>
                    <a:pt x="220" y="44"/>
                  </a:lnTo>
                  <a:lnTo>
                    <a:pt x="222" y="44"/>
                  </a:lnTo>
                  <a:lnTo>
                    <a:pt x="226" y="44"/>
                  </a:lnTo>
                  <a:lnTo>
                    <a:pt x="230" y="42"/>
                  </a:lnTo>
                  <a:lnTo>
                    <a:pt x="234" y="42"/>
                  </a:lnTo>
                  <a:lnTo>
                    <a:pt x="234" y="44"/>
                  </a:lnTo>
                  <a:lnTo>
                    <a:pt x="238" y="44"/>
                  </a:lnTo>
                  <a:lnTo>
                    <a:pt x="238" y="42"/>
                  </a:lnTo>
                  <a:lnTo>
                    <a:pt x="242" y="42"/>
                  </a:lnTo>
                  <a:lnTo>
                    <a:pt x="246" y="42"/>
                  </a:lnTo>
                  <a:lnTo>
                    <a:pt x="250" y="42"/>
                  </a:lnTo>
                  <a:lnTo>
                    <a:pt x="250" y="44"/>
                  </a:lnTo>
                  <a:lnTo>
                    <a:pt x="252" y="44"/>
                  </a:lnTo>
                  <a:lnTo>
                    <a:pt x="252" y="42"/>
                  </a:lnTo>
                  <a:lnTo>
                    <a:pt x="250" y="42"/>
                  </a:lnTo>
                  <a:lnTo>
                    <a:pt x="246" y="42"/>
                  </a:lnTo>
                  <a:lnTo>
                    <a:pt x="252" y="42"/>
                  </a:lnTo>
                  <a:lnTo>
                    <a:pt x="256" y="38"/>
                  </a:lnTo>
                  <a:lnTo>
                    <a:pt x="260" y="38"/>
                  </a:lnTo>
                  <a:lnTo>
                    <a:pt x="264" y="38"/>
                  </a:lnTo>
                  <a:lnTo>
                    <a:pt x="268" y="42"/>
                  </a:lnTo>
                  <a:lnTo>
                    <a:pt x="272" y="42"/>
                  </a:lnTo>
                  <a:lnTo>
                    <a:pt x="276" y="44"/>
                  </a:lnTo>
                  <a:lnTo>
                    <a:pt x="276" y="52"/>
                  </a:lnTo>
                  <a:lnTo>
                    <a:pt x="276" y="56"/>
                  </a:lnTo>
                  <a:lnTo>
                    <a:pt x="272" y="56"/>
                  </a:lnTo>
                  <a:lnTo>
                    <a:pt x="272" y="60"/>
                  </a:lnTo>
                  <a:lnTo>
                    <a:pt x="272" y="64"/>
                  </a:lnTo>
                  <a:lnTo>
                    <a:pt x="276" y="64"/>
                  </a:lnTo>
                  <a:lnTo>
                    <a:pt x="276" y="60"/>
                  </a:lnTo>
                  <a:lnTo>
                    <a:pt x="278" y="56"/>
                  </a:lnTo>
                  <a:lnTo>
                    <a:pt x="282" y="56"/>
                  </a:lnTo>
                  <a:lnTo>
                    <a:pt x="282" y="52"/>
                  </a:lnTo>
                  <a:lnTo>
                    <a:pt x="282" y="48"/>
                  </a:lnTo>
                  <a:lnTo>
                    <a:pt x="286" y="48"/>
                  </a:lnTo>
                  <a:lnTo>
                    <a:pt x="290" y="48"/>
                  </a:lnTo>
                  <a:lnTo>
                    <a:pt x="298" y="52"/>
                  </a:lnTo>
                  <a:lnTo>
                    <a:pt x="302" y="52"/>
                  </a:lnTo>
                  <a:lnTo>
                    <a:pt x="306" y="52"/>
                  </a:lnTo>
                  <a:lnTo>
                    <a:pt x="308" y="52"/>
                  </a:lnTo>
                  <a:lnTo>
                    <a:pt x="312" y="56"/>
                  </a:lnTo>
                  <a:lnTo>
                    <a:pt x="316" y="56"/>
                  </a:lnTo>
                  <a:lnTo>
                    <a:pt x="320" y="56"/>
                  </a:lnTo>
                  <a:lnTo>
                    <a:pt x="320" y="60"/>
                  </a:lnTo>
                  <a:lnTo>
                    <a:pt x="324" y="60"/>
                  </a:lnTo>
                  <a:lnTo>
                    <a:pt x="328" y="60"/>
                  </a:lnTo>
                  <a:lnTo>
                    <a:pt x="332" y="60"/>
                  </a:lnTo>
                  <a:lnTo>
                    <a:pt x="328" y="60"/>
                  </a:lnTo>
                  <a:lnTo>
                    <a:pt x="324" y="56"/>
                  </a:lnTo>
                  <a:lnTo>
                    <a:pt x="320" y="56"/>
                  </a:lnTo>
                  <a:lnTo>
                    <a:pt x="316" y="56"/>
                  </a:lnTo>
                  <a:lnTo>
                    <a:pt x="316" y="52"/>
                  </a:lnTo>
                  <a:lnTo>
                    <a:pt x="312" y="52"/>
                  </a:lnTo>
                  <a:lnTo>
                    <a:pt x="308" y="52"/>
                  </a:lnTo>
                  <a:lnTo>
                    <a:pt x="312" y="52"/>
                  </a:lnTo>
                  <a:lnTo>
                    <a:pt x="316" y="52"/>
                  </a:lnTo>
                  <a:lnTo>
                    <a:pt x="320" y="52"/>
                  </a:lnTo>
                  <a:lnTo>
                    <a:pt x="324" y="52"/>
                  </a:lnTo>
                  <a:lnTo>
                    <a:pt x="328" y="52"/>
                  </a:lnTo>
                  <a:lnTo>
                    <a:pt x="332" y="52"/>
                  </a:lnTo>
                  <a:lnTo>
                    <a:pt x="328" y="48"/>
                  </a:lnTo>
                  <a:lnTo>
                    <a:pt x="324" y="48"/>
                  </a:lnTo>
                  <a:lnTo>
                    <a:pt x="320" y="48"/>
                  </a:lnTo>
                  <a:lnTo>
                    <a:pt x="320" y="44"/>
                  </a:lnTo>
                  <a:lnTo>
                    <a:pt x="316" y="44"/>
                  </a:lnTo>
                  <a:lnTo>
                    <a:pt x="312" y="44"/>
                  </a:lnTo>
                  <a:lnTo>
                    <a:pt x="312" y="42"/>
                  </a:lnTo>
                  <a:lnTo>
                    <a:pt x="312" y="38"/>
                  </a:lnTo>
                  <a:lnTo>
                    <a:pt x="308" y="38"/>
                  </a:lnTo>
                  <a:lnTo>
                    <a:pt x="308" y="34"/>
                  </a:lnTo>
                  <a:lnTo>
                    <a:pt x="312" y="34"/>
                  </a:lnTo>
                  <a:lnTo>
                    <a:pt x="316" y="34"/>
                  </a:lnTo>
                  <a:lnTo>
                    <a:pt x="320" y="34"/>
                  </a:lnTo>
                  <a:lnTo>
                    <a:pt x="324" y="34"/>
                  </a:lnTo>
                  <a:lnTo>
                    <a:pt x="328" y="34"/>
                  </a:lnTo>
                  <a:lnTo>
                    <a:pt x="332" y="34"/>
                  </a:lnTo>
                  <a:lnTo>
                    <a:pt x="334" y="34"/>
                  </a:lnTo>
                  <a:lnTo>
                    <a:pt x="338" y="34"/>
                  </a:lnTo>
                  <a:lnTo>
                    <a:pt x="338" y="38"/>
                  </a:lnTo>
                  <a:lnTo>
                    <a:pt x="342" y="38"/>
                  </a:lnTo>
                  <a:lnTo>
                    <a:pt x="346" y="38"/>
                  </a:lnTo>
                  <a:lnTo>
                    <a:pt x="346" y="42"/>
                  </a:lnTo>
                  <a:lnTo>
                    <a:pt x="350" y="42"/>
                  </a:lnTo>
                  <a:lnTo>
                    <a:pt x="354" y="42"/>
                  </a:lnTo>
                  <a:lnTo>
                    <a:pt x="358" y="42"/>
                  </a:lnTo>
                  <a:lnTo>
                    <a:pt x="362" y="42"/>
                  </a:lnTo>
                  <a:lnTo>
                    <a:pt x="362" y="44"/>
                  </a:lnTo>
                  <a:lnTo>
                    <a:pt x="364" y="44"/>
                  </a:lnTo>
                  <a:lnTo>
                    <a:pt x="368" y="44"/>
                  </a:lnTo>
                  <a:lnTo>
                    <a:pt x="372" y="44"/>
                  </a:lnTo>
                  <a:lnTo>
                    <a:pt x="376" y="44"/>
                  </a:lnTo>
                  <a:lnTo>
                    <a:pt x="376" y="48"/>
                  </a:lnTo>
                  <a:lnTo>
                    <a:pt x="380" y="48"/>
                  </a:lnTo>
                  <a:lnTo>
                    <a:pt x="384" y="48"/>
                  </a:lnTo>
                  <a:lnTo>
                    <a:pt x="384" y="52"/>
                  </a:lnTo>
                  <a:lnTo>
                    <a:pt x="380" y="52"/>
                  </a:lnTo>
                  <a:lnTo>
                    <a:pt x="384" y="52"/>
                  </a:lnTo>
                  <a:lnTo>
                    <a:pt x="388" y="52"/>
                  </a:lnTo>
                  <a:lnTo>
                    <a:pt x="392" y="52"/>
                  </a:lnTo>
                  <a:lnTo>
                    <a:pt x="392" y="56"/>
                  </a:lnTo>
                  <a:lnTo>
                    <a:pt x="394" y="56"/>
                  </a:lnTo>
                  <a:lnTo>
                    <a:pt x="398" y="56"/>
                  </a:lnTo>
                  <a:lnTo>
                    <a:pt x="402" y="56"/>
                  </a:lnTo>
                  <a:lnTo>
                    <a:pt x="406" y="56"/>
                  </a:lnTo>
                  <a:lnTo>
                    <a:pt x="406" y="52"/>
                  </a:lnTo>
                  <a:lnTo>
                    <a:pt x="402" y="52"/>
                  </a:lnTo>
                  <a:lnTo>
                    <a:pt x="398" y="52"/>
                  </a:lnTo>
                  <a:lnTo>
                    <a:pt x="402" y="52"/>
                  </a:lnTo>
                  <a:lnTo>
                    <a:pt x="402" y="48"/>
                  </a:lnTo>
                  <a:lnTo>
                    <a:pt x="398" y="48"/>
                  </a:lnTo>
                  <a:lnTo>
                    <a:pt x="394" y="48"/>
                  </a:lnTo>
                  <a:lnTo>
                    <a:pt x="398" y="48"/>
                  </a:lnTo>
                  <a:lnTo>
                    <a:pt x="402" y="48"/>
                  </a:lnTo>
                  <a:lnTo>
                    <a:pt x="402" y="44"/>
                  </a:lnTo>
                  <a:lnTo>
                    <a:pt x="398" y="44"/>
                  </a:lnTo>
                  <a:lnTo>
                    <a:pt x="398" y="42"/>
                  </a:lnTo>
                  <a:lnTo>
                    <a:pt x="402" y="42"/>
                  </a:lnTo>
                  <a:lnTo>
                    <a:pt x="406" y="42"/>
                  </a:lnTo>
                  <a:lnTo>
                    <a:pt x="410" y="42"/>
                  </a:lnTo>
                  <a:lnTo>
                    <a:pt x="414" y="42"/>
                  </a:lnTo>
                  <a:lnTo>
                    <a:pt x="418" y="42"/>
                  </a:lnTo>
                  <a:lnTo>
                    <a:pt x="420" y="42"/>
                  </a:lnTo>
                  <a:lnTo>
                    <a:pt x="424" y="42"/>
                  </a:lnTo>
                  <a:lnTo>
                    <a:pt x="428" y="42"/>
                  </a:lnTo>
                  <a:lnTo>
                    <a:pt x="432" y="42"/>
                  </a:lnTo>
                  <a:lnTo>
                    <a:pt x="428" y="42"/>
                  </a:lnTo>
                  <a:lnTo>
                    <a:pt x="424" y="42"/>
                  </a:lnTo>
                  <a:lnTo>
                    <a:pt x="420" y="42"/>
                  </a:lnTo>
                  <a:lnTo>
                    <a:pt x="418" y="42"/>
                  </a:lnTo>
                  <a:lnTo>
                    <a:pt x="414" y="42"/>
                  </a:lnTo>
                  <a:lnTo>
                    <a:pt x="414" y="38"/>
                  </a:lnTo>
                  <a:lnTo>
                    <a:pt x="410" y="38"/>
                  </a:lnTo>
                  <a:lnTo>
                    <a:pt x="414" y="38"/>
                  </a:lnTo>
                  <a:lnTo>
                    <a:pt x="410" y="38"/>
                  </a:lnTo>
                  <a:lnTo>
                    <a:pt x="406" y="34"/>
                  </a:lnTo>
                  <a:lnTo>
                    <a:pt x="402" y="34"/>
                  </a:lnTo>
                  <a:lnTo>
                    <a:pt x="398" y="34"/>
                  </a:lnTo>
                  <a:lnTo>
                    <a:pt x="398" y="30"/>
                  </a:lnTo>
                  <a:lnTo>
                    <a:pt x="394" y="30"/>
                  </a:lnTo>
                  <a:lnTo>
                    <a:pt x="392" y="30"/>
                  </a:lnTo>
                  <a:lnTo>
                    <a:pt x="388" y="26"/>
                  </a:lnTo>
                  <a:lnTo>
                    <a:pt x="384" y="26"/>
                  </a:lnTo>
                  <a:lnTo>
                    <a:pt x="388" y="26"/>
                  </a:lnTo>
                  <a:lnTo>
                    <a:pt x="392" y="26"/>
                  </a:lnTo>
                  <a:lnTo>
                    <a:pt x="394" y="26"/>
                  </a:lnTo>
                  <a:lnTo>
                    <a:pt x="398" y="26"/>
                  </a:lnTo>
                  <a:lnTo>
                    <a:pt x="402" y="26"/>
                  </a:lnTo>
                  <a:lnTo>
                    <a:pt x="406" y="26"/>
                  </a:lnTo>
                  <a:lnTo>
                    <a:pt x="410" y="26"/>
                  </a:lnTo>
                  <a:lnTo>
                    <a:pt x="414" y="26"/>
                  </a:lnTo>
                  <a:lnTo>
                    <a:pt x="418" y="26"/>
                  </a:lnTo>
                  <a:lnTo>
                    <a:pt x="420" y="26"/>
                  </a:lnTo>
                  <a:lnTo>
                    <a:pt x="424" y="26"/>
                  </a:lnTo>
                  <a:lnTo>
                    <a:pt x="428" y="26"/>
                  </a:lnTo>
                  <a:lnTo>
                    <a:pt x="432" y="26"/>
                  </a:lnTo>
                  <a:lnTo>
                    <a:pt x="436" y="26"/>
                  </a:lnTo>
                  <a:lnTo>
                    <a:pt x="436" y="30"/>
                  </a:lnTo>
                  <a:lnTo>
                    <a:pt x="440" y="30"/>
                  </a:lnTo>
                  <a:lnTo>
                    <a:pt x="440" y="34"/>
                  </a:lnTo>
                  <a:lnTo>
                    <a:pt x="442" y="34"/>
                  </a:lnTo>
                  <a:lnTo>
                    <a:pt x="442" y="30"/>
                  </a:lnTo>
                  <a:lnTo>
                    <a:pt x="440" y="26"/>
                  </a:lnTo>
                  <a:lnTo>
                    <a:pt x="442" y="26"/>
                  </a:lnTo>
                  <a:lnTo>
                    <a:pt x="446" y="26"/>
                  </a:lnTo>
                  <a:lnTo>
                    <a:pt x="446" y="30"/>
                  </a:lnTo>
                  <a:lnTo>
                    <a:pt x="454" y="30"/>
                  </a:lnTo>
                  <a:lnTo>
                    <a:pt x="458" y="30"/>
                  </a:lnTo>
                  <a:lnTo>
                    <a:pt x="458" y="34"/>
                  </a:lnTo>
                  <a:lnTo>
                    <a:pt x="462" y="34"/>
                  </a:lnTo>
                  <a:lnTo>
                    <a:pt x="464" y="34"/>
                  </a:lnTo>
                  <a:lnTo>
                    <a:pt x="464" y="38"/>
                  </a:lnTo>
                  <a:lnTo>
                    <a:pt x="468" y="38"/>
                  </a:lnTo>
                  <a:lnTo>
                    <a:pt x="468" y="34"/>
                  </a:lnTo>
                  <a:lnTo>
                    <a:pt x="464" y="34"/>
                  </a:lnTo>
                  <a:lnTo>
                    <a:pt x="464" y="30"/>
                  </a:lnTo>
                  <a:lnTo>
                    <a:pt x="468" y="30"/>
                  </a:lnTo>
                  <a:lnTo>
                    <a:pt x="464" y="30"/>
                  </a:lnTo>
                  <a:lnTo>
                    <a:pt x="464" y="26"/>
                  </a:lnTo>
                  <a:lnTo>
                    <a:pt x="462" y="26"/>
                  </a:lnTo>
                  <a:lnTo>
                    <a:pt x="458" y="26"/>
                  </a:lnTo>
                  <a:lnTo>
                    <a:pt x="454" y="26"/>
                  </a:lnTo>
                  <a:lnTo>
                    <a:pt x="450" y="26"/>
                  </a:lnTo>
                  <a:lnTo>
                    <a:pt x="446" y="26"/>
                  </a:lnTo>
                  <a:lnTo>
                    <a:pt x="442" y="26"/>
                  </a:lnTo>
                  <a:lnTo>
                    <a:pt x="442" y="22"/>
                  </a:lnTo>
                  <a:lnTo>
                    <a:pt x="436" y="22"/>
                  </a:lnTo>
                  <a:lnTo>
                    <a:pt x="432" y="22"/>
                  </a:lnTo>
                  <a:lnTo>
                    <a:pt x="428" y="22"/>
                  </a:lnTo>
                  <a:lnTo>
                    <a:pt x="424" y="22"/>
                  </a:lnTo>
                  <a:lnTo>
                    <a:pt x="418" y="22"/>
                  </a:lnTo>
                  <a:lnTo>
                    <a:pt x="414" y="22"/>
                  </a:lnTo>
                  <a:lnTo>
                    <a:pt x="410" y="22"/>
                  </a:lnTo>
                  <a:lnTo>
                    <a:pt x="406" y="22"/>
                  </a:lnTo>
                  <a:lnTo>
                    <a:pt x="402" y="22"/>
                  </a:lnTo>
                  <a:lnTo>
                    <a:pt x="398" y="22"/>
                  </a:lnTo>
                  <a:lnTo>
                    <a:pt x="394" y="22"/>
                  </a:lnTo>
                  <a:lnTo>
                    <a:pt x="398" y="22"/>
                  </a:lnTo>
                  <a:lnTo>
                    <a:pt x="394" y="22"/>
                  </a:lnTo>
                  <a:lnTo>
                    <a:pt x="392" y="22"/>
                  </a:lnTo>
                  <a:lnTo>
                    <a:pt x="388" y="22"/>
                  </a:lnTo>
                  <a:lnTo>
                    <a:pt x="384" y="22"/>
                  </a:lnTo>
                  <a:lnTo>
                    <a:pt x="380" y="22"/>
                  </a:lnTo>
                  <a:lnTo>
                    <a:pt x="376" y="22"/>
                  </a:lnTo>
                  <a:lnTo>
                    <a:pt x="372" y="22"/>
                  </a:lnTo>
                  <a:lnTo>
                    <a:pt x="368" y="18"/>
                  </a:lnTo>
                  <a:lnTo>
                    <a:pt x="376" y="18"/>
                  </a:lnTo>
                  <a:lnTo>
                    <a:pt x="380" y="22"/>
                  </a:lnTo>
                  <a:lnTo>
                    <a:pt x="380" y="18"/>
                  </a:lnTo>
                  <a:lnTo>
                    <a:pt x="376" y="18"/>
                  </a:lnTo>
                  <a:lnTo>
                    <a:pt x="372" y="18"/>
                  </a:lnTo>
                  <a:lnTo>
                    <a:pt x="376" y="18"/>
                  </a:lnTo>
                  <a:lnTo>
                    <a:pt x="380" y="18"/>
                  </a:lnTo>
                  <a:lnTo>
                    <a:pt x="380" y="16"/>
                  </a:lnTo>
                  <a:lnTo>
                    <a:pt x="384" y="16"/>
                  </a:lnTo>
                  <a:lnTo>
                    <a:pt x="384" y="18"/>
                  </a:lnTo>
                  <a:lnTo>
                    <a:pt x="388" y="18"/>
                  </a:lnTo>
                  <a:lnTo>
                    <a:pt x="392" y="18"/>
                  </a:lnTo>
                  <a:lnTo>
                    <a:pt x="394" y="18"/>
                  </a:lnTo>
                  <a:lnTo>
                    <a:pt x="394" y="22"/>
                  </a:lnTo>
                  <a:lnTo>
                    <a:pt x="398" y="22"/>
                  </a:lnTo>
                  <a:lnTo>
                    <a:pt x="398" y="18"/>
                  </a:lnTo>
                  <a:lnTo>
                    <a:pt x="402" y="18"/>
                  </a:lnTo>
                  <a:lnTo>
                    <a:pt x="402" y="22"/>
                  </a:lnTo>
                  <a:lnTo>
                    <a:pt x="410" y="22"/>
                  </a:lnTo>
                  <a:lnTo>
                    <a:pt x="414" y="22"/>
                  </a:lnTo>
                  <a:lnTo>
                    <a:pt x="418" y="22"/>
                  </a:lnTo>
                  <a:lnTo>
                    <a:pt x="414" y="22"/>
                  </a:lnTo>
                  <a:lnTo>
                    <a:pt x="410" y="22"/>
                  </a:lnTo>
                  <a:lnTo>
                    <a:pt x="406" y="22"/>
                  </a:lnTo>
                  <a:lnTo>
                    <a:pt x="406" y="18"/>
                  </a:lnTo>
                  <a:lnTo>
                    <a:pt x="402" y="18"/>
                  </a:lnTo>
                  <a:lnTo>
                    <a:pt x="398" y="18"/>
                  </a:lnTo>
                  <a:lnTo>
                    <a:pt x="394" y="18"/>
                  </a:lnTo>
                  <a:lnTo>
                    <a:pt x="392" y="18"/>
                  </a:lnTo>
                  <a:lnTo>
                    <a:pt x="388" y="16"/>
                  </a:lnTo>
                  <a:lnTo>
                    <a:pt x="392" y="16"/>
                  </a:lnTo>
                  <a:lnTo>
                    <a:pt x="394" y="16"/>
                  </a:lnTo>
                  <a:lnTo>
                    <a:pt x="398" y="16"/>
                  </a:lnTo>
                  <a:lnTo>
                    <a:pt x="402" y="16"/>
                  </a:lnTo>
                  <a:lnTo>
                    <a:pt x="406" y="16"/>
                  </a:lnTo>
                  <a:lnTo>
                    <a:pt x="410" y="16"/>
                  </a:lnTo>
                  <a:lnTo>
                    <a:pt x="414" y="16"/>
                  </a:lnTo>
                  <a:lnTo>
                    <a:pt x="418" y="16"/>
                  </a:lnTo>
                  <a:lnTo>
                    <a:pt x="420" y="16"/>
                  </a:lnTo>
                  <a:lnTo>
                    <a:pt x="424" y="16"/>
                  </a:lnTo>
                  <a:lnTo>
                    <a:pt x="420" y="16"/>
                  </a:lnTo>
                  <a:lnTo>
                    <a:pt x="418" y="16"/>
                  </a:lnTo>
                  <a:lnTo>
                    <a:pt x="414" y="16"/>
                  </a:lnTo>
                  <a:lnTo>
                    <a:pt x="410" y="16"/>
                  </a:lnTo>
                  <a:lnTo>
                    <a:pt x="410" y="12"/>
                  </a:lnTo>
                  <a:lnTo>
                    <a:pt x="414" y="12"/>
                  </a:lnTo>
                  <a:lnTo>
                    <a:pt x="418" y="12"/>
                  </a:lnTo>
                  <a:lnTo>
                    <a:pt x="420" y="12"/>
                  </a:lnTo>
                  <a:lnTo>
                    <a:pt x="424" y="12"/>
                  </a:lnTo>
                  <a:lnTo>
                    <a:pt x="420" y="12"/>
                  </a:lnTo>
                  <a:lnTo>
                    <a:pt x="424" y="12"/>
                  </a:lnTo>
                  <a:lnTo>
                    <a:pt x="428" y="12"/>
                  </a:lnTo>
                  <a:lnTo>
                    <a:pt x="432" y="12"/>
                  </a:lnTo>
                  <a:lnTo>
                    <a:pt x="436" y="12"/>
                  </a:lnTo>
                  <a:lnTo>
                    <a:pt x="440" y="12"/>
                  </a:lnTo>
                  <a:lnTo>
                    <a:pt x="442" y="16"/>
                  </a:lnTo>
                  <a:lnTo>
                    <a:pt x="440" y="16"/>
                  </a:lnTo>
                  <a:lnTo>
                    <a:pt x="442" y="16"/>
                  </a:lnTo>
                  <a:lnTo>
                    <a:pt x="446" y="16"/>
                  </a:lnTo>
                  <a:lnTo>
                    <a:pt x="450" y="16"/>
                  </a:lnTo>
                  <a:lnTo>
                    <a:pt x="450" y="18"/>
                  </a:lnTo>
                  <a:lnTo>
                    <a:pt x="454" y="18"/>
                  </a:lnTo>
                  <a:lnTo>
                    <a:pt x="458" y="18"/>
                  </a:lnTo>
                  <a:lnTo>
                    <a:pt x="464" y="18"/>
                  </a:lnTo>
                  <a:lnTo>
                    <a:pt x="468" y="18"/>
                  </a:lnTo>
                  <a:lnTo>
                    <a:pt x="472" y="18"/>
                  </a:lnTo>
                  <a:lnTo>
                    <a:pt x="480" y="22"/>
                  </a:lnTo>
                  <a:lnTo>
                    <a:pt x="480" y="26"/>
                  </a:lnTo>
                  <a:lnTo>
                    <a:pt x="484" y="26"/>
                  </a:lnTo>
                  <a:lnTo>
                    <a:pt x="488" y="26"/>
                  </a:lnTo>
                  <a:lnTo>
                    <a:pt x="484" y="26"/>
                  </a:lnTo>
                  <a:lnTo>
                    <a:pt x="484" y="22"/>
                  </a:lnTo>
                  <a:lnTo>
                    <a:pt x="480" y="22"/>
                  </a:lnTo>
                  <a:lnTo>
                    <a:pt x="476" y="18"/>
                  </a:lnTo>
                  <a:lnTo>
                    <a:pt x="480" y="18"/>
                  </a:lnTo>
                  <a:lnTo>
                    <a:pt x="484" y="18"/>
                  </a:lnTo>
                  <a:lnTo>
                    <a:pt x="488" y="18"/>
                  </a:lnTo>
                  <a:lnTo>
                    <a:pt x="490" y="18"/>
                  </a:lnTo>
                  <a:lnTo>
                    <a:pt x="498" y="18"/>
                  </a:lnTo>
                  <a:lnTo>
                    <a:pt x="502" y="18"/>
                  </a:lnTo>
                  <a:lnTo>
                    <a:pt x="506" y="18"/>
                  </a:lnTo>
                  <a:lnTo>
                    <a:pt x="502" y="18"/>
                  </a:lnTo>
                  <a:lnTo>
                    <a:pt x="498" y="18"/>
                  </a:lnTo>
                  <a:lnTo>
                    <a:pt x="490" y="18"/>
                  </a:lnTo>
                  <a:lnTo>
                    <a:pt x="488" y="18"/>
                  </a:lnTo>
                  <a:lnTo>
                    <a:pt x="484" y="18"/>
                  </a:lnTo>
                  <a:lnTo>
                    <a:pt x="484" y="16"/>
                  </a:lnTo>
                  <a:lnTo>
                    <a:pt x="488" y="16"/>
                  </a:lnTo>
                  <a:lnTo>
                    <a:pt x="490" y="16"/>
                  </a:lnTo>
                  <a:lnTo>
                    <a:pt x="494" y="16"/>
                  </a:lnTo>
                  <a:lnTo>
                    <a:pt x="498" y="16"/>
                  </a:lnTo>
                  <a:lnTo>
                    <a:pt x="502" y="16"/>
                  </a:lnTo>
                  <a:lnTo>
                    <a:pt x="506" y="16"/>
                  </a:lnTo>
                  <a:lnTo>
                    <a:pt x="510" y="16"/>
                  </a:lnTo>
                  <a:lnTo>
                    <a:pt x="506" y="16"/>
                  </a:lnTo>
                  <a:lnTo>
                    <a:pt x="502" y="16"/>
                  </a:lnTo>
                  <a:lnTo>
                    <a:pt x="498" y="16"/>
                  </a:lnTo>
                  <a:lnTo>
                    <a:pt x="494" y="12"/>
                  </a:lnTo>
                  <a:lnTo>
                    <a:pt x="490" y="12"/>
                  </a:lnTo>
                  <a:lnTo>
                    <a:pt x="488" y="12"/>
                  </a:lnTo>
                  <a:lnTo>
                    <a:pt x="484" y="12"/>
                  </a:lnTo>
                  <a:lnTo>
                    <a:pt x="484" y="8"/>
                  </a:lnTo>
                  <a:lnTo>
                    <a:pt x="488" y="8"/>
                  </a:lnTo>
                  <a:lnTo>
                    <a:pt x="490" y="8"/>
                  </a:lnTo>
                  <a:lnTo>
                    <a:pt x="494" y="8"/>
                  </a:lnTo>
                  <a:lnTo>
                    <a:pt x="498" y="8"/>
                  </a:lnTo>
                  <a:lnTo>
                    <a:pt x="494" y="8"/>
                  </a:lnTo>
                  <a:lnTo>
                    <a:pt x="494" y="4"/>
                  </a:lnTo>
                  <a:lnTo>
                    <a:pt x="498" y="4"/>
                  </a:lnTo>
                  <a:lnTo>
                    <a:pt x="502" y="4"/>
                  </a:lnTo>
                  <a:lnTo>
                    <a:pt x="506" y="4"/>
                  </a:lnTo>
                  <a:lnTo>
                    <a:pt x="510" y="8"/>
                  </a:lnTo>
                  <a:lnTo>
                    <a:pt x="514" y="8"/>
                  </a:lnTo>
                  <a:lnTo>
                    <a:pt x="518" y="8"/>
                  </a:lnTo>
                  <a:lnTo>
                    <a:pt x="514" y="8"/>
                  </a:lnTo>
                  <a:lnTo>
                    <a:pt x="514" y="4"/>
                  </a:lnTo>
                  <a:lnTo>
                    <a:pt x="510" y="4"/>
                  </a:lnTo>
                  <a:lnTo>
                    <a:pt x="514" y="4"/>
                  </a:lnTo>
                  <a:lnTo>
                    <a:pt x="518" y="4"/>
                  </a:lnTo>
                  <a:lnTo>
                    <a:pt x="520" y="4"/>
                  </a:lnTo>
                  <a:lnTo>
                    <a:pt x="524" y="4"/>
                  </a:lnTo>
                  <a:lnTo>
                    <a:pt x="528" y="4"/>
                  </a:lnTo>
                  <a:lnTo>
                    <a:pt x="532" y="4"/>
                  </a:lnTo>
                  <a:lnTo>
                    <a:pt x="536" y="0"/>
                  </a:lnTo>
                  <a:lnTo>
                    <a:pt x="540" y="0"/>
                  </a:lnTo>
                  <a:lnTo>
                    <a:pt x="544" y="0"/>
                  </a:lnTo>
                  <a:lnTo>
                    <a:pt x="544" y="4"/>
                  </a:lnTo>
                  <a:lnTo>
                    <a:pt x="544" y="0"/>
                  </a:lnTo>
                  <a:lnTo>
                    <a:pt x="546" y="0"/>
                  </a:lnTo>
                  <a:lnTo>
                    <a:pt x="546" y="4"/>
                  </a:lnTo>
                  <a:lnTo>
                    <a:pt x="550" y="4"/>
                  </a:lnTo>
                  <a:lnTo>
                    <a:pt x="554" y="4"/>
                  </a:lnTo>
                  <a:lnTo>
                    <a:pt x="550" y="4"/>
                  </a:lnTo>
                  <a:lnTo>
                    <a:pt x="550" y="0"/>
                  </a:lnTo>
                  <a:lnTo>
                    <a:pt x="554" y="0"/>
                  </a:lnTo>
                  <a:lnTo>
                    <a:pt x="558" y="0"/>
                  </a:lnTo>
                  <a:lnTo>
                    <a:pt x="562" y="0"/>
                  </a:lnTo>
                  <a:lnTo>
                    <a:pt x="566" y="0"/>
                  </a:lnTo>
                  <a:lnTo>
                    <a:pt x="570" y="0"/>
                  </a:lnTo>
                  <a:lnTo>
                    <a:pt x="574" y="0"/>
                  </a:lnTo>
                  <a:lnTo>
                    <a:pt x="576" y="0"/>
                  </a:lnTo>
                  <a:lnTo>
                    <a:pt x="574" y="0"/>
                  </a:lnTo>
                  <a:lnTo>
                    <a:pt x="576" y="0"/>
                  </a:lnTo>
                  <a:lnTo>
                    <a:pt x="580" y="0"/>
                  </a:lnTo>
                  <a:lnTo>
                    <a:pt x="584" y="0"/>
                  </a:lnTo>
                  <a:lnTo>
                    <a:pt x="588" y="0"/>
                  </a:lnTo>
                  <a:lnTo>
                    <a:pt x="592" y="0"/>
                  </a:lnTo>
                  <a:lnTo>
                    <a:pt x="596" y="0"/>
                  </a:lnTo>
                  <a:lnTo>
                    <a:pt x="600" y="0"/>
                  </a:lnTo>
                  <a:lnTo>
                    <a:pt x="604" y="0"/>
                  </a:lnTo>
                  <a:lnTo>
                    <a:pt x="610" y="0"/>
                  </a:lnTo>
                  <a:lnTo>
                    <a:pt x="614" y="4"/>
                  </a:lnTo>
                  <a:lnTo>
                    <a:pt x="618" y="4"/>
                  </a:lnTo>
                  <a:lnTo>
                    <a:pt x="622" y="4"/>
                  </a:lnTo>
                  <a:lnTo>
                    <a:pt x="626" y="4"/>
                  </a:lnTo>
                  <a:lnTo>
                    <a:pt x="630" y="4"/>
                  </a:lnTo>
                  <a:lnTo>
                    <a:pt x="626" y="4"/>
                  </a:lnTo>
                  <a:lnTo>
                    <a:pt x="622" y="4"/>
                  </a:lnTo>
                  <a:lnTo>
                    <a:pt x="626" y="8"/>
                  </a:lnTo>
                  <a:lnTo>
                    <a:pt x="630" y="8"/>
                  </a:lnTo>
                  <a:lnTo>
                    <a:pt x="632" y="8"/>
                  </a:lnTo>
                  <a:lnTo>
                    <a:pt x="630" y="4"/>
                  </a:lnTo>
                  <a:lnTo>
                    <a:pt x="632" y="4"/>
                  </a:lnTo>
                  <a:lnTo>
                    <a:pt x="636" y="4"/>
                  </a:lnTo>
                  <a:lnTo>
                    <a:pt x="640" y="4"/>
                  </a:lnTo>
                  <a:lnTo>
                    <a:pt x="644" y="4"/>
                  </a:lnTo>
                  <a:lnTo>
                    <a:pt x="648" y="4"/>
                  </a:lnTo>
                  <a:lnTo>
                    <a:pt x="652" y="8"/>
                  </a:lnTo>
                  <a:lnTo>
                    <a:pt x="660" y="8"/>
                  </a:lnTo>
                  <a:lnTo>
                    <a:pt x="662" y="8"/>
                  </a:lnTo>
                  <a:lnTo>
                    <a:pt x="666" y="8"/>
                  </a:lnTo>
                  <a:lnTo>
                    <a:pt x="670" y="12"/>
                  </a:lnTo>
                  <a:lnTo>
                    <a:pt x="666" y="12"/>
                  </a:lnTo>
                  <a:lnTo>
                    <a:pt x="662" y="12"/>
                  </a:lnTo>
                  <a:lnTo>
                    <a:pt x="660" y="12"/>
                  </a:lnTo>
                  <a:lnTo>
                    <a:pt x="656" y="16"/>
                  </a:lnTo>
                  <a:lnTo>
                    <a:pt x="652" y="16"/>
                  </a:lnTo>
                  <a:lnTo>
                    <a:pt x="648" y="16"/>
                  </a:lnTo>
                  <a:lnTo>
                    <a:pt x="644" y="16"/>
                  </a:lnTo>
                  <a:lnTo>
                    <a:pt x="640" y="16"/>
                  </a:lnTo>
                  <a:lnTo>
                    <a:pt x="636" y="16"/>
                  </a:lnTo>
                  <a:lnTo>
                    <a:pt x="632" y="16"/>
                  </a:lnTo>
                  <a:lnTo>
                    <a:pt x="630" y="16"/>
                  </a:lnTo>
                  <a:lnTo>
                    <a:pt x="626" y="16"/>
                  </a:lnTo>
                  <a:lnTo>
                    <a:pt x="618" y="16"/>
                  </a:lnTo>
                  <a:lnTo>
                    <a:pt x="614" y="16"/>
                  </a:lnTo>
                  <a:lnTo>
                    <a:pt x="610" y="16"/>
                  </a:lnTo>
                  <a:lnTo>
                    <a:pt x="606" y="16"/>
                  </a:lnTo>
                  <a:lnTo>
                    <a:pt x="604" y="16"/>
                  </a:lnTo>
                  <a:lnTo>
                    <a:pt x="600" y="16"/>
                  </a:lnTo>
                  <a:lnTo>
                    <a:pt x="596" y="16"/>
                  </a:lnTo>
                  <a:lnTo>
                    <a:pt x="592" y="16"/>
                  </a:lnTo>
                  <a:lnTo>
                    <a:pt x="588" y="16"/>
                  </a:lnTo>
                  <a:lnTo>
                    <a:pt x="584" y="16"/>
                  </a:lnTo>
                  <a:lnTo>
                    <a:pt x="584" y="18"/>
                  </a:lnTo>
                  <a:lnTo>
                    <a:pt x="580" y="18"/>
                  </a:lnTo>
                  <a:lnTo>
                    <a:pt x="576" y="18"/>
                  </a:lnTo>
                  <a:lnTo>
                    <a:pt x="574" y="16"/>
                  </a:lnTo>
                  <a:lnTo>
                    <a:pt x="570" y="16"/>
                  </a:lnTo>
                  <a:lnTo>
                    <a:pt x="562" y="16"/>
                  </a:lnTo>
                  <a:lnTo>
                    <a:pt x="558" y="16"/>
                  </a:lnTo>
                  <a:lnTo>
                    <a:pt x="562" y="16"/>
                  </a:lnTo>
                  <a:lnTo>
                    <a:pt x="566" y="16"/>
                  </a:lnTo>
                  <a:lnTo>
                    <a:pt x="570" y="16"/>
                  </a:lnTo>
                  <a:lnTo>
                    <a:pt x="574" y="18"/>
                  </a:lnTo>
                  <a:lnTo>
                    <a:pt x="570" y="18"/>
                  </a:lnTo>
                  <a:lnTo>
                    <a:pt x="566" y="18"/>
                  </a:lnTo>
                  <a:lnTo>
                    <a:pt x="562" y="18"/>
                  </a:lnTo>
                  <a:lnTo>
                    <a:pt x="558" y="18"/>
                  </a:lnTo>
                  <a:lnTo>
                    <a:pt x="554" y="18"/>
                  </a:lnTo>
                  <a:lnTo>
                    <a:pt x="550" y="22"/>
                  </a:lnTo>
                  <a:lnTo>
                    <a:pt x="546" y="22"/>
                  </a:lnTo>
                  <a:lnTo>
                    <a:pt x="544" y="22"/>
                  </a:lnTo>
                  <a:lnTo>
                    <a:pt x="540" y="22"/>
                  </a:lnTo>
                  <a:lnTo>
                    <a:pt x="536" y="22"/>
                  </a:lnTo>
                  <a:lnTo>
                    <a:pt x="532" y="22"/>
                  </a:lnTo>
                  <a:lnTo>
                    <a:pt x="528" y="22"/>
                  </a:lnTo>
                  <a:lnTo>
                    <a:pt x="532" y="22"/>
                  </a:lnTo>
                  <a:lnTo>
                    <a:pt x="528" y="26"/>
                  </a:lnTo>
                  <a:lnTo>
                    <a:pt x="532" y="26"/>
                  </a:lnTo>
                  <a:lnTo>
                    <a:pt x="532" y="22"/>
                  </a:lnTo>
                  <a:lnTo>
                    <a:pt x="536" y="22"/>
                  </a:lnTo>
                  <a:lnTo>
                    <a:pt x="540" y="22"/>
                  </a:lnTo>
                  <a:lnTo>
                    <a:pt x="544" y="22"/>
                  </a:lnTo>
                  <a:lnTo>
                    <a:pt x="546" y="22"/>
                  </a:lnTo>
                  <a:lnTo>
                    <a:pt x="550" y="22"/>
                  </a:lnTo>
                  <a:lnTo>
                    <a:pt x="554" y="22"/>
                  </a:lnTo>
                  <a:lnTo>
                    <a:pt x="554" y="26"/>
                  </a:lnTo>
                  <a:lnTo>
                    <a:pt x="550" y="26"/>
                  </a:lnTo>
                  <a:lnTo>
                    <a:pt x="554" y="26"/>
                  </a:lnTo>
                  <a:lnTo>
                    <a:pt x="554" y="22"/>
                  </a:lnTo>
                  <a:lnTo>
                    <a:pt x="558" y="22"/>
                  </a:lnTo>
                  <a:lnTo>
                    <a:pt x="558" y="18"/>
                  </a:lnTo>
                  <a:lnTo>
                    <a:pt x="562" y="18"/>
                  </a:lnTo>
                  <a:lnTo>
                    <a:pt x="566" y="18"/>
                  </a:lnTo>
                  <a:lnTo>
                    <a:pt x="574" y="18"/>
                  </a:lnTo>
                  <a:lnTo>
                    <a:pt x="576" y="18"/>
                  </a:lnTo>
                  <a:lnTo>
                    <a:pt x="580" y="18"/>
                  </a:lnTo>
                  <a:lnTo>
                    <a:pt x="584" y="18"/>
                  </a:lnTo>
                  <a:lnTo>
                    <a:pt x="584" y="22"/>
                  </a:lnTo>
                  <a:lnTo>
                    <a:pt x="584" y="18"/>
                  </a:lnTo>
                  <a:lnTo>
                    <a:pt x="588" y="18"/>
                  </a:lnTo>
                  <a:lnTo>
                    <a:pt x="592" y="18"/>
                  </a:lnTo>
                  <a:lnTo>
                    <a:pt x="596" y="18"/>
                  </a:lnTo>
                  <a:lnTo>
                    <a:pt x="596" y="16"/>
                  </a:lnTo>
                  <a:lnTo>
                    <a:pt x="600" y="16"/>
                  </a:lnTo>
                  <a:lnTo>
                    <a:pt x="604" y="16"/>
                  </a:lnTo>
                  <a:lnTo>
                    <a:pt x="606" y="16"/>
                  </a:lnTo>
                  <a:lnTo>
                    <a:pt x="610" y="16"/>
                  </a:lnTo>
                  <a:lnTo>
                    <a:pt x="614" y="16"/>
                  </a:lnTo>
                  <a:lnTo>
                    <a:pt x="618" y="16"/>
                  </a:lnTo>
                  <a:lnTo>
                    <a:pt x="622" y="16"/>
                  </a:lnTo>
                  <a:lnTo>
                    <a:pt x="626" y="16"/>
                  </a:lnTo>
                  <a:lnTo>
                    <a:pt x="630" y="16"/>
                  </a:lnTo>
                  <a:lnTo>
                    <a:pt x="632" y="18"/>
                  </a:lnTo>
                  <a:lnTo>
                    <a:pt x="636" y="18"/>
                  </a:lnTo>
                  <a:lnTo>
                    <a:pt x="636" y="16"/>
                  </a:lnTo>
                  <a:lnTo>
                    <a:pt x="640" y="18"/>
                  </a:lnTo>
                  <a:lnTo>
                    <a:pt x="648" y="18"/>
                  </a:lnTo>
                  <a:lnTo>
                    <a:pt x="656" y="18"/>
                  </a:lnTo>
                  <a:lnTo>
                    <a:pt x="656" y="16"/>
                  </a:lnTo>
                  <a:lnTo>
                    <a:pt x="660" y="16"/>
                  </a:lnTo>
                  <a:lnTo>
                    <a:pt x="662" y="16"/>
                  </a:lnTo>
                  <a:lnTo>
                    <a:pt x="666" y="16"/>
                  </a:lnTo>
                  <a:lnTo>
                    <a:pt x="670" y="16"/>
                  </a:lnTo>
                  <a:lnTo>
                    <a:pt x="674" y="16"/>
                  </a:lnTo>
                  <a:lnTo>
                    <a:pt x="678" y="16"/>
                  </a:lnTo>
                  <a:lnTo>
                    <a:pt x="682" y="16"/>
                  </a:lnTo>
                  <a:lnTo>
                    <a:pt x="678" y="16"/>
                  </a:lnTo>
                  <a:lnTo>
                    <a:pt x="678" y="18"/>
                  </a:lnTo>
                  <a:lnTo>
                    <a:pt x="682" y="18"/>
                  </a:lnTo>
                  <a:lnTo>
                    <a:pt x="678" y="22"/>
                  </a:lnTo>
                  <a:lnTo>
                    <a:pt x="674" y="22"/>
                  </a:lnTo>
                  <a:lnTo>
                    <a:pt x="670" y="26"/>
                  </a:lnTo>
                  <a:lnTo>
                    <a:pt x="666" y="26"/>
                  </a:lnTo>
                  <a:lnTo>
                    <a:pt x="670" y="26"/>
                  </a:lnTo>
                  <a:lnTo>
                    <a:pt x="674" y="26"/>
                  </a:lnTo>
                  <a:lnTo>
                    <a:pt x="678" y="26"/>
                  </a:lnTo>
                  <a:lnTo>
                    <a:pt x="678" y="22"/>
                  </a:lnTo>
                  <a:lnTo>
                    <a:pt x="682" y="22"/>
                  </a:lnTo>
                  <a:lnTo>
                    <a:pt x="686" y="22"/>
                  </a:lnTo>
                  <a:lnTo>
                    <a:pt x="688" y="22"/>
                  </a:lnTo>
                  <a:lnTo>
                    <a:pt x="692" y="22"/>
                  </a:lnTo>
                  <a:lnTo>
                    <a:pt x="696" y="22"/>
                  </a:lnTo>
                  <a:lnTo>
                    <a:pt x="692" y="22"/>
                  </a:lnTo>
                  <a:lnTo>
                    <a:pt x="692" y="26"/>
                  </a:lnTo>
                  <a:lnTo>
                    <a:pt x="696" y="26"/>
                  </a:lnTo>
                  <a:lnTo>
                    <a:pt x="696" y="22"/>
                  </a:lnTo>
                  <a:lnTo>
                    <a:pt x="700" y="22"/>
                  </a:lnTo>
                  <a:lnTo>
                    <a:pt x="704" y="22"/>
                  </a:lnTo>
                  <a:lnTo>
                    <a:pt x="704" y="26"/>
                  </a:lnTo>
                  <a:lnTo>
                    <a:pt x="708" y="26"/>
                  </a:lnTo>
                  <a:lnTo>
                    <a:pt x="712" y="26"/>
                  </a:lnTo>
                  <a:lnTo>
                    <a:pt x="716" y="26"/>
                  </a:lnTo>
                  <a:lnTo>
                    <a:pt x="718" y="26"/>
                  </a:lnTo>
                  <a:lnTo>
                    <a:pt x="722" y="30"/>
                  </a:lnTo>
                  <a:lnTo>
                    <a:pt x="726" y="30"/>
                  </a:lnTo>
                  <a:lnTo>
                    <a:pt x="730" y="30"/>
                  </a:lnTo>
                  <a:lnTo>
                    <a:pt x="730" y="34"/>
                  </a:lnTo>
                  <a:lnTo>
                    <a:pt x="722" y="34"/>
                  </a:lnTo>
                  <a:lnTo>
                    <a:pt x="718" y="34"/>
                  </a:lnTo>
                  <a:lnTo>
                    <a:pt x="718" y="38"/>
                  </a:lnTo>
                  <a:lnTo>
                    <a:pt x="716" y="38"/>
                  </a:lnTo>
                  <a:lnTo>
                    <a:pt x="718" y="38"/>
                  </a:lnTo>
                  <a:lnTo>
                    <a:pt x="716" y="38"/>
                  </a:lnTo>
                  <a:lnTo>
                    <a:pt x="716" y="42"/>
                  </a:lnTo>
                  <a:lnTo>
                    <a:pt x="712" y="42"/>
                  </a:lnTo>
                  <a:lnTo>
                    <a:pt x="708" y="42"/>
                  </a:lnTo>
                  <a:lnTo>
                    <a:pt x="704" y="42"/>
                  </a:lnTo>
                  <a:lnTo>
                    <a:pt x="700" y="42"/>
                  </a:lnTo>
                  <a:lnTo>
                    <a:pt x="696" y="42"/>
                  </a:lnTo>
                  <a:lnTo>
                    <a:pt x="688" y="42"/>
                  </a:lnTo>
                  <a:lnTo>
                    <a:pt x="686" y="42"/>
                  </a:lnTo>
                  <a:lnTo>
                    <a:pt x="686" y="44"/>
                  </a:lnTo>
                  <a:lnTo>
                    <a:pt x="682" y="44"/>
                  </a:lnTo>
                  <a:lnTo>
                    <a:pt x="678" y="44"/>
                  </a:lnTo>
                  <a:lnTo>
                    <a:pt x="674" y="44"/>
                  </a:lnTo>
                  <a:lnTo>
                    <a:pt x="666" y="44"/>
                  </a:lnTo>
                  <a:lnTo>
                    <a:pt x="662" y="44"/>
                  </a:lnTo>
                  <a:lnTo>
                    <a:pt x="656" y="44"/>
                  </a:lnTo>
                  <a:lnTo>
                    <a:pt x="652" y="44"/>
                  </a:lnTo>
                  <a:lnTo>
                    <a:pt x="648" y="44"/>
                  </a:lnTo>
                  <a:lnTo>
                    <a:pt x="644" y="44"/>
                  </a:lnTo>
                  <a:lnTo>
                    <a:pt x="640" y="44"/>
                  </a:lnTo>
                  <a:lnTo>
                    <a:pt x="636" y="44"/>
                  </a:lnTo>
                  <a:lnTo>
                    <a:pt x="632" y="44"/>
                  </a:lnTo>
                  <a:lnTo>
                    <a:pt x="630" y="44"/>
                  </a:lnTo>
                  <a:lnTo>
                    <a:pt x="626" y="44"/>
                  </a:lnTo>
                  <a:lnTo>
                    <a:pt x="622" y="44"/>
                  </a:lnTo>
                  <a:lnTo>
                    <a:pt x="618" y="44"/>
                  </a:lnTo>
                  <a:lnTo>
                    <a:pt x="614" y="44"/>
                  </a:lnTo>
                  <a:lnTo>
                    <a:pt x="610" y="44"/>
                  </a:lnTo>
                  <a:lnTo>
                    <a:pt x="606" y="44"/>
                  </a:lnTo>
                  <a:lnTo>
                    <a:pt x="604" y="44"/>
                  </a:lnTo>
                  <a:lnTo>
                    <a:pt x="600" y="44"/>
                  </a:lnTo>
                  <a:lnTo>
                    <a:pt x="596" y="44"/>
                  </a:lnTo>
                  <a:lnTo>
                    <a:pt x="592" y="44"/>
                  </a:lnTo>
                  <a:lnTo>
                    <a:pt x="588" y="44"/>
                  </a:lnTo>
                  <a:lnTo>
                    <a:pt x="584" y="44"/>
                  </a:lnTo>
                  <a:lnTo>
                    <a:pt x="588" y="44"/>
                  </a:lnTo>
                  <a:lnTo>
                    <a:pt x="592" y="44"/>
                  </a:lnTo>
                  <a:lnTo>
                    <a:pt x="600" y="44"/>
                  </a:lnTo>
                  <a:lnTo>
                    <a:pt x="606" y="44"/>
                  </a:lnTo>
                  <a:lnTo>
                    <a:pt x="610" y="44"/>
                  </a:lnTo>
                  <a:lnTo>
                    <a:pt x="606" y="44"/>
                  </a:lnTo>
                  <a:lnTo>
                    <a:pt x="604" y="48"/>
                  </a:lnTo>
                  <a:lnTo>
                    <a:pt x="600" y="48"/>
                  </a:lnTo>
                  <a:lnTo>
                    <a:pt x="596" y="48"/>
                  </a:lnTo>
                  <a:lnTo>
                    <a:pt x="592" y="48"/>
                  </a:lnTo>
                  <a:lnTo>
                    <a:pt x="588" y="48"/>
                  </a:lnTo>
                  <a:lnTo>
                    <a:pt x="584" y="52"/>
                  </a:lnTo>
                  <a:lnTo>
                    <a:pt x="580" y="52"/>
                  </a:lnTo>
                  <a:lnTo>
                    <a:pt x="576" y="52"/>
                  </a:lnTo>
                  <a:lnTo>
                    <a:pt x="574" y="52"/>
                  </a:lnTo>
                  <a:lnTo>
                    <a:pt x="570" y="52"/>
                  </a:lnTo>
                  <a:lnTo>
                    <a:pt x="566" y="52"/>
                  </a:lnTo>
                  <a:lnTo>
                    <a:pt x="566" y="56"/>
                  </a:lnTo>
                  <a:lnTo>
                    <a:pt x="562" y="56"/>
                  </a:lnTo>
                  <a:lnTo>
                    <a:pt x="566" y="60"/>
                  </a:lnTo>
                  <a:lnTo>
                    <a:pt x="570" y="60"/>
                  </a:lnTo>
                  <a:lnTo>
                    <a:pt x="574" y="60"/>
                  </a:lnTo>
                  <a:lnTo>
                    <a:pt x="574" y="56"/>
                  </a:lnTo>
                  <a:lnTo>
                    <a:pt x="580" y="56"/>
                  </a:lnTo>
                  <a:lnTo>
                    <a:pt x="584" y="56"/>
                  </a:lnTo>
                  <a:lnTo>
                    <a:pt x="588" y="52"/>
                  </a:lnTo>
                  <a:lnTo>
                    <a:pt x="592" y="52"/>
                  </a:lnTo>
                  <a:lnTo>
                    <a:pt x="596" y="52"/>
                  </a:lnTo>
                  <a:lnTo>
                    <a:pt x="600" y="52"/>
                  </a:lnTo>
                  <a:lnTo>
                    <a:pt x="604" y="52"/>
                  </a:lnTo>
                  <a:lnTo>
                    <a:pt x="610" y="52"/>
                  </a:lnTo>
                  <a:lnTo>
                    <a:pt x="614" y="52"/>
                  </a:lnTo>
                  <a:lnTo>
                    <a:pt x="622" y="48"/>
                  </a:lnTo>
                  <a:lnTo>
                    <a:pt x="626" y="48"/>
                  </a:lnTo>
                  <a:lnTo>
                    <a:pt x="630" y="48"/>
                  </a:lnTo>
                  <a:lnTo>
                    <a:pt x="636" y="48"/>
                  </a:lnTo>
                  <a:lnTo>
                    <a:pt x="640" y="48"/>
                  </a:lnTo>
                  <a:lnTo>
                    <a:pt x="644" y="48"/>
                  </a:lnTo>
                  <a:lnTo>
                    <a:pt x="648" y="48"/>
                  </a:lnTo>
                  <a:lnTo>
                    <a:pt x="652" y="48"/>
                  </a:lnTo>
                  <a:lnTo>
                    <a:pt x="656" y="48"/>
                  </a:lnTo>
                  <a:lnTo>
                    <a:pt x="660" y="48"/>
                  </a:lnTo>
                  <a:lnTo>
                    <a:pt x="662" y="48"/>
                  </a:lnTo>
                  <a:lnTo>
                    <a:pt x="670" y="48"/>
                  </a:lnTo>
                  <a:lnTo>
                    <a:pt x="674" y="48"/>
                  </a:lnTo>
                  <a:lnTo>
                    <a:pt x="674" y="56"/>
                  </a:lnTo>
                  <a:lnTo>
                    <a:pt x="670" y="56"/>
                  </a:lnTo>
                  <a:lnTo>
                    <a:pt x="666" y="60"/>
                  </a:lnTo>
                  <a:lnTo>
                    <a:pt x="662" y="60"/>
                  </a:lnTo>
                  <a:lnTo>
                    <a:pt x="660" y="60"/>
                  </a:lnTo>
                  <a:lnTo>
                    <a:pt x="656" y="60"/>
                  </a:lnTo>
                  <a:lnTo>
                    <a:pt x="656" y="64"/>
                  </a:lnTo>
                  <a:lnTo>
                    <a:pt x="652" y="64"/>
                  </a:lnTo>
                  <a:lnTo>
                    <a:pt x="648" y="64"/>
                  </a:lnTo>
                  <a:lnTo>
                    <a:pt x="644" y="64"/>
                  </a:lnTo>
                  <a:lnTo>
                    <a:pt x="640" y="64"/>
                  </a:lnTo>
                  <a:lnTo>
                    <a:pt x="644" y="68"/>
                  </a:lnTo>
                  <a:lnTo>
                    <a:pt x="648" y="68"/>
                  </a:lnTo>
                  <a:lnTo>
                    <a:pt x="644" y="68"/>
                  </a:lnTo>
                  <a:lnTo>
                    <a:pt x="640" y="68"/>
                  </a:lnTo>
                  <a:lnTo>
                    <a:pt x="644" y="68"/>
                  </a:lnTo>
                  <a:lnTo>
                    <a:pt x="648" y="68"/>
                  </a:lnTo>
                  <a:lnTo>
                    <a:pt x="652" y="68"/>
                  </a:lnTo>
                  <a:lnTo>
                    <a:pt x="656" y="68"/>
                  </a:lnTo>
                  <a:lnTo>
                    <a:pt x="656" y="64"/>
                  </a:lnTo>
                  <a:lnTo>
                    <a:pt x="660" y="64"/>
                  </a:lnTo>
                  <a:lnTo>
                    <a:pt x="662" y="64"/>
                  </a:lnTo>
                  <a:lnTo>
                    <a:pt x="670" y="60"/>
                  </a:lnTo>
                  <a:lnTo>
                    <a:pt x="674" y="60"/>
                  </a:lnTo>
                  <a:lnTo>
                    <a:pt x="678" y="60"/>
                  </a:lnTo>
                  <a:lnTo>
                    <a:pt x="682" y="60"/>
                  </a:lnTo>
                  <a:lnTo>
                    <a:pt x="686" y="56"/>
                  </a:lnTo>
                  <a:lnTo>
                    <a:pt x="688" y="60"/>
                  </a:lnTo>
                  <a:lnTo>
                    <a:pt x="688" y="56"/>
                  </a:lnTo>
                  <a:lnTo>
                    <a:pt x="692" y="56"/>
                  </a:lnTo>
                  <a:lnTo>
                    <a:pt x="688" y="56"/>
                  </a:lnTo>
                  <a:lnTo>
                    <a:pt x="688" y="52"/>
                  </a:lnTo>
                  <a:lnTo>
                    <a:pt x="692" y="48"/>
                  </a:lnTo>
                  <a:lnTo>
                    <a:pt x="696" y="48"/>
                  </a:lnTo>
                  <a:lnTo>
                    <a:pt x="700" y="48"/>
                  </a:lnTo>
                  <a:lnTo>
                    <a:pt x="704" y="48"/>
                  </a:lnTo>
                  <a:lnTo>
                    <a:pt x="708" y="48"/>
                  </a:lnTo>
                  <a:lnTo>
                    <a:pt x="712" y="48"/>
                  </a:lnTo>
                  <a:lnTo>
                    <a:pt x="716" y="48"/>
                  </a:lnTo>
                  <a:lnTo>
                    <a:pt x="718" y="48"/>
                  </a:lnTo>
                  <a:lnTo>
                    <a:pt x="718" y="52"/>
                  </a:lnTo>
                  <a:lnTo>
                    <a:pt x="722" y="56"/>
                  </a:lnTo>
                  <a:lnTo>
                    <a:pt x="718" y="64"/>
                  </a:lnTo>
                  <a:lnTo>
                    <a:pt x="716" y="68"/>
                  </a:lnTo>
                  <a:lnTo>
                    <a:pt x="716" y="72"/>
                  </a:lnTo>
                  <a:lnTo>
                    <a:pt x="712" y="72"/>
                  </a:lnTo>
                  <a:lnTo>
                    <a:pt x="708" y="72"/>
                  </a:lnTo>
                  <a:lnTo>
                    <a:pt x="712" y="72"/>
                  </a:lnTo>
                  <a:lnTo>
                    <a:pt x="708" y="74"/>
                  </a:lnTo>
                  <a:lnTo>
                    <a:pt x="704" y="74"/>
                  </a:lnTo>
                  <a:lnTo>
                    <a:pt x="700" y="78"/>
                  </a:lnTo>
                  <a:lnTo>
                    <a:pt x="696" y="78"/>
                  </a:lnTo>
                  <a:lnTo>
                    <a:pt x="692" y="82"/>
                  </a:lnTo>
                  <a:lnTo>
                    <a:pt x="696" y="82"/>
                  </a:lnTo>
                  <a:lnTo>
                    <a:pt x="696" y="86"/>
                  </a:lnTo>
                  <a:lnTo>
                    <a:pt x="692" y="86"/>
                  </a:lnTo>
                  <a:lnTo>
                    <a:pt x="688" y="86"/>
                  </a:lnTo>
                  <a:lnTo>
                    <a:pt x="686" y="90"/>
                  </a:lnTo>
                  <a:lnTo>
                    <a:pt x="688" y="90"/>
                  </a:lnTo>
                  <a:lnTo>
                    <a:pt x="692" y="90"/>
                  </a:lnTo>
                  <a:lnTo>
                    <a:pt x="688" y="90"/>
                  </a:lnTo>
                  <a:lnTo>
                    <a:pt x="686" y="94"/>
                  </a:lnTo>
                  <a:lnTo>
                    <a:pt x="688" y="94"/>
                  </a:lnTo>
                  <a:lnTo>
                    <a:pt x="688" y="90"/>
                  </a:lnTo>
                  <a:lnTo>
                    <a:pt x="692" y="90"/>
                  </a:lnTo>
                  <a:lnTo>
                    <a:pt x="696" y="90"/>
                  </a:lnTo>
                  <a:lnTo>
                    <a:pt x="696" y="86"/>
                  </a:lnTo>
                  <a:lnTo>
                    <a:pt x="700" y="86"/>
                  </a:lnTo>
                  <a:lnTo>
                    <a:pt x="700" y="82"/>
                  </a:lnTo>
                  <a:lnTo>
                    <a:pt x="704" y="82"/>
                  </a:lnTo>
                  <a:lnTo>
                    <a:pt x="708" y="82"/>
                  </a:lnTo>
                  <a:lnTo>
                    <a:pt x="712" y="78"/>
                  </a:lnTo>
                  <a:lnTo>
                    <a:pt x="716" y="74"/>
                  </a:lnTo>
                  <a:lnTo>
                    <a:pt x="718" y="74"/>
                  </a:lnTo>
                  <a:lnTo>
                    <a:pt x="718" y="72"/>
                  </a:lnTo>
                  <a:lnTo>
                    <a:pt x="722" y="72"/>
                  </a:lnTo>
                  <a:lnTo>
                    <a:pt x="726" y="72"/>
                  </a:lnTo>
                  <a:lnTo>
                    <a:pt x="730" y="68"/>
                  </a:lnTo>
                  <a:lnTo>
                    <a:pt x="734" y="64"/>
                  </a:lnTo>
                  <a:lnTo>
                    <a:pt x="738" y="64"/>
                  </a:lnTo>
                  <a:lnTo>
                    <a:pt x="742" y="60"/>
                  </a:lnTo>
                  <a:lnTo>
                    <a:pt x="744" y="60"/>
                  </a:lnTo>
                  <a:lnTo>
                    <a:pt x="748" y="60"/>
                  </a:lnTo>
                  <a:lnTo>
                    <a:pt x="744" y="60"/>
                  </a:lnTo>
                  <a:lnTo>
                    <a:pt x="744" y="64"/>
                  </a:lnTo>
                  <a:lnTo>
                    <a:pt x="744" y="68"/>
                  </a:lnTo>
                  <a:lnTo>
                    <a:pt x="748" y="68"/>
                  </a:lnTo>
                  <a:lnTo>
                    <a:pt x="748" y="64"/>
                  </a:lnTo>
                  <a:lnTo>
                    <a:pt x="756" y="64"/>
                  </a:lnTo>
                  <a:lnTo>
                    <a:pt x="760" y="64"/>
                  </a:lnTo>
                  <a:lnTo>
                    <a:pt x="764" y="64"/>
                  </a:lnTo>
                  <a:lnTo>
                    <a:pt x="768" y="64"/>
                  </a:lnTo>
                  <a:lnTo>
                    <a:pt x="770" y="64"/>
                  </a:lnTo>
                  <a:lnTo>
                    <a:pt x="770" y="68"/>
                  </a:lnTo>
                  <a:lnTo>
                    <a:pt x="774" y="68"/>
                  </a:lnTo>
                  <a:lnTo>
                    <a:pt x="778" y="64"/>
                  </a:lnTo>
                  <a:lnTo>
                    <a:pt x="782" y="64"/>
                  </a:lnTo>
                  <a:lnTo>
                    <a:pt x="782" y="60"/>
                  </a:lnTo>
                  <a:lnTo>
                    <a:pt x="778" y="60"/>
                  </a:lnTo>
                  <a:lnTo>
                    <a:pt x="778" y="56"/>
                  </a:lnTo>
                  <a:lnTo>
                    <a:pt x="782" y="56"/>
                  </a:lnTo>
                  <a:lnTo>
                    <a:pt x="782" y="60"/>
                  </a:lnTo>
                  <a:lnTo>
                    <a:pt x="786" y="60"/>
                  </a:lnTo>
                  <a:lnTo>
                    <a:pt x="786" y="56"/>
                  </a:lnTo>
                  <a:lnTo>
                    <a:pt x="782" y="56"/>
                  </a:lnTo>
                  <a:lnTo>
                    <a:pt x="782" y="52"/>
                  </a:lnTo>
                  <a:lnTo>
                    <a:pt x="786" y="52"/>
                  </a:lnTo>
                  <a:lnTo>
                    <a:pt x="786" y="56"/>
                  </a:lnTo>
                  <a:lnTo>
                    <a:pt x="786" y="52"/>
                  </a:lnTo>
                  <a:lnTo>
                    <a:pt x="788" y="52"/>
                  </a:lnTo>
                  <a:lnTo>
                    <a:pt x="792" y="52"/>
                  </a:lnTo>
                  <a:lnTo>
                    <a:pt x="796" y="52"/>
                  </a:lnTo>
                  <a:lnTo>
                    <a:pt x="800" y="52"/>
                  </a:lnTo>
                  <a:lnTo>
                    <a:pt x="804" y="52"/>
                  </a:lnTo>
                  <a:lnTo>
                    <a:pt x="808" y="52"/>
                  </a:lnTo>
                  <a:lnTo>
                    <a:pt x="812" y="52"/>
                  </a:lnTo>
                  <a:lnTo>
                    <a:pt x="816" y="52"/>
                  </a:lnTo>
                  <a:lnTo>
                    <a:pt x="818" y="52"/>
                  </a:lnTo>
                  <a:lnTo>
                    <a:pt x="822" y="52"/>
                  </a:lnTo>
                  <a:lnTo>
                    <a:pt x="826" y="52"/>
                  </a:lnTo>
                  <a:lnTo>
                    <a:pt x="830" y="52"/>
                  </a:lnTo>
                  <a:lnTo>
                    <a:pt x="834" y="52"/>
                  </a:lnTo>
                  <a:lnTo>
                    <a:pt x="834" y="56"/>
                  </a:lnTo>
                  <a:lnTo>
                    <a:pt x="838" y="56"/>
                  </a:lnTo>
                  <a:lnTo>
                    <a:pt x="842" y="56"/>
                  </a:lnTo>
                  <a:lnTo>
                    <a:pt x="844" y="56"/>
                  </a:lnTo>
                  <a:lnTo>
                    <a:pt x="848" y="56"/>
                  </a:lnTo>
                  <a:lnTo>
                    <a:pt x="852" y="56"/>
                  </a:lnTo>
                  <a:lnTo>
                    <a:pt x="852" y="60"/>
                  </a:lnTo>
                  <a:lnTo>
                    <a:pt x="856" y="60"/>
                  </a:lnTo>
                  <a:lnTo>
                    <a:pt x="860" y="60"/>
                  </a:lnTo>
                  <a:lnTo>
                    <a:pt x="856" y="64"/>
                  </a:lnTo>
                  <a:lnTo>
                    <a:pt x="852" y="64"/>
                  </a:lnTo>
                  <a:lnTo>
                    <a:pt x="852" y="68"/>
                  </a:lnTo>
                  <a:lnTo>
                    <a:pt x="848" y="68"/>
                  </a:lnTo>
                  <a:lnTo>
                    <a:pt x="844" y="68"/>
                  </a:lnTo>
                  <a:lnTo>
                    <a:pt x="844" y="72"/>
                  </a:lnTo>
                  <a:lnTo>
                    <a:pt x="842" y="72"/>
                  </a:lnTo>
                  <a:lnTo>
                    <a:pt x="838" y="72"/>
                  </a:lnTo>
                  <a:lnTo>
                    <a:pt x="834" y="74"/>
                  </a:lnTo>
                  <a:lnTo>
                    <a:pt x="830" y="74"/>
                  </a:lnTo>
                  <a:lnTo>
                    <a:pt x="826" y="74"/>
                  </a:lnTo>
                  <a:lnTo>
                    <a:pt x="822" y="74"/>
                  </a:lnTo>
                  <a:lnTo>
                    <a:pt x="818" y="74"/>
                  </a:lnTo>
                  <a:lnTo>
                    <a:pt x="818" y="78"/>
                  </a:lnTo>
                  <a:lnTo>
                    <a:pt x="822" y="78"/>
                  </a:lnTo>
                  <a:lnTo>
                    <a:pt x="822" y="82"/>
                  </a:lnTo>
                  <a:lnTo>
                    <a:pt x="818" y="82"/>
                  </a:lnTo>
                  <a:lnTo>
                    <a:pt x="816" y="82"/>
                  </a:lnTo>
                  <a:lnTo>
                    <a:pt x="812" y="82"/>
                  </a:lnTo>
                  <a:lnTo>
                    <a:pt x="808" y="86"/>
                  </a:lnTo>
                  <a:lnTo>
                    <a:pt x="804" y="86"/>
                  </a:lnTo>
                  <a:lnTo>
                    <a:pt x="800" y="86"/>
                  </a:lnTo>
                  <a:lnTo>
                    <a:pt x="796" y="86"/>
                  </a:lnTo>
                  <a:lnTo>
                    <a:pt x="792" y="86"/>
                  </a:lnTo>
                  <a:lnTo>
                    <a:pt x="788" y="86"/>
                  </a:lnTo>
                  <a:lnTo>
                    <a:pt x="786" y="86"/>
                  </a:lnTo>
                  <a:lnTo>
                    <a:pt x="782" y="86"/>
                  </a:lnTo>
                  <a:lnTo>
                    <a:pt x="778" y="86"/>
                  </a:lnTo>
                  <a:lnTo>
                    <a:pt x="774" y="86"/>
                  </a:lnTo>
                  <a:lnTo>
                    <a:pt x="774" y="90"/>
                  </a:lnTo>
                  <a:lnTo>
                    <a:pt x="770" y="90"/>
                  </a:lnTo>
                  <a:lnTo>
                    <a:pt x="768" y="90"/>
                  </a:lnTo>
                  <a:lnTo>
                    <a:pt x="764" y="90"/>
                  </a:lnTo>
                  <a:lnTo>
                    <a:pt x="760" y="90"/>
                  </a:lnTo>
                  <a:lnTo>
                    <a:pt x="756" y="90"/>
                  </a:lnTo>
                  <a:lnTo>
                    <a:pt x="752" y="90"/>
                  </a:lnTo>
                  <a:lnTo>
                    <a:pt x="748" y="90"/>
                  </a:lnTo>
                  <a:lnTo>
                    <a:pt x="744" y="90"/>
                  </a:lnTo>
                  <a:lnTo>
                    <a:pt x="742" y="90"/>
                  </a:lnTo>
                  <a:lnTo>
                    <a:pt x="738" y="94"/>
                  </a:lnTo>
                  <a:lnTo>
                    <a:pt x="734" y="94"/>
                  </a:lnTo>
                  <a:lnTo>
                    <a:pt x="734" y="90"/>
                  </a:lnTo>
                  <a:lnTo>
                    <a:pt x="730" y="90"/>
                  </a:lnTo>
                  <a:lnTo>
                    <a:pt x="730" y="94"/>
                  </a:lnTo>
                  <a:lnTo>
                    <a:pt x="734" y="94"/>
                  </a:lnTo>
                  <a:lnTo>
                    <a:pt x="738" y="94"/>
                  </a:lnTo>
                  <a:lnTo>
                    <a:pt x="742" y="94"/>
                  </a:lnTo>
                  <a:lnTo>
                    <a:pt x="744" y="94"/>
                  </a:lnTo>
                  <a:lnTo>
                    <a:pt x="744" y="90"/>
                  </a:lnTo>
                  <a:lnTo>
                    <a:pt x="748" y="90"/>
                  </a:lnTo>
                  <a:lnTo>
                    <a:pt x="752" y="90"/>
                  </a:lnTo>
                  <a:lnTo>
                    <a:pt x="756" y="90"/>
                  </a:lnTo>
                  <a:lnTo>
                    <a:pt x="760" y="90"/>
                  </a:lnTo>
                  <a:lnTo>
                    <a:pt x="764" y="90"/>
                  </a:lnTo>
                  <a:lnTo>
                    <a:pt x="768" y="94"/>
                  </a:lnTo>
                  <a:lnTo>
                    <a:pt x="770" y="94"/>
                  </a:lnTo>
                  <a:lnTo>
                    <a:pt x="774" y="94"/>
                  </a:lnTo>
                  <a:lnTo>
                    <a:pt x="778" y="94"/>
                  </a:lnTo>
                  <a:lnTo>
                    <a:pt x="782" y="90"/>
                  </a:lnTo>
                  <a:lnTo>
                    <a:pt x="786" y="90"/>
                  </a:lnTo>
                  <a:lnTo>
                    <a:pt x="788" y="90"/>
                  </a:lnTo>
                  <a:lnTo>
                    <a:pt x="788" y="94"/>
                  </a:lnTo>
                  <a:lnTo>
                    <a:pt x="792" y="94"/>
                  </a:lnTo>
                  <a:lnTo>
                    <a:pt x="796" y="94"/>
                  </a:lnTo>
                  <a:lnTo>
                    <a:pt x="800" y="94"/>
                  </a:lnTo>
                  <a:lnTo>
                    <a:pt x="804" y="94"/>
                  </a:lnTo>
                  <a:lnTo>
                    <a:pt x="800" y="94"/>
                  </a:lnTo>
                  <a:lnTo>
                    <a:pt x="800" y="98"/>
                  </a:lnTo>
                  <a:lnTo>
                    <a:pt x="796" y="98"/>
                  </a:lnTo>
                  <a:lnTo>
                    <a:pt x="792" y="98"/>
                  </a:lnTo>
                  <a:lnTo>
                    <a:pt x="796" y="98"/>
                  </a:lnTo>
                  <a:lnTo>
                    <a:pt x="792" y="100"/>
                  </a:lnTo>
                  <a:lnTo>
                    <a:pt x="788" y="100"/>
                  </a:lnTo>
                  <a:lnTo>
                    <a:pt x="786" y="100"/>
                  </a:lnTo>
                  <a:lnTo>
                    <a:pt x="782" y="100"/>
                  </a:lnTo>
                  <a:lnTo>
                    <a:pt x="778" y="100"/>
                  </a:lnTo>
                  <a:lnTo>
                    <a:pt x="774" y="100"/>
                  </a:lnTo>
                  <a:lnTo>
                    <a:pt x="770" y="100"/>
                  </a:lnTo>
                  <a:lnTo>
                    <a:pt x="768" y="100"/>
                  </a:lnTo>
                  <a:lnTo>
                    <a:pt x="764" y="100"/>
                  </a:lnTo>
                  <a:lnTo>
                    <a:pt x="760" y="100"/>
                  </a:lnTo>
                  <a:lnTo>
                    <a:pt x="756" y="100"/>
                  </a:lnTo>
                  <a:lnTo>
                    <a:pt x="752" y="100"/>
                  </a:lnTo>
                  <a:lnTo>
                    <a:pt x="748" y="100"/>
                  </a:lnTo>
                  <a:lnTo>
                    <a:pt x="748" y="104"/>
                  </a:lnTo>
                  <a:lnTo>
                    <a:pt x="744" y="104"/>
                  </a:lnTo>
                  <a:lnTo>
                    <a:pt x="742" y="104"/>
                  </a:lnTo>
                  <a:lnTo>
                    <a:pt x="744" y="104"/>
                  </a:lnTo>
                  <a:lnTo>
                    <a:pt x="742" y="108"/>
                  </a:lnTo>
                  <a:lnTo>
                    <a:pt x="738" y="112"/>
                  </a:lnTo>
                  <a:lnTo>
                    <a:pt x="742" y="112"/>
                  </a:lnTo>
                  <a:lnTo>
                    <a:pt x="744" y="112"/>
                  </a:lnTo>
                  <a:lnTo>
                    <a:pt x="744" y="116"/>
                  </a:lnTo>
                  <a:lnTo>
                    <a:pt x="748" y="116"/>
                  </a:lnTo>
                  <a:lnTo>
                    <a:pt x="748" y="112"/>
                  </a:lnTo>
                  <a:lnTo>
                    <a:pt x="752" y="112"/>
                  </a:lnTo>
                  <a:lnTo>
                    <a:pt x="748" y="112"/>
                  </a:lnTo>
                  <a:lnTo>
                    <a:pt x="744" y="112"/>
                  </a:lnTo>
                  <a:lnTo>
                    <a:pt x="748" y="108"/>
                  </a:lnTo>
                  <a:lnTo>
                    <a:pt x="752" y="108"/>
                  </a:lnTo>
                  <a:lnTo>
                    <a:pt x="756" y="108"/>
                  </a:lnTo>
                  <a:lnTo>
                    <a:pt x="756" y="104"/>
                  </a:lnTo>
                  <a:lnTo>
                    <a:pt x="760" y="104"/>
                  </a:lnTo>
                  <a:lnTo>
                    <a:pt x="764" y="104"/>
                  </a:lnTo>
                  <a:lnTo>
                    <a:pt x="768" y="104"/>
                  </a:lnTo>
                  <a:lnTo>
                    <a:pt x="770" y="104"/>
                  </a:lnTo>
                  <a:lnTo>
                    <a:pt x="774" y="104"/>
                  </a:lnTo>
                  <a:lnTo>
                    <a:pt x="778" y="104"/>
                  </a:lnTo>
                  <a:lnTo>
                    <a:pt x="782" y="104"/>
                  </a:lnTo>
                  <a:lnTo>
                    <a:pt x="786" y="104"/>
                  </a:lnTo>
                  <a:lnTo>
                    <a:pt x="786" y="108"/>
                  </a:lnTo>
                  <a:lnTo>
                    <a:pt x="782" y="108"/>
                  </a:lnTo>
                  <a:lnTo>
                    <a:pt x="778" y="112"/>
                  </a:lnTo>
                  <a:lnTo>
                    <a:pt x="778" y="116"/>
                  </a:lnTo>
                  <a:lnTo>
                    <a:pt x="774" y="116"/>
                  </a:lnTo>
                  <a:lnTo>
                    <a:pt x="770" y="116"/>
                  </a:lnTo>
                  <a:lnTo>
                    <a:pt x="768" y="116"/>
                  </a:lnTo>
                  <a:lnTo>
                    <a:pt x="764" y="116"/>
                  </a:lnTo>
                  <a:lnTo>
                    <a:pt x="760" y="116"/>
                  </a:lnTo>
                  <a:lnTo>
                    <a:pt x="756" y="116"/>
                  </a:lnTo>
                  <a:lnTo>
                    <a:pt x="756" y="120"/>
                  </a:lnTo>
                  <a:lnTo>
                    <a:pt x="752" y="120"/>
                  </a:lnTo>
                  <a:lnTo>
                    <a:pt x="756" y="120"/>
                  </a:lnTo>
                  <a:lnTo>
                    <a:pt x="756" y="124"/>
                  </a:lnTo>
                  <a:lnTo>
                    <a:pt x="752" y="124"/>
                  </a:lnTo>
                  <a:lnTo>
                    <a:pt x="752" y="128"/>
                  </a:lnTo>
                  <a:lnTo>
                    <a:pt x="752" y="130"/>
                  </a:lnTo>
                  <a:lnTo>
                    <a:pt x="752" y="134"/>
                  </a:lnTo>
                  <a:lnTo>
                    <a:pt x="752" y="130"/>
                  </a:lnTo>
                  <a:lnTo>
                    <a:pt x="756" y="128"/>
                  </a:lnTo>
                  <a:lnTo>
                    <a:pt x="760" y="128"/>
                  </a:lnTo>
                  <a:lnTo>
                    <a:pt x="764" y="128"/>
                  </a:lnTo>
                  <a:lnTo>
                    <a:pt x="764" y="130"/>
                  </a:lnTo>
                  <a:lnTo>
                    <a:pt x="760" y="130"/>
                  </a:lnTo>
                  <a:lnTo>
                    <a:pt x="764" y="130"/>
                  </a:lnTo>
                  <a:lnTo>
                    <a:pt x="760" y="130"/>
                  </a:lnTo>
                  <a:lnTo>
                    <a:pt x="756" y="130"/>
                  </a:lnTo>
                  <a:lnTo>
                    <a:pt x="756" y="134"/>
                  </a:lnTo>
                  <a:lnTo>
                    <a:pt x="752" y="134"/>
                  </a:lnTo>
                  <a:lnTo>
                    <a:pt x="748" y="134"/>
                  </a:lnTo>
                  <a:lnTo>
                    <a:pt x="748" y="138"/>
                  </a:lnTo>
                  <a:lnTo>
                    <a:pt x="748" y="142"/>
                  </a:lnTo>
                  <a:lnTo>
                    <a:pt x="744" y="142"/>
                  </a:lnTo>
                  <a:lnTo>
                    <a:pt x="742" y="142"/>
                  </a:lnTo>
                  <a:lnTo>
                    <a:pt x="738" y="142"/>
                  </a:lnTo>
                  <a:lnTo>
                    <a:pt x="734" y="142"/>
                  </a:lnTo>
                  <a:lnTo>
                    <a:pt x="734" y="146"/>
                  </a:lnTo>
                  <a:lnTo>
                    <a:pt x="738" y="146"/>
                  </a:lnTo>
                  <a:lnTo>
                    <a:pt x="734" y="146"/>
                  </a:lnTo>
                  <a:lnTo>
                    <a:pt x="730" y="146"/>
                  </a:lnTo>
                  <a:lnTo>
                    <a:pt x="730" y="150"/>
                  </a:lnTo>
                  <a:lnTo>
                    <a:pt x="734" y="150"/>
                  </a:lnTo>
                  <a:lnTo>
                    <a:pt x="734" y="146"/>
                  </a:lnTo>
                  <a:lnTo>
                    <a:pt x="738" y="146"/>
                  </a:lnTo>
                  <a:lnTo>
                    <a:pt x="738" y="150"/>
                  </a:lnTo>
                  <a:lnTo>
                    <a:pt x="734" y="150"/>
                  </a:lnTo>
                  <a:lnTo>
                    <a:pt x="734" y="154"/>
                  </a:lnTo>
                  <a:lnTo>
                    <a:pt x="730" y="158"/>
                  </a:lnTo>
                  <a:lnTo>
                    <a:pt x="730" y="160"/>
                  </a:lnTo>
                  <a:lnTo>
                    <a:pt x="726" y="160"/>
                  </a:lnTo>
                  <a:lnTo>
                    <a:pt x="722" y="160"/>
                  </a:lnTo>
                  <a:lnTo>
                    <a:pt x="726" y="164"/>
                  </a:lnTo>
                  <a:lnTo>
                    <a:pt x="730" y="164"/>
                  </a:lnTo>
                  <a:lnTo>
                    <a:pt x="726" y="164"/>
                  </a:lnTo>
                  <a:lnTo>
                    <a:pt x="722" y="168"/>
                  </a:lnTo>
                  <a:lnTo>
                    <a:pt x="726" y="168"/>
                  </a:lnTo>
                  <a:lnTo>
                    <a:pt x="722" y="172"/>
                  </a:lnTo>
                  <a:lnTo>
                    <a:pt x="718" y="174"/>
                  </a:lnTo>
                  <a:lnTo>
                    <a:pt x="722" y="174"/>
                  </a:lnTo>
                  <a:lnTo>
                    <a:pt x="726" y="174"/>
                  </a:lnTo>
                  <a:lnTo>
                    <a:pt x="730" y="174"/>
                  </a:lnTo>
                  <a:lnTo>
                    <a:pt x="726" y="174"/>
                  </a:lnTo>
                  <a:lnTo>
                    <a:pt x="726" y="178"/>
                  </a:lnTo>
                  <a:lnTo>
                    <a:pt x="730" y="174"/>
                  </a:lnTo>
                  <a:lnTo>
                    <a:pt x="730" y="172"/>
                  </a:lnTo>
                  <a:lnTo>
                    <a:pt x="734" y="168"/>
                  </a:lnTo>
                  <a:lnTo>
                    <a:pt x="738" y="164"/>
                  </a:lnTo>
                  <a:lnTo>
                    <a:pt x="742" y="168"/>
                  </a:lnTo>
                  <a:lnTo>
                    <a:pt x="744" y="168"/>
                  </a:lnTo>
                  <a:lnTo>
                    <a:pt x="748" y="172"/>
                  </a:lnTo>
                  <a:lnTo>
                    <a:pt x="752" y="172"/>
                  </a:lnTo>
                  <a:lnTo>
                    <a:pt x="756" y="172"/>
                  </a:lnTo>
                  <a:lnTo>
                    <a:pt x="760" y="172"/>
                  </a:lnTo>
                  <a:lnTo>
                    <a:pt x="764" y="174"/>
                  </a:lnTo>
                  <a:lnTo>
                    <a:pt x="760" y="174"/>
                  </a:lnTo>
                  <a:lnTo>
                    <a:pt x="760" y="178"/>
                  </a:lnTo>
                  <a:lnTo>
                    <a:pt x="756" y="174"/>
                  </a:lnTo>
                  <a:lnTo>
                    <a:pt x="748" y="174"/>
                  </a:lnTo>
                  <a:lnTo>
                    <a:pt x="748" y="172"/>
                  </a:lnTo>
                  <a:lnTo>
                    <a:pt x="744" y="172"/>
                  </a:lnTo>
                  <a:lnTo>
                    <a:pt x="744" y="174"/>
                  </a:lnTo>
                  <a:lnTo>
                    <a:pt x="742" y="174"/>
                  </a:lnTo>
                  <a:lnTo>
                    <a:pt x="738" y="174"/>
                  </a:lnTo>
                  <a:lnTo>
                    <a:pt x="742" y="174"/>
                  </a:lnTo>
                  <a:lnTo>
                    <a:pt x="744" y="174"/>
                  </a:lnTo>
                  <a:lnTo>
                    <a:pt x="744" y="178"/>
                  </a:lnTo>
                  <a:lnTo>
                    <a:pt x="742" y="178"/>
                  </a:lnTo>
                  <a:lnTo>
                    <a:pt x="744" y="178"/>
                  </a:lnTo>
                  <a:lnTo>
                    <a:pt x="742" y="178"/>
                  </a:lnTo>
                  <a:lnTo>
                    <a:pt x="738" y="178"/>
                  </a:lnTo>
                  <a:lnTo>
                    <a:pt x="734" y="178"/>
                  </a:lnTo>
                  <a:lnTo>
                    <a:pt x="738" y="178"/>
                  </a:lnTo>
                  <a:lnTo>
                    <a:pt x="742" y="178"/>
                  </a:lnTo>
                  <a:lnTo>
                    <a:pt x="744" y="178"/>
                  </a:lnTo>
                  <a:lnTo>
                    <a:pt x="748" y="182"/>
                  </a:lnTo>
                  <a:lnTo>
                    <a:pt x="744" y="182"/>
                  </a:lnTo>
                  <a:lnTo>
                    <a:pt x="742" y="182"/>
                  </a:lnTo>
                  <a:lnTo>
                    <a:pt x="738" y="182"/>
                  </a:lnTo>
                  <a:lnTo>
                    <a:pt x="742" y="182"/>
                  </a:lnTo>
                  <a:lnTo>
                    <a:pt x="744" y="182"/>
                  </a:lnTo>
                  <a:lnTo>
                    <a:pt x="748" y="182"/>
                  </a:lnTo>
                  <a:lnTo>
                    <a:pt x="752" y="182"/>
                  </a:lnTo>
                  <a:lnTo>
                    <a:pt x="756" y="182"/>
                  </a:lnTo>
                  <a:lnTo>
                    <a:pt x="756" y="186"/>
                  </a:lnTo>
                  <a:lnTo>
                    <a:pt x="760" y="186"/>
                  </a:lnTo>
                  <a:lnTo>
                    <a:pt x="764" y="186"/>
                  </a:lnTo>
                  <a:lnTo>
                    <a:pt x="764" y="182"/>
                  </a:lnTo>
                  <a:lnTo>
                    <a:pt x="768" y="182"/>
                  </a:lnTo>
                  <a:lnTo>
                    <a:pt x="770" y="182"/>
                  </a:lnTo>
                  <a:lnTo>
                    <a:pt x="774" y="186"/>
                  </a:lnTo>
                  <a:lnTo>
                    <a:pt x="774" y="190"/>
                  </a:lnTo>
                  <a:lnTo>
                    <a:pt x="774" y="194"/>
                  </a:lnTo>
                  <a:lnTo>
                    <a:pt x="774" y="198"/>
                  </a:lnTo>
                  <a:lnTo>
                    <a:pt x="770" y="198"/>
                  </a:lnTo>
                  <a:lnTo>
                    <a:pt x="770" y="200"/>
                  </a:lnTo>
                  <a:lnTo>
                    <a:pt x="768" y="198"/>
                  </a:lnTo>
                  <a:lnTo>
                    <a:pt x="764" y="198"/>
                  </a:lnTo>
                  <a:lnTo>
                    <a:pt x="760" y="198"/>
                  </a:lnTo>
                  <a:lnTo>
                    <a:pt x="756" y="198"/>
                  </a:lnTo>
                  <a:lnTo>
                    <a:pt x="752" y="194"/>
                  </a:lnTo>
                  <a:lnTo>
                    <a:pt x="748" y="194"/>
                  </a:lnTo>
                  <a:lnTo>
                    <a:pt x="744" y="194"/>
                  </a:lnTo>
                  <a:lnTo>
                    <a:pt x="738" y="194"/>
                  </a:lnTo>
                  <a:lnTo>
                    <a:pt x="734" y="194"/>
                  </a:lnTo>
                  <a:lnTo>
                    <a:pt x="738" y="194"/>
                  </a:lnTo>
                  <a:lnTo>
                    <a:pt x="742" y="194"/>
                  </a:lnTo>
                  <a:lnTo>
                    <a:pt x="742" y="198"/>
                  </a:lnTo>
                  <a:lnTo>
                    <a:pt x="738" y="198"/>
                  </a:lnTo>
                  <a:lnTo>
                    <a:pt x="734" y="198"/>
                  </a:lnTo>
                  <a:lnTo>
                    <a:pt x="730" y="198"/>
                  </a:lnTo>
                  <a:lnTo>
                    <a:pt x="726" y="198"/>
                  </a:lnTo>
                  <a:lnTo>
                    <a:pt x="730" y="198"/>
                  </a:lnTo>
                  <a:lnTo>
                    <a:pt x="734" y="198"/>
                  </a:lnTo>
                  <a:lnTo>
                    <a:pt x="738" y="198"/>
                  </a:lnTo>
                  <a:lnTo>
                    <a:pt x="734" y="198"/>
                  </a:lnTo>
                  <a:lnTo>
                    <a:pt x="734" y="200"/>
                  </a:lnTo>
                  <a:lnTo>
                    <a:pt x="734" y="198"/>
                  </a:lnTo>
                  <a:lnTo>
                    <a:pt x="730" y="198"/>
                  </a:lnTo>
                  <a:lnTo>
                    <a:pt x="730" y="200"/>
                  </a:lnTo>
                  <a:lnTo>
                    <a:pt x="726" y="204"/>
                  </a:lnTo>
                  <a:lnTo>
                    <a:pt x="722" y="204"/>
                  </a:lnTo>
                  <a:lnTo>
                    <a:pt x="722" y="200"/>
                  </a:lnTo>
                  <a:lnTo>
                    <a:pt x="718" y="198"/>
                  </a:lnTo>
                  <a:lnTo>
                    <a:pt x="716" y="198"/>
                  </a:lnTo>
                  <a:lnTo>
                    <a:pt x="716" y="200"/>
                  </a:lnTo>
                  <a:lnTo>
                    <a:pt x="712" y="200"/>
                  </a:lnTo>
                  <a:lnTo>
                    <a:pt x="716" y="204"/>
                  </a:lnTo>
                  <a:lnTo>
                    <a:pt x="716" y="208"/>
                  </a:lnTo>
                  <a:lnTo>
                    <a:pt x="716" y="204"/>
                  </a:lnTo>
                  <a:lnTo>
                    <a:pt x="718" y="204"/>
                  </a:lnTo>
                  <a:lnTo>
                    <a:pt x="722" y="204"/>
                  </a:lnTo>
                  <a:lnTo>
                    <a:pt x="726" y="208"/>
                  </a:lnTo>
                  <a:lnTo>
                    <a:pt x="722" y="208"/>
                  </a:lnTo>
                  <a:lnTo>
                    <a:pt x="718" y="208"/>
                  </a:lnTo>
                  <a:lnTo>
                    <a:pt x="722" y="208"/>
                  </a:lnTo>
                  <a:lnTo>
                    <a:pt x="726" y="208"/>
                  </a:lnTo>
                  <a:lnTo>
                    <a:pt x="722" y="208"/>
                  </a:lnTo>
                  <a:lnTo>
                    <a:pt x="718" y="208"/>
                  </a:lnTo>
                  <a:lnTo>
                    <a:pt x="716" y="208"/>
                  </a:lnTo>
                  <a:lnTo>
                    <a:pt x="718" y="208"/>
                  </a:lnTo>
                  <a:lnTo>
                    <a:pt x="722" y="208"/>
                  </a:lnTo>
                  <a:lnTo>
                    <a:pt x="726" y="208"/>
                  </a:lnTo>
                  <a:lnTo>
                    <a:pt x="726" y="212"/>
                  </a:lnTo>
                  <a:lnTo>
                    <a:pt x="726" y="216"/>
                  </a:lnTo>
                  <a:lnTo>
                    <a:pt x="730" y="212"/>
                  </a:lnTo>
                  <a:lnTo>
                    <a:pt x="734" y="212"/>
                  </a:lnTo>
                  <a:lnTo>
                    <a:pt x="734" y="216"/>
                  </a:lnTo>
                  <a:lnTo>
                    <a:pt x="738" y="216"/>
                  </a:lnTo>
                  <a:lnTo>
                    <a:pt x="742" y="216"/>
                  </a:lnTo>
                  <a:lnTo>
                    <a:pt x="744" y="216"/>
                  </a:lnTo>
                  <a:lnTo>
                    <a:pt x="742" y="216"/>
                  </a:lnTo>
                  <a:lnTo>
                    <a:pt x="738" y="216"/>
                  </a:lnTo>
                  <a:lnTo>
                    <a:pt x="734" y="212"/>
                  </a:lnTo>
                  <a:lnTo>
                    <a:pt x="738" y="212"/>
                  </a:lnTo>
                  <a:lnTo>
                    <a:pt x="742" y="212"/>
                  </a:lnTo>
                  <a:lnTo>
                    <a:pt x="742" y="216"/>
                  </a:lnTo>
                  <a:lnTo>
                    <a:pt x="744" y="216"/>
                  </a:lnTo>
                  <a:lnTo>
                    <a:pt x="748" y="216"/>
                  </a:lnTo>
                  <a:lnTo>
                    <a:pt x="748" y="212"/>
                  </a:lnTo>
                  <a:lnTo>
                    <a:pt x="752" y="216"/>
                  </a:lnTo>
                  <a:lnTo>
                    <a:pt x="752" y="220"/>
                  </a:lnTo>
                  <a:lnTo>
                    <a:pt x="748" y="220"/>
                  </a:lnTo>
                  <a:lnTo>
                    <a:pt x="744" y="220"/>
                  </a:lnTo>
                  <a:lnTo>
                    <a:pt x="744" y="224"/>
                  </a:lnTo>
                  <a:lnTo>
                    <a:pt x="742" y="224"/>
                  </a:lnTo>
                  <a:lnTo>
                    <a:pt x="738" y="220"/>
                  </a:lnTo>
                  <a:lnTo>
                    <a:pt x="730" y="220"/>
                  </a:lnTo>
                  <a:lnTo>
                    <a:pt x="730" y="224"/>
                  </a:lnTo>
                  <a:lnTo>
                    <a:pt x="726" y="224"/>
                  </a:lnTo>
                  <a:lnTo>
                    <a:pt x="722" y="224"/>
                  </a:lnTo>
                  <a:lnTo>
                    <a:pt x="722" y="220"/>
                  </a:lnTo>
                  <a:lnTo>
                    <a:pt x="722" y="224"/>
                  </a:lnTo>
                  <a:lnTo>
                    <a:pt x="726" y="224"/>
                  </a:lnTo>
                  <a:lnTo>
                    <a:pt x="730" y="224"/>
                  </a:lnTo>
                  <a:lnTo>
                    <a:pt x="734" y="224"/>
                  </a:lnTo>
                  <a:lnTo>
                    <a:pt x="738" y="224"/>
                  </a:lnTo>
                  <a:lnTo>
                    <a:pt x="742" y="224"/>
                  </a:lnTo>
                  <a:lnTo>
                    <a:pt x="744" y="224"/>
                  </a:lnTo>
                  <a:lnTo>
                    <a:pt x="748" y="224"/>
                  </a:lnTo>
                  <a:lnTo>
                    <a:pt x="752" y="224"/>
                  </a:lnTo>
                  <a:lnTo>
                    <a:pt x="756" y="228"/>
                  </a:lnTo>
                  <a:lnTo>
                    <a:pt x="756" y="230"/>
                  </a:lnTo>
                  <a:lnTo>
                    <a:pt x="756" y="234"/>
                  </a:lnTo>
                  <a:lnTo>
                    <a:pt x="760" y="238"/>
                  </a:lnTo>
                  <a:lnTo>
                    <a:pt x="756" y="238"/>
                  </a:lnTo>
                  <a:lnTo>
                    <a:pt x="756" y="242"/>
                  </a:lnTo>
                  <a:lnTo>
                    <a:pt x="756" y="246"/>
                  </a:lnTo>
                  <a:lnTo>
                    <a:pt x="752" y="246"/>
                  </a:lnTo>
                  <a:lnTo>
                    <a:pt x="748" y="246"/>
                  </a:lnTo>
                  <a:lnTo>
                    <a:pt x="748" y="242"/>
                  </a:lnTo>
                  <a:lnTo>
                    <a:pt x="748" y="238"/>
                  </a:lnTo>
                  <a:lnTo>
                    <a:pt x="744" y="238"/>
                  </a:lnTo>
                  <a:lnTo>
                    <a:pt x="742" y="238"/>
                  </a:lnTo>
                  <a:lnTo>
                    <a:pt x="742" y="242"/>
                  </a:lnTo>
                  <a:lnTo>
                    <a:pt x="738" y="242"/>
                  </a:lnTo>
                  <a:lnTo>
                    <a:pt x="734" y="238"/>
                  </a:lnTo>
                  <a:lnTo>
                    <a:pt x="730" y="234"/>
                  </a:lnTo>
                  <a:lnTo>
                    <a:pt x="726" y="234"/>
                  </a:lnTo>
                  <a:lnTo>
                    <a:pt x="726" y="230"/>
                  </a:lnTo>
                  <a:lnTo>
                    <a:pt x="722" y="230"/>
                  </a:lnTo>
                  <a:lnTo>
                    <a:pt x="718" y="230"/>
                  </a:lnTo>
                  <a:lnTo>
                    <a:pt x="716" y="230"/>
                  </a:lnTo>
                  <a:lnTo>
                    <a:pt x="718" y="230"/>
                  </a:lnTo>
                  <a:lnTo>
                    <a:pt x="722" y="230"/>
                  </a:lnTo>
                  <a:lnTo>
                    <a:pt x="722" y="234"/>
                  </a:lnTo>
                  <a:lnTo>
                    <a:pt x="726" y="234"/>
                  </a:lnTo>
                  <a:lnTo>
                    <a:pt x="730" y="234"/>
                  </a:lnTo>
                  <a:lnTo>
                    <a:pt x="726" y="234"/>
                  </a:lnTo>
                  <a:lnTo>
                    <a:pt x="722" y="234"/>
                  </a:lnTo>
                  <a:lnTo>
                    <a:pt x="718" y="234"/>
                  </a:lnTo>
                  <a:lnTo>
                    <a:pt x="716" y="234"/>
                  </a:lnTo>
                  <a:lnTo>
                    <a:pt x="718" y="234"/>
                  </a:lnTo>
                  <a:lnTo>
                    <a:pt x="722" y="234"/>
                  </a:lnTo>
                  <a:lnTo>
                    <a:pt x="726" y="234"/>
                  </a:lnTo>
                  <a:lnTo>
                    <a:pt x="730" y="238"/>
                  </a:lnTo>
                  <a:lnTo>
                    <a:pt x="734" y="238"/>
                  </a:lnTo>
                  <a:lnTo>
                    <a:pt x="738" y="242"/>
                  </a:lnTo>
                  <a:lnTo>
                    <a:pt x="742" y="242"/>
                  </a:lnTo>
                  <a:lnTo>
                    <a:pt x="742" y="246"/>
                  </a:lnTo>
                  <a:lnTo>
                    <a:pt x="738" y="246"/>
                  </a:lnTo>
                  <a:lnTo>
                    <a:pt x="734" y="246"/>
                  </a:lnTo>
                  <a:lnTo>
                    <a:pt x="730" y="246"/>
                  </a:lnTo>
                  <a:lnTo>
                    <a:pt x="730" y="250"/>
                  </a:lnTo>
                  <a:lnTo>
                    <a:pt x="726" y="250"/>
                  </a:lnTo>
                  <a:lnTo>
                    <a:pt x="722" y="250"/>
                  </a:lnTo>
                  <a:lnTo>
                    <a:pt x="722" y="246"/>
                  </a:lnTo>
                  <a:lnTo>
                    <a:pt x="718" y="246"/>
                  </a:lnTo>
                  <a:lnTo>
                    <a:pt x="716" y="246"/>
                  </a:lnTo>
                  <a:lnTo>
                    <a:pt x="716" y="242"/>
                  </a:lnTo>
                  <a:lnTo>
                    <a:pt x="716" y="246"/>
                  </a:lnTo>
                  <a:lnTo>
                    <a:pt x="718" y="246"/>
                  </a:lnTo>
                  <a:lnTo>
                    <a:pt x="722" y="246"/>
                  </a:lnTo>
                  <a:lnTo>
                    <a:pt x="722" y="250"/>
                  </a:lnTo>
                  <a:lnTo>
                    <a:pt x="726" y="250"/>
                  </a:lnTo>
                  <a:lnTo>
                    <a:pt x="730" y="250"/>
                  </a:lnTo>
                  <a:lnTo>
                    <a:pt x="730" y="246"/>
                  </a:lnTo>
                  <a:lnTo>
                    <a:pt x="734" y="246"/>
                  </a:lnTo>
                  <a:lnTo>
                    <a:pt x="738" y="246"/>
                  </a:lnTo>
                  <a:lnTo>
                    <a:pt x="742" y="246"/>
                  </a:lnTo>
                  <a:lnTo>
                    <a:pt x="742" y="250"/>
                  </a:lnTo>
                  <a:lnTo>
                    <a:pt x="738" y="254"/>
                  </a:lnTo>
                  <a:lnTo>
                    <a:pt x="742" y="254"/>
                  </a:lnTo>
                  <a:lnTo>
                    <a:pt x="742" y="256"/>
                  </a:lnTo>
                  <a:lnTo>
                    <a:pt x="738" y="256"/>
                  </a:lnTo>
                  <a:lnTo>
                    <a:pt x="734" y="256"/>
                  </a:lnTo>
                  <a:lnTo>
                    <a:pt x="738" y="256"/>
                  </a:lnTo>
                  <a:lnTo>
                    <a:pt x="742" y="256"/>
                  </a:lnTo>
                  <a:lnTo>
                    <a:pt x="744" y="256"/>
                  </a:lnTo>
                  <a:lnTo>
                    <a:pt x="748" y="256"/>
                  </a:lnTo>
                  <a:lnTo>
                    <a:pt x="752" y="260"/>
                  </a:lnTo>
                  <a:lnTo>
                    <a:pt x="756" y="256"/>
                  </a:lnTo>
                  <a:lnTo>
                    <a:pt x="760" y="256"/>
                  </a:lnTo>
                  <a:lnTo>
                    <a:pt x="760" y="260"/>
                  </a:lnTo>
                  <a:lnTo>
                    <a:pt x="764" y="260"/>
                  </a:lnTo>
                  <a:lnTo>
                    <a:pt x="764" y="264"/>
                  </a:lnTo>
                  <a:lnTo>
                    <a:pt x="760" y="264"/>
                  </a:lnTo>
                  <a:lnTo>
                    <a:pt x="760" y="268"/>
                  </a:lnTo>
                  <a:lnTo>
                    <a:pt x="756" y="268"/>
                  </a:lnTo>
                  <a:lnTo>
                    <a:pt x="752" y="268"/>
                  </a:lnTo>
                  <a:lnTo>
                    <a:pt x="748" y="268"/>
                  </a:lnTo>
                  <a:lnTo>
                    <a:pt x="744" y="268"/>
                  </a:lnTo>
                  <a:lnTo>
                    <a:pt x="744" y="264"/>
                  </a:lnTo>
                  <a:lnTo>
                    <a:pt x="742" y="264"/>
                  </a:lnTo>
                  <a:lnTo>
                    <a:pt x="738" y="264"/>
                  </a:lnTo>
                  <a:lnTo>
                    <a:pt x="734" y="264"/>
                  </a:lnTo>
                  <a:lnTo>
                    <a:pt x="730" y="264"/>
                  </a:lnTo>
                  <a:lnTo>
                    <a:pt x="726" y="264"/>
                  </a:lnTo>
                  <a:lnTo>
                    <a:pt x="722" y="264"/>
                  </a:lnTo>
                  <a:lnTo>
                    <a:pt x="722" y="260"/>
                  </a:lnTo>
                  <a:lnTo>
                    <a:pt x="718" y="260"/>
                  </a:lnTo>
                  <a:lnTo>
                    <a:pt x="722" y="260"/>
                  </a:lnTo>
                  <a:lnTo>
                    <a:pt x="722" y="264"/>
                  </a:lnTo>
                  <a:lnTo>
                    <a:pt x="722" y="268"/>
                  </a:lnTo>
                  <a:lnTo>
                    <a:pt x="718" y="268"/>
                  </a:lnTo>
                  <a:lnTo>
                    <a:pt x="716" y="268"/>
                  </a:lnTo>
                  <a:lnTo>
                    <a:pt x="718" y="268"/>
                  </a:lnTo>
                  <a:lnTo>
                    <a:pt x="718" y="272"/>
                  </a:lnTo>
                  <a:lnTo>
                    <a:pt x="716" y="272"/>
                  </a:lnTo>
                  <a:lnTo>
                    <a:pt x="718" y="276"/>
                  </a:lnTo>
                  <a:lnTo>
                    <a:pt x="722" y="276"/>
                  </a:lnTo>
                  <a:lnTo>
                    <a:pt x="722" y="280"/>
                  </a:lnTo>
                  <a:lnTo>
                    <a:pt x="722" y="284"/>
                  </a:lnTo>
                  <a:lnTo>
                    <a:pt x="726" y="284"/>
                  </a:lnTo>
                  <a:lnTo>
                    <a:pt x="722" y="280"/>
                  </a:lnTo>
                  <a:lnTo>
                    <a:pt x="722" y="276"/>
                  </a:lnTo>
                  <a:lnTo>
                    <a:pt x="726" y="272"/>
                  </a:lnTo>
                  <a:lnTo>
                    <a:pt x="726" y="276"/>
                  </a:lnTo>
                  <a:lnTo>
                    <a:pt x="730" y="276"/>
                  </a:lnTo>
                  <a:lnTo>
                    <a:pt x="734" y="276"/>
                  </a:lnTo>
                  <a:lnTo>
                    <a:pt x="738" y="280"/>
                  </a:lnTo>
                  <a:lnTo>
                    <a:pt x="742" y="280"/>
                  </a:lnTo>
                  <a:lnTo>
                    <a:pt x="744" y="280"/>
                  </a:lnTo>
                  <a:lnTo>
                    <a:pt x="744" y="284"/>
                  </a:lnTo>
                  <a:lnTo>
                    <a:pt x="742" y="284"/>
                  </a:lnTo>
                  <a:lnTo>
                    <a:pt x="742" y="286"/>
                  </a:lnTo>
                  <a:lnTo>
                    <a:pt x="744" y="286"/>
                  </a:lnTo>
                  <a:lnTo>
                    <a:pt x="742" y="290"/>
                  </a:lnTo>
                  <a:lnTo>
                    <a:pt x="738" y="290"/>
                  </a:lnTo>
                  <a:lnTo>
                    <a:pt x="734" y="290"/>
                  </a:lnTo>
                  <a:lnTo>
                    <a:pt x="730" y="290"/>
                  </a:lnTo>
                  <a:lnTo>
                    <a:pt x="726" y="290"/>
                  </a:lnTo>
                  <a:lnTo>
                    <a:pt x="722" y="290"/>
                  </a:lnTo>
                  <a:lnTo>
                    <a:pt x="722" y="294"/>
                  </a:lnTo>
                  <a:lnTo>
                    <a:pt x="718" y="294"/>
                  </a:lnTo>
                  <a:lnTo>
                    <a:pt x="716" y="294"/>
                  </a:lnTo>
                  <a:lnTo>
                    <a:pt x="712" y="294"/>
                  </a:lnTo>
                  <a:lnTo>
                    <a:pt x="708" y="294"/>
                  </a:lnTo>
                  <a:lnTo>
                    <a:pt x="704" y="294"/>
                  </a:lnTo>
                  <a:lnTo>
                    <a:pt x="704" y="290"/>
                  </a:lnTo>
                  <a:lnTo>
                    <a:pt x="700" y="290"/>
                  </a:lnTo>
                  <a:lnTo>
                    <a:pt x="696" y="290"/>
                  </a:lnTo>
                  <a:lnTo>
                    <a:pt x="696" y="286"/>
                  </a:lnTo>
                  <a:lnTo>
                    <a:pt x="692" y="286"/>
                  </a:lnTo>
                  <a:lnTo>
                    <a:pt x="692" y="284"/>
                  </a:lnTo>
                  <a:lnTo>
                    <a:pt x="696" y="284"/>
                  </a:lnTo>
                  <a:lnTo>
                    <a:pt x="700" y="284"/>
                  </a:lnTo>
                  <a:lnTo>
                    <a:pt x="704" y="286"/>
                  </a:lnTo>
                  <a:lnTo>
                    <a:pt x="708" y="286"/>
                  </a:lnTo>
                  <a:lnTo>
                    <a:pt x="712" y="286"/>
                  </a:lnTo>
                  <a:lnTo>
                    <a:pt x="716" y="286"/>
                  </a:lnTo>
                  <a:lnTo>
                    <a:pt x="718" y="286"/>
                  </a:lnTo>
                  <a:lnTo>
                    <a:pt x="716" y="286"/>
                  </a:lnTo>
                  <a:lnTo>
                    <a:pt x="712" y="286"/>
                  </a:lnTo>
                  <a:lnTo>
                    <a:pt x="708" y="286"/>
                  </a:lnTo>
                  <a:lnTo>
                    <a:pt x="704" y="284"/>
                  </a:lnTo>
                  <a:lnTo>
                    <a:pt x="700" y="284"/>
                  </a:lnTo>
                  <a:lnTo>
                    <a:pt x="696" y="284"/>
                  </a:lnTo>
                  <a:lnTo>
                    <a:pt x="692" y="284"/>
                  </a:lnTo>
                  <a:lnTo>
                    <a:pt x="692" y="280"/>
                  </a:lnTo>
                  <a:lnTo>
                    <a:pt x="688" y="280"/>
                  </a:lnTo>
                  <a:lnTo>
                    <a:pt x="688" y="284"/>
                  </a:lnTo>
                  <a:lnTo>
                    <a:pt x="686" y="284"/>
                  </a:lnTo>
                  <a:lnTo>
                    <a:pt x="686" y="286"/>
                  </a:lnTo>
                  <a:lnTo>
                    <a:pt x="682" y="286"/>
                  </a:lnTo>
                  <a:lnTo>
                    <a:pt x="678" y="286"/>
                  </a:lnTo>
                  <a:lnTo>
                    <a:pt x="678" y="284"/>
                  </a:lnTo>
                  <a:lnTo>
                    <a:pt x="674" y="284"/>
                  </a:lnTo>
                  <a:lnTo>
                    <a:pt x="674" y="280"/>
                  </a:lnTo>
                  <a:lnTo>
                    <a:pt x="670" y="280"/>
                  </a:lnTo>
                  <a:lnTo>
                    <a:pt x="670" y="276"/>
                  </a:lnTo>
                  <a:lnTo>
                    <a:pt x="666" y="276"/>
                  </a:lnTo>
                  <a:lnTo>
                    <a:pt x="666" y="280"/>
                  </a:lnTo>
                  <a:lnTo>
                    <a:pt x="670" y="280"/>
                  </a:lnTo>
                  <a:lnTo>
                    <a:pt x="674" y="284"/>
                  </a:lnTo>
                  <a:lnTo>
                    <a:pt x="678" y="284"/>
                  </a:lnTo>
                  <a:lnTo>
                    <a:pt x="678" y="286"/>
                  </a:lnTo>
                  <a:lnTo>
                    <a:pt x="682" y="286"/>
                  </a:lnTo>
                  <a:lnTo>
                    <a:pt x="682" y="290"/>
                  </a:lnTo>
                  <a:lnTo>
                    <a:pt x="678" y="290"/>
                  </a:lnTo>
                  <a:lnTo>
                    <a:pt x="674" y="290"/>
                  </a:lnTo>
                  <a:lnTo>
                    <a:pt x="670" y="290"/>
                  </a:lnTo>
                  <a:lnTo>
                    <a:pt x="670" y="294"/>
                  </a:lnTo>
                  <a:lnTo>
                    <a:pt x="666" y="294"/>
                  </a:lnTo>
                  <a:lnTo>
                    <a:pt x="662" y="294"/>
                  </a:lnTo>
                  <a:lnTo>
                    <a:pt x="660" y="294"/>
                  </a:lnTo>
                  <a:lnTo>
                    <a:pt x="656" y="294"/>
                  </a:lnTo>
                  <a:lnTo>
                    <a:pt x="652" y="294"/>
                  </a:lnTo>
                  <a:lnTo>
                    <a:pt x="652" y="290"/>
                  </a:lnTo>
                  <a:lnTo>
                    <a:pt x="648" y="290"/>
                  </a:lnTo>
                  <a:lnTo>
                    <a:pt x="644" y="290"/>
                  </a:lnTo>
                  <a:lnTo>
                    <a:pt x="648" y="294"/>
                  </a:lnTo>
                  <a:lnTo>
                    <a:pt x="652" y="294"/>
                  </a:lnTo>
                  <a:lnTo>
                    <a:pt x="656" y="294"/>
                  </a:lnTo>
                  <a:lnTo>
                    <a:pt x="660" y="294"/>
                  </a:lnTo>
                  <a:lnTo>
                    <a:pt x="656" y="294"/>
                  </a:lnTo>
                  <a:lnTo>
                    <a:pt x="656" y="298"/>
                  </a:lnTo>
                  <a:lnTo>
                    <a:pt x="652" y="298"/>
                  </a:lnTo>
                  <a:lnTo>
                    <a:pt x="648" y="298"/>
                  </a:lnTo>
                  <a:lnTo>
                    <a:pt x="644" y="298"/>
                  </a:lnTo>
                  <a:lnTo>
                    <a:pt x="640" y="298"/>
                  </a:lnTo>
                  <a:lnTo>
                    <a:pt x="644" y="298"/>
                  </a:lnTo>
                  <a:lnTo>
                    <a:pt x="644" y="302"/>
                  </a:lnTo>
                  <a:lnTo>
                    <a:pt x="644" y="306"/>
                  </a:lnTo>
                  <a:lnTo>
                    <a:pt x="644" y="302"/>
                  </a:lnTo>
                  <a:lnTo>
                    <a:pt x="644" y="298"/>
                  </a:lnTo>
                  <a:lnTo>
                    <a:pt x="648" y="298"/>
                  </a:lnTo>
                  <a:lnTo>
                    <a:pt x="652" y="298"/>
                  </a:lnTo>
                  <a:lnTo>
                    <a:pt x="656" y="298"/>
                  </a:lnTo>
                  <a:lnTo>
                    <a:pt x="660" y="298"/>
                  </a:lnTo>
                  <a:lnTo>
                    <a:pt x="662" y="298"/>
                  </a:lnTo>
                  <a:lnTo>
                    <a:pt x="666" y="298"/>
                  </a:lnTo>
                  <a:lnTo>
                    <a:pt x="670" y="298"/>
                  </a:lnTo>
                  <a:lnTo>
                    <a:pt x="674" y="298"/>
                  </a:lnTo>
                  <a:lnTo>
                    <a:pt x="674" y="302"/>
                  </a:lnTo>
                  <a:lnTo>
                    <a:pt x="678" y="298"/>
                  </a:lnTo>
                  <a:lnTo>
                    <a:pt x="678" y="302"/>
                  </a:lnTo>
                  <a:lnTo>
                    <a:pt x="678" y="306"/>
                  </a:lnTo>
                  <a:lnTo>
                    <a:pt x="674" y="306"/>
                  </a:lnTo>
                  <a:lnTo>
                    <a:pt x="670" y="306"/>
                  </a:lnTo>
                  <a:lnTo>
                    <a:pt x="666" y="306"/>
                  </a:lnTo>
                  <a:lnTo>
                    <a:pt x="662" y="310"/>
                  </a:lnTo>
                  <a:lnTo>
                    <a:pt x="660" y="310"/>
                  </a:lnTo>
                  <a:lnTo>
                    <a:pt x="656" y="306"/>
                  </a:lnTo>
                  <a:lnTo>
                    <a:pt x="652" y="306"/>
                  </a:lnTo>
                  <a:lnTo>
                    <a:pt x="648" y="306"/>
                  </a:lnTo>
                  <a:lnTo>
                    <a:pt x="644" y="306"/>
                  </a:lnTo>
                  <a:lnTo>
                    <a:pt x="648" y="306"/>
                  </a:lnTo>
                  <a:lnTo>
                    <a:pt x="652" y="306"/>
                  </a:lnTo>
                  <a:lnTo>
                    <a:pt x="656" y="306"/>
                  </a:lnTo>
                  <a:lnTo>
                    <a:pt x="660" y="310"/>
                  </a:lnTo>
                  <a:lnTo>
                    <a:pt x="656" y="310"/>
                  </a:lnTo>
                  <a:lnTo>
                    <a:pt x="652" y="310"/>
                  </a:lnTo>
                  <a:lnTo>
                    <a:pt x="656" y="310"/>
                  </a:lnTo>
                  <a:lnTo>
                    <a:pt x="660" y="310"/>
                  </a:lnTo>
                  <a:lnTo>
                    <a:pt x="660" y="314"/>
                  </a:lnTo>
                  <a:lnTo>
                    <a:pt x="660" y="310"/>
                  </a:lnTo>
                  <a:lnTo>
                    <a:pt x="662" y="310"/>
                  </a:lnTo>
                  <a:lnTo>
                    <a:pt x="666" y="310"/>
                  </a:lnTo>
                  <a:lnTo>
                    <a:pt x="670" y="306"/>
                  </a:lnTo>
                  <a:lnTo>
                    <a:pt x="674" y="310"/>
                  </a:lnTo>
                  <a:lnTo>
                    <a:pt x="678" y="310"/>
                  </a:lnTo>
                  <a:lnTo>
                    <a:pt x="682" y="310"/>
                  </a:lnTo>
                  <a:lnTo>
                    <a:pt x="682" y="314"/>
                  </a:lnTo>
                  <a:lnTo>
                    <a:pt x="686" y="314"/>
                  </a:lnTo>
                  <a:lnTo>
                    <a:pt x="682" y="316"/>
                  </a:lnTo>
                  <a:lnTo>
                    <a:pt x="678" y="316"/>
                  </a:lnTo>
                  <a:lnTo>
                    <a:pt x="674" y="316"/>
                  </a:lnTo>
                  <a:lnTo>
                    <a:pt x="670" y="316"/>
                  </a:lnTo>
                  <a:lnTo>
                    <a:pt x="666" y="316"/>
                  </a:lnTo>
                  <a:lnTo>
                    <a:pt x="670" y="316"/>
                  </a:lnTo>
                  <a:lnTo>
                    <a:pt x="674" y="316"/>
                  </a:lnTo>
                  <a:lnTo>
                    <a:pt x="674" y="320"/>
                  </a:lnTo>
                  <a:lnTo>
                    <a:pt x="670" y="320"/>
                  </a:lnTo>
                  <a:lnTo>
                    <a:pt x="670" y="324"/>
                  </a:lnTo>
                  <a:lnTo>
                    <a:pt x="674" y="324"/>
                  </a:lnTo>
                  <a:lnTo>
                    <a:pt x="674" y="320"/>
                  </a:lnTo>
                  <a:lnTo>
                    <a:pt x="678" y="320"/>
                  </a:lnTo>
                  <a:lnTo>
                    <a:pt x="678" y="316"/>
                  </a:lnTo>
                  <a:lnTo>
                    <a:pt x="682" y="316"/>
                  </a:lnTo>
                  <a:lnTo>
                    <a:pt x="686" y="316"/>
                  </a:lnTo>
                  <a:lnTo>
                    <a:pt x="686" y="320"/>
                  </a:lnTo>
                  <a:lnTo>
                    <a:pt x="688" y="320"/>
                  </a:lnTo>
                  <a:lnTo>
                    <a:pt x="692" y="320"/>
                  </a:lnTo>
                  <a:lnTo>
                    <a:pt x="696" y="320"/>
                  </a:lnTo>
                  <a:lnTo>
                    <a:pt x="696" y="324"/>
                  </a:lnTo>
                  <a:lnTo>
                    <a:pt x="700" y="324"/>
                  </a:lnTo>
                  <a:lnTo>
                    <a:pt x="704" y="324"/>
                  </a:lnTo>
                  <a:lnTo>
                    <a:pt x="704" y="328"/>
                  </a:lnTo>
                  <a:lnTo>
                    <a:pt x="708" y="328"/>
                  </a:lnTo>
                  <a:lnTo>
                    <a:pt x="712" y="328"/>
                  </a:lnTo>
                  <a:lnTo>
                    <a:pt x="712" y="332"/>
                  </a:lnTo>
                  <a:lnTo>
                    <a:pt x="716" y="332"/>
                  </a:lnTo>
                  <a:lnTo>
                    <a:pt x="712" y="332"/>
                  </a:lnTo>
                  <a:lnTo>
                    <a:pt x="712" y="336"/>
                  </a:lnTo>
                  <a:lnTo>
                    <a:pt x="708" y="336"/>
                  </a:lnTo>
                  <a:lnTo>
                    <a:pt x="704" y="336"/>
                  </a:lnTo>
                  <a:lnTo>
                    <a:pt x="704" y="340"/>
                  </a:lnTo>
                  <a:lnTo>
                    <a:pt x="708" y="340"/>
                  </a:lnTo>
                  <a:lnTo>
                    <a:pt x="708" y="336"/>
                  </a:lnTo>
                  <a:lnTo>
                    <a:pt x="712" y="336"/>
                  </a:lnTo>
                  <a:lnTo>
                    <a:pt x="716" y="336"/>
                  </a:lnTo>
                  <a:lnTo>
                    <a:pt x="712" y="336"/>
                  </a:lnTo>
                  <a:lnTo>
                    <a:pt x="712" y="340"/>
                  </a:lnTo>
                  <a:lnTo>
                    <a:pt x="716" y="340"/>
                  </a:lnTo>
                  <a:lnTo>
                    <a:pt x="716" y="336"/>
                  </a:lnTo>
                  <a:lnTo>
                    <a:pt x="718" y="336"/>
                  </a:lnTo>
                  <a:lnTo>
                    <a:pt x="722" y="336"/>
                  </a:lnTo>
                  <a:lnTo>
                    <a:pt x="718" y="336"/>
                  </a:lnTo>
                  <a:lnTo>
                    <a:pt x="718" y="340"/>
                  </a:lnTo>
                  <a:lnTo>
                    <a:pt x="716" y="340"/>
                  </a:lnTo>
                  <a:lnTo>
                    <a:pt x="712" y="342"/>
                  </a:lnTo>
                  <a:lnTo>
                    <a:pt x="716" y="342"/>
                  </a:lnTo>
                  <a:lnTo>
                    <a:pt x="716" y="346"/>
                  </a:lnTo>
                  <a:lnTo>
                    <a:pt x="716" y="342"/>
                  </a:lnTo>
                  <a:lnTo>
                    <a:pt x="718" y="342"/>
                  </a:lnTo>
                  <a:lnTo>
                    <a:pt x="722" y="342"/>
                  </a:lnTo>
                  <a:lnTo>
                    <a:pt x="726" y="342"/>
                  </a:lnTo>
                  <a:lnTo>
                    <a:pt x="722" y="342"/>
                  </a:lnTo>
                  <a:lnTo>
                    <a:pt x="722" y="346"/>
                  </a:lnTo>
                  <a:lnTo>
                    <a:pt x="726" y="346"/>
                  </a:lnTo>
                  <a:lnTo>
                    <a:pt x="722" y="346"/>
                  </a:lnTo>
                  <a:lnTo>
                    <a:pt x="726" y="346"/>
                  </a:lnTo>
                  <a:lnTo>
                    <a:pt x="726" y="350"/>
                  </a:lnTo>
                  <a:lnTo>
                    <a:pt x="722" y="350"/>
                  </a:lnTo>
                  <a:lnTo>
                    <a:pt x="722" y="354"/>
                  </a:lnTo>
                  <a:lnTo>
                    <a:pt x="718" y="354"/>
                  </a:lnTo>
                  <a:lnTo>
                    <a:pt x="716" y="354"/>
                  </a:lnTo>
                  <a:lnTo>
                    <a:pt x="718" y="354"/>
                  </a:lnTo>
                  <a:lnTo>
                    <a:pt x="722" y="354"/>
                  </a:lnTo>
                  <a:lnTo>
                    <a:pt x="726" y="354"/>
                  </a:lnTo>
                  <a:lnTo>
                    <a:pt x="726" y="358"/>
                  </a:lnTo>
                  <a:lnTo>
                    <a:pt x="722" y="358"/>
                  </a:lnTo>
                  <a:lnTo>
                    <a:pt x="722" y="362"/>
                  </a:lnTo>
                  <a:lnTo>
                    <a:pt x="722" y="358"/>
                  </a:lnTo>
                  <a:lnTo>
                    <a:pt x="722" y="362"/>
                  </a:lnTo>
                  <a:lnTo>
                    <a:pt x="726" y="362"/>
                  </a:lnTo>
                  <a:lnTo>
                    <a:pt x="726" y="358"/>
                  </a:lnTo>
                  <a:lnTo>
                    <a:pt x="726" y="362"/>
                  </a:lnTo>
                  <a:lnTo>
                    <a:pt x="722" y="362"/>
                  </a:lnTo>
                  <a:lnTo>
                    <a:pt x="726" y="362"/>
                  </a:lnTo>
                  <a:lnTo>
                    <a:pt x="722" y="366"/>
                  </a:lnTo>
                  <a:lnTo>
                    <a:pt x="726" y="366"/>
                  </a:lnTo>
                  <a:lnTo>
                    <a:pt x="730" y="366"/>
                  </a:lnTo>
                  <a:lnTo>
                    <a:pt x="726" y="370"/>
                  </a:lnTo>
                  <a:lnTo>
                    <a:pt x="722" y="370"/>
                  </a:lnTo>
                  <a:lnTo>
                    <a:pt x="718" y="370"/>
                  </a:lnTo>
                  <a:lnTo>
                    <a:pt x="716" y="370"/>
                  </a:lnTo>
                  <a:lnTo>
                    <a:pt x="716" y="366"/>
                  </a:lnTo>
                  <a:lnTo>
                    <a:pt x="716" y="362"/>
                  </a:lnTo>
                  <a:lnTo>
                    <a:pt x="716" y="358"/>
                  </a:lnTo>
                  <a:lnTo>
                    <a:pt x="712" y="358"/>
                  </a:lnTo>
                  <a:lnTo>
                    <a:pt x="712" y="362"/>
                  </a:lnTo>
                  <a:lnTo>
                    <a:pt x="712" y="366"/>
                  </a:lnTo>
                  <a:lnTo>
                    <a:pt x="712" y="370"/>
                  </a:lnTo>
                  <a:lnTo>
                    <a:pt x="708" y="370"/>
                  </a:lnTo>
                  <a:lnTo>
                    <a:pt x="704" y="370"/>
                  </a:lnTo>
                  <a:lnTo>
                    <a:pt x="700" y="370"/>
                  </a:lnTo>
                  <a:lnTo>
                    <a:pt x="696" y="366"/>
                  </a:lnTo>
                  <a:lnTo>
                    <a:pt x="692" y="366"/>
                  </a:lnTo>
                  <a:lnTo>
                    <a:pt x="692" y="362"/>
                  </a:lnTo>
                  <a:lnTo>
                    <a:pt x="688" y="362"/>
                  </a:lnTo>
                  <a:lnTo>
                    <a:pt x="688" y="358"/>
                  </a:lnTo>
                  <a:lnTo>
                    <a:pt x="688" y="354"/>
                  </a:lnTo>
                  <a:lnTo>
                    <a:pt x="688" y="350"/>
                  </a:lnTo>
                  <a:lnTo>
                    <a:pt x="686" y="350"/>
                  </a:lnTo>
                  <a:lnTo>
                    <a:pt x="682" y="346"/>
                  </a:lnTo>
                  <a:lnTo>
                    <a:pt x="678" y="346"/>
                  </a:lnTo>
                  <a:lnTo>
                    <a:pt x="674" y="346"/>
                  </a:lnTo>
                  <a:lnTo>
                    <a:pt x="674" y="342"/>
                  </a:lnTo>
                  <a:lnTo>
                    <a:pt x="670" y="342"/>
                  </a:lnTo>
                  <a:lnTo>
                    <a:pt x="670" y="340"/>
                  </a:lnTo>
                  <a:lnTo>
                    <a:pt x="666" y="340"/>
                  </a:lnTo>
                  <a:lnTo>
                    <a:pt x="660" y="340"/>
                  </a:lnTo>
                  <a:lnTo>
                    <a:pt x="656" y="340"/>
                  </a:lnTo>
                  <a:lnTo>
                    <a:pt x="652" y="340"/>
                  </a:lnTo>
                  <a:lnTo>
                    <a:pt x="648" y="336"/>
                  </a:lnTo>
                  <a:lnTo>
                    <a:pt x="644" y="336"/>
                  </a:lnTo>
                  <a:lnTo>
                    <a:pt x="644" y="332"/>
                  </a:lnTo>
                  <a:lnTo>
                    <a:pt x="640" y="332"/>
                  </a:lnTo>
                  <a:lnTo>
                    <a:pt x="640" y="328"/>
                  </a:lnTo>
                  <a:lnTo>
                    <a:pt x="636" y="328"/>
                  </a:lnTo>
                  <a:lnTo>
                    <a:pt x="632" y="328"/>
                  </a:lnTo>
                  <a:lnTo>
                    <a:pt x="630" y="324"/>
                  </a:lnTo>
                  <a:lnTo>
                    <a:pt x="626" y="324"/>
                  </a:lnTo>
                  <a:lnTo>
                    <a:pt x="626" y="328"/>
                  </a:lnTo>
                  <a:lnTo>
                    <a:pt x="630" y="328"/>
                  </a:lnTo>
                  <a:lnTo>
                    <a:pt x="630" y="332"/>
                  </a:lnTo>
                  <a:lnTo>
                    <a:pt x="632" y="332"/>
                  </a:lnTo>
                  <a:lnTo>
                    <a:pt x="636" y="332"/>
                  </a:lnTo>
                  <a:lnTo>
                    <a:pt x="640" y="336"/>
                  </a:lnTo>
                  <a:lnTo>
                    <a:pt x="644" y="336"/>
                  </a:lnTo>
                  <a:lnTo>
                    <a:pt x="644" y="340"/>
                  </a:lnTo>
                  <a:lnTo>
                    <a:pt x="640" y="340"/>
                  </a:lnTo>
                  <a:lnTo>
                    <a:pt x="636" y="340"/>
                  </a:lnTo>
                  <a:lnTo>
                    <a:pt x="632" y="340"/>
                  </a:lnTo>
                  <a:lnTo>
                    <a:pt x="630" y="340"/>
                  </a:lnTo>
                  <a:lnTo>
                    <a:pt x="632" y="340"/>
                  </a:lnTo>
                  <a:lnTo>
                    <a:pt x="636" y="340"/>
                  </a:lnTo>
                  <a:lnTo>
                    <a:pt x="640" y="340"/>
                  </a:lnTo>
                  <a:lnTo>
                    <a:pt x="644" y="340"/>
                  </a:lnTo>
                  <a:lnTo>
                    <a:pt x="648" y="340"/>
                  </a:lnTo>
                  <a:lnTo>
                    <a:pt x="644" y="340"/>
                  </a:lnTo>
                  <a:lnTo>
                    <a:pt x="644" y="342"/>
                  </a:lnTo>
                  <a:lnTo>
                    <a:pt x="648" y="342"/>
                  </a:lnTo>
                  <a:lnTo>
                    <a:pt x="648" y="340"/>
                  </a:lnTo>
                  <a:lnTo>
                    <a:pt x="652" y="340"/>
                  </a:lnTo>
                  <a:lnTo>
                    <a:pt x="652" y="342"/>
                  </a:lnTo>
                  <a:lnTo>
                    <a:pt x="656" y="342"/>
                  </a:lnTo>
                  <a:lnTo>
                    <a:pt x="660" y="342"/>
                  </a:lnTo>
                  <a:lnTo>
                    <a:pt x="662" y="342"/>
                  </a:lnTo>
                  <a:lnTo>
                    <a:pt x="666" y="342"/>
                  </a:lnTo>
                  <a:lnTo>
                    <a:pt x="670" y="342"/>
                  </a:lnTo>
                  <a:lnTo>
                    <a:pt x="674" y="346"/>
                  </a:lnTo>
                  <a:lnTo>
                    <a:pt x="670" y="350"/>
                  </a:lnTo>
                  <a:lnTo>
                    <a:pt x="670" y="346"/>
                  </a:lnTo>
                  <a:lnTo>
                    <a:pt x="666" y="346"/>
                  </a:lnTo>
                  <a:lnTo>
                    <a:pt x="670" y="350"/>
                  </a:lnTo>
                  <a:lnTo>
                    <a:pt x="662" y="354"/>
                  </a:lnTo>
                  <a:lnTo>
                    <a:pt x="660" y="354"/>
                  </a:lnTo>
                  <a:lnTo>
                    <a:pt x="652" y="358"/>
                  </a:lnTo>
                  <a:lnTo>
                    <a:pt x="652" y="354"/>
                  </a:lnTo>
                  <a:lnTo>
                    <a:pt x="648" y="358"/>
                  </a:lnTo>
                  <a:lnTo>
                    <a:pt x="644" y="358"/>
                  </a:lnTo>
                  <a:lnTo>
                    <a:pt x="644" y="354"/>
                  </a:lnTo>
                  <a:lnTo>
                    <a:pt x="640" y="354"/>
                  </a:lnTo>
                  <a:lnTo>
                    <a:pt x="640" y="350"/>
                  </a:lnTo>
                  <a:lnTo>
                    <a:pt x="636" y="350"/>
                  </a:lnTo>
                  <a:lnTo>
                    <a:pt x="636" y="354"/>
                  </a:lnTo>
                  <a:lnTo>
                    <a:pt x="640" y="354"/>
                  </a:lnTo>
                  <a:lnTo>
                    <a:pt x="640" y="358"/>
                  </a:lnTo>
                  <a:lnTo>
                    <a:pt x="640" y="354"/>
                  </a:lnTo>
                  <a:lnTo>
                    <a:pt x="636" y="354"/>
                  </a:lnTo>
                  <a:lnTo>
                    <a:pt x="632" y="354"/>
                  </a:lnTo>
                  <a:lnTo>
                    <a:pt x="630" y="354"/>
                  </a:lnTo>
                  <a:lnTo>
                    <a:pt x="632" y="354"/>
                  </a:lnTo>
                  <a:lnTo>
                    <a:pt x="632" y="358"/>
                  </a:lnTo>
                  <a:lnTo>
                    <a:pt x="636" y="358"/>
                  </a:lnTo>
                  <a:lnTo>
                    <a:pt x="636" y="362"/>
                  </a:lnTo>
                  <a:lnTo>
                    <a:pt x="632" y="366"/>
                  </a:lnTo>
                  <a:lnTo>
                    <a:pt x="630" y="366"/>
                  </a:lnTo>
                  <a:lnTo>
                    <a:pt x="626" y="366"/>
                  </a:lnTo>
                  <a:lnTo>
                    <a:pt x="622" y="370"/>
                  </a:lnTo>
                  <a:lnTo>
                    <a:pt x="618" y="370"/>
                  </a:lnTo>
                  <a:lnTo>
                    <a:pt x="622" y="370"/>
                  </a:lnTo>
                  <a:lnTo>
                    <a:pt x="626" y="370"/>
                  </a:lnTo>
                  <a:lnTo>
                    <a:pt x="630" y="370"/>
                  </a:lnTo>
                  <a:lnTo>
                    <a:pt x="632" y="366"/>
                  </a:lnTo>
                  <a:lnTo>
                    <a:pt x="632" y="370"/>
                  </a:lnTo>
                  <a:lnTo>
                    <a:pt x="630" y="370"/>
                  </a:lnTo>
                  <a:lnTo>
                    <a:pt x="632" y="370"/>
                  </a:lnTo>
                  <a:lnTo>
                    <a:pt x="636" y="370"/>
                  </a:lnTo>
                  <a:lnTo>
                    <a:pt x="640" y="370"/>
                  </a:lnTo>
                  <a:lnTo>
                    <a:pt x="648" y="370"/>
                  </a:lnTo>
                  <a:lnTo>
                    <a:pt x="652" y="370"/>
                  </a:lnTo>
                  <a:lnTo>
                    <a:pt x="656" y="370"/>
                  </a:lnTo>
                  <a:lnTo>
                    <a:pt x="660" y="370"/>
                  </a:lnTo>
                  <a:lnTo>
                    <a:pt x="660" y="372"/>
                  </a:lnTo>
                  <a:lnTo>
                    <a:pt x="656" y="372"/>
                  </a:lnTo>
                  <a:lnTo>
                    <a:pt x="652" y="372"/>
                  </a:lnTo>
                  <a:lnTo>
                    <a:pt x="648" y="372"/>
                  </a:lnTo>
                  <a:lnTo>
                    <a:pt x="644" y="372"/>
                  </a:lnTo>
                  <a:lnTo>
                    <a:pt x="644" y="376"/>
                  </a:lnTo>
                  <a:lnTo>
                    <a:pt x="640" y="376"/>
                  </a:lnTo>
                  <a:lnTo>
                    <a:pt x="636" y="376"/>
                  </a:lnTo>
                  <a:lnTo>
                    <a:pt x="632" y="376"/>
                  </a:lnTo>
                  <a:lnTo>
                    <a:pt x="630" y="376"/>
                  </a:lnTo>
                  <a:lnTo>
                    <a:pt x="630" y="380"/>
                  </a:lnTo>
                  <a:lnTo>
                    <a:pt x="632" y="376"/>
                  </a:lnTo>
                  <a:lnTo>
                    <a:pt x="632" y="380"/>
                  </a:lnTo>
                  <a:lnTo>
                    <a:pt x="636" y="380"/>
                  </a:lnTo>
                  <a:lnTo>
                    <a:pt x="640" y="380"/>
                  </a:lnTo>
                  <a:lnTo>
                    <a:pt x="644" y="380"/>
                  </a:lnTo>
                  <a:lnTo>
                    <a:pt x="648" y="376"/>
                  </a:lnTo>
                  <a:lnTo>
                    <a:pt x="652" y="372"/>
                  </a:lnTo>
                  <a:lnTo>
                    <a:pt x="656" y="372"/>
                  </a:lnTo>
                  <a:lnTo>
                    <a:pt x="656" y="376"/>
                  </a:lnTo>
                  <a:lnTo>
                    <a:pt x="660" y="376"/>
                  </a:lnTo>
                  <a:lnTo>
                    <a:pt x="662" y="372"/>
                  </a:lnTo>
                  <a:lnTo>
                    <a:pt x="666" y="372"/>
                  </a:lnTo>
                  <a:lnTo>
                    <a:pt x="670" y="372"/>
                  </a:lnTo>
                  <a:lnTo>
                    <a:pt x="674" y="370"/>
                  </a:lnTo>
                  <a:lnTo>
                    <a:pt x="674" y="372"/>
                  </a:lnTo>
                  <a:lnTo>
                    <a:pt x="678" y="372"/>
                  </a:lnTo>
                  <a:lnTo>
                    <a:pt x="678" y="370"/>
                  </a:lnTo>
                  <a:lnTo>
                    <a:pt x="678" y="372"/>
                  </a:lnTo>
                  <a:lnTo>
                    <a:pt x="682" y="372"/>
                  </a:lnTo>
                  <a:lnTo>
                    <a:pt x="686" y="372"/>
                  </a:lnTo>
                  <a:lnTo>
                    <a:pt x="692" y="376"/>
                  </a:lnTo>
                  <a:lnTo>
                    <a:pt x="696" y="376"/>
                  </a:lnTo>
                  <a:lnTo>
                    <a:pt x="700" y="376"/>
                  </a:lnTo>
                  <a:lnTo>
                    <a:pt x="704" y="376"/>
                  </a:lnTo>
                  <a:lnTo>
                    <a:pt x="708" y="376"/>
                  </a:lnTo>
                  <a:lnTo>
                    <a:pt x="712" y="376"/>
                  </a:lnTo>
                  <a:lnTo>
                    <a:pt x="716" y="376"/>
                  </a:lnTo>
                  <a:lnTo>
                    <a:pt x="718" y="376"/>
                  </a:lnTo>
                  <a:lnTo>
                    <a:pt x="718" y="380"/>
                  </a:lnTo>
                  <a:lnTo>
                    <a:pt x="716" y="380"/>
                  </a:lnTo>
                  <a:lnTo>
                    <a:pt x="712" y="380"/>
                  </a:lnTo>
                  <a:lnTo>
                    <a:pt x="708" y="380"/>
                  </a:lnTo>
                  <a:lnTo>
                    <a:pt x="708" y="384"/>
                  </a:lnTo>
                  <a:lnTo>
                    <a:pt x="712" y="384"/>
                  </a:lnTo>
                  <a:lnTo>
                    <a:pt x="708" y="384"/>
                  </a:lnTo>
                  <a:lnTo>
                    <a:pt x="708" y="380"/>
                  </a:lnTo>
                  <a:lnTo>
                    <a:pt x="704" y="380"/>
                  </a:lnTo>
                  <a:lnTo>
                    <a:pt x="704" y="384"/>
                  </a:lnTo>
                  <a:lnTo>
                    <a:pt x="708" y="384"/>
                  </a:lnTo>
                  <a:lnTo>
                    <a:pt x="704" y="384"/>
                  </a:lnTo>
                  <a:lnTo>
                    <a:pt x="708" y="384"/>
                  </a:lnTo>
                  <a:lnTo>
                    <a:pt x="708" y="388"/>
                  </a:lnTo>
                  <a:lnTo>
                    <a:pt x="704" y="388"/>
                  </a:lnTo>
                  <a:lnTo>
                    <a:pt x="704" y="384"/>
                  </a:lnTo>
                  <a:lnTo>
                    <a:pt x="700" y="384"/>
                  </a:lnTo>
                  <a:lnTo>
                    <a:pt x="704" y="384"/>
                  </a:lnTo>
                  <a:lnTo>
                    <a:pt x="704" y="388"/>
                  </a:lnTo>
                  <a:lnTo>
                    <a:pt x="700" y="388"/>
                  </a:lnTo>
                  <a:lnTo>
                    <a:pt x="696" y="388"/>
                  </a:lnTo>
                  <a:lnTo>
                    <a:pt x="692" y="388"/>
                  </a:lnTo>
                  <a:lnTo>
                    <a:pt x="696" y="388"/>
                  </a:lnTo>
                  <a:lnTo>
                    <a:pt x="700" y="388"/>
                  </a:lnTo>
                  <a:lnTo>
                    <a:pt x="696" y="392"/>
                  </a:lnTo>
                  <a:lnTo>
                    <a:pt x="692" y="392"/>
                  </a:lnTo>
                  <a:lnTo>
                    <a:pt x="688" y="392"/>
                  </a:lnTo>
                  <a:lnTo>
                    <a:pt x="692" y="392"/>
                  </a:lnTo>
                  <a:lnTo>
                    <a:pt x="688" y="396"/>
                  </a:lnTo>
                  <a:lnTo>
                    <a:pt x="686" y="396"/>
                  </a:lnTo>
                  <a:lnTo>
                    <a:pt x="682" y="396"/>
                  </a:lnTo>
                  <a:lnTo>
                    <a:pt x="686" y="398"/>
                  </a:lnTo>
                  <a:lnTo>
                    <a:pt x="682" y="398"/>
                  </a:lnTo>
                  <a:lnTo>
                    <a:pt x="678" y="398"/>
                  </a:lnTo>
                  <a:lnTo>
                    <a:pt x="674" y="398"/>
                  </a:lnTo>
                  <a:lnTo>
                    <a:pt x="678" y="398"/>
                  </a:lnTo>
                  <a:lnTo>
                    <a:pt x="678" y="402"/>
                  </a:lnTo>
                  <a:lnTo>
                    <a:pt x="674" y="402"/>
                  </a:lnTo>
                  <a:lnTo>
                    <a:pt x="674" y="406"/>
                  </a:lnTo>
                  <a:lnTo>
                    <a:pt x="670" y="402"/>
                  </a:lnTo>
                  <a:lnTo>
                    <a:pt x="670" y="406"/>
                  </a:lnTo>
                  <a:lnTo>
                    <a:pt x="666" y="406"/>
                  </a:lnTo>
                  <a:lnTo>
                    <a:pt x="670" y="406"/>
                  </a:lnTo>
                  <a:lnTo>
                    <a:pt x="670" y="410"/>
                  </a:lnTo>
                  <a:lnTo>
                    <a:pt x="666" y="410"/>
                  </a:lnTo>
                  <a:lnTo>
                    <a:pt x="662" y="410"/>
                  </a:lnTo>
                  <a:lnTo>
                    <a:pt x="660" y="414"/>
                  </a:lnTo>
                  <a:lnTo>
                    <a:pt x="656" y="414"/>
                  </a:lnTo>
                  <a:lnTo>
                    <a:pt x="652" y="414"/>
                  </a:lnTo>
                  <a:lnTo>
                    <a:pt x="648" y="418"/>
                  </a:lnTo>
                  <a:lnTo>
                    <a:pt x="648" y="414"/>
                  </a:lnTo>
                  <a:lnTo>
                    <a:pt x="644" y="414"/>
                  </a:lnTo>
                  <a:lnTo>
                    <a:pt x="644" y="418"/>
                  </a:lnTo>
                  <a:lnTo>
                    <a:pt x="648" y="418"/>
                  </a:lnTo>
                  <a:lnTo>
                    <a:pt x="644" y="418"/>
                  </a:lnTo>
                  <a:lnTo>
                    <a:pt x="640" y="418"/>
                  </a:lnTo>
                  <a:lnTo>
                    <a:pt x="636" y="418"/>
                  </a:lnTo>
                  <a:lnTo>
                    <a:pt x="632" y="422"/>
                  </a:lnTo>
                  <a:lnTo>
                    <a:pt x="630" y="418"/>
                  </a:lnTo>
                  <a:lnTo>
                    <a:pt x="626" y="422"/>
                  </a:lnTo>
                  <a:lnTo>
                    <a:pt x="622" y="422"/>
                  </a:lnTo>
                  <a:lnTo>
                    <a:pt x="618" y="422"/>
                  </a:lnTo>
                  <a:lnTo>
                    <a:pt x="622" y="422"/>
                  </a:lnTo>
                  <a:lnTo>
                    <a:pt x="622" y="426"/>
                  </a:lnTo>
                  <a:lnTo>
                    <a:pt x="618" y="426"/>
                  </a:lnTo>
                  <a:lnTo>
                    <a:pt x="618" y="422"/>
                  </a:lnTo>
                  <a:lnTo>
                    <a:pt x="618" y="426"/>
                  </a:lnTo>
                  <a:lnTo>
                    <a:pt x="614" y="426"/>
                  </a:lnTo>
                  <a:lnTo>
                    <a:pt x="610" y="422"/>
                  </a:lnTo>
                  <a:lnTo>
                    <a:pt x="606" y="422"/>
                  </a:lnTo>
                  <a:lnTo>
                    <a:pt x="604" y="426"/>
                  </a:lnTo>
                  <a:lnTo>
                    <a:pt x="606" y="426"/>
                  </a:lnTo>
                  <a:lnTo>
                    <a:pt x="606" y="428"/>
                  </a:lnTo>
                  <a:lnTo>
                    <a:pt x="604" y="428"/>
                  </a:lnTo>
                  <a:lnTo>
                    <a:pt x="604" y="426"/>
                  </a:lnTo>
                  <a:lnTo>
                    <a:pt x="600" y="426"/>
                  </a:lnTo>
                  <a:lnTo>
                    <a:pt x="596" y="426"/>
                  </a:lnTo>
                  <a:lnTo>
                    <a:pt x="600" y="426"/>
                  </a:lnTo>
                  <a:lnTo>
                    <a:pt x="604" y="428"/>
                  </a:lnTo>
                  <a:lnTo>
                    <a:pt x="600" y="428"/>
                  </a:lnTo>
                  <a:lnTo>
                    <a:pt x="596" y="428"/>
                  </a:lnTo>
                  <a:lnTo>
                    <a:pt x="592" y="428"/>
                  </a:lnTo>
                  <a:lnTo>
                    <a:pt x="588" y="428"/>
                  </a:lnTo>
                  <a:lnTo>
                    <a:pt x="588" y="426"/>
                  </a:lnTo>
                  <a:lnTo>
                    <a:pt x="584" y="428"/>
                  </a:lnTo>
                  <a:lnTo>
                    <a:pt x="588" y="428"/>
                  </a:lnTo>
                  <a:lnTo>
                    <a:pt x="584" y="428"/>
                  </a:lnTo>
                  <a:lnTo>
                    <a:pt x="584" y="426"/>
                  </a:lnTo>
                  <a:lnTo>
                    <a:pt x="580" y="426"/>
                  </a:lnTo>
                  <a:lnTo>
                    <a:pt x="576" y="426"/>
                  </a:lnTo>
                  <a:lnTo>
                    <a:pt x="576" y="422"/>
                  </a:lnTo>
                  <a:lnTo>
                    <a:pt x="574" y="422"/>
                  </a:lnTo>
                  <a:lnTo>
                    <a:pt x="574" y="418"/>
                  </a:lnTo>
                  <a:lnTo>
                    <a:pt x="574" y="414"/>
                  </a:lnTo>
                  <a:lnTo>
                    <a:pt x="574" y="418"/>
                  </a:lnTo>
                  <a:lnTo>
                    <a:pt x="570" y="418"/>
                  </a:lnTo>
                  <a:lnTo>
                    <a:pt x="574" y="418"/>
                  </a:lnTo>
                  <a:lnTo>
                    <a:pt x="574" y="422"/>
                  </a:lnTo>
                  <a:lnTo>
                    <a:pt x="576" y="422"/>
                  </a:lnTo>
                  <a:lnTo>
                    <a:pt x="576" y="426"/>
                  </a:lnTo>
                  <a:lnTo>
                    <a:pt x="574" y="426"/>
                  </a:lnTo>
                  <a:lnTo>
                    <a:pt x="576" y="426"/>
                  </a:lnTo>
                  <a:lnTo>
                    <a:pt x="580" y="428"/>
                  </a:lnTo>
                  <a:lnTo>
                    <a:pt x="576" y="428"/>
                  </a:lnTo>
                  <a:lnTo>
                    <a:pt x="576" y="432"/>
                  </a:lnTo>
                  <a:lnTo>
                    <a:pt x="574" y="432"/>
                  </a:lnTo>
                  <a:lnTo>
                    <a:pt x="570" y="432"/>
                  </a:lnTo>
                  <a:lnTo>
                    <a:pt x="574" y="432"/>
                  </a:lnTo>
                  <a:lnTo>
                    <a:pt x="574" y="436"/>
                  </a:lnTo>
                  <a:lnTo>
                    <a:pt x="570" y="436"/>
                  </a:lnTo>
                  <a:lnTo>
                    <a:pt x="566" y="436"/>
                  </a:lnTo>
                  <a:lnTo>
                    <a:pt x="566" y="440"/>
                  </a:lnTo>
                  <a:lnTo>
                    <a:pt x="562" y="440"/>
                  </a:lnTo>
                  <a:lnTo>
                    <a:pt x="562" y="436"/>
                  </a:lnTo>
                  <a:lnTo>
                    <a:pt x="562" y="440"/>
                  </a:lnTo>
                  <a:lnTo>
                    <a:pt x="566" y="440"/>
                  </a:lnTo>
                  <a:lnTo>
                    <a:pt x="562" y="440"/>
                  </a:lnTo>
                  <a:lnTo>
                    <a:pt x="562" y="444"/>
                  </a:lnTo>
                  <a:lnTo>
                    <a:pt x="562" y="448"/>
                  </a:lnTo>
                  <a:lnTo>
                    <a:pt x="558" y="448"/>
                  </a:lnTo>
                  <a:lnTo>
                    <a:pt x="558" y="452"/>
                  </a:lnTo>
                  <a:lnTo>
                    <a:pt x="554" y="452"/>
                  </a:lnTo>
                  <a:lnTo>
                    <a:pt x="554" y="456"/>
                  </a:lnTo>
                  <a:lnTo>
                    <a:pt x="550" y="456"/>
                  </a:lnTo>
                  <a:lnTo>
                    <a:pt x="550" y="458"/>
                  </a:lnTo>
                  <a:lnTo>
                    <a:pt x="550" y="462"/>
                  </a:lnTo>
                  <a:lnTo>
                    <a:pt x="546" y="466"/>
                  </a:lnTo>
                  <a:lnTo>
                    <a:pt x="546" y="462"/>
                  </a:lnTo>
                  <a:lnTo>
                    <a:pt x="546" y="466"/>
                  </a:lnTo>
                  <a:lnTo>
                    <a:pt x="544" y="466"/>
                  </a:lnTo>
                  <a:lnTo>
                    <a:pt x="544" y="462"/>
                  </a:lnTo>
                  <a:lnTo>
                    <a:pt x="546" y="462"/>
                  </a:lnTo>
                  <a:lnTo>
                    <a:pt x="544" y="462"/>
                  </a:lnTo>
                  <a:lnTo>
                    <a:pt x="544" y="466"/>
                  </a:lnTo>
                  <a:lnTo>
                    <a:pt x="544" y="470"/>
                  </a:lnTo>
                  <a:lnTo>
                    <a:pt x="540" y="470"/>
                  </a:lnTo>
                  <a:lnTo>
                    <a:pt x="540" y="474"/>
                  </a:lnTo>
                  <a:lnTo>
                    <a:pt x="536" y="474"/>
                  </a:lnTo>
                  <a:lnTo>
                    <a:pt x="536" y="470"/>
                  </a:lnTo>
                  <a:lnTo>
                    <a:pt x="532" y="470"/>
                  </a:lnTo>
                  <a:lnTo>
                    <a:pt x="532" y="474"/>
                  </a:lnTo>
                  <a:lnTo>
                    <a:pt x="536" y="474"/>
                  </a:lnTo>
                  <a:lnTo>
                    <a:pt x="532" y="474"/>
                  </a:lnTo>
                  <a:lnTo>
                    <a:pt x="528" y="474"/>
                  </a:lnTo>
                  <a:lnTo>
                    <a:pt x="524" y="470"/>
                  </a:lnTo>
                  <a:lnTo>
                    <a:pt x="528" y="474"/>
                  </a:lnTo>
                  <a:lnTo>
                    <a:pt x="528" y="478"/>
                  </a:lnTo>
                  <a:lnTo>
                    <a:pt x="524" y="478"/>
                  </a:lnTo>
                  <a:lnTo>
                    <a:pt x="524" y="482"/>
                  </a:lnTo>
                  <a:lnTo>
                    <a:pt x="520" y="482"/>
                  </a:lnTo>
                  <a:lnTo>
                    <a:pt x="518" y="482"/>
                  </a:lnTo>
                  <a:lnTo>
                    <a:pt x="518" y="478"/>
                  </a:lnTo>
                  <a:lnTo>
                    <a:pt x="514" y="478"/>
                  </a:lnTo>
                  <a:lnTo>
                    <a:pt x="518" y="478"/>
                  </a:lnTo>
                  <a:lnTo>
                    <a:pt x="514" y="482"/>
                  </a:lnTo>
                  <a:lnTo>
                    <a:pt x="510" y="482"/>
                  </a:lnTo>
                  <a:lnTo>
                    <a:pt x="510" y="484"/>
                  </a:lnTo>
                  <a:lnTo>
                    <a:pt x="506" y="484"/>
                  </a:lnTo>
                  <a:lnTo>
                    <a:pt x="506" y="482"/>
                  </a:lnTo>
                  <a:lnTo>
                    <a:pt x="506" y="478"/>
                  </a:lnTo>
                  <a:lnTo>
                    <a:pt x="506" y="482"/>
                  </a:lnTo>
                  <a:lnTo>
                    <a:pt x="506" y="484"/>
                  </a:lnTo>
                  <a:lnTo>
                    <a:pt x="502" y="484"/>
                  </a:lnTo>
                  <a:lnTo>
                    <a:pt x="502" y="482"/>
                  </a:lnTo>
                  <a:lnTo>
                    <a:pt x="498" y="482"/>
                  </a:lnTo>
                  <a:lnTo>
                    <a:pt x="498" y="478"/>
                  </a:lnTo>
                  <a:lnTo>
                    <a:pt x="502" y="474"/>
                  </a:lnTo>
                  <a:lnTo>
                    <a:pt x="506" y="474"/>
                  </a:lnTo>
                  <a:lnTo>
                    <a:pt x="506" y="470"/>
                  </a:lnTo>
                  <a:lnTo>
                    <a:pt x="502" y="470"/>
                  </a:lnTo>
                  <a:lnTo>
                    <a:pt x="502" y="474"/>
                  </a:lnTo>
                  <a:lnTo>
                    <a:pt x="498" y="474"/>
                  </a:lnTo>
                  <a:lnTo>
                    <a:pt x="498" y="470"/>
                  </a:lnTo>
                  <a:lnTo>
                    <a:pt x="494" y="470"/>
                  </a:lnTo>
                  <a:lnTo>
                    <a:pt x="490" y="470"/>
                  </a:lnTo>
                  <a:lnTo>
                    <a:pt x="494" y="470"/>
                  </a:lnTo>
                  <a:lnTo>
                    <a:pt x="494" y="474"/>
                  </a:lnTo>
                  <a:lnTo>
                    <a:pt x="498" y="474"/>
                  </a:lnTo>
                  <a:lnTo>
                    <a:pt x="494" y="474"/>
                  </a:lnTo>
                  <a:lnTo>
                    <a:pt x="494" y="478"/>
                  </a:lnTo>
                  <a:lnTo>
                    <a:pt x="494" y="482"/>
                  </a:lnTo>
                  <a:lnTo>
                    <a:pt x="490" y="482"/>
                  </a:lnTo>
                  <a:lnTo>
                    <a:pt x="488" y="482"/>
                  </a:lnTo>
                  <a:lnTo>
                    <a:pt x="488" y="478"/>
                  </a:lnTo>
                  <a:lnTo>
                    <a:pt x="488" y="482"/>
                  </a:lnTo>
                  <a:lnTo>
                    <a:pt x="490" y="484"/>
                  </a:lnTo>
                  <a:lnTo>
                    <a:pt x="490" y="488"/>
                  </a:lnTo>
                  <a:lnTo>
                    <a:pt x="488" y="488"/>
                  </a:lnTo>
                  <a:lnTo>
                    <a:pt x="484" y="488"/>
                  </a:lnTo>
                  <a:lnTo>
                    <a:pt x="488" y="488"/>
                  </a:lnTo>
                  <a:lnTo>
                    <a:pt x="484" y="488"/>
                  </a:lnTo>
                  <a:lnTo>
                    <a:pt x="480" y="488"/>
                  </a:lnTo>
                  <a:lnTo>
                    <a:pt x="476" y="488"/>
                  </a:lnTo>
                  <a:lnTo>
                    <a:pt x="476" y="484"/>
                  </a:lnTo>
                  <a:lnTo>
                    <a:pt x="476" y="488"/>
                  </a:lnTo>
                  <a:lnTo>
                    <a:pt x="476" y="492"/>
                  </a:lnTo>
                  <a:lnTo>
                    <a:pt x="472" y="492"/>
                  </a:lnTo>
                  <a:lnTo>
                    <a:pt x="472" y="488"/>
                  </a:lnTo>
                  <a:lnTo>
                    <a:pt x="468" y="488"/>
                  </a:lnTo>
                  <a:lnTo>
                    <a:pt x="468" y="492"/>
                  </a:lnTo>
                  <a:lnTo>
                    <a:pt x="464" y="492"/>
                  </a:lnTo>
                  <a:lnTo>
                    <a:pt x="464" y="488"/>
                  </a:lnTo>
                  <a:lnTo>
                    <a:pt x="462" y="492"/>
                  </a:lnTo>
                  <a:lnTo>
                    <a:pt x="464" y="492"/>
                  </a:lnTo>
                  <a:lnTo>
                    <a:pt x="468" y="492"/>
                  </a:lnTo>
                  <a:lnTo>
                    <a:pt x="468" y="496"/>
                  </a:lnTo>
                  <a:lnTo>
                    <a:pt x="468" y="492"/>
                  </a:lnTo>
                  <a:lnTo>
                    <a:pt x="464" y="496"/>
                  </a:lnTo>
                  <a:lnTo>
                    <a:pt x="468" y="496"/>
                  </a:lnTo>
                  <a:lnTo>
                    <a:pt x="468" y="500"/>
                  </a:lnTo>
                  <a:lnTo>
                    <a:pt x="464" y="500"/>
                  </a:lnTo>
                  <a:lnTo>
                    <a:pt x="464" y="504"/>
                  </a:lnTo>
                  <a:lnTo>
                    <a:pt x="462" y="504"/>
                  </a:lnTo>
                  <a:lnTo>
                    <a:pt x="458" y="504"/>
                  </a:lnTo>
                  <a:lnTo>
                    <a:pt x="458" y="500"/>
                  </a:lnTo>
                  <a:lnTo>
                    <a:pt x="458" y="504"/>
                  </a:lnTo>
                  <a:lnTo>
                    <a:pt x="450" y="504"/>
                  </a:lnTo>
                  <a:lnTo>
                    <a:pt x="450" y="508"/>
                  </a:lnTo>
                  <a:lnTo>
                    <a:pt x="454" y="508"/>
                  </a:lnTo>
                  <a:lnTo>
                    <a:pt x="454" y="512"/>
                  </a:lnTo>
                  <a:lnTo>
                    <a:pt x="458" y="512"/>
                  </a:lnTo>
                  <a:lnTo>
                    <a:pt x="458" y="514"/>
                  </a:lnTo>
                  <a:lnTo>
                    <a:pt x="458" y="518"/>
                  </a:lnTo>
                  <a:lnTo>
                    <a:pt x="462" y="518"/>
                  </a:lnTo>
                  <a:lnTo>
                    <a:pt x="458" y="518"/>
                  </a:lnTo>
                  <a:lnTo>
                    <a:pt x="454" y="518"/>
                  </a:lnTo>
                  <a:lnTo>
                    <a:pt x="450" y="522"/>
                  </a:lnTo>
                  <a:lnTo>
                    <a:pt x="446" y="518"/>
                  </a:lnTo>
                  <a:lnTo>
                    <a:pt x="442" y="518"/>
                  </a:lnTo>
                  <a:lnTo>
                    <a:pt x="442" y="522"/>
                  </a:lnTo>
                  <a:lnTo>
                    <a:pt x="446" y="522"/>
                  </a:lnTo>
                  <a:lnTo>
                    <a:pt x="450" y="526"/>
                  </a:lnTo>
                  <a:lnTo>
                    <a:pt x="454" y="526"/>
                  </a:lnTo>
                  <a:lnTo>
                    <a:pt x="454" y="522"/>
                  </a:lnTo>
                  <a:lnTo>
                    <a:pt x="458" y="526"/>
                  </a:lnTo>
                  <a:lnTo>
                    <a:pt x="454" y="530"/>
                  </a:lnTo>
                  <a:lnTo>
                    <a:pt x="458" y="530"/>
                  </a:lnTo>
                  <a:lnTo>
                    <a:pt x="458" y="534"/>
                  </a:lnTo>
                  <a:lnTo>
                    <a:pt x="458" y="538"/>
                  </a:lnTo>
                  <a:lnTo>
                    <a:pt x="454" y="538"/>
                  </a:lnTo>
                  <a:lnTo>
                    <a:pt x="454" y="534"/>
                  </a:lnTo>
                  <a:lnTo>
                    <a:pt x="450" y="534"/>
                  </a:lnTo>
                  <a:lnTo>
                    <a:pt x="446" y="534"/>
                  </a:lnTo>
                  <a:lnTo>
                    <a:pt x="442" y="534"/>
                  </a:lnTo>
                  <a:lnTo>
                    <a:pt x="446" y="534"/>
                  </a:lnTo>
                  <a:lnTo>
                    <a:pt x="450" y="534"/>
                  </a:lnTo>
                  <a:lnTo>
                    <a:pt x="450" y="538"/>
                  </a:lnTo>
                  <a:lnTo>
                    <a:pt x="454" y="538"/>
                  </a:lnTo>
                  <a:lnTo>
                    <a:pt x="454" y="540"/>
                  </a:lnTo>
                  <a:lnTo>
                    <a:pt x="454" y="538"/>
                  </a:lnTo>
                  <a:lnTo>
                    <a:pt x="450" y="538"/>
                  </a:lnTo>
                  <a:lnTo>
                    <a:pt x="450" y="540"/>
                  </a:lnTo>
                  <a:lnTo>
                    <a:pt x="446" y="540"/>
                  </a:lnTo>
                  <a:lnTo>
                    <a:pt x="446" y="538"/>
                  </a:lnTo>
                  <a:lnTo>
                    <a:pt x="446" y="540"/>
                  </a:lnTo>
                  <a:lnTo>
                    <a:pt x="450" y="540"/>
                  </a:lnTo>
                  <a:lnTo>
                    <a:pt x="446" y="540"/>
                  </a:lnTo>
                  <a:lnTo>
                    <a:pt x="442" y="540"/>
                  </a:lnTo>
                  <a:lnTo>
                    <a:pt x="446" y="540"/>
                  </a:lnTo>
                  <a:lnTo>
                    <a:pt x="450" y="544"/>
                  </a:lnTo>
                  <a:lnTo>
                    <a:pt x="446" y="544"/>
                  </a:lnTo>
                  <a:lnTo>
                    <a:pt x="446" y="540"/>
                  </a:lnTo>
                  <a:lnTo>
                    <a:pt x="442" y="540"/>
                  </a:lnTo>
                  <a:lnTo>
                    <a:pt x="440" y="540"/>
                  </a:lnTo>
                  <a:lnTo>
                    <a:pt x="442" y="544"/>
                  </a:lnTo>
                  <a:lnTo>
                    <a:pt x="446" y="544"/>
                  </a:lnTo>
                  <a:lnTo>
                    <a:pt x="446" y="548"/>
                  </a:lnTo>
                  <a:lnTo>
                    <a:pt x="442" y="548"/>
                  </a:lnTo>
                  <a:lnTo>
                    <a:pt x="440" y="548"/>
                  </a:lnTo>
                  <a:lnTo>
                    <a:pt x="440" y="544"/>
                  </a:lnTo>
                  <a:lnTo>
                    <a:pt x="440" y="548"/>
                  </a:lnTo>
                  <a:lnTo>
                    <a:pt x="442" y="548"/>
                  </a:lnTo>
                  <a:lnTo>
                    <a:pt x="442" y="552"/>
                  </a:lnTo>
                  <a:lnTo>
                    <a:pt x="440" y="552"/>
                  </a:lnTo>
                  <a:lnTo>
                    <a:pt x="440" y="548"/>
                  </a:lnTo>
                  <a:lnTo>
                    <a:pt x="436" y="548"/>
                  </a:lnTo>
                  <a:lnTo>
                    <a:pt x="440" y="552"/>
                  </a:lnTo>
                  <a:lnTo>
                    <a:pt x="442" y="552"/>
                  </a:lnTo>
                  <a:lnTo>
                    <a:pt x="442" y="556"/>
                  </a:lnTo>
                  <a:lnTo>
                    <a:pt x="440" y="556"/>
                  </a:lnTo>
                  <a:lnTo>
                    <a:pt x="436" y="556"/>
                  </a:lnTo>
                  <a:lnTo>
                    <a:pt x="432" y="556"/>
                  </a:lnTo>
                  <a:lnTo>
                    <a:pt x="432" y="552"/>
                  </a:lnTo>
                  <a:lnTo>
                    <a:pt x="436" y="552"/>
                  </a:lnTo>
                  <a:lnTo>
                    <a:pt x="432" y="552"/>
                  </a:lnTo>
                  <a:lnTo>
                    <a:pt x="432" y="556"/>
                  </a:lnTo>
                  <a:lnTo>
                    <a:pt x="432" y="560"/>
                  </a:lnTo>
                  <a:lnTo>
                    <a:pt x="428" y="556"/>
                  </a:lnTo>
                  <a:lnTo>
                    <a:pt x="428" y="560"/>
                  </a:lnTo>
                  <a:lnTo>
                    <a:pt x="424" y="560"/>
                  </a:lnTo>
                  <a:lnTo>
                    <a:pt x="420" y="556"/>
                  </a:lnTo>
                  <a:lnTo>
                    <a:pt x="420" y="560"/>
                  </a:lnTo>
                  <a:lnTo>
                    <a:pt x="424" y="560"/>
                  </a:lnTo>
                  <a:lnTo>
                    <a:pt x="428" y="560"/>
                  </a:lnTo>
                  <a:lnTo>
                    <a:pt x="432" y="564"/>
                  </a:lnTo>
                  <a:lnTo>
                    <a:pt x="436" y="564"/>
                  </a:lnTo>
                  <a:lnTo>
                    <a:pt x="436" y="568"/>
                  </a:lnTo>
                  <a:lnTo>
                    <a:pt x="432" y="568"/>
                  </a:lnTo>
                  <a:lnTo>
                    <a:pt x="432" y="564"/>
                  </a:lnTo>
                  <a:lnTo>
                    <a:pt x="428" y="564"/>
                  </a:lnTo>
                  <a:lnTo>
                    <a:pt x="424" y="564"/>
                  </a:lnTo>
                  <a:lnTo>
                    <a:pt x="428" y="564"/>
                  </a:lnTo>
                  <a:lnTo>
                    <a:pt x="428" y="568"/>
                  </a:lnTo>
                  <a:lnTo>
                    <a:pt x="432" y="568"/>
                  </a:lnTo>
                  <a:lnTo>
                    <a:pt x="436" y="570"/>
                  </a:lnTo>
                  <a:lnTo>
                    <a:pt x="432" y="570"/>
                  </a:lnTo>
                  <a:lnTo>
                    <a:pt x="432" y="574"/>
                  </a:lnTo>
                  <a:lnTo>
                    <a:pt x="436" y="574"/>
                  </a:lnTo>
                  <a:lnTo>
                    <a:pt x="436" y="578"/>
                  </a:lnTo>
                  <a:lnTo>
                    <a:pt x="432" y="578"/>
                  </a:lnTo>
                  <a:lnTo>
                    <a:pt x="436" y="578"/>
                  </a:lnTo>
                  <a:lnTo>
                    <a:pt x="432" y="582"/>
                  </a:lnTo>
                  <a:lnTo>
                    <a:pt x="428" y="582"/>
                  </a:lnTo>
                  <a:lnTo>
                    <a:pt x="428" y="578"/>
                  </a:lnTo>
                  <a:lnTo>
                    <a:pt x="424" y="578"/>
                  </a:lnTo>
                  <a:lnTo>
                    <a:pt x="424" y="582"/>
                  </a:lnTo>
                  <a:lnTo>
                    <a:pt x="428" y="578"/>
                  </a:lnTo>
                  <a:lnTo>
                    <a:pt x="428" y="582"/>
                  </a:lnTo>
                  <a:lnTo>
                    <a:pt x="432" y="582"/>
                  </a:lnTo>
                  <a:lnTo>
                    <a:pt x="432" y="584"/>
                  </a:lnTo>
                  <a:lnTo>
                    <a:pt x="428" y="584"/>
                  </a:lnTo>
                  <a:lnTo>
                    <a:pt x="424" y="584"/>
                  </a:lnTo>
                  <a:lnTo>
                    <a:pt x="428" y="584"/>
                  </a:lnTo>
                  <a:lnTo>
                    <a:pt x="432" y="584"/>
                  </a:lnTo>
                  <a:lnTo>
                    <a:pt x="432" y="588"/>
                  </a:lnTo>
                  <a:lnTo>
                    <a:pt x="428" y="588"/>
                  </a:lnTo>
                  <a:lnTo>
                    <a:pt x="428" y="592"/>
                  </a:lnTo>
                  <a:lnTo>
                    <a:pt x="428" y="588"/>
                  </a:lnTo>
                  <a:lnTo>
                    <a:pt x="424" y="588"/>
                  </a:lnTo>
                  <a:lnTo>
                    <a:pt x="420" y="588"/>
                  </a:lnTo>
                  <a:lnTo>
                    <a:pt x="424" y="588"/>
                  </a:lnTo>
                  <a:lnTo>
                    <a:pt x="428" y="592"/>
                  </a:lnTo>
                  <a:lnTo>
                    <a:pt x="424" y="592"/>
                  </a:lnTo>
                  <a:lnTo>
                    <a:pt x="428" y="592"/>
                  </a:lnTo>
                  <a:lnTo>
                    <a:pt x="424" y="592"/>
                  </a:lnTo>
                  <a:lnTo>
                    <a:pt x="420" y="592"/>
                  </a:lnTo>
                  <a:lnTo>
                    <a:pt x="424" y="592"/>
                  </a:lnTo>
                  <a:lnTo>
                    <a:pt x="428" y="592"/>
                  </a:lnTo>
                  <a:lnTo>
                    <a:pt x="428" y="596"/>
                  </a:lnTo>
                  <a:lnTo>
                    <a:pt x="424" y="596"/>
                  </a:lnTo>
                  <a:lnTo>
                    <a:pt x="420" y="596"/>
                  </a:lnTo>
                  <a:lnTo>
                    <a:pt x="418" y="592"/>
                  </a:lnTo>
                  <a:lnTo>
                    <a:pt x="418" y="596"/>
                  </a:lnTo>
                  <a:lnTo>
                    <a:pt x="420" y="596"/>
                  </a:lnTo>
                  <a:lnTo>
                    <a:pt x="424" y="596"/>
                  </a:lnTo>
                  <a:lnTo>
                    <a:pt x="428" y="596"/>
                  </a:lnTo>
                  <a:lnTo>
                    <a:pt x="428" y="600"/>
                  </a:lnTo>
                  <a:lnTo>
                    <a:pt x="424" y="600"/>
                  </a:lnTo>
                  <a:lnTo>
                    <a:pt x="420" y="600"/>
                  </a:lnTo>
                  <a:lnTo>
                    <a:pt x="418" y="600"/>
                  </a:lnTo>
                  <a:lnTo>
                    <a:pt x="420" y="600"/>
                  </a:lnTo>
                  <a:lnTo>
                    <a:pt x="424" y="600"/>
                  </a:lnTo>
                  <a:lnTo>
                    <a:pt x="428" y="600"/>
                  </a:lnTo>
                  <a:lnTo>
                    <a:pt x="428" y="604"/>
                  </a:lnTo>
                  <a:lnTo>
                    <a:pt x="424" y="604"/>
                  </a:lnTo>
                  <a:lnTo>
                    <a:pt x="424" y="600"/>
                  </a:lnTo>
                  <a:lnTo>
                    <a:pt x="420" y="600"/>
                  </a:lnTo>
                  <a:lnTo>
                    <a:pt x="418" y="600"/>
                  </a:lnTo>
                  <a:lnTo>
                    <a:pt x="420" y="604"/>
                  </a:lnTo>
                  <a:lnTo>
                    <a:pt x="424" y="604"/>
                  </a:lnTo>
                  <a:lnTo>
                    <a:pt x="428" y="604"/>
                  </a:lnTo>
                  <a:lnTo>
                    <a:pt x="424" y="604"/>
                  </a:lnTo>
                  <a:lnTo>
                    <a:pt x="420" y="604"/>
                  </a:lnTo>
                  <a:lnTo>
                    <a:pt x="424" y="604"/>
                  </a:lnTo>
                  <a:lnTo>
                    <a:pt x="424" y="608"/>
                  </a:lnTo>
                  <a:lnTo>
                    <a:pt x="424" y="604"/>
                  </a:lnTo>
                  <a:lnTo>
                    <a:pt x="428" y="604"/>
                  </a:lnTo>
                  <a:lnTo>
                    <a:pt x="424" y="608"/>
                  </a:lnTo>
                  <a:lnTo>
                    <a:pt x="420" y="608"/>
                  </a:lnTo>
                  <a:lnTo>
                    <a:pt x="420" y="612"/>
                  </a:lnTo>
                  <a:lnTo>
                    <a:pt x="418" y="608"/>
                  </a:lnTo>
                  <a:lnTo>
                    <a:pt x="414" y="608"/>
                  </a:lnTo>
                  <a:lnTo>
                    <a:pt x="414" y="604"/>
                  </a:lnTo>
                  <a:lnTo>
                    <a:pt x="414" y="608"/>
                  </a:lnTo>
                  <a:lnTo>
                    <a:pt x="410" y="608"/>
                  </a:lnTo>
                  <a:lnTo>
                    <a:pt x="406" y="608"/>
                  </a:lnTo>
                  <a:lnTo>
                    <a:pt x="410" y="608"/>
                  </a:lnTo>
                  <a:lnTo>
                    <a:pt x="418" y="608"/>
                  </a:lnTo>
                  <a:lnTo>
                    <a:pt x="420" y="612"/>
                  </a:lnTo>
                  <a:lnTo>
                    <a:pt x="418" y="612"/>
                  </a:lnTo>
                  <a:lnTo>
                    <a:pt x="418" y="614"/>
                  </a:lnTo>
                  <a:lnTo>
                    <a:pt x="418" y="612"/>
                  </a:lnTo>
                  <a:lnTo>
                    <a:pt x="420" y="612"/>
                  </a:lnTo>
                  <a:lnTo>
                    <a:pt x="420" y="614"/>
                  </a:lnTo>
                  <a:lnTo>
                    <a:pt x="420" y="618"/>
                  </a:lnTo>
                  <a:lnTo>
                    <a:pt x="418" y="618"/>
                  </a:lnTo>
                  <a:lnTo>
                    <a:pt x="414" y="618"/>
                  </a:lnTo>
                  <a:lnTo>
                    <a:pt x="414" y="614"/>
                  </a:lnTo>
                  <a:lnTo>
                    <a:pt x="410" y="614"/>
                  </a:lnTo>
                  <a:lnTo>
                    <a:pt x="410" y="612"/>
                  </a:lnTo>
                  <a:lnTo>
                    <a:pt x="410" y="614"/>
                  </a:lnTo>
                  <a:lnTo>
                    <a:pt x="406" y="614"/>
                  </a:lnTo>
                  <a:lnTo>
                    <a:pt x="406" y="618"/>
                  </a:lnTo>
                  <a:lnTo>
                    <a:pt x="402" y="614"/>
                  </a:lnTo>
                  <a:lnTo>
                    <a:pt x="402" y="618"/>
                  </a:lnTo>
                  <a:lnTo>
                    <a:pt x="402" y="622"/>
                  </a:lnTo>
                  <a:lnTo>
                    <a:pt x="398" y="618"/>
                  </a:lnTo>
                  <a:lnTo>
                    <a:pt x="394" y="618"/>
                  </a:lnTo>
                  <a:lnTo>
                    <a:pt x="394" y="614"/>
                  </a:lnTo>
                  <a:lnTo>
                    <a:pt x="398" y="614"/>
                  </a:lnTo>
                  <a:lnTo>
                    <a:pt x="398" y="612"/>
                  </a:lnTo>
                  <a:lnTo>
                    <a:pt x="402" y="612"/>
                  </a:lnTo>
                  <a:lnTo>
                    <a:pt x="402" y="608"/>
                  </a:lnTo>
                  <a:lnTo>
                    <a:pt x="398" y="614"/>
                  </a:lnTo>
                  <a:lnTo>
                    <a:pt x="394" y="614"/>
                  </a:lnTo>
                  <a:lnTo>
                    <a:pt x="394" y="618"/>
                  </a:lnTo>
                  <a:lnTo>
                    <a:pt x="392" y="618"/>
                  </a:lnTo>
                  <a:lnTo>
                    <a:pt x="394" y="614"/>
                  </a:lnTo>
                  <a:lnTo>
                    <a:pt x="392" y="614"/>
                  </a:lnTo>
                  <a:lnTo>
                    <a:pt x="394" y="614"/>
                  </a:lnTo>
                  <a:lnTo>
                    <a:pt x="394" y="612"/>
                  </a:lnTo>
                  <a:lnTo>
                    <a:pt x="398" y="612"/>
                  </a:lnTo>
                  <a:lnTo>
                    <a:pt x="398" y="604"/>
                  </a:lnTo>
                  <a:lnTo>
                    <a:pt x="402" y="604"/>
                  </a:lnTo>
                  <a:lnTo>
                    <a:pt x="398" y="604"/>
                  </a:lnTo>
                  <a:lnTo>
                    <a:pt x="398" y="608"/>
                  </a:lnTo>
                  <a:lnTo>
                    <a:pt x="394" y="608"/>
                  </a:lnTo>
                  <a:lnTo>
                    <a:pt x="394" y="612"/>
                  </a:lnTo>
                  <a:lnTo>
                    <a:pt x="392" y="612"/>
                  </a:lnTo>
                  <a:lnTo>
                    <a:pt x="392" y="608"/>
                  </a:lnTo>
                  <a:lnTo>
                    <a:pt x="394" y="608"/>
                  </a:lnTo>
                  <a:lnTo>
                    <a:pt x="394" y="604"/>
                  </a:lnTo>
                  <a:lnTo>
                    <a:pt x="394" y="608"/>
                  </a:lnTo>
                  <a:lnTo>
                    <a:pt x="392" y="608"/>
                  </a:lnTo>
                  <a:lnTo>
                    <a:pt x="388" y="608"/>
                  </a:lnTo>
                  <a:lnTo>
                    <a:pt x="392" y="608"/>
                  </a:lnTo>
                  <a:lnTo>
                    <a:pt x="392" y="604"/>
                  </a:lnTo>
                  <a:lnTo>
                    <a:pt x="392" y="608"/>
                  </a:lnTo>
                  <a:lnTo>
                    <a:pt x="388" y="608"/>
                  </a:lnTo>
                  <a:lnTo>
                    <a:pt x="388" y="612"/>
                  </a:lnTo>
                  <a:lnTo>
                    <a:pt x="384" y="608"/>
                  </a:lnTo>
                  <a:lnTo>
                    <a:pt x="388" y="608"/>
                  </a:lnTo>
                  <a:lnTo>
                    <a:pt x="384" y="608"/>
                  </a:lnTo>
                  <a:lnTo>
                    <a:pt x="388" y="604"/>
                  </a:lnTo>
                  <a:lnTo>
                    <a:pt x="384" y="604"/>
                  </a:lnTo>
                  <a:lnTo>
                    <a:pt x="388" y="604"/>
                  </a:lnTo>
                  <a:lnTo>
                    <a:pt x="392" y="600"/>
                  </a:lnTo>
                  <a:lnTo>
                    <a:pt x="392" y="596"/>
                  </a:lnTo>
                  <a:lnTo>
                    <a:pt x="392" y="600"/>
                  </a:lnTo>
                  <a:lnTo>
                    <a:pt x="388" y="600"/>
                  </a:lnTo>
                  <a:lnTo>
                    <a:pt x="388" y="604"/>
                  </a:lnTo>
                  <a:lnTo>
                    <a:pt x="384" y="604"/>
                  </a:lnTo>
                  <a:lnTo>
                    <a:pt x="384" y="600"/>
                  </a:lnTo>
                  <a:lnTo>
                    <a:pt x="384" y="604"/>
                  </a:lnTo>
                  <a:lnTo>
                    <a:pt x="380" y="604"/>
                  </a:lnTo>
                  <a:lnTo>
                    <a:pt x="380" y="600"/>
                  </a:lnTo>
                  <a:lnTo>
                    <a:pt x="384" y="600"/>
                  </a:lnTo>
                  <a:lnTo>
                    <a:pt x="380" y="600"/>
                  </a:lnTo>
                  <a:lnTo>
                    <a:pt x="380" y="604"/>
                  </a:lnTo>
                  <a:lnTo>
                    <a:pt x="380" y="600"/>
                  </a:lnTo>
                  <a:lnTo>
                    <a:pt x="384" y="600"/>
                  </a:lnTo>
                  <a:lnTo>
                    <a:pt x="388" y="600"/>
                  </a:lnTo>
                  <a:lnTo>
                    <a:pt x="388" y="596"/>
                  </a:lnTo>
                  <a:lnTo>
                    <a:pt x="392" y="596"/>
                  </a:lnTo>
                  <a:lnTo>
                    <a:pt x="392" y="592"/>
                  </a:lnTo>
                  <a:lnTo>
                    <a:pt x="392" y="596"/>
                  </a:lnTo>
                  <a:lnTo>
                    <a:pt x="392" y="592"/>
                  </a:lnTo>
                  <a:lnTo>
                    <a:pt x="388" y="592"/>
                  </a:lnTo>
                  <a:lnTo>
                    <a:pt x="388" y="596"/>
                  </a:lnTo>
                  <a:lnTo>
                    <a:pt x="384" y="600"/>
                  </a:lnTo>
                  <a:lnTo>
                    <a:pt x="384" y="596"/>
                  </a:lnTo>
                  <a:lnTo>
                    <a:pt x="384" y="600"/>
                  </a:lnTo>
                  <a:lnTo>
                    <a:pt x="380" y="600"/>
                  </a:lnTo>
                  <a:lnTo>
                    <a:pt x="380" y="596"/>
                  </a:lnTo>
                  <a:lnTo>
                    <a:pt x="384" y="596"/>
                  </a:lnTo>
                  <a:lnTo>
                    <a:pt x="388" y="592"/>
                  </a:lnTo>
                  <a:lnTo>
                    <a:pt x="384" y="592"/>
                  </a:lnTo>
                  <a:lnTo>
                    <a:pt x="384" y="588"/>
                  </a:lnTo>
                  <a:lnTo>
                    <a:pt x="388" y="588"/>
                  </a:lnTo>
                  <a:lnTo>
                    <a:pt x="384" y="588"/>
                  </a:lnTo>
                  <a:lnTo>
                    <a:pt x="380" y="592"/>
                  </a:lnTo>
                  <a:lnTo>
                    <a:pt x="384" y="592"/>
                  </a:lnTo>
                  <a:lnTo>
                    <a:pt x="384" y="596"/>
                  </a:lnTo>
                  <a:lnTo>
                    <a:pt x="380" y="596"/>
                  </a:lnTo>
                  <a:lnTo>
                    <a:pt x="376" y="596"/>
                  </a:lnTo>
                  <a:lnTo>
                    <a:pt x="372" y="596"/>
                  </a:lnTo>
                  <a:lnTo>
                    <a:pt x="372" y="600"/>
                  </a:lnTo>
                  <a:lnTo>
                    <a:pt x="368" y="600"/>
                  </a:lnTo>
                  <a:lnTo>
                    <a:pt x="372" y="600"/>
                  </a:lnTo>
                  <a:lnTo>
                    <a:pt x="368" y="604"/>
                  </a:lnTo>
                  <a:lnTo>
                    <a:pt x="368" y="600"/>
                  </a:lnTo>
                  <a:lnTo>
                    <a:pt x="368" y="596"/>
                  </a:lnTo>
                  <a:lnTo>
                    <a:pt x="364" y="600"/>
                  </a:lnTo>
                  <a:lnTo>
                    <a:pt x="362" y="600"/>
                  </a:lnTo>
                  <a:lnTo>
                    <a:pt x="358" y="600"/>
                  </a:lnTo>
                  <a:lnTo>
                    <a:pt x="362" y="600"/>
                  </a:lnTo>
                  <a:lnTo>
                    <a:pt x="358" y="600"/>
                  </a:lnTo>
                  <a:lnTo>
                    <a:pt x="354" y="600"/>
                  </a:lnTo>
                  <a:lnTo>
                    <a:pt x="350" y="600"/>
                  </a:lnTo>
                  <a:lnTo>
                    <a:pt x="354" y="600"/>
                  </a:lnTo>
                  <a:lnTo>
                    <a:pt x="358" y="596"/>
                  </a:lnTo>
                  <a:lnTo>
                    <a:pt x="354" y="596"/>
                  </a:lnTo>
                  <a:lnTo>
                    <a:pt x="350" y="600"/>
                  </a:lnTo>
                  <a:lnTo>
                    <a:pt x="350" y="596"/>
                  </a:lnTo>
                  <a:lnTo>
                    <a:pt x="346" y="596"/>
                  </a:lnTo>
                  <a:lnTo>
                    <a:pt x="350" y="596"/>
                  </a:lnTo>
                  <a:lnTo>
                    <a:pt x="354" y="596"/>
                  </a:lnTo>
                  <a:lnTo>
                    <a:pt x="350" y="596"/>
                  </a:lnTo>
                  <a:lnTo>
                    <a:pt x="350" y="592"/>
                  </a:lnTo>
                  <a:lnTo>
                    <a:pt x="354" y="588"/>
                  </a:lnTo>
                  <a:lnTo>
                    <a:pt x="350" y="588"/>
                  </a:lnTo>
                  <a:lnTo>
                    <a:pt x="350" y="592"/>
                  </a:lnTo>
                  <a:lnTo>
                    <a:pt x="350" y="596"/>
                  </a:lnTo>
                  <a:lnTo>
                    <a:pt x="346" y="592"/>
                  </a:lnTo>
                  <a:lnTo>
                    <a:pt x="350" y="592"/>
                  </a:lnTo>
                  <a:lnTo>
                    <a:pt x="346" y="592"/>
                  </a:lnTo>
                  <a:lnTo>
                    <a:pt x="342" y="592"/>
                  </a:lnTo>
                  <a:lnTo>
                    <a:pt x="346" y="592"/>
                  </a:lnTo>
                  <a:lnTo>
                    <a:pt x="346" y="588"/>
                  </a:lnTo>
                  <a:lnTo>
                    <a:pt x="342" y="588"/>
                  </a:lnTo>
                  <a:lnTo>
                    <a:pt x="338" y="588"/>
                  </a:lnTo>
                  <a:lnTo>
                    <a:pt x="342" y="584"/>
                  </a:lnTo>
                  <a:lnTo>
                    <a:pt x="346" y="584"/>
                  </a:lnTo>
                  <a:lnTo>
                    <a:pt x="350" y="584"/>
                  </a:lnTo>
                  <a:lnTo>
                    <a:pt x="346" y="584"/>
                  </a:lnTo>
                  <a:lnTo>
                    <a:pt x="342" y="584"/>
                  </a:lnTo>
                  <a:lnTo>
                    <a:pt x="338" y="584"/>
                  </a:lnTo>
                  <a:lnTo>
                    <a:pt x="334" y="584"/>
                  </a:lnTo>
                  <a:lnTo>
                    <a:pt x="338" y="584"/>
                  </a:lnTo>
                  <a:lnTo>
                    <a:pt x="342" y="584"/>
                  </a:lnTo>
                  <a:lnTo>
                    <a:pt x="346" y="582"/>
                  </a:lnTo>
                  <a:lnTo>
                    <a:pt x="342" y="582"/>
                  </a:lnTo>
                  <a:lnTo>
                    <a:pt x="338" y="584"/>
                  </a:lnTo>
                  <a:lnTo>
                    <a:pt x="338" y="582"/>
                  </a:lnTo>
                  <a:lnTo>
                    <a:pt x="334" y="582"/>
                  </a:lnTo>
                  <a:lnTo>
                    <a:pt x="338" y="578"/>
                  </a:lnTo>
                  <a:lnTo>
                    <a:pt x="338" y="574"/>
                  </a:lnTo>
                  <a:lnTo>
                    <a:pt x="342" y="574"/>
                  </a:lnTo>
                  <a:lnTo>
                    <a:pt x="338" y="574"/>
                  </a:lnTo>
                  <a:lnTo>
                    <a:pt x="334" y="578"/>
                  </a:lnTo>
                  <a:lnTo>
                    <a:pt x="334" y="582"/>
                  </a:lnTo>
                  <a:lnTo>
                    <a:pt x="334" y="578"/>
                  </a:lnTo>
                  <a:lnTo>
                    <a:pt x="332" y="578"/>
                  </a:lnTo>
                  <a:lnTo>
                    <a:pt x="334" y="574"/>
                  </a:lnTo>
                  <a:lnTo>
                    <a:pt x="338" y="574"/>
                  </a:lnTo>
                  <a:lnTo>
                    <a:pt x="342" y="574"/>
                  </a:lnTo>
                  <a:lnTo>
                    <a:pt x="338" y="574"/>
                  </a:lnTo>
                  <a:lnTo>
                    <a:pt x="338" y="570"/>
                  </a:lnTo>
                  <a:lnTo>
                    <a:pt x="334" y="570"/>
                  </a:lnTo>
                  <a:lnTo>
                    <a:pt x="334" y="574"/>
                  </a:lnTo>
                  <a:lnTo>
                    <a:pt x="332" y="574"/>
                  </a:lnTo>
                  <a:lnTo>
                    <a:pt x="328" y="574"/>
                  </a:lnTo>
                  <a:lnTo>
                    <a:pt x="328" y="570"/>
                  </a:lnTo>
                  <a:lnTo>
                    <a:pt x="332" y="570"/>
                  </a:lnTo>
                  <a:lnTo>
                    <a:pt x="332" y="574"/>
                  </a:lnTo>
                  <a:lnTo>
                    <a:pt x="334" y="570"/>
                  </a:lnTo>
                  <a:lnTo>
                    <a:pt x="332" y="570"/>
                  </a:lnTo>
                  <a:lnTo>
                    <a:pt x="334" y="570"/>
                  </a:lnTo>
                  <a:lnTo>
                    <a:pt x="334" y="568"/>
                  </a:lnTo>
                  <a:lnTo>
                    <a:pt x="332" y="570"/>
                  </a:lnTo>
                  <a:lnTo>
                    <a:pt x="328" y="568"/>
                  </a:lnTo>
                  <a:lnTo>
                    <a:pt x="328" y="570"/>
                  </a:lnTo>
                  <a:lnTo>
                    <a:pt x="328" y="568"/>
                  </a:lnTo>
                  <a:lnTo>
                    <a:pt x="324" y="568"/>
                  </a:lnTo>
                  <a:lnTo>
                    <a:pt x="320" y="564"/>
                  </a:lnTo>
                  <a:lnTo>
                    <a:pt x="320" y="560"/>
                  </a:lnTo>
                  <a:lnTo>
                    <a:pt x="324" y="556"/>
                  </a:lnTo>
                  <a:lnTo>
                    <a:pt x="320" y="560"/>
                  </a:lnTo>
                  <a:lnTo>
                    <a:pt x="320" y="556"/>
                  </a:lnTo>
                  <a:lnTo>
                    <a:pt x="324" y="552"/>
                  </a:lnTo>
                  <a:lnTo>
                    <a:pt x="328" y="552"/>
                  </a:lnTo>
                  <a:lnTo>
                    <a:pt x="328" y="548"/>
                  </a:lnTo>
                  <a:lnTo>
                    <a:pt x="328" y="552"/>
                  </a:lnTo>
                  <a:lnTo>
                    <a:pt x="324" y="552"/>
                  </a:lnTo>
                  <a:lnTo>
                    <a:pt x="320" y="556"/>
                  </a:lnTo>
                  <a:lnTo>
                    <a:pt x="320" y="552"/>
                  </a:lnTo>
                  <a:lnTo>
                    <a:pt x="324" y="552"/>
                  </a:lnTo>
                  <a:lnTo>
                    <a:pt x="320" y="552"/>
                  </a:lnTo>
                  <a:lnTo>
                    <a:pt x="316" y="552"/>
                  </a:lnTo>
                  <a:lnTo>
                    <a:pt x="316" y="548"/>
                  </a:lnTo>
                  <a:lnTo>
                    <a:pt x="320" y="548"/>
                  </a:lnTo>
                  <a:lnTo>
                    <a:pt x="324" y="544"/>
                  </a:lnTo>
                  <a:lnTo>
                    <a:pt x="320" y="544"/>
                  </a:lnTo>
                  <a:lnTo>
                    <a:pt x="320" y="548"/>
                  </a:lnTo>
                  <a:lnTo>
                    <a:pt x="316" y="548"/>
                  </a:lnTo>
                  <a:lnTo>
                    <a:pt x="316" y="544"/>
                  </a:lnTo>
                  <a:lnTo>
                    <a:pt x="312" y="548"/>
                  </a:lnTo>
                  <a:lnTo>
                    <a:pt x="312" y="544"/>
                  </a:lnTo>
                  <a:lnTo>
                    <a:pt x="312" y="548"/>
                  </a:lnTo>
                  <a:lnTo>
                    <a:pt x="308" y="548"/>
                  </a:lnTo>
                  <a:lnTo>
                    <a:pt x="308" y="544"/>
                  </a:lnTo>
                  <a:lnTo>
                    <a:pt x="312" y="544"/>
                  </a:lnTo>
                  <a:lnTo>
                    <a:pt x="316" y="544"/>
                  </a:lnTo>
                  <a:lnTo>
                    <a:pt x="320" y="540"/>
                  </a:lnTo>
                  <a:lnTo>
                    <a:pt x="316" y="540"/>
                  </a:lnTo>
                  <a:lnTo>
                    <a:pt x="312" y="540"/>
                  </a:lnTo>
                  <a:lnTo>
                    <a:pt x="308" y="540"/>
                  </a:lnTo>
                  <a:lnTo>
                    <a:pt x="312" y="540"/>
                  </a:lnTo>
                  <a:lnTo>
                    <a:pt x="312" y="538"/>
                  </a:lnTo>
                  <a:lnTo>
                    <a:pt x="308" y="538"/>
                  </a:lnTo>
                  <a:lnTo>
                    <a:pt x="308" y="540"/>
                  </a:lnTo>
                  <a:lnTo>
                    <a:pt x="308" y="538"/>
                  </a:lnTo>
                  <a:lnTo>
                    <a:pt x="312" y="538"/>
                  </a:lnTo>
                  <a:lnTo>
                    <a:pt x="316" y="538"/>
                  </a:lnTo>
                  <a:lnTo>
                    <a:pt x="312" y="538"/>
                  </a:lnTo>
                  <a:lnTo>
                    <a:pt x="308" y="538"/>
                  </a:lnTo>
                  <a:lnTo>
                    <a:pt x="308" y="540"/>
                  </a:lnTo>
                  <a:lnTo>
                    <a:pt x="306" y="538"/>
                  </a:lnTo>
                  <a:lnTo>
                    <a:pt x="302" y="538"/>
                  </a:lnTo>
                  <a:lnTo>
                    <a:pt x="302" y="534"/>
                  </a:lnTo>
                  <a:lnTo>
                    <a:pt x="306" y="534"/>
                  </a:lnTo>
                  <a:lnTo>
                    <a:pt x="308" y="534"/>
                  </a:lnTo>
                  <a:lnTo>
                    <a:pt x="308" y="530"/>
                  </a:lnTo>
                  <a:lnTo>
                    <a:pt x="312" y="530"/>
                  </a:lnTo>
                  <a:lnTo>
                    <a:pt x="308" y="530"/>
                  </a:lnTo>
                  <a:lnTo>
                    <a:pt x="306" y="530"/>
                  </a:lnTo>
                  <a:lnTo>
                    <a:pt x="306" y="534"/>
                  </a:lnTo>
                  <a:lnTo>
                    <a:pt x="306" y="530"/>
                  </a:lnTo>
                  <a:lnTo>
                    <a:pt x="302" y="530"/>
                  </a:lnTo>
                  <a:lnTo>
                    <a:pt x="302" y="526"/>
                  </a:lnTo>
                  <a:lnTo>
                    <a:pt x="306" y="526"/>
                  </a:lnTo>
                  <a:lnTo>
                    <a:pt x="312" y="526"/>
                  </a:lnTo>
                  <a:lnTo>
                    <a:pt x="316" y="526"/>
                  </a:lnTo>
                  <a:lnTo>
                    <a:pt x="316" y="522"/>
                  </a:lnTo>
                  <a:lnTo>
                    <a:pt x="316" y="526"/>
                  </a:lnTo>
                  <a:lnTo>
                    <a:pt x="320" y="522"/>
                  </a:lnTo>
                  <a:lnTo>
                    <a:pt x="324" y="522"/>
                  </a:lnTo>
                  <a:lnTo>
                    <a:pt x="320" y="522"/>
                  </a:lnTo>
                  <a:lnTo>
                    <a:pt x="316" y="522"/>
                  </a:lnTo>
                  <a:lnTo>
                    <a:pt x="312" y="522"/>
                  </a:lnTo>
                  <a:lnTo>
                    <a:pt x="312" y="526"/>
                  </a:lnTo>
                  <a:lnTo>
                    <a:pt x="308" y="526"/>
                  </a:lnTo>
                  <a:lnTo>
                    <a:pt x="306" y="526"/>
                  </a:lnTo>
                  <a:lnTo>
                    <a:pt x="302" y="526"/>
                  </a:lnTo>
                  <a:lnTo>
                    <a:pt x="302" y="522"/>
                  </a:lnTo>
                  <a:lnTo>
                    <a:pt x="306" y="522"/>
                  </a:lnTo>
                  <a:lnTo>
                    <a:pt x="306" y="526"/>
                  </a:lnTo>
                  <a:lnTo>
                    <a:pt x="306" y="522"/>
                  </a:lnTo>
                  <a:lnTo>
                    <a:pt x="302" y="522"/>
                  </a:lnTo>
                  <a:lnTo>
                    <a:pt x="302" y="526"/>
                  </a:lnTo>
                  <a:lnTo>
                    <a:pt x="302" y="522"/>
                  </a:lnTo>
                  <a:lnTo>
                    <a:pt x="306" y="522"/>
                  </a:lnTo>
                  <a:lnTo>
                    <a:pt x="308" y="522"/>
                  </a:lnTo>
                  <a:lnTo>
                    <a:pt x="312" y="522"/>
                  </a:lnTo>
                  <a:lnTo>
                    <a:pt x="308" y="522"/>
                  </a:lnTo>
                  <a:lnTo>
                    <a:pt x="312" y="518"/>
                  </a:lnTo>
                  <a:lnTo>
                    <a:pt x="316" y="518"/>
                  </a:lnTo>
                  <a:lnTo>
                    <a:pt x="320" y="518"/>
                  </a:lnTo>
                  <a:lnTo>
                    <a:pt x="324" y="518"/>
                  </a:lnTo>
                  <a:lnTo>
                    <a:pt x="324" y="514"/>
                  </a:lnTo>
                  <a:lnTo>
                    <a:pt x="320" y="514"/>
                  </a:lnTo>
                  <a:lnTo>
                    <a:pt x="320" y="518"/>
                  </a:lnTo>
                  <a:lnTo>
                    <a:pt x="316" y="518"/>
                  </a:lnTo>
                  <a:lnTo>
                    <a:pt x="316" y="514"/>
                  </a:lnTo>
                  <a:lnTo>
                    <a:pt x="320" y="514"/>
                  </a:lnTo>
                  <a:lnTo>
                    <a:pt x="316" y="514"/>
                  </a:lnTo>
                  <a:lnTo>
                    <a:pt x="312" y="514"/>
                  </a:lnTo>
                  <a:lnTo>
                    <a:pt x="312" y="512"/>
                  </a:lnTo>
                  <a:lnTo>
                    <a:pt x="316" y="512"/>
                  </a:lnTo>
                  <a:lnTo>
                    <a:pt x="320" y="512"/>
                  </a:lnTo>
                  <a:lnTo>
                    <a:pt x="316" y="512"/>
                  </a:lnTo>
                  <a:lnTo>
                    <a:pt x="320" y="512"/>
                  </a:lnTo>
                  <a:lnTo>
                    <a:pt x="320" y="514"/>
                  </a:lnTo>
                  <a:lnTo>
                    <a:pt x="324" y="514"/>
                  </a:lnTo>
                  <a:lnTo>
                    <a:pt x="324" y="518"/>
                  </a:lnTo>
                  <a:lnTo>
                    <a:pt x="328" y="518"/>
                  </a:lnTo>
                  <a:lnTo>
                    <a:pt x="332" y="518"/>
                  </a:lnTo>
                  <a:lnTo>
                    <a:pt x="328" y="518"/>
                  </a:lnTo>
                  <a:lnTo>
                    <a:pt x="324" y="514"/>
                  </a:lnTo>
                  <a:lnTo>
                    <a:pt x="324" y="512"/>
                  </a:lnTo>
                  <a:lnTo>
                    <a:pt x="320" y="512"/>
                  </a:lnTo>
                  <a:lnTo>
                    <a:pt x="324" y="508"/>
                  </a:lnTo>
                  <a:lnTo>
                    <a:pt x="320" y="508"/>
                  </a:lnTo>
                  <a:lnTo>
                    <a:pt x="320" y="512"/>
                  </a:lnTo>
                  <a:lnTo>
                    <a:pt x="316" y="512"/>
                  </a:lnTo>
                  <a:lnTo>
                    <a:pt x="316" y="508"/>
                  </a:lnTo>
                  <a:lnTo>
                    <a:pt x="316" y="504"/>
                  </a:lnTo>
                  <a:lnTo>
                    <a:pt x="312" y="504"/>
                  </a:lnTo>
                  <a:lnTo>
                    <a:pt x="312" y="500"/>
                  </a:lnTo>
                  <a:lnTo>
                    <a:pt x="312" y="504"/>
                  </a:lnTo>
                  <a:lnTo>
                    <a:pt x="316" y="508"/>
                  </a:lnTo>
                  <a:lnTo>
                    <a:pt x="316" y="512"/>
                  </a:lnTo>
                  <a:lnTo>
                    <a:pt x="312" y="512"/>
                  </a:lnTo>
                  <a:lnTo>
                    <a:pt x="308" y="512"/>
                  </a:lnTo>
                  <a:lnTo>
                    <a:pt x="308" y="514"/>
                  </a:lnTo>
                  <a:lnTo>
                    <a:pt x="308" y="512"/>
                  </a:lnTo>
                  <a:lnTo>
                    <a:pt x="308" y="508"/>
                  </a:lnTo>
                  <a:lnTo>
                    <a:pt x="308" y="512"/>
                  </a:lnTo>
                  <a:lnTo>
                    <a:pt x="306" y="512"/>
                  </a:lnTo>
                  <a:lnTo>
                    <a:pt x="306" y="514"/>
                  </a:lnTo>
                  <a:lnTo>
                    <a:pt x="302" y="518"/>
                  </a:lnTo>
                  <a:lnTo>
                    <a:pt x="302" y="522"/>
                  </a:lnTo>
                  <a:lnTo>
                    <a:pt x="298" y="522"/>
                  </a:lnTo>
                  <a:lnTo>
                    <a:pt x="298" y="518"/>
                  </a:lnTo>
                  <a:lnTo>
                    <a:pt x="294" y="518"/>
                  </a:lnTo>
                  <a:lnTo>
                    <a:pt x="294" y="514"/>
                  </a:lnTo>
                  <a:lnTo>
                    <a:pt x="294" y="512"/>
                  </a:lnTo>
                  <a:lnTo>
                    <a:pt x="298" y="508"/>
                  </a:lnTo>
                  <a:lnTo>
                    <a:pt x="302" y="508"/>
                  </a:lnTo>
                  <a:lnTo>
                    <a:pt x="306" y="508"/>
                  </a:lnTo>
                  <a:lnTo>
                    <a:pt x="306" y="504"/>
                  </a:lnTo>
                  <a:lnTo>
                    <a:pt x="308" y="504"/>
                  </a:lnTo>
                  <a:lnTo>
                    <a:pt x="306" y="504"/>
                  </a:lnTo>
                  <a:lnTo>
                    <a:pt x="302" y="508"/>
                  </a:lnTo>
                  <a:lnTo>
                    <a:pt x="302" y="504"/>
                  </a:lnTo>
                  <a:lnTo>
                    <a:pt x="298" y="508"/>
                  </a:lnTo>
                  <a:lnTo>
                    <a:pt x="294" y="508"/>
                  </a:lnTo>
                  <a:lnTo>
                    <a:pt x="298" y="508"/>
                  </a:lnTo>
                  <a:lnTo>
                    <a:pt x="294" y="508"/>
                  </a:lnTo>
                  <a:lnTo>
                    <a:pt x="294" y="504"/>
                  </a:lnTo>
                  <a:lnTo>
                    <a:pt x="298" y="504"/>
                  </a:lnTo>
                  <a:lnTo>
                    <a:pt x="294" y="504"/>
                  </a:lnTo>
                  <a:lnTo>
                    <a:pt x="294" y="500"/>
                  </a:lnTo>
                  <a:lnTo>
                    <a:pt x="294" y="496"/>
                  </a:lnTo>
                  <a:lnTo>
                    <a:pt x="294" y="500"/>
                  </a:lnTo>
                  <a:lnTo>
                    <a:pt x="290" y="500"/>
                  </a:lnTo>
                  <a:lnTo>
                    <a:pt x="294" y="500"/>
                  </a:lnTo>
                  <a:lnTo>
                    <a:pt x="294" y="496"/>
                  </a:lnTo>
                  <a:lnTo>
                    <a:pt x="290" y="496"/>
                  </a:lnTo>
                  <a:lnTo>
                    <a:pt x="290" y="500"/>
                  </a:lnTo>
                  <a:lnTo>
                    <a:pt x="290" y="496"/>
                  </a:lnTo>
                  <a:lnTo>
                    <a:pt x="294" y="492"/>
                  </a:lnTo>
                  <a:lnTo>
                    <a:pt x="298" y="492"/>
                  </a:lnTo>
                  <a:lnTo>
                    <a:pt x="298" y="488"/>
                  </a:lnTo>
                  <a:lnTo>
                    <a:pt x="302" y="488"/>
                  </a:lnTo>
                  <a:lnTo>
                    <a:pt x="298" y="488"/>
                  </a:lnTo>
                  <a:lnTo>
                    <a:pt x="302" y="488"/>
                  </a:lnTo>
                  <a:lnTo>
                    <a:pt x="302" y="484"/>
                  </a:lnTo>
                  <a:lnTo>
                    <a:pt x="306" y="484"/>
                  </a:lnTo>
                  <a:lnTo>
                    <a:pt x="308" y="484"/>
                  </a:lnTo>
                  <a:lnTo>
                    <a:pt x="312" y="484"/>
                  </a:lnTo>
                  <a:lnTo>
                    <a:pt x="312" y="488"/>
                  </a:lnTo>
                  <a:lnTo>
                    <a:pt x="316" y="488"/>
                  </a:lnTo>
                  <a:lnTo>
                    <a:pt x="316" y="484"/>
                  </a:lnTo>
                  <a:lnTo>
                    <a:pt x="312" y="484"/>
                  </a:lnTo>
                  <a:lnTo>
                    <a:pt x="308" y="484"/>
                  </a:lnTo>
                  <a:lnTo>
                    <a:pt x="306" y="484"/>
                  </a:lnTo>
                  <a:lnTo>
                    <a:pt x="302" y="484"/>
                  </a:lnTo>
                  <a:lnTo>
                    <a:pt x="298" y="488"/>
                  </a:lnTo>
                  <a:lnTo>
                    <a:pt x="298" y="492"/>
                  </a:lnTo>
                  <a:lnTo>
                    <a:pt x="294" y="492"/>
                  </a:lnTo>
                  <a:lnTo>
                    <a:pt x="290" y="492"/>
                  </a:lnTo>
                  <a:lnTo>
                    <a:pt x="290" y="496"/>
                  </a:lnTo>
                  <a:lnTo>
                    <a:pt x="286" y="492"/>
                  </a:lnTo>
                  <a:lnTo>
                    <a:pt x="290" y="488"/>
                  </a:lnTo>
                  <a:lnTo>
                    <a:pt x="286" y="488"/>
                  </a:lnTo>
                  <a:lnTo>
                    <a:pt x="286" y="492"/>
                  </a:lnTo>
                  <a:lnTo>
                    <a:pt x="286" y="488"/>
                  </a:lnTo>
                  <a:lnTo>
                    <a:pt x="286" y="484"/>
                  </a:lnTo>
                  <a:lnTo>
                    <a:pt x="286" y="488"/>
                  </a:lnTo>
                  <a:lnTo>
                    <a:pt x="282" y="488"/>
                  </a:lnTo>
                  <a:lnTo>
                    <a:pt x="278" y="488"/>
                  </a:lnTo>
                  <a:lnTo>
                    <a:pt x="278" y="484"/>
                  </a:lnTo>
                  <a:lnTo>
                    <a:pt x="282" y="484"/>
                  </a:lnTo>
                  <a:lnTo>
                    <a:pt x="278" y="484"/>
                  </a:lnTo>
                  <a:lnTo>
                    <a:pt x="282" y="484"/>
                  </a:lnTo>
                  <a:lnTo>
                    <a:pt x="282" y="482"/>
                  </a:lnTo>
                  <a:lnTo>
                    <a:pt x="286" y="482"/>
                  </a:lnTo>
                  <a:lnTo>
                    <a:pt x="290" y="482"/>
                  </a:lnTo>
                  <a:lnTo>
                    <a:pt x="294" y="482"/>
                  </a:lnTo>
                  <a:lnTo>
                    <a:pt x="298" y="482"/>
                  </a:lnTo>
                  <a:lnTo>
                    <a:pt x="298" y="478"/>
                  </a:lnTo>
                  <a:lnTo>
                    <a:pt x="294" y="482"/>
                  </a:lnTo>
                  <a:lnTo>
                    <a:pt x="290" y="482"/>
                  </a:lnTo>
                  <a:lnTo>
                    <a:pt x="286" y="482"/>
                  </a:lnTo>
                  <a:lnTo>
                    <a:pt x="282" y="482"/>
                  </a:lnTo>
                  <a:lnTo>
                    <a:pt x="278" y="484"/>
                  </a:lnTo>
                  <a:lnTo>
                    <a:pt x="278" y="482"/>
                  </a:lnTo>
                  <a:lnTo>
                    <a:pt x="282" y="482"/>
                  </a:lnTo>
                  <a:lnTo>
                    <a:pt x="282" y="478"/>
                  </a:lnTo>
                  <a:lnTo>
                    <a:pt x="282" y="482"/>
                  </a:lnTo>
                  <a:lnTo>
                    <a:pt x="278" y="482"/>
                  </a:lnTo>
                  <a:lnTo>
                    <a:pt x="276" y="482"/>
                  </a:lnTo>
                  <a:lnTo>
                    <a:pt x="278" y="482"/>
                  </a:lnTo>
                  <a:lnTo>
                    <a:pt x="278" y="478"/>
                  </a:lnTo>
                  <a:lnTo>
                    <a:pt x="278" y="482"/>
                  </a:lnTo>
                  <a:lnTo>
                    <a:pt x="278" y="478"/>
                  </a:lnTo>
                  <a:lnTo>
                    <a:pt x="276" y="478"/>
                  </a:lnTo>
                  <a:lnTo>
                    <a:pt x="278" y="478"/>
                  </a:lnTo>
                  <a:lnTo>
                    <a:pt x="282" y="478"/>
                  </a:lnTo>
                  <a:lnTo>
                    <a:pt x="282" y="474"/>
                  </a:lnTo>
                  <a:lnTo>
                    <a:pt x="286" y="474"/>
                  </a:lnTo>
                  <a:lnTo>
                    <a:pt x="286" y="470"/>
                  </a:lnTo>
                  <a:lnTo>
                    <a:pt x="290" y="470"/>
                  </a:lnTo>
                  <a:lnTo>
                    <a:pt x="294" y="470"/>
                  </a:lnTo>
                  <a:lnTo>
                    <a:pt x="294" y="466"/>
                  </a:lnTo>
                  <a:lnTo>
                    <a:pt x="298" y="466"/>
                  </a:lnTo>
                  <a:lnTo>
                    <a:pt x="298" y="462"/>
                  </a:lnTo>
                  <a:lnTo>
                    <a:pt x="302" y="462"/>
                  </a:lnTo>
                  <a:lnTo>
                    <a:pt x="306" y="462"/>
                  </a:lnTo>
                  <a:lnTo>
                    <a:pt x="306" y="458"/>
                  </a:lnTo>
                  <a:lnTo>
                    <a:pt x="308" y="458"/>
                  </a:lnTo>
                  <a:lnTo>
                    <a:pt x="312" y="458"/>
                  </a:lnTo>
                  <a:lnTo>
                    <a:pt x="316" y="458"/>
                  </a:lnTo>
                  <a:lnTo>
                    <a:pt x="320" y="458"/>
                  </a:lnTo>
                  <a:lnTo>
                    <a:pt x="316" y="458"/>
                  </a:lnTo>
                  <a:lnTo>
                    <a:pt x="312" y="458"/>
                  </a:lnTo>
                  <a:lnTo>
                    <a:pt x="308" y="458"/>
                  </a:lnTo>
                  <a:lnTo>
                    <a:pt x="312" y="458"/>
                  </a:lnTo>
                  <a:lnTo>
                    <a:pt x="312" y="456"/>
                  </a:lnTo>
                  <a:lnTo>
                    <a:pt x="316" y="456"/>
                  </a:lnTo>
                  <a:lnTo>
                    <a:pt x="320" y="456"/>
                  </a:lnTo>
                  <a:lnTo>
                    <a:pt x="324" y="456"/>
                  </a:lnTo>
                  <a:lnTo>
                    <a:pt x="320" y="456"/>
                  </a:lnTo>
                  <a:lnTo>
                    <a:pt x="316" y="456"/>
                  </a:lnTo>
                  <a:lnTo>
                    <a:pt x="320" y="456"/>
                  </a:lnTo>
                  <a:lnTo>
                    <a:pt x="316" y="456"/>
                  </a:lnTo>
                  <a:lnTo>
                    <a:pt x="312" y="456"/>
                  </a:lnTo>
                  <a:lnTo>
                    <a:pt x="308" y="456"/>
                  </a:lnTo>
                  <a:lnTo>
                    <a:pt x="308" y="458"/>
                  </a:lnTo>
                  <a:lnTo>
                    <a:pt x="306" y="458"/>
                  </a:lnTo>
                  <a:lnTo>
                    <a:pt x="302" y="458"/>
                  </a:lnTo>
                  <a:lnTo>
                    <a:pt x="302" y="462"/>
                  </a:lnTo>
                  <a:lnTo>
                    <a:pt x="298" y="462"/>
                  </a:lnTo>
                  <a:lnTo>
                    <a:pt x="298" y="466"/>
                  </a:lnTo>
                  <a:lnTo>
                    <a:pt x="294" y="466"/>
                  </a:lnTo>
                  <a:lnTo>
                    <a:pt x="290" y="470"/>
                  </a:lnTo>
                  <a:lnTo>
                    <a:pt x="286" y="470"/>
                  </a:lnTo>
                  <a:lnTo>
                    <a:pt x="286" y="474"/>
                  </a:lnTo>
                  <a:lnTo>
                    <a:pt x="282" y="474"/>
                  </a:lnTo>
                  <a:lnTo>
                    <a:pt x="278" y="478"/>
                  </a:lnTo>
                  <a:lnTo>
                    <a:pt x="276" y="478"/>
                  </a:lnTo>
                  <a:lnTo>
                    <a:pt x="276" y="474"/>
                  </a:lnTo>
                  <a:lnTo>
                    <a:pt x="278" y="474"/>
                  </a:lnTo>
                  <a:lnTo>
                    <a:pt x="276" y="474"/>
                  </a:lnTo>
                  <a:lnTo>
                    <a:pt x="272" y="474"/>
                  </a:lnTo>
                  <a:lnTo>
                    <a:pt x="272" y="470"/>
                  </a:lnTo>
                  <a:lnTo>
                    <a:pt x="272" y="466"/>
                  </a:lnTo>
                  <a:lnTo>
                    <a:pt x="276" y="466"/>
                  </a:lnTo>
                  <a:lnTo>
                    <a:pt x="278" y="466"/>
                  </a:lnTo>
                  <a:lnTo>
                    <a:pt x="282" y="466"/>
                  </a:lnTo>
                  <a:lnTo>
                    <a:pt x="286" y="466"/>
                  </a:lnTo>
                  <a:lnTo>
                    <a:pt x="290" y="466"/>
                  </a:lnTo>
                  <a:lnTo>
                    <a:pt x="286" y="466"/>
                  </a:lnTo>
                  <a:lnTo>
                    <a:pt x="282" y="466"/>
                  </a:lnTo>
                  <a:lnTo>
                    <a:pt x="278" y="466"/>
                  </a:lnTo>
                  <a:lnTo>
                    <a:pt x="276" y="466"/>
                  </a:lnTo>
                  <a:lnTo>
                    <a:pt x="276" y="462"/>
                  </a:lnTo>
                  <a:lnTo>
                    <a:pt x="278" y="462"/>
                  </a:lnTo>
                  <a:lnTo>
                    <a:pt x="282" y="462"/>
                  </a:lnTo>
                  <a:lnTo>
                    <a:pt x="286" y="462"/>
                  </a:lnTo>
                  <a:lnTo>
                    <a:pt x="282" y="462"/>
                  </a:lnTo>
                  <a:lnTo>
                    <a:pt x="278" y="462"/>
                  </a:lnTo>
                  <a:lnTo>
                    <a:pt x="282" y="462"/>
                  </a:lnTo>
                  <a:lnTo>
                    <a:pt x="282" y="458"/>
                  </a:lnTo>
                  <a:lnTo>
                    <a:pt x="282" y="462"/>
                  </a:lnTo>
                  <a:lnTo>
                    <a:pt x="278" y="462"/>
                  </a:lnTo>
                  <a:lnTo>
                    <a:pt x="282" y="462"/>
                  </a:lnTo>
                  <a:lnTo>
                    <a:pt x="282" y="458"/>
                  </a:lnTo>
                  <a:lnTo>
                    <a:pt x="286" y="458"/>
                  </a:lnTo>
                  <a:lnTo>
                    <a:pt x="290" y="458"/>
                  </a:lnTo>
                  <a:lnTo>
                    <a:pt x="294" y="458"/>
                  </a:lnTo>
                  <a:lnTo>
                    <a:pt x="290" y="458"/>
                  </a:lnTo>
                  <a:lnTo>
                    <a:pt x="286" y="458"/>
                  </a:lnTo>
                  <a:lnTo>
                    <a:pt x="282" y="458"/>
                  </a:lnTo>
                  <a:lnTo>
                    <a:pt x="278" y="458"/>
                  </a:lnTo>
                  <a:lnTo>
                    <a:pt x="276" y="458"/>
                  </a:lnTo>
                  <a:lnTo>
                    <a:pt x="272" y="458"/>
                  </a:lnTo>
                  <a:lnTo>
                    <a:pt x="272" y="456"/>
                  </a:lnTo>
                  <a:lnTo>
                    <a:pt x="276" y="456"/>
                  </a:lnTo>
                  <a:lnTo>
                    <a:pt x="278" y="456"/>
                  </a:lnTo>
                  <a:lnTo>
                    <a:pt x="276" y="456"/>
                  </a:lnTo>
                  <a:lnTo>
                    <a:pt x="272" y="456"/>
                  </a:lnTo>
                  <a:lnTo>
                    <a:pt x="276" y="456"/>
                  </a:lnTo>
                  <a:lnTo>
                    <a:pt x="276" y="452"/>
                  </a:lnTo>
                  <a:lnTo>
                    <a:pt x="272" y="456"/>
                  </a:lnTo>
                  <a:lnTo>
                    <a:pt x="268" y="456"/>
                  </a:lnTo>
                  <a:lnTo>
                    <a:pt x="268" y="452"/>
                  </a:lnTo>
                  <a:lnTo>
                    <a:pt x="272" y="452"/>
                  </a:lnTo>
                  <a:lnTo>
                    <a:pt x="276" y="452"/>
                  </a:lnTo>
                  <a:lnTo>
                    <a:pt x="276" y="448"/>
                  </a:lnTo>
                  <a:lnTo>
                    <a:pt x="278" y="448"/>
                  </a:lnTo>
                  <a:lnTo>
                    <a:pt x="282" y="448"/>
                  </a:lnTo>
                  <a:lnTo>
                    <a:pt x="286" y="448"/>
                  </a:lnTo>
                  <a:lnTo>
                    <a:pt x="290" y="448"/>
                  </a:lnTo>
                  <a:lnTo>
                    <a:pt x="294" y="448"/>
                  </a:lnTo>
                  <a:lnTo>
                    <a:pt x="298" y="448"/>
                  </a:lnTo>
                  <a:lnTo>
                    <a:pt x="302" y="448"/>
                  </a:lnTo>
                  <a:lnTo>
                    <a:pt x="306" y="448"/>
                  </a:lnTo>
                  <a:lnTo>
                    <a:pt x="306" y="452"/>
                  </a:lnTo>
                  <a:lnTo>
                    <a:pt x="308" y="452"/>
                  </a:lnTo>
                  <a:lnTo>
                    <a:pt x="312" y="452"/>
                  </a:lnTo>
                  <a:lnTo>
                    <a:pt x="316" y="452"/>
                  </a:lnTo>
                  <a:lnTo>
                    <a:pt x="320" y="452"/>
                  </a:lnTo>
                  <a:lnTo>
                    <a:pt x="316" y="452"/>
                  </a:lnTo>
                  <a:lnTo>
                    <a:pt x="312" y="452"/>
                  </a:lnTo>
                  <a:lnTo>
                    <a:pt x="308" y="452"/>
                  </a:lnTo>
                  <a:lnTo>
                    <a:pt x="306" y="448"/>
                  </a:lnTo>
                  <a:lnTo>
                    <a:pt x="302" y="448"/>
                  </a:lnTo>
                  <a:lnTo>
                    <a:pt x="306" y="448"/>
                  </a:lnTo>
                  <a:lnTo>
                    <a:pt x="308" y="444"/>
                  </a:lnTo>
                  <a:lnTo>
                    <a:pt x="306" y="444"/>
                  </a:lnTo>
                  <a:lnTo>
                    <a:pt x="302" y="448"/>
                  </a:lnTo>
                  <a:lnTo>
                    <a:pt x="298" y="448"/>
                  </a:lnTo>
                  <a:lnTo>
                    <a:pt x="294" y="448"/>
                  </a:lnTo>
                  <a:lnTo>
                    <a:pt x="294" y="444"/>
                  </a:lnTo>
                  <a:lnTo>
                    <a:pt x="286" y="448"/>
                  </a:lnTo>
                  <a:lnTo>
                    <a:pt x="282" y="448"/>
                  </a:lnTo>
                  <a:lnTo>
                    <a:pt x="278" y="448"/>
                  </a:lnTo>
                  <a:lnTo>
                    <a:pt x="276" y="448"/>
                  </a:lnTo>
                  <a:lnTo>
                    <a:pt x="272" y="452"/>
                  </a:lnTo>
                  <a:lnTo>
                    <a:pt x="272" y="448"/>
                  </a:lnTo>
                  <a:lnTo>
                    <a:pt x="272" y="444"/>
                  </a:lnTo>
                  <a:lnTo>
                    <a:pt x="276" y="444"/>
                  </a:lnTo>
                  <a:lnTo>
                    <a:pt x="278" y="440"/>
                  </a:lnTo>
                  <a:lnTo>
                    <a:pt x="282" y="440"/>
                  </a:lnTo>
                  <a:lnTo>
                    <a:pt x="278" y="440"/>
                  </a:lnTo>
                  <a:lnTo>
                    <a:pt x="282" y="440"/>
                  </a:lnTo>
                  <a:lnTo>
                    <a:pt x="282" y="436"/>
                  </a:lnTo>
                  <a:lnTo>
                    <a:pt x="286" y="436"/>
                  </a:lnTo>
                  <a:lnTo>
                    <a:pt x="290" y="436"/>
                  </a:lnTo>
                  <a:lnTo>
                    <a:pt x="286" y="436"/>
                  </a:lnTo>
                  <a:lnTo>
                    <a:pt x="290" y="436"/>
                  </a:lnTo>
                  <a:lnTo>
                    <a:pt x="294" y="436"/>
                  </a:lnTo>
                  <a:lnTo>
                    <a:pt x="298" y="436"/>
                  </a:lnTo>
                  <a:lnTo>
                    <a:pt x="298" y="440"/>
                  </a:lnTo>
                  <a:lnTo>
                    <a:pt x="302" y="440"/>
                  </a:lnTo>
                  <a:lnTo>
                    <a:pt x="306" y="440"/>
                  </a:lnTo>
                  <a:lnTo>
                    <a:pt x="308" y="440"/>
                  </a:lnTo>
                  <a:lnTo>
                    <a:pt x="312" y="440"/>
                  </a:lnTo>
                  <a:lnTo>
                    <a:pt x="312" y="444"/>
                  </a:lnTo>
                  <a:lnTo>
                    <a:pt x="316" y="444"/>
                  </a:lnTo>
                  <a:lnTo>
                    <a:pt x="320" y="444"/>
                  </a:lnTo>
                  <a:lnTo>
                    <a:pt x="324" y="444"/>
                  </a:lnTo>
                  <a:lnTo>
                    <a:pt x="320" y="444"/>
                  </a:lnTo>
                  <a:lnTo>
                    <a:pt x="316" y="444"/>
                  </a:lnTo>
                  <a:lnTo>
                    <a:pt x="316" y="440"/>
                  </a:lnTo>
                  <a:lnTo>
                    <a:pt x="312" y="440"/>
                  </a:lnTo>
                  <a:lnTo>
                    <a:pt x="316" y="440"/>
                  </a:lnTo>
                  <a:lnTo>
                    <a:pt x="320" y="440"/>
                  </a:lnTo>
                  <a:lnTo>
                    <a:pt x="320" y="436"/>
                  </a:lnTo>
                  <a:lnTo>
                    <a:pt x="324" y="436"/>
                  </a:lnTo>
                  <a:lnTo>
                    <a:pt x="324" y="440"/>
                  </a:lnTo>
                  <a:lnTo>
                    <a:pt x="324" y="436"/>
                  </a:lnTo>
                  <a:lnTo>
                    <a:pt x="320" y="436"/>
                  </a:lnTo>
                  <a:lnTo>
                    <a:pt x="316" y="436"/>
                  </a:lnTo>
                  <a:lnTo>
                    <a:pt x="316" y="440"/>
                  </a:lnTo>
                  <a:lnTo>
                    <a:pt x="312" y="440"/>
                  </a:lnTo>
                  <a:lnTo>
                    <a:pt x="308" y="440"/>
                  </a:lnTo>
                  <a:lnTo>
                    <a:pt x="308" y="436"/>
                  </a:lnTo>
                  <a:lnTo>
                    <a:pt x="312" y="436"/>
                  </a:lnTo>
                  <a:lnTo>
                    <a:pt x="316" y="436"/>
                  </a:lnTo>
                  <a:lnTo>
                    <a:pt x="320" y="436"/>
                  </a:lnTo>
                  <a:lnTo>
                    <a:pt x="320" y="432"/>
                  </a:lnTo>
                  <a:lnTo>
                    <a:pt x="312" y="432"/>
                  </a:lnTo>
                  <a:lnTo>
                    <a:pt x="316" y="432"/>
                  </a:lnTo>
                  <a:lnTo>
                    <a:pt x="316" y="436"/>
                  </a:lnTo>
                  <a:lnTo>
                    <a:pt x="312" y="436"/>
                  </a:lnTo>
                  <a:lnTo>
                    <a:pt x="308" y="436"/>
                  </a:lnTo>
                  <a:lnTo>
                    <a:pt x="306" y="432"/>
                  </a:lnTo>
                  <a:lnTo>
                    <a:pt x="308" y="432"/>
                  </a:lnTo>
                  <a:lnTo>
                    <a:pt x="312" y="432"/>
                  </a:lnTo>
                  <a:lnTo>
                    <a:pt x="308" y="432"/>
                  </a:lnTo>
                  <a:lnTo>
                    <a:pt x="306" y="432"/>
                  </a:lnTo>
                  <a:lnTo>
                    <a:pt x="302" y="432"/>
                  </a:lnTo>
                  <a:lnTo>
                    <a:pt x="306" y="432"/>
                  </a:lnTo>
                  <a:lnTo>
                    <a:pt x="306" y="436"/>
                  </a:lnTo>
                  <a:lnTo>
                    <a:pt x="302" y="436"/>
                  </a:lnTo>
                  <a:lnTo>
                    <a:pt x="306" y="436"/>
                  </a:lnTo>
                  <a:lnTo>
                    <a:pt x="302" y="436"/>
                  </a:lnTo>
                  <a:lnTo>
                    <a:pt x="298" y="436"/>
                  </a:lnTo>
                  <a:lnTo>
                    <a:pt x="302" y="436"/>
                  </a:lnTo>
                  <a:lnTo>
                    <a:pt x="298" y="436"/>
                  </a:lnTo>
                  <a:lnTo>
                    <a:pt x="294" y="436"/>
                  </a:lnTo>
                  <a:lnTo>
                    <a:pt x="290" y="436"/>
                  </a:lnTo>
                  <a:lnTo>
                    <a:pt x="294" y="432"/>
                  </a:lnTo>
                  <a:lnTo>
                    <a:pt x="298" y="432"/>
                  </a:lnTo>
                  <a:lnTo>
                    <a:pt x="302" y="432"/>
                  </a:lnTo>
                  <a:lnTo>
                    <a:pt x="298" y="432"/>
                  </a:lnTo>
                  <a:lnTo>
                    <a:pt x="294" y="432"/>
                  </a:lnTo>
                  <a:lnTo>
                    <a:pt x="290" y="432"/>
                  </a:lnTo>
                  <a:lnTo>
                    <a:pt x="290" y="436"/>
                  </a:lnTo>
                  <a:lnTo>
                    <a:pt x="286" y="436"/>
                  </a:lnTo>
                  <a:lnTo>
                    <a:pt x="282" y="436"/>
                  </a:lnTo>
                  <a:lnTo>
                    <a:pt x="278" y="440"/>
                  </a:lnTo>
                  <a:lnTo>
                    <a:pt x="276" y="444"/>
                  </a:lnTo>
                  <a:lnTo>
                    <a:pt x="272" y="444"/>
                  </a:lnTo>
                  <a:lnTo>
                    <a:pt x="272" y="440"/>
                  </a:lnTo>
                  <a:lnTo>
                    <a:pt x="276" y="440"/>
                  </a:lnTo>
                  <a:lnTo>
                    <a:pt x="276" y="436"/>
                  </a:lnTo>
                  <a:lnTo>
                    <a:pt x="272" y="436"/>
                  </a:lnTo>
                  <a:lnTo>
                    <a:pt x="276" y="432"/>
                  </a:lnTo>
                  <a:lnTo>
                    <a:pt x="276" y="436"/>
                  </a:lnTo>
                  <a:lnTo>
                    <a:pt x="278" y="436"/>
                  </a:lnTo>
                  <a:lnTo>
                    <a:pt x="276" y="436"/>
                  </a:lnTo>
                  <a:lnTo>
                    <a:pt x="276" y="432"/>
                  </a:lnTo>
                  <a:lnTo>
                    <a:pt x="278" y="432"/>
                  </a:lnTo>
                  <a:lnTo>
                    <a:pt x="278" y="436"/>
                  </a:lnTo>
                  <a:lnTo>
                    <a:pt x="278" y="432"/>
                  </a:lnTo>
                  <a:lnTo>
                    <a:pt x="282" y="432"/>
                  </a:lnTo>
                  <a:lnTo>
                    <a:pt x="278" y="432"/>
                  </a:lnTo>
                  <a:lnTo>
                    <a:pt x="282" y="432"/>
                  </a:lnTo>
                  <a:lnTo>
                    <a:pt x="282" y="428"/>
                  </a:lnTo>
                  <a:lnTo>
                    <a:pt x="278" y="432"/>
                  </a:lnTo>
                  <a:lnTo>
                    <a:pt x="278" y="428"/>
                  </a:lnTo>
                  <a:lnTo>
                    <a:pt x="282" y="428"/>
                  </a:lnTo>
                  <a:lnTo>
                    <a:pt x="286" y="432"/>
                  </a:lnTo>
                  <a:lnTo>
                    <a:pt x="290" y="432"/>
                  </a:lnTo>
                  <a:lnTo>
                    <a:pt x="294" y="432"/>
                  </a:lnTo>
                  <a:lnTo>
                    <a:pt x="290" y="432"/>
                  </a:lnTo>
                  <a:lnTo>
                    <a:pt x="286" y="432"/>
                  </a:lnTo>
                  <a:lnTo>
                    <a:pt x="286" y="428"/>
                  </a:lnTo>
                  <a:lnTo>
                    <a:pt x="282" y="428"/>
                  </a:lnTo>
                  <a:lnTo>
                    <a:pt x="278" y="428"/>
                  </a:lnTo>
                  <a:lnTo>
                    <a:pt x="276" y="426"/>
                  </a:lnTo>
                  <a:lnTo>
                    <a:pt x="278" y="426"/>
                  </a:lnTo>
                  <a:lnTo>
                    <a:pt x="282" y="426"/>
                  </a:lnTo>
                  <a:lnTo>
                    <a:pt x="286" y="428"/>
                  </a:lnTo>
                  <a:lnTo>
                    <a:pt x="290" y="428"/>
                  </a:lnTo>
                  <a:lnTo>
                    <a:pt x="286" y="428"/>
                  </a:lnTo>
                  <a:lnTo>
                    <a:pt x="286" y="426"/>
                  </a:lnTo>
                  <a:lnTo>
                    <a:pt x="290" y="426"/>
                  </a:lnTo>
                  <a:lnTo>
                    <a:pt x="290" y="428"/>
                  </a:lnTo>
                  <a:lnTo>
                    <a:pt x="294" y="428"/>
                  </a:lnTo>
                  <a:lnTo>
                    <a:pt x="298" y="428"/>
                  </a:lnTo>
                  <a:lnTo>
                    <a:pt x="302" y="428"/>
                  </a:lnTo>
                  <a:lnTo>
                    <a:pt x="306" y="428"/>
                  </a:lnTo>
                  <a:lnTo>
                    <a:pt x="308" y="428"/>
                  </a:lnTo>
                  <a:lnTo>
                    <a:pt x="316" y="432"/>
                  </a:lnTo>
                  <a:lnTo>
                    <a:pt x="320" y="432"/>
                  </a:lnTo>
                  <a:lnTo>
                    <a:pt x="324" y="432"/>
                  </a:lnTo>
                  <a:lnTo>
                    <a:pt x="320" y="432"/>
                  </a:lnTo>
                  <a:lnTo>
                    <a:pt x="316" y="432"/>
                  </a:lnTo>
                  <a:lnTo>
                    <a:pt x="316" y="428"/>
                  </a:lnTo>
                  <a:lnTo>
                    <a:pt x="312" y="428"/>
                  </a:lnTo>
                  <a:lnTo>
                    <a:pt x="308" y="428"/>
                  </a:lnTo>
                  <a:lnTo>
                    <a:pt x="306" y="426"/>
                  </a:lnTo>
                  <a:lnTo>
                    <a:pt x="308" y="426"/>
                  </a:lnTo>
                  <a:lnTo>
                    <a:pt x="312" y="426"/>
                  </a:lnTo>
                  <a:lnTo>
                    <a:pt x="308" y="426"/>
                  </a:lnTo>
                  <a:lnTo>
                    <a:pt x="308" y="422"/>
                  </a:lnTo>
                  <a:lnTo>
                    <a:pt x="312" y="418"/>
                  </a:lnTo>
                  <a:lnTo>
                    <a:pt x="308" y="422"/>
                  </a:lnTo>
                  <a:lnTo>
                    <a:pt x="306" y="422"/>
                  </a:lnTo>
                  <a:lnTo>
                    <a:pt x="302" y="422"/>
                  </a:lnTo>
                  <a:lnTo>
                    <a:pt x="306" y="422"/>
                  </a:lnTo>
                  <a:lnTo>
                    <a:pt x="308" y="422"/>
                  </a:lnTo>
                  <a:lnTo>
                    <a:pt x="306" y="426"/>
                  </a:lnTo>
                  <a:lnTo>
                    <a:pt x="302" y="426"/>
                  </a:lnTo>
                  <a:lnTo>
                    <a:pt x="298" y="426"/>
                  </a:lnTo>
                  <a:lnTo>
                    <a:pt x="294" y="426"/>
                  </a:lnTo>
                  <a:lnTo>
                    <a:pt x="290" y="426"/>
                  </a:lnTo>
                  <a:lnTo>
                    <a:pt x="286" y="426"/>
                  </a:lnTo>
                  <a:lnTo>
                    <a:pt x="282" y="426"/>
                  </a:lnTo>
                  <a:lnTo>
                    <a:pt x="282" y="422"/>
                  </a:lnTo>
                  <a:lnTo>
                    <a:pt x="286" y="422"/>
                  </a:lnTo>
                  <a:lnTo>
                    <a:pt x="282" y="422"/>
                  </a:lnTo>
                  <a:lnTo>
                    <a:pt x="282" y="426"/>
                  </a:lnTo>
                  <a:lnTo>
                    <a:pt x="278" y="426"/>
                  </a:lnTo>
                  <a:lnTo>
                    <a:pt x="278" y="422"/>
                  </a:lnTo>
                  <a:lnTo>
                    <a:pt x="278" y="426"/>
                  </a:lnTo>
                  <a:lnTo>
                    <a:pt x="276" y="426"/>
                  </a:lnTo>
                  <a:lnTo>
                    <a:pt x="276" y="422"/>
                  </a:lnTo>
                  <a:lnTo>
                    <a:pt x="278" y="422"/>
                  </a:lnTo>
                  <a:lnTo>
                    <a:pt x="282" y="422"/>
                  </a:lnTo>
                  <a:lnTo>
                    <a:pt x="286" y="418"/>
                  </a:lnTo>
                  <a:lnTo>
                    <a:pt x="290" y="418"/>
                  </a:lnTo>
                  <a:lnTo>
                    <a:pt x="294" y="418"/>
                  </a:lnTo>
                  <a:lnTo>
                    <a:pt x="298" y="418"/>
                  </a:lnTo>
                  <a:lnTo>
                    <a:pt x="302" y="418"/>
                  </a:lnTo>
                  <a:lnTo>
                    <a:pt x="306" y="418"/>
                  </a:lnTo>
                  <a:lnTo>
                    <a:pt x="308" y="418"/>
                  </a:lnTo>
                  <a:lnTo>
                    <a:pt x="308" y="414"/>
                  </a:lnTo>
                  <a:lnTo>
                    <a:pt x="312" y="414"/>
                  </a:lnTo>
                  <a:lnTo>
                    <a:pt x="312" y="414"/>
                  </a:lnTo>
                  <a:lnTo>
                    <a:pt x="312" y="414"/>
                  </a:lnTo>
                  <a:close/>
                  <a:moveTo>
                    <a:pt x="764" y="104"/>
                  </a:moveTo>
                  <a:lnTo>
                    <a:pt x="760" y="104"/>
                  </a:lnTo>
                  <a:lnTo>
                    <a:pt x="756" y="104"/>
                  </a:lnTo>
                  <a:lnTo>
                    <a:pt x="752" y="104"/>
                  </a:lnTo>
                  <a:lnTo>
                    <a:pt x="748" y="108"/>
                  </a:lnTo>
                  <a:lnTo>
                    <a:pt x="748" y="104"/>
                  </a:lnTo>
                  <a:lnTo>
                    <a:pt x="752" y="100"/>
                  </a:lnTo>
                  <a:lnTo>
                    <a:pt x="756" y="100"/>
                  </a:lnTo>
                  <a:lnTo>
                    <a:pt x="764" y="104"/>
                  </a:lnTo>
                  <a:lnTo>
                    <a:pt x="764" y="104"/>
                  </a:lnTo>
                  <a:lnTo>
                    <a:pt x="764" y="104"/>
                  </a:lnTo>
                  <a:close/>
                  <a:moveTo>
                    <a:pt x="756" y="146"/>
                  </a:moveTo>
                  <a:lnTo>
                    <a:pt x="752" y="146"/>
                  </a:lnTo>
                  <a:lnTo>
                    <a:pt x="752" y="142"/>
                  </a:lnTo>
                  <a:lnTo>
                    <a:pt x="756" y="138"/>
                  </a:lnTo>
                  <a:lnTo>
                    <a:pt x="760" y="138"/>
                  </a:lnTo>
                  <a:lnTo>
                    <a:pt x="760" y="142"/>
                  </a:lnTo>
                  <a:lnTo>
                    <a:pt x="756" y="142"/>
                  </a:lnTo>
                  <a:lnTo>
                    <a:pt x="760" y="142"/>
                  </a:lnTo>
                  <a:lnTo>
                    <a:pt x="760" y="146"/>
                  </a:lnTo>
                  <a:lnTo>
                    <a:pt x="756" y="146"/>
                  </a:lnTo>
                  <a:lnTo>
                    <a:pt x="756" y="146"/>
                  </a:lnTo>
                  <a:lnTo>
                    <a:pt x="756" y="146"/>
                  </a:lnTo>
                  <a:close/>
                  <a:moveTo>
                    <a:pt x="752" y="168"/>
                  </a:moveTo>
                  <a:lnTo>
                    <a:pt x="756" y="168"/>
                  </a:lnTo>
                  <a:lnTo>
                    <a:pt x="760" y="168"/>
                  </a:lnTo>
                  <a:lnTo>
                    <a:pt x="760" y="172"/>
                  </a:lnTo>
                  <a:lnTo>
                    <a:pt x="756" y="172"/>
                  </a:lnTo>
                  <a:lnTo>
                    <a:pt x="752" y="172"/>
                  </a:lnTo>
                  <a:lnTo>
                    <a:pt x="748" y="168"/>
                  </a:lnTo>
                  <a:lnTo>
                    <a:pt x="744" y="168"/>
                  </a:lnTo>
                  <a:lnTo>
                    <a:pt x="742" y="168"/>
                  </a:lnTo>
                  <a:lnTo>
                    <a:pt x="744" y="168"/>
                  </a:lnTo>
                  <a:lnTo>
                    <a:pt x="748" y="168"/>
                  </a:lnTo>
                  <a:lnTo>
                    <a:pt x="752" y="168"/>
                  </a:lnTo>
                  <a:lnTo>
                    <a:pt x="752" y="168"/>
                  </a:lnTo>
                  <a:lnTo>
                    <a:pt x="752" y="168"/>
                  </a:lnTo>
                  <a:close/>
                  <a:moveTo>
                    <a:pt x="782" y="168"/>
                  </a:moveTo>
                  <a:lnTo>
                    <a:pt x="782" y="172"/>
                  </a:lnTo>
                  <a:lnTo>
                    <a:pt x="782" y="174"/>
                  </a:lnTo>
                  <a:lnTo>
                    <a:pt x="778" y="174"/>
                  </a:lnTo>
                  <a:lnTo>
                    <a:pt x="774" y="174"/>
                  </a:lnTo>
                  <a:lnTo>
                    <a:pt x="774" y="172"/>
                  </a:lnTo>
                  <a:lnTo>
                    <a:pt x="778" y="172"/>
                  </a:lnTo>
                  <a:lnTo>
                    <a:pt x="778" y="168"/>
                  </a:lnTo>
                  <a:lnTo>
                    <a:pt x="782" y="168"/>
                  </a:lnTo>
                  <a:lnTo>
                    <a:pt x="782" y="168"/>
                  </a:lnTo>
                  <a:lnTo>
                    <a:pt x="782" y="168"/>
                  </a:lnTo>
                  <a:close/>
                  <a:moveTo>
                    <a:pt x="768" y="216"/>
                  </a:moveTo>
                  <a:lnTo>
                    <a:pt x="770" y="220"/>
                  </a:lnTo>
                  <a:lnTo>
                    <a:pt x="770" y="224"/>
                  </a:lnTo>
                  <a:lnTo>
                    <a:pt x="768" y="224"/>
                  </a:lnTo>
                  <a:lnTo>
                    <a:pt x="768" y="220"/>
                  </a:lnTo>
                  <a:lnTo>
                    <a:pt x="768" y="216"/>
                  </a:lnTo>
                  <a:lnTo>
                    <a:pt x="764" y="216"/>
                  </a:lnTo>
                  <a:lnTo>
                    <a:pt x="764" y="212"/>
                  </a:lnTo>
                  <a:lnTo>
                    <a:pt x="764" y="208"/>
                  </a:lnTo>
                  <a:lnTo>
                    <a:pt x="760" y="208"/>
                  </a:lnTo>
                  <a:lnTo>
                    <a:pt x="760" y="204"/>
                  </a:lnTo>
                  <a:lnTo>
                    <a:pt x="764" y="204"/>
                  </a:lnTo>
                  <a:lnTo>
                    <a:pt x="768" y="204"/>
                  </a:lnTo>
                  <a:lnTo>
                    <a:pt x="764" y="204"/>
                  </a:lnTo>
                  <a:lnTo>
                    <a:pt x="764" y="200"/>
                  </a:lnTo>
                  <a:lnTo>
                    <a:pt x="768" y="200"/>
                  </a:lnTo>
                  <a:lnTo>
                    <a:pt x="768" y="204"/>
                  </a:lnTo>
                  <a:lnTo>
                    <a:pt x="768" y="208"/>
                  </a:lnTo>
                  <a:lnTo>
                    <a:pt x="768" y="212"/>
                  </a:lnTo>
                  <a:lnTo>
                    <a:pt x="768" y="216"/>
                  </a:lnTo>
                  <a:lnTo>
                    <a:pt x="768" y="216"/>
                  </a:lnTo>
                  <a:lnTo>
                    <a:pt x="768" y="216"/>
                  </a:lnTo>
                  <a:close/>
                  <a:moveTo>
                    <a:pt x="778" y="238"/>
                  </a:moveTo>
                  <a:lnTo>
                    <a:pt x="778" y="242"/>
                  </a:lnTo>
                  <a:lnTo>
                    <a:pt x="774" y="242"/>
                  </a:lnTo>
                  <a:lnTo>
                    <a:pt x="778" y="246"/>
                  </a:lnTo>
                  <a:lnTo>
                    <a:pt x="782" y="246"/>
                  </a:lnTo>
                  <a:lnTo>
                    <a:pt x="786" y="246"/>
                  </a:lnTo>
                  <a:lnTo>
                    <a:pt x="786" y="250"/>
                  </a:lnTo>
                  <a:lnTo>
                    <a:pt x="782" y="250"/>
                  </a:lnTo>
                  <a:lnTo>
                    <a:pt x="778" y="250"/>
                  </a:lnTo>
                  <a:lnTo>
                    <a:pt x="778" y="246"/>
                  </a:lnTo>
                  <a:lnTo>
                    <a:pt x="774" y="246"/>
                  </a:lnTo>
                  <a:lnTo>
                    <a:pt x="774" y="250"/>
                  </a:lnTo>
                  <a:lnTo>
                    <a:pt x="770" y="250"/>
                  </a:lnTo>
                  <a:lnTo>
                    <a:pt x="768" y="250"/>
                  </a:lnTo>
                  <a:lnTo>
                    <a:pt x="764" y="250"/>
                  </a:lnTo>
                  <a:lnTo>
                    <a:pt x="764" y="246"/>
                  </a:lnTo>
                  <a:lnTo>
                    <a:pt x="768" y="246"/>
                  </a:lnTo>
                  <a:lnTo>
                    <a:pt x="768" y="242"/>
                  </a:lnTo>
                  <a:lnTo>
                    <a:pt x="764" y="242"/>
                  </a:lnTo>
                  <a:lnTo>
                    <a:pt x="768" y="238"/>
                  </a:lnTo>
                  <a:lnTo>
                    <a:pt x="770" y="238"/>
                  </a:lnTo>
                  <a:lnTo>
                    <a:pt x="770" y="242"/>
                  </a:lnTo>
                  <a:lnTo>
                    <a:pt x="774" y="242"/>
                  </a:lnTo>
                  <a:lnTo>
                    <a:pt x="774" y="238"/>
                  </a:lnTo>
                  <a:lnTo>
                    <a:pt x="778" y="238"/>
                  </a:lnTo>
                  <a:lnTo>
                    <a:pt x="778" y="238"/>
                  </a:lnTo>
                  <a:lnTo>
                    <a:pt x="778" y="238"/>
                  </a:lnTo>
                  <a:close/>
                  <a:moveTo>
                    <a:pt x="722" y="310"/>
                  </a:moveTo>
                  <a:lnTo>
                    <a:pt x="718" y="310"/>
                  </a:lnTo>
                  <a:lnTo>
                    <a:pt x="716" y="310"/>
                  </a:lnTo>
                  <a:lnTo>
                    <a:pt x="712" y="310"/>
                  </a:lnTo>
                  <a:lnTo>
                    <a:pt x="712" y="306"/>
                  </a:lnTo>
                  <a:lnTo>
                    <a:pt x="708" y="306"/>
                  </a:lnTo>
                  <a:lnTo>
                    <a:pt x="704" y="306"/>
                  </a:lnTo>
                  <a:lnTo>
                    <a:pt x="700" y="306"/>
                  </a:lnTo>
                  <a:lnTo>
                    <a:pt x="696" y="306"/>
                  </a:lnTo>
                  <a:lnTo>
                    <a:pt x="692" y="306"/>
                  </a:lnTo>
                  <a:lnTo>
                    <a:pt x="688" y="306"/>
                  </a:lnTo>
                  <a:lnTo>
                    <a:pt x="686" y="306"/>
                  </a:lnTo>
                  <a:lnTo>
                    <a:pt x="686" y="302"/>
                  </a:lnTo>
                  <a:lnTo>
                    <a:pt x="688" y="302"/>
                  </a:lnTo>
                  <a:lnTo>
                    <a:pt x="692" y="302"/>
                  </a:lnTo>
                  <a:lnTo>
                    <a:pt x="696" y="302"/>
                  </a:lnTo>
                  <a:lnTo>
                    <a:pt x="700" y="302"/>
                  </a:lnTo>
                  <a:lnTo>
                    <a:pt x="704" y="302"/>
                  </a:lnTo>
                  <a:lnTo>
                    <a:pt x="708" y="302"/>
                  </a:lnTo>
                  <a:lnTo>
                    <a:pt x="712" y="302"/>
                  </a:lnTo>
                  <a:lnTo>
                    <a:pt x="716" y="302"/>
                  </a:lnTo>
                  <a:lnTo>
                    <a:pt x="718" y="302"/>
                  </a:lnTo>
                  <a:lnTo>
                    <a:pt x="718" y="306"/>
                  </a:lnTo>
                  <a:lnTo>
                    <a:pt x="722" y="306"/>
                  </a:lnTo>
                  <a:lnTo>
                    <a:pt x="718" y="306"/>
                  </a:lnTo>
                  <a:lnTo>
                    <a:pt x="718" y="310"/>
                  </a:lnTo>
                  <a:lnTo>
                    <a:pt x="722" y="310"/>
                  </a:lnTo>
                  <a:lnTo>
                    <a:pt x="722" y="310"/>
                  </a:lnTo>
                  <a:lnTo>
                    <a:pt x="722" y="310"/>
                  </a:lnTo>
                  <a:close/>
                  <a:moveTo>
                    <a:pt x="716" y="324"/>
                  </a:moveTo>
                  <a:lnTo>
                    <a:pt x="712" y="324"/>
                  </a:lnTo>
                  <a:lnTo>
                    <a:pt x="708" y="320"/>
                  </a:lnTo>
                  <a:lnTo>
                    <a:pt x="704" y="320"/>
                  </a:lnTo>
                  <a:lnTo>
                    <a:pt x="700" y="316"/>
                  </a:lnTo>
                  <a:lnTo>
                    <a:pt x="692" y="316"/>
                  </a:lnTo>
                  <a:lnTo>
                    <a:pt x="692" y="314"/>
                  </a:lnTo>
                  <a:lnTo>
                    <a:pt x="688" y="314"/>
                  </a:lnTo>
                  <a:lnTo>
                    <a:pt x="686" y="306"/>
                  </a:lnTo>
                  <a:lnTo>
                    <a:pt x="688" y="306"/>
                  </a:lnTo>
                  <a:lnTo>
                    <a:pt x="692" y="306"/>
                  </a:lnTo>
                  <a:lnTo>
                    <a:pt x="696" y="306"/>
                  </a:lnTo>
                  <a:lnTo>
                    <a:pt x="700" y="306"/>
                  </a:lnTo>
                  <a:lnTo>
                    <a:pt x="704" y="306"/>
                  </a:lnTo>
                  <a:lnTo>
                    <a:pt x="704" y="310"/>
                  </a:lnTo>
                  <a:lnTo>
                    <a:pt x="708" y="310"/>
                  </a:lnTo>
                  <a:lnTo>
                    <a:pt x="712" y="310"/>
                  </a:lnTo>
                  <a:lnTo>
                    <a:pt x="712" y="314"/>
                  </a:lnTo>
                  <a:lnTo>
                    <a:pt x="716" y="314"/>
                  </a:lnTo>
                  <a:lnTo>
                    <a:pt x="718" y="314"/>
                  </a:lnTo>
                  <a:lnTo>
                    <a:pt x="722" y="316"/>
                  </a:lnTo>
                  <a:lnTo>
                    <a:pt x="718" y="316"/>
                  </a:lnTo>
                  <a:lnTo>
                    <a:pt x="716" y="316"/>
                  </a:lnTo>
                  <a:lnTo>
                    <a:pt x="712" y="316"/>
                  </a:lnTo>
                  <a:lnTo>
                    <a:pt x="712" y="320"/>
                  </a:lnTo>
                  <a:lnTo>
                    <a:pt x="716" y="320"/>
                  </a:lnTo>
                  <a:lnTo>
                    <a:pt x="718" y="320"/>
                  </a:lnTo>
                  <a:lnTo>
                    <a:pt x="718" y="324"/>
                  </a:lnTo>
                  <a:lnTo>
                    <a:pt x="716" y="324"/>
                  </a:lnTo>
                  <a:lnTo>
                    <a:pt x="716" y="324"/>
                  </a:lnTo>
                  <a:lnTo>
                    <a:pt x="716" y="324"/>
                  </a:lnTo>
                  <a:close/>
                  <a:moveTo>
                    <a:pt x="246" y="332"/>
                  </a:moveTo>
                  <a:lnTo>
                    <a:pt x="250" y="332"/>
                  </a:lnTo>
                  <a:lnTo>
                    <a:pt x="246" y="332"/>
                  </a:lnTo>
                  <a:lnTo>
                    <a:pt x="242" y="332"/>
                  </a:lnTo>
                  <a:lnTo>
                    <a:pt x="246" y="332"/>
                  </a:lnTo>
                  <a:lnTo>
                    <a:pt x="246" y="332"/>
                  </a:lnTo>
                  <a:lnTo>
                    <a:pt x="246" y="332"/>
                  </a:lnTo>
                  <a:close/>
                  <a:moveTo>
                    <a:pt x="278" y="340"/>
                  </a:moveTo>
                  <a:lnTo>
                    <a:pt x="276" y="340"/>
                  </a:lnTo>
                  <a:lnTo>
                    <a:pt x="276" y="336"/>
                  </a:lnTo>
                  <a:lnTo>
                    <a:pt x="278" y="336"/>
                  </a:lnTo>
                  <a:lnTo>
                    <a:pt x="282" y="340"/>
                  </a:lnTo>
                  <a:lnTo>
                    <a:pt x="286" y="340"/>
                  </a:lnTo>
                  <a:lnTo>
                    <a:pt x="286" y="336"/>
                  </a:lnTo>
                  <a:lnTo>
                    <a:pt x="286" y="340"/>
                  </a:lnTo>
                  <a:lnTo>
                    <a:pt x="282" y="340"/>
                  </a:lnTo>
                  <a:lnTo>
                    <a:pt x="278" y="340"/>
                  </a:lnTo>
                  <a:lnTo>
                    <a:pt x="278" y="340"/>
                  </a:lnTo>
                  <a:lnTo>
                    <a:pt x="278" y="340"/>
                  </a:lnTo>
                  <a:close/>
                  <a:moveTo>
                    <a:pt x="278" y="346"/>
                  </a:moveTo>
                  <a:lnTo>
                    <a:pt x="282" y="346"/>
                  </a:lnTo>
                  <a:lnTo>
                    <a:pt x="282" y="342"/>
                  </a:lnTo>
                  <a:lnTo>
                    <a:pt x="286" y="346"/>
                  </a:lnTo>
                  <a:lnTo>
                    <a:pt x="290" y="346"/>
                  </a:lnTo>
                  <a:lnTo>
                    <a:pt x="286" y="346"/>
                  </a:lnTo>
                  <a:lnTo>
                    <a:pt x="286" y="350"/>
                  </a:lnTo>
                  <a:lnTo>
                    <a:pt x="282" y="350"/>
                  </a:lnTo>
                  <a:lnTo>
                    <a:pt x="278" y="350"/>
                  </a:lnTo>
                  <a:lnTo>
                    <a:pt x="278" y="346"/>
                  </a:lnTo>
                  <a:lnTo>
                    <a:pt x="278" y="346"/>
                  </a:lnTo>
                  <a:lnTo>
                    <a:pt x="278" y="346"/>
                  </a:lnTo>
                  <a:close/>
                  <a:moveTo>
                    <a:pt x="276" y="346"/>
                  </a:moveTo>
                  <a:lnTo>
                    <a:pt x="276" y="350"/>
                  </a:lnTo>
                  <a:lnTo>
                    <a:pt x="276" y="354"/>
                  </a:lnTo>
                  <a:lnTo>
                    <a:pt x="272" y="354"/>
                  </a:lnTo>
                  <a:lnTo>
                    <a:pt x="268" y="350"/>
                  </a:lnTo>
                  <a:lnTo>
                    <a:pt x="272" y="350"/>
                  </a:lnTo>
                  <a:lnTo>
                    <a:pt x="272" y="346"/>
                  </a:lnTo>
                  <a:lnTo>
                    <a:pt x="276" y="346"/>
                  </a:lnTo>
                  <a:lnTo>
                    <a:pt x="276" y="346"/>
                  </a:lnTo>
                  <a:lnTo>
                    <a:pt x="276" y="346"/>
                  </a:lnTo>
                  <a:close/>
                  <a:moveTo>
                    <a:pt x="670" y="354"/>
                  </a:moveTo>
                  <a:lnTo>
                    <a:pt x="674" y="358"/>
                  </a:lnTo>
                  <a:lnTo>
                    <a:pt x="674" y="362"/>
                  </a:lnTo>
                  <a:lnTo>
                    <a:pt x="670" y="366"/>
                  </a:lnTo>
                  <a:lnTo>
                    <a:pt x="666" y="366"/>
                  </a:lnTo>
                  <a:lnTo>
                    <a:pt x="662" y="366"/>
                  </a:lnTo>
                  <a:lnTo>
                    <a:pt x="660" y="366"/>
                  </a:lnTo>
                  <a:lnTo>
                    <a:pt x="656" y="366"/>
                  </a:lnTo>
                  <a:lnTo>
                    <a:pt x="652" y="366"/>
                  </a:lnTo>
                  <a:lnTo>
                    <a:pt x="648" y="370"/>
                  </a:lnTo>
                  <a:lnTo>
                    <a:pt x="640" y="370"/>
                  </a:lnTo>
                  <a:lnTo>
                    <a:pt x="636" y="370"/>
                  </a:lnTo>
                  <a:lnTo>
                    <a:pt x="632" y="370"/>
                  </a:lnTo>
                  <a:lnTo>
                    <a:pt x="632" y="366"/>
                  </a:lnTo>
                  <a:lnTo>
                    <a:pt x="636" y="366"/>
                  </a:lnTo>
                  <a:lnTo>
                    <a:pt x="640" y="366"/>
                  </a:lnTo>
                  <a:lnTo>
                    <a:pt x="640" y="362"/>
                  </a:lnTo>
                  <a:lnTo>
                    <a:pt x="644" y="362"/>
                  </a:lnTo>
                  <a:lnTo>
                    <a:pt x="648" y="358"/>
                  </a:lnTo>
                  <a:lnTo>
                    <a:pt x="652" y="358"/>
                  </a:lnTo>
                  <a:lnTo>
                    <a:pt x="656" y="358"/>
                  </a:lnTo>
                  <a:lnTo>
                    <a:pt x="660" y="358"/>
                  </a:lnTo>
                  <a:lnTo>
                    <a:pt x="660" y="354"/>
                  </a:lnTo>
                  <a:lnTo>
                    <a:pt x="662" y="354"/>
                  </a:lnTo>
                  <a:lnTo>
                    <a:pt x="666" y="354"/>
                  </a:lnTo>
                  <a:lnTo>
                    <a:pt x="670" y="354"/>
                  </a:lnTo>
                  <a:lnTo>
                    <a:pt x="670" y="354"/>
                  </a:lnTo>
                  <a:lnTo>
                    <a:pt x="670" y="354"/>
                  </a:lnTo>
                  <a:close/>
                  <a:moveTo>
                    <a:pt x="298" y="354"/>
                  </a:moveTo>
                  <a:lnTo>
                    <a:pt x="302" y="358"/>
                  </a:lnTo>
                  <a:lnTo>
                    <a:pt x="298" y="358"/>
                  </a:lnTo>
                  <a:lnTo>
                    <a:pt x="294" y="358"/>
                  </a:lnTo>
                  <a:lnTo>
                    <a:pt x="294" y="354"/>
                  </a:lnTo>
                  <a:lnTo>
                    <a:pt x="298" y="354"/>
                  </a:lnTo>
                  <a:lnTo>
                    <a:pt x="298" y="354"/>
                  </a:lnTo>
                  <a:lnTo>
                    <a:pt x="298" y="354"/>
                  </a:lnTo>
                  <a:close/>
                  <a:moveTo>
                    <a:pt x="648" y="358"/>
                  </a:moveTo>
                  <a:lnTo>
                    <a:pt x="644" y="358"/>
                  </a:lnTo>
                  <a:lnTo>
                    <a:pt x="640" y="362"/>
                  </a:lnTo>
                  <a:lnTo>
                    <a:pt x="640" y="358"/>
                  </a:lnTo>
                  <a:lnTo>
                    <a:pt x="644" y="358"/>
                  </a:lnTo>
                  <a:lnTo>
                    <a:pt x="648" y="358"/>
                  </a:lnTo>
                  <a:lnTo>
                    <a:pt x="648" y="358"/>
                  </a:lnTo>
                  <a:lnTo>
                    <a:pt x="648" y="358"/>
                  </a:lnTo>
                  <a:close/>
                  <a:moveTo>
                    <a:pt x="302" y="366"/>
                  </a:moveTo>
                  <a:lnTo>
                    <a:pt x="302" y="362"/>
                  </a:lnTo>
                  <a:lnTo>
                    <a:pt x="298" y="362"/>
                  </a:lnTo>
                  <a:lnTo>
                    <a:pt x="302" y="362"/>
                  </a:lnTo>
                  <a:lnTo>
                    <a:pt x="306" y="362"/>
                  </a:lnTo>
                  <a:lnTo>
                    <a:pt x="302" y="366"/>
                  </a:lnTo>
                  <a:lnTo>
                    <a:pt x="302" y="366"/>
                  </a:lnTo>
                  <a:lnTo>
                    <a:pt x="302" y="366"/>
                  </a:lnTo>
                  <a:close/>
                  <a:moveTo>
                    <a:pt x="662" y="366"/>
                  </a:moveTo>
                  <a:lnTo>
                    <a:pt x="662" y="370"/>
                  </a:lnTo>
                  <a:lnTo>
                    <a:pt x="660" y="370"/>
                  </a:lnTo>
                  <a:lnTo>
                    <a:pt x="660" y="366"/>
                  </a:lnTo>
                  <a:lnTo>
                    <a:pt x="662" y="366"/>
                  </a:lnTo>
                  <a:lnTo>
                    <a:pt x="662" y="366"/>
                  </a:lnTo>
                  <a:lnTo>
                    <a:pt x="662" y="366"/>
                  </a:lnTo>
                  <a:close/>
                  <a:moveTo>
                    <a:pt x="252" y="370"/>
                  </a:moveTo>
                  <a:lnTo>
                    <a:pt x="256" y="370"/>
                  </a:lnTo>
                  <a:lnTo>
                    <a:pt x="260" y="370"/>
                  </a:lnTo>
                  <a:lnTo>
                    <a:pt x="256" y="370"/>
                  </a:lnTo>
                  <a:lnTo>
                    <a:pt x="252" y="370"/>
                  </a:lnTo>
                  <a:lnTo>
                    <a:pt x="252" y="370"/>
                  </a:lnTo>
                  <a:lnTo>
                    <a:pt x="252" y="370"/>
                  </a:lnTo>
                  <a:close/>
                  <a:moveTo>
                    <a:pt x="264" y="396"/>
                  </a:moveTo>
                  <a:lnTo>
                    <a:pt x="268" y="396"/>
                  </a:lnTo>
                  <a:lnTo>
                    <a:pt x="272" y="396"/>
                  </a:lnTo>
                  <a:lnTo>
                    <a:pt x="276" y="396"/>
                  </a:lnTo>
                  <a:lnTo>
                    <a:pt x="276" y="392"/>
                  </a:lnTo>
                  <a:lnTo>
                    <a:pt x="278" y="392"/>
                  </a:lnTo>
                  <a:lnTo>
                    <a:pt x="276" y="392"/>
                  </a:lnTo>
                  <a:lnTo>
                    <a:pt x="272" y="392"/>
                  </a:lnTo>
                  <a:lnTo>
                    <a:pt x="272" y="396"/>
                  </a:lnTo>
                  <a:lnTo>
                    <a:pt x="272" y="392"/>
                  </a:lnTo>
                  <a:lnTo>
                    <a:pt x="268" y="392"/>
                  </a:lnTo>
                  <a:lnTo>
                    <a:pt x="272" y="392"/>
                  </a:lnTo>
                  <a:lnTo>
                    <a:pt x="268" y="392"/>
                  </a:lnTo>
                  <a:lnTo>
                    <a:pt x="260" y="392"/>
                  </a:lnTo>
                  <a:lnTo>
                    <a:pt x="256" y="392"/>
                  </a:lnTo>
                  <a:lnTo>
                    <a:pt x="252" y="388"/>
                  </a:lnTo>
                  <a:lnTo>
                    <a:pt x="256" y="388"/>
                  </a:lnTo>
                  <a:lnTo>
                    <a:pt x="260" y="388"/>
                  </a:lnTo>
                  <a:lnTo>
                    <a:pt x="264" y="388"/>
                  </a:lnTo>
                  <a:lnTo>
                    <a:pt x="260" y="388"/>
                  </a:lnTo>
                  <a:lnTo>
                    <a:pt x="260" y="384"/>
                  </a:lnTo>
                  <a:lnTo>
                    <a:pt x="256" y="384"/>
                  </a:lnTo>
                  <a:lnTo>
                    <a:pt x="256" y="380"/>
                  </a:lnTo>
                  <a:lnTo>
                    <a:pt x="260" y="380"/>
                  </a:lnTo>
                  <a:lnTo>
                    <a:pt x="264" y="380"/>
                  </a:lnTo>
                  <a:lnTo>
                    <a:pt x="264" y="384"/>
                  </a:lnTo>
                  <a:lnTo>
                    <a:pt x="264" y="380"/>
                  </a:lnTo>
                  <a:lnTo>
                    <a:pt x="260" y="380"/>
                  </a:lnTo>
                  <a:lnTo>
                    <a:pt x="256" y="380"/>
                  </a:lnTo>
                  <a:lnTo>
                    <a:pt x="256" y="376"/>
                  </a:lnTo>
                  <a:lnTo>
                    <a:pt x="256" y="372"/>
                  </a:lnTo>
                  <a:lnTo>
                    <a:pt x="260" y="372"/>
                  </a:lnTo>
                  <a:lnTo>
                    <a:pt x="264" y="372"/>
                  </a:lnTo>
                  <a:lnTo>
                    <a:pt x="268" y="372"/>
                  </a:lnTo>
                  <a:lnTo>
                    <a:pt x="272" y="372"/>
                  </a:lnTo>
                  <a:lnTo>
                    <a:pt x="276" y="372"/>
                  </a:lnTo>
                  <a:lnTo>
                    <a:pt x="278" y="376"/>
                  </a:lnTo>
                  <a:lnTo>
                    <a:pt x="282" y="376"/>
                  </a:lnTo>
                  <a:lnTo>
                    <a:pt x="282" y="380"/>
                  </a:lnTo>
                  <a:lnTo>
                    <a:pt x="286" y="380"/>
                  </a:lnTo>
                  <a:lnTo>
                    <a:pt x="286" y="384"/>
                  </a:lnTo>
                  <a:lnTo>
                    <a:pt x="290" y="384"/>
                  </a:lnTo>
                  <a:lnTo>
                    <a:pt x="294" y="384"/>
                  </a:lnTo>
                  <a:lnTo>
                    <a:pt x="298" y="384"/>
                  </a:lnTo>
                  <a:lnTo>
                    <a:pt x="298" y="388"/>
                  </a:lnTo>
                  <a:lnTo>
                    <a:pt x="298" y="392"/>
                  </a:lnTo>
                  <a:lnTo>
                    <a:pt x="294" y="392"/>
                  </a:lnTo>
                  <a:lnTo>
                    <a:pt x="294" y="396"/>
                  </a:lnTo>
                  <a:lnTo>
                    <a:pt x="290" y="396"/>
                  </a:lnTo>
                  <a:lnTo>
                    <a:pt x="286" y="396"/>
                  </a:lnTo>
                  <a:lnTo>
                    <a:pt x="282" y="396"/>
                  </a:lnTo>
                  <a:lnTo>
                    <a:pt x="278" y="398"/>
                  </a:lnTo>
                  <a:lnTo>
                    <a:pt x="276" y="398"/>
                  </a:lnTo>
                  <a:lnTo>
                    <a:pt x="272" y="398"/>
                  </a:lnTo>
                  <a:lnTo>
                    <a:pt x="268" y="398"/>
                  </a:lnTo>
                  <a:lnTo>
                    <a:pt x="268" y="396"/>
                  </a:lnTo>
                  <a:lnTo>
                    <a:pt x="264" y="396"/>
                  </a:lnTo>
                  <a:lnTo>
                    <a:pt x="264" y="396"/>
                  </a:lnTo>
                  <a:lnTo>
                    <a:pt x="264" y="396"/>
                  </a:lnTo>
                  <a:close/>
                  <a:moveTo>
                    <a:pt x="308" y="384"/>
                  </a:moveTo>
                  <a:lnTo>
                    <a:pt x="312" y="384"/>
                  </a:lnTo>
                  <a:lnTo>
                    <a:pt x="316" y="384"/>
                  </a:lnTo>
                  <a:lnTo>
                    <a:pt x="312" y="388"/>
                  </a:lnTo>
                  <a:lnTo>
                    <a:pt x="312" y="392"/>
                  </a:lnTo>
                  <a:lnTo>
                    <a:pt x="308" y="392"/>
                  </a:lnTo>
                  <a:lnTo>
                    <a:pt x="306" y="388"/>
                  </a:lnTo>
                  <a:lnTo>
                    <a:pt x="306" y="384"/>
                  </a:lnTo>
                  <a:lnTo>
                    <a:pt x="308" y="384"/>
                  </a:lnTo>
                  <a:lnTo>
                    <a:pt x="306" y="384"/>
                  </a:lnTo>
                  <a:lnTo>
                    <a:pt x="308" y="384"/>
                  </a:lnTo>
                  <a:lnTo>
                    <a:pt x="308" y="380"/>
                  </a:lnTo>
                  <a:lnTo>
                    <a:pt x="308" y="384"/>
                  </a:lnTo>
                  <a:lnTo>
                    <a:pt x="308" y="384"/>
                  </a:lnTo>
                  <a:lnTo>
                    <a:pt x="308" y="384"/>
                  </a:lnTo>
                  <a:close/>
                  <a:moveTo>
                    <a:pt x="294" y="414"/>
                  </a:moveTo>
                  <a:lnTo>
                    <a:pt x="290" y="414"/>
                  </a:lnTo>
                  <a:lnTo>
                    <a:pt x="286" y="414"/>
                  </a:lnTo>
                  <a:lnTo>
                    <a:pt x="282" y="414"/>
                  </a:lnTo>
                  <a:lnTo>
                    <a:pt x="282" y="418"/>
                  </a:lnTo>
                  <a:lnTo>
                    <a:pt x="278" y="418"/>
                  </a:lnTo>
                  <a:lnTo>
                    <a:pt x="282" y="414"/>
                  </a:lnTo>
                  <a:lnTo>
                    <a:pt x="286" y="414"/>
                  </a:lnTo>
                  <a:lnTo>
                    <a:pt x="282" y="414"/>
                  </a:lnTo>
                  <a:lnTo>
                    <a:pt x="286" y="414"/>
                  </a:lnTo>
                  <a:lnTo>
                    <a:pt x="290" y="414"/>
                  </a:lnTo>
                  <a:lnTo>
                    <a:pt x="294" y="414"/>
                  </a:lnTo>
                  <a:lnTo>
                    <a:pt x="294" y="414"/>
                  </a:lnTo>
                  <a:lnTo>
                    <a:pt x="294" y="414"/>
                  </a:lnTo>
                  <a:close/>
                  <a:moveTo>
                    <a:pt x="294" y="426"/>
                  </a:moveTo>
                  <a:lnTo>
                    <a:pt x="298" y="426"/>
                  </a:lnTo>
                  <a:lnTo>
                    <a:pt x="302" y="426"/>
                  </a:lnTo>
                  <a:lnTo>
                    <a:pt x="306" y="426"/>
                  </a:lnTo>
                  <a:lnTo>
                    <a:pt x="302" y="426"/>
                  </a:lnTo>
                  <a:lnTo>
                    <a:pt x="298" y="426"/>
                  </a:lnTo>
                  <a:lnTo>
                    <a:pt x="298" y="428"/>
                  </a:lnTo>
                  <a:lnTo>
                    <a:pt x="294" y="428"/>
                  </a:lnTo>
                  <a:lnTo>
                    <a:pt x="290" y="426"/>
                  </a:lnTo>
                  <a:lnTo>
                    <a:pt x="294" y="426"/>
                  </a:lnTo>
                  <a:lnTo>
                    <a:pt x="294" y="426"/>
                  </a:lnTo>
                  <a:lnTo>
                    <a:pt x="294" y="426"/>
                  </a:lnTo>
                  <a:close/>
                  <a:moveTo>
                    <a:pt x="610" y="426"/>
                  </a:moveTo>
                  <a:lnTo>
                    <a:pt x="610" y="428"/>
                  </a:lnTo>
                  <a:lnTo>
                    <a:pt x="610" y="426"/>
                  </a:lnTo>
                  <a:lnTo>
                    <a:pt x="606" y="426"/>
                  </a:lnTo>
                  <a:lnTo>
                    <a:pt x="610" y="426"/>
                  </a:lnTo>
                  <a:lnTo>
                    <a:pt x="610" y="426"/>
                  </a:lnTo>
                  <a:lnTo>
                    <a:pt x="610" y="426"/>
                  </a:lnTo>
                  <a:close/>
                  <a:moveTo>
                    <a:pt x="298" y="428"/>
                  </a:moveTo>
                  <a:lnTo>
                    <a:pt x="306" y="426"/>
                  </a:lnTo>
                  <a:lnTo>
                    <a:pt x="308" y="428"/>
                  </a:lnTo>
                  <a:lnTo>
                    <a:pt x="306" y="428"/>
                  </a:lnTo>
                  <a:lnTo>
                    <a:pt x="302" y="428"/>
                  </a:lnTo>
                  <a:lnTo>
                    <a:pt x="298" y="428"/>
                  </a:lnTo>
                  <a:lnTo>
                    <a:pt x="298" y="428"/>
                  </a:lnTo>
                  <a:lnTo>
                    <a:pt x="298" y="428"/>
                  </a:lnTo>
                  <a:close/>
                  <a:moveTo>
                    <a:pt x="276" y="428"/>
                  </a:moveTo>
                  <a:lnTo>
                    <a:pt x="278" y="428"/>
                  </a:lnTo>
                  <a:lnTo>
                    <a:pt x="276" y="428"/>
                  </a:lnTo>
                  <a:lnTo>
                    <a:pt x="276" y="428"/>
                  </a:lnTo>
                  <a:lnTo>
                    <a:pt x="276" y="428"/>
                  </a:lnTo>
                  <a:close/>
                  <a:moveTo>
                    <a:pt x="272" y="440"/>
                  </a:moveTo>
                  <a:lnTo>
                    <a:pt x="272" y="436"/>
                  </a:lnTo>
                  <a:lnTo>
                    <a:pt x="276" y="436"/>
                  </a:lnTo>
                  <a:lnTo>
                    <a:pt x="272" y="440"/>
                  </a:lnTo>
                  <a:lnTo>
                    <a:pt x="272" y="440"/>
                  </a:lnTo>
                  <a:lnTo>
                    <a:pt x="272" y="440"/>
                  </a:lnTo>
                  <a:close/>
                  <a:moveTo>
                    <a:pt x="272" y="478"/>
                  </a:moveTo>
                  <a:lnTo>
                    <a:pt x="276" y="478"/>
                  </a:lnTo>
                  <a:lnTo>
                    <a:pt x="272" y="478"/>
                  </a:lnTo>
                  <a:lnTo>
                    <a:pt x="272" y="478"/>
                  </a:lnTo>
                  <a:lnTo>
                    <a:pt x="272" y="478"/>
                  </a:lnTo>
                  <a:close/>
                  <a:moveTo>
                    <a:pt x="514" y="484"/>
                  </a:moveTo>
                  <a:lnTo>
                    <a:pt x="514" y="482"/>
                  </a:lnTo>
                  <a:lnTo>
                    <a:pt x="514" y="484"/>
                  </a:lnTo>
                  <a:lnTo>
                    <a:pt x="514" y="484"/>
                  </a:lnTo>
                  <a:lnTo>
                    <a:pt x="514" y="484"/>
                  </a:lnTo>
                  <a:close/>
                  <a:moveTo>
                    <a:pt x="518" y="484"/>
                  </a:moveTo>
                  <a:lnTo>
                    <a:pt x="518" y="482"/>
                  </a:lnTo>
                  <a:lnTo>
                    <a:pt x="520" y="482"/>
                  </a:lnTo>
                  <a:lnTo>
                    <a:pt x="520" y="484"/>
                  </a:lnTo>
                  <a:lnTo>
                    <a:pt x="518" y="484"/>
                  </a:lnTo>
                  <a:lnTo>
                    <a:pt x="518" y="484"/>
                  </a:lnTo>
                  <a:lnTo>
                    <a:pt x="518" y="484"/>
                  </a:lnTo>
                  <a:close/>
                  <a:moveTo>
                    <a:pt x="498" y="488"/>
                  </a:moveTo>
                  <a:lnTo>
                    <a:pt x="494" y="488"/>
                  </a:lnTo>
                  <a:lnTo>
                    <a:pt x="494" y="484"/>
                  </a:lnTo>
                  <a:lnTo>
                    <a:pt x="494" y="482"/>
                  </a:lnTo>
                  <a:lnTo>
                    <a:pt x="498" y="482"/>
                  </a:lnTo>
                  <a:lnTo>
                    <a:pt x="502" y="482"/>
                  </a:lnTo>
                  <a:lnTo>
                    <a:pt x="502" y="484"/>
                  </a:lnTo>
                  <a:lnTo>
                    <a:pt x="506" y="484"/>
                  </a:lnTo>
                  <a:lnTo>
                    <a:pt x="502" y="484"/>
                  </a:lnTo>
                  <a:lnTo>
                    <a:pt x="502" y="488"/>
                  </a:lnTo>
                  <a:lnTo>
                    <a:pt x="498" y="488"/>
                  </a:lnTo>
                  <a:lnTo>
                    <a:pt x="498" y="488"/>
                  </a:lnTo>
                  <a:lnTo>
                    <a:pt x="498" y="488"/>
                  </a:lnTo>
                  <a:close/>
                  <a:moveTo>
                    <a:pt x="472" y="496"/>
                  </a:moveTo>
                  <a:lnTo>
                    <a:pt x="468" y="496"/>
                  </a:lnTo>
                  <a:lnTo>
                    <a:pt x="472" y="496"/>
                  </a:lnTo>
                  <a:lnTo>
                    <a:pt x="472" y="496"/>
                  </a:lnTo>
                  <a:lnTo>
                    <a:pt x="472" y="496"/>
                  </a:lnTo>
                  <a:close/>
                  <a:moveTo>
                    <a:pt x="462" y="518"/>
                  </a:moveTo>
                  <a:lnTo>
                    <a:pt x="462" y="514"/>
                  </a:lnTo>
                  <a:lnTo>
                    <a:pt x="458" y="514"/>
                  </a:lnTo>
                  <a:lnTo>
                    <a:pt x="458" y="512"/>
                  </a:lnTo>
                  <a:lnTo>
                    <a:pt x="454" y="508"/>
                  </a:lnTo>
                  <a:lnTo>
                    <a:pt x="458" y="508"/>
                  </a:lnTo>
                  <a:lnTo>
                    <a:pt x="462" y="512"/>
                  </a:lnTo>
                  <a:lnTo>
                    <a:pt x="458" y="512"/>
                  </a:lnTo>
                  <a:lnTo>
                    <a:pt x="462" y="514"/>
                  </a:lnTo>
                  <a:lnTo>
                    <a:pt x="464" y="514"/>
                  </a:lnTo>
                  <a:lnTo>
                    <a:pt x="464" y="518"/>
                  </a:lnTo>
                  <a:lnTo>
                    <a:pt x="462" y="518"/>
                  </a:lnTo>
                  <a:lnTo>
                    <a:pt x="462" y="518"/>
                  </a:lnTo>
                  <a:lnTo>
                    <a:pt x="462" y="518"/>
                  </a:lnTo>
                  <a:close/>
                  <a:moveTo>
                    <a:pt x="308" y="514"/>
                  </a:moveTo>
                  <a:lnTo>
                    <a:pt x="308" y="518"/>
                  </a:lnTo>
                  <a:lnTo>
                    <a:pt x="306" y="518"/>
                  </a:lnTo>
                  <a:lnTo>
                    <a:pt x="306" y="514"/>
                  </a:lnTo>
                  <a:lnTo>
                    <a:pt x="308" y="514"/>
                  </a:lnTo>
                  <a:lnTo>
                    <a:pt x="308" y="514"/>
                  </a:lnTo>
                  <a:lnTo>
                    <a:pt x="308" y="514"/>
                  </a:lnTo>
                  <a:close/>
                  <a:moveTo>
                    <a:pt x="312" y="514"/>
                  </a:moveTo>
                  <a:lnTo>
                    <a:pt x="312" y="518"/>
                  </a:lnTo>
                  <a:lnTo>
                    <a:pt x="308" y="518"/>
                  </a:lnTo>
                  <a:lnTo>
                    <a:pt x="308" y="522"/>
                  </a:lnTo>
                  <a:lnTo>
                    <a:pt x="306" y="522"/>
                  </a:lnTo>
                  <a:lnTo>
                    <a:pt x="308" y="518"/>
                  </a:lnTo>
                  <a:lnTo>
                    <a:pt x="308" y="514"/>
                  </a:lnTo>
                  <a:lnTo>
                    <a:pt x="312" y="514"/>
                  </a:lnTo>
                  <a:lnTo>
                    <a:pt x="312" y="514"/>
                  </a:lnTo>
                  <a:lnTo>
                    <a:pt x="312" y="514"/>
                  </a:lnTo>
                  <a:close/>
                  <a:moveTo>
                    <a:pt x="306" y="518"/>
                  </a:moveTo>
                  <a:lnTo>
                    <a:pt x="306" y="522"/>
                  </a:lnTo>
                  <a:lnTo>
                    <a:pt x="302" y="522"/>
                  </a:lnTo>
                  <a:lnTo>
                    <a:pt x="306" y="518"/>
                  </a:lnTo>
                  <a:lnTo>
                    <a:pt x="306" y="518"/>
                  </a:lnTo>
                  <a:lnTo>
                    <a:pt x="306" y="518"/>
                  </a:lnTo>
                  <a:close/>
                  <a:moveTo>
                    <a:pt x="450" y="522"/>
                  </a:moveTo>
                  <a:lnTo>
                    <a:pt x="446" y="522"/>
                  </a:lnTo>
                  <a:lnTo>
                    <a:pt x="446" y="518"/>
                  </a:lnTo>
                  <a:lnTo>
                    <a:pt x="450" y="522"/>
                  </a:lnTo>
                  <a:lnTo>
                    <a:pt x="450" y="522"/>
                  </a:lnTo>
                  <a:lnTo>
                    <a:pt x="450" y="52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81" name="Freeform 74"/>
            <p:cNvSpPr>
              <a:spLocks/>
            </p:cNvSpPr>
            <p:nvPr/>
          </p:nvSpPr>
          <p:spPr bwMode="auto">
            <a:xfrm>
              <a:off x="6221398" y="3959075"/>
              <a:ext cx="35167" cy="47073"/>
            </a:xfrm>
            <a:custGeom>
              <a:avLst/>
              <a:gdLst>
                <a:gd name="T0" fmla="*/ 38 w 56"/>
                <a:gd name="T1" fmla="*/ 60 h 72"/>
                <a:gd name="T2" fmla="*/ 38 w 56"/>
                <a:gd name="T3" fmla="*/ 64 h 72"/>
                <a:gd name="T4" fmla="*/ 38 w 56"/>
                <a:gd name="T5" fmla="*/ 64 h 72"/>
                <a:gd name="T6" fmla="*/ 38 w 56"/>
                <a:gd name="T7" fmla="*/ 64 h 72"/>
                <a:gd name="T8" fmla="*/ 34 w 56"/>
                <a:gd name="T9" fmla="*/ 68 h 72"/>
                <a:gd name="T10" fmla="*/ 30 w 56"/>
                <a:gd name="T11" fmla="*/ 72 h 72"/>
                <a:gd name="T12" fmla="*/ 30 w 56"/>
                <a:gd name="T13" fmla="*/ 72 h 72"/>
                <a:gd name="T14" fmla="*/ 26 w 56"/>
                <a:gd name="T15" fmla="*/ 72 h 72"/>
                <a:gd name="T16" fmla="*/ 22 w 56"/>
                <a:gd name="T17" fmla="*/ 68 h 72"/>
                <a:gd name="T18" fmla="*/ 22 w 56"/>
                <a:gd name="T19" fmla="*/ 68 h 72"/>
                <a:gd name="T20" fmla="*/ 16 w 56"/>
                <a:gd name="T21" fmla="*/ 68 h 72"/>
                <a:gd name="T22" fmla="*/ 12 w 56"/>
                <a:gd name="T23" fmla="*/ 68 h 72"/>
                <a:gd name="T24" fmla="*/ 8 w 56"/>
                <a:gd name="T25" fmla="*/ 68 h 72"/>
                <a:gd name="T26" fmla="*/ 8 w 56"/>
                <a:gd name="T27" fmla="*/ 64 h 72"/>
                <a:gd name="T28" fmla="*/ 4 w 56"/>
                <a:gd name="T29" fmla="*/ 64 h 72"/>
                <a:gd name="T30" fmla="*/ 0 w 56"/>
                <a:gd name="T31" fmla="*/ 60 h 72"/>
                <a:gd name="T32" fmla="*/ 0 w 56"/>
                <a:gd name="T33" fmla="*/ 56 h 72"/>
                <a:gd name="T34" fmla="*/ 0 w 56"/>
                <a:gd name="T35" fmla="*/ 56 h 72"/>
                <a:gd name="T36" fmla="*/ 0 w 56"/>
                <a:gd name="T37" fmla="*/ 52 h 72"/>
                <a:gd name="T38" fmla="*/ 0 w 56"/>
                <a:gd name="T39" fmla="*/ 44 h 72"/>
                <a:gd name="T40" fmla="*/ 8 w 56"/>
                <a:gd name="T41" fmla="*/ 30 h 72"/>
                <a:gd name="T42" fmla="*/ 18 w 56"/>
                <a:gd name="T43" fmla="*/ 30 h 72"/>
                <a:gd name="T44" fmla="*/ 26 w 56"/>
                <a:gd name="T45" fmla="*/ 30 h 72"/>
                <a:gd name="T46" fmla="*/ 26 w 56"/>
                <a:gd name="T47" fmla="*/ 30 h 72"/>
                <a:gd name="T48" fmla="*/ 26 w 56"/>
                <a:gd name="T49" fmla="*/ 26 h 72"/>
                <a:gd name="T50" fmla="*/ 22 w 56"/>
                <a:gd name="T51" fmla="*/ 26 h 72"/>
                <a:gd name="T52" fmla="*/ 22 w 56"/>
                <a:gd name="T53" fmla="*/ 22 h 72"/>
                <a:gd name="T54" fmla="*/ 22 w 56"/>
                <a:gd name="T55" fmla="*/ 18 h 72"/>
                <a:gd name="T56" fmla="*/ 18 w 56"/>
                <a:gd name="T57" fmla="*/ 18 h 72"/>
                <a:gd name="T58" fmla="*/ 16 w 56"/>
                <a:gd name="T59" fmla="*/ 14 h 72"/>
                <a:gd name="T60" fmla="*/ 12 w 56"/>
                <a:gd name="T61" fmla="*/ 12 h 72"/>
                <a:gd name="T62" fmla="*/ 18 w 56"/>
                <a:gd name="T63" fmla="*/ 0 h 72"/>
                <a:gd name="T64" fmla="*/ 22 w 56"/>
                <a:gd name="T65" fmla="*/ 0 h 72"/>
                <a:gd name="T66" fmla="*/ 42 w 56"/>
                <a:gd name="T67" fmla="*/ 0 h 72"/>
                <a:gd name="T68" fmla="*/ 46 w 56"/>
                <a:gd name="T69" fmla="*/ 14 h 72"/>
                <a:gd name="T70" fmla="*/ 42 w 56"/>
                <a:gd name="T71" fmla="*/ 34 h 72"/>
                <a:gd name="T72" fmla="*/ 50 w 56"/>
                <a:gd name="T73" fmla="*/ 34 h 72"/>
                <a:gd name="T74" fmla="*/ 50 w 56"/>
                <a:gd name="T75" fmla="*/ 34 h 72"/>
                <a:gd name="T76" fmla="*/ 52 w 56"/>
                <a:gd name="T77" fmla="*/ 38 h 72"/>
                <a:gd name="T78" fmla="*/ 52 w 56"/>
                <a:gd name="T79" fmla="*/ 34 h 72"/>
                <a:gd name="T80" fmla="*/ 56 w 56"/>
                <a:gd name="T81" fmla="*/ 38 h 72"/>
                <a:gd name="T82" fmla="*/ 56 w 56"/>
                <a:gd name="T83" fmla="*/ 38 h 72"/>
                <a:gd name="T84" fmla="*/ 52 w 56"/>
                <a:gd name="T85" fmla="*/ 44 h 72"/>
                <a:gd name="T86" fmla="*/ 46 w 56"/>
                <a:gd name="T87" fmla="*/ 48 h 72"/>
                <a:gd name="T88" fmla="*/ 46 w 56"/>
                <a:gd name="T89" fmla="*/ 48 h 72"/>
                <a:gd name="T90" fmla="*/ 42 w 56"/>
                <a:gd name="T91" fmla="*/ 52 h 72"/>
                <a:gd name="T92" fmla="*/ 46 w 56"/>
                <a:gd name="T93" fmla="*/ 56 h 72"/>
                <a:gd name="T94" fmla="*/ 42 w 56"/>
                <a:gd name="T95"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 h="72">
                  <a:moveTo>
                    <a:pt x="42" y="60"/>
                  </a:moveTo>
                  <a:lnTo>
                    <a:pt x="42" y="60"/>
                  </a:lnTo>
                  <a:lnTo>
                    <a:pt x="38" y="60"/>
                  </a:lnTo>
                  <a:lnTo>
                    <a:pt x="38" y="60"/>
                  </a:lnTo>
                  <a:lnTo>
                    <a:pt x="38" y="60"/>
                  </a:lnTo>
                  <a:lnTo>
                    <a:pt x="38" y="60"/>
                  </a:lnTo>
                  <a:lnTo>
                    <a:pt x="38" y="64"/>
                  </a:lnTo>
                  <a:lnTo>
                    <a:pt x="38" y="64"/>
                  </a:lnTo>
                  <a:lnTo>
                    <a:pt x="38" y="64"/>
                  </a:lnTo>
                  <a:lnTo>
                    <a:pt x="38" y="64"/>
                  </a:lnTo>
                  <a:lnTo>
                    <a:pt x="38" y="64"/>
                  </a:lnTo>
                  <a:lnTo>
                    <a:pt x="38" y="64"/>
                  </a:lnTo>
                  <a:lnTo>
                    <a:pt x="38" y="64"/>
                  </a:lnTo>
                  <a:lnTo>
                    <a:pt x="38" y="64"/>
                  </a:lnTo>
                  <a:lnTo>
                    <a:pt x="38" y="64"/>
                  </a:lnTo>
                  <a:lnTo>
                    <a:pt x="38" y="64"/>
                  </a:lnTo>
                  <a:lnTo>
                    <a:pt x="38" y="64"/>
                  </a:lnTo>
                  <a:lnTo>
                    <a:pt x="34" y="68"/>
                  </a:lnTo>
                  <a:lnTo>
                    <a:pt x="34" y="68"/>
                  </a:lnTo>
                  <a:lnTo>
                    <a:pt x="34" y="68"/>
                  </a:lnTo>
                  <a:lnTo>
                    <a:pt x="34" y="68"/>
                  </a:lnTo>
                  <a:lnTo>
                    <a:pt x="34" y="68"/>
                  </a:lnTo>
                  <a:lnTo>
                    <a:pt x="30" y="68"/>
                  </a:lnTo>
                  <a:lnTo>
                    <a:pt x="30" y="72"/>
                  </a:lnTo>
                  <a:lnTo>
                    <a:pt x="30" y="72"/>
                  </a:lnTo>
                  <a:lnTo>
                    <a:pt x="30" y="72"/>
                  </a:lnTo>
                  <a:lnTo>
                    <a:pt x="30" y="72"/>
                  </a:lnTo>
                  <a:lnTo>
                    <a:pt x="30" y="72"/>
                  </a:lnTo>
                  <a:lnTo>
                    <a:pt x="30" y="72"/>
                  </a:lnTo>
                  <a:lnTo>
                    <a:pt x="30" y="72"/>
                  </a:lnTo>
                  <a:lnTo>
                    <a:pt x="30" y="72"/>
                  </a:lnTo>
                  <a:lnTo>
                    <a:pt x="26" y="72"/>
                  </a:lnTo>
                  <a:lnTo>
                    <a:pt x="26" y="72"/>
                  </a:lnTo>
                  <a:lnTo>
                    <a:pt x="26" y="72"/>
                  </a:lnTo>
                  <a:lnTo>
                    <a:pt x="26" y="72"/>
                  </a:lnTo>
                  <a:lnTo>
                    <a:pt x="22" y="68"/>
                  </a:lnTo>
                  <a:lnTo>
                    <a:pt x="22" y="68"/>
                  </a:lnTo>
                  <a:lnTo>
                    <a:pt x="22" y="68"/>
                  </a:lnTo>
                  <a:lnTo>
                    <a:pt x="22" y="68"/>
                  </a:lnTo>
                  <a:lnTo>
                    <a:pt x="22" y="68"/>
                  </a:lnTo>
                  <a:lnTo>
                    <a:pt x="18" y="68"/>
                  </a:lnTo>
                  <a:lnTo>
                    <a:pt x="18" y="68"/>
                  </a:lnTo>
                  <a:lnTo>
                    <a:pt x="18" y="68"/>
                  </a:lnTo>
                  <a:lnTo>
                    <a:pt x="16" y="68"/>
                  </a:lnTo>
                  <a:lnTo>
                    <a:pt x="16" y="68"/>
                  </a:lnTo>
                  <a:lnTo>
                    <a:pt x="16" y="68"/>
                  </a:lnTo>
                  <a:lnTo>
                    <a:pt x="16" y="68"/>
                  </a:lnTo>
                  <a:lnTo>
                    <a:pt x="12" y="68"/>
                  </a:lnTo>
                  <a:lnTo>
                    <a:pt x="12" y="68"/>
                  </a:lnTo>
                  <a:lnTo>
                    <a:pt x="12" y="68"/>
                  </a:lnTo>
                  <a:lnTo>
                    <a:pt x="12" y="68"/>
                  </a:lnTo>
                  <a:lnTo>
                    <a:pt x="8" y="68"/>
                  </a:lnTo>
                  <a:lnTo>
                    <a:pt x="8" y="68"/>
                  </a:lnTo>
                  <a:lnTo>
                    <a:pt x="8" y="68"/>
                  </a:lnTo>
                  <a:lnTo>
                    <a:pt x="8" y="64"/>
                  </a:lnTo>
                  <a:lnTo>
                    <a:pt x="8" y="64"/>
                  </a:lnTo>
                  <a:lnTo>
                    <a:pt x="8" y="64"/>
                  </a:lnTo>
                  <a:lnTo>
                    <a:pt x="8" y="64"/>
                  </a:lnTo>
                  <a:lnTo>
                    <a:pt x="8" y="64"/>
                  </a:lnTo>
                  <a:lnTo>
                    <a:pt x="4" y="64"/>
                  </a:lnTo>
                  <a:lnTo>
                    <a:pt x="4" y="64"/>
                  </a:lnTo>
                  <a:lnTo>
                    <a:pt x="4" y="60"/>
                  </a:lnTo>
                  <a:lnTo>
                    <a:pt x="4" y="60"/>
                  </a:lnTo>
                  <a:lnTo>
                    <a:pt x="0" y="60"/>
                  </a:lnTo>
                  <a:lnTo>
                    <a:pt x="0" y="60"/>
                  </a:lnTo>
                  <a:lnTo>
                    <a:pt x="0" y="60"/>
                  </a:lnTo>
                  <a:lnTo>
                    <a:pt x="0" y="56"/>
                  </a:lnTo>
                  <a:lnTo>
                    <a:pt x="0" y="56"/>
                  </a:lnTo>
                  <a:lnTo>
                    <a:pt x="0" y="56"/>
                  </a:lnTo>
                  <a:lnTo>
                    <a:pt x="0" y="56"/>
                  </a:lnTo>
                  <a:lnTo>
                    <a:pt x="0" y="56"/>
                  </a:lnTo>
                  <a:lnTo>
                    <a:pt x="0" y="56"/>
                  </a:lnTo>
                  <a:lnTo>
                    <a:pt x="0" y="56"/>
                  </a:lnTo>
                  <a:lnTo>
                    <a:pt x="0" y="52"/>
                  </a:lnTo>
                  <a:lnTo>
                    <a:pt x="0" y="52"/>
                  </a:lnTo>
                  <a:lnTo>
                    <a:pt x="0" y="52"/>
                  </a:lnTo>
                  <a:lnTo>
                    <a:pt x="0" y="52"/>
                  </a:lnTo>
                  <a:lnTo>
                    <a:pt x="4" y="48"/>
                  </a:lnTo>
                  <a:lnTo>
                    <a:pt x="4" y="48"/>
                  </a:lnTo>
                  <a:lnTo>
                    <a:pt x="0" y="44"/>
                  </a:lnTo>
                  <a:lnTo>
                    <a:pt x="0" y="42"/>
                  </a:lnTo>
                  <a:lnTo>
                    <a:pt x="8" y="34"/>
                  </a:lnTo>
                  <a:lnTo>
                    <a:pt x="8" y="34"/>
                  </a:lnTo>
                  <a:lnTo>
                    <a:pt x="8" y="30"/>
                  </a:lnTo>
                  <a:lnTo>
                    <a:pt x="8" y="30"/>
                  </a:lnTo>
                  <a:lnTo>
                    <a:pt x="12" y="30"/>
                  </a:lnTo>
                  <a:lnTo>
                    <a:pt x="18" y="30"/>
                  </a:lnTo>
                  <a:lnTo>
                    <a:pt x="18" y="30"/>
                  </a:lnTo>
                  <a:lnTo>
                    <a:pt x="22" y="30"/>
                  </a:lnTo>
                  <a:lnTo>
                    <a:pt x="26" y="30"/>
                  </a:lnTo>
                  <a:lnTo>
                    <a:pt x="26" y="30"/>
                  </a:lnTo>
                  <a:lnTo>
                    <a:pt x="26" y="30"/>
                  </a:lnTo>
                  <a:lnTo>
                    <a:pt x="26" y="30"/>
                  </a:lnTo>
                  <a:lnTo>
                    <a:pt x="26" y="30"/>
                  </a:lnTo>
                  <a:lnTo>
                    <a:pt x="26" y="30"/>
                  </a:lnTo>
                  <a:lnTo>
                    <a:pt x="26" y="30"/>
                  </a:lnTo>
                  <a:lnTo>
                    <a:pt x="26" y="26"/>
                  </a:lnTo>
                  <a:lnTo>
                    <a:pt x="26" y="26"/>
                  </a:lnTo>
                  <a:lnTo>
                    <a:pt x="26" y="26"/>
                  </a:lnTo>
                  <a:lnTo>
                    <a:pt x="26" y="26"/>
                  </a:lnTo>
                  <a:lnTo>
                    <a:pt x="26" y="26"/>
                  </a:lnTo>
                  <a:lnTo>
                    <a:pt x="26" y="26"/>
                  </a:lnTo>
                  <a:lnTo>
                    <a:pt x="26" y="26"/>
                  </a:lnTo>
                  <a:lnTo>
                    <a:pt x="22" y="26"/>
                  </a:lnTo>
                  <a:lnTo>
                    <a:pt x="22" y="26"/>
                  </a:lnTo>
                  <a:lnTo>
                    <a:pt x="22" y="22"/>
                  </a:lnTo>
                  <a:lnTo>
                    <a:pt x="22" y="22"/>
                  </a:lnTo>
                  <a:lnTo>
                    <a:pt x="22" y="22"/>
                  </a:lnTo>
                  <a:lnTo>
                    <a:pt x="22" y="22"/>
                  </a:lnTo>
                  <a:lnTo>
                    <a:pt x="22" y="22"/>
                  </a:lnTo>
                  <a:lnTo>
                    <a:pt x="22" y="22"/>
                  </a:lnTo>
                  <a:lnTo>
                    <a:pt x="22" y="18"/>
                  </a:lnTo>
                  <a:lnTo>
                    <a:pt x="22" y="18"/>
                  </a:lnTo>
                  <a:lnTo>
                    <a:pt x="18" y="18"/>
                  </a:lnTo>
                  <a:lnTo>
                    <a:pt x="18" y="18"/>
                  </a:lnTo>
                  <a:lnTo>
                    <a:pt x="18" y="18"/>
                  </a:lnTo>
                  <a:lnTo>
                    <a:pt x="18" y="18"/>
                  </a:lnTo>
                  <a:lnTo>
                    <a:pt x="18" y="18"/>
                  </a:lnTo>
                  <a:lnTo>
                    <a:pt x="16" y="14"/>
                  </a:lnTo>
                  <a:lnTo>
                    <a:pt x="16" y="14"/>
                  </a:lnTo>
                  <a:lnTo>
                    <a:pt x="16" y="12"/>
                  </a:lnTo>
                  <a:lnTo>
                    <a:pt x="12" y="12"/>
                  </a:lnTo>
                  <a:lnTo>
                    <a:pt x="12" y="12"/>
                  </a:lnTo>
                  <a:lnTo>
                    <a:pt x="12" y="12"/>
                  </a:lnTo>
                  <a:lnTo>
                    <a:pt x="18" y="12"/>
                  </a:lnTo>
                  <a:lnTo>
                    <a:pt x="18" y="4"/>
                  </a:lnTo>
                  <a:lnTo>
                    <a:pt x="18" y="0"/>
                  </a:lnTo>
                  <a:lnTo>
                    <a:pt x="18" y="0"/>
                  </a:lnTo>
                  <a:lnTo>
                    <a:pt x="18" y="0"/>
                  </a:lnTo>
                  <a:lnTo>
                    <a:pt x="18" y="0"/>
                  </a:lnTo>
                  <a:lnTo>
                    <a:pt x="22" y="0"/>
                  </a:lnTo>
                  <a:lnTo>
                    <a:pt x="22" y="0"/>
                  </a:lnTo>
                  <a:lnTo>
                    <a:pt x="30" y="0"/>
                  </a:lnTo>
                  <a:lnTo>
                    <a:pt x="30" y="0"/>
                  </a:lnTo>
                  <a:lnTo>
                    <a:pt x="34" y="0"/>
                  </a:lnTo>
                  <a:lnTo>
                    <a:pt x="42" y="0"/>
                  </a:lnTo>
                  <a:lnTo>
                    <a:pt x="46" y="0"/>
                  </a:lnTo>
                  <a:lnTo>
                    <a:pt x="46" y="4"/>
                  </a:lnTo>
                  <a:lnTo>
                    <a:pt x="46" y="8"/>
                  </a:lnTo>
                  <a:lnTo>
                    <a:pt x="46" y="14"/>
                  </a:lnTo>
                  <a:lnTo>
                    <a:pt x="46" y="26"/>
                  </a:lnTo>
                  <a:lnTo>
                    <a:pt x="42" y="30"/>
                  </a:lnTo>
                  <a:lnTo>
                    <a:pt x="42" y="34"/>
                  </a:lnTo>
                  <a:lnTo>
                    <a:pt x="42" y="34"/>
                  </a:lnTo>
                  <a:lnTo>
                    <a:pt x="46" y="34"/>
                  </a:lnTo>
                  <a:lnTo>
                    <a:pt x="46" y="34"/>
                  </a:lnTo>
                  <a:lnTo>
                    <a:pt x="46" y="34"/>
                  </a:lnTo>
                  <a:lnTo>
                    <a:pt x="50" y="34"/>
                  </a:lnTo>
                  <a:lnTo>
                    <a:pt x="50" y="34"/>
                  </a:lnTo>
                  <a:lnTo>
                    <a:pt x="50" y="34"/>
                  </a:lnTo>
                  <a:lnTo>
                    <a:pt x="50" y="34"/>
                  </a:lnTo>
                  <a:lnTo>
                    <a:pt x="50" y="34"/>
                  </a:lnTo>
                  <a:lnTo>
                    <a:pt x="50" y="34"/>
                  </a:lnTo>
                  <a:lnTo>
                    <a:pt x="50" y="38"/>
                  </a:lnTo>
                  <a:lnTo>
                    <a:pt x="52" y="38"/>
                  </a:lnTo>
                  <a:lnTo>
                    <a:pt x="52" y="38"/>
                  </a:lnTo>
                  <a:lnTo>
                    <a:pt x="52" y="38"/>
                  </a:lnTo>
                  <a:lnTo>
                    <a:pt x="52" y="38"/>
                  </a:lnTo>
                  <a:lnTo>
                    <a:pt x="52" y="34"/>
                  </a:lnTo>
                  <a:lnTo>
                    <a:pt x="52" y="34"/>
                  </a:lnTo>
                  <a:lnTo>
                    <a:pt x="52" y="34"/>
                  </a:lnTo>
                  <a:lnTo>
                    <a:pt x="52" y="34"/>
                  </a:lnTo>
                  <a:lnTo>
                    <a:pt x="56" y="34"/>
                  </a:lnTo>
                  <a:lnTo>
                    <a:pt x="56" y="38"/>
                  </a:lnTo>
                  <a:lnTo>
                    <a:pt x="56" y="38"/>
                  </a:lnTo>
                  <a:lnTo>
                    <a:pt x="56" y="38"/>
                  </a:lnTo>
                  <a:lnTo>
                    <a:pt x="56" y="38"/>
                  </a:lnTo>
                  <a:lnTo>
                    <a:pt x="56" y="38"/>
                  </a:lnTo>
                  <a:lnTo>
                    <a:pt x="56" y="38"/>
                  </a:lnTo>
                  <a:lnTo>
                    <a:pt x="52" y="42"/>
                  </a:lnTo>
                  <a:lnTo>
                    <a:pt x="52" y="42"/>
                  </a:lnTo>
                  <a:lnTo>
                    <a:pt x="52" y="44"/>
                  </a:lnTo>
                  <a:lnTo>
                    <a:pt x="50" y="44"/>
                  </a:lnTo>
                  <a:lnTo>
                    <a:pt x="50" y="44"/>
                  </a:lnTo>
                  <a:lnTo>
                    <a:pt x="46" y="48"/>
                  </a:lnTo>
                  <a:lnTo>
                    <a:pt x="46" y="48"/>
                  </a:lnTo>
                  <a:lnTo>
                    <a:pt x="46" y="48"/>
                  </a:lnTo>
                  <a:lnTo>
                    <a:pt x="46" y="48"/>
                  </a:lnTo>
                  <a:lnTo>
                    <a:pt x="46" y="48"/>
                  </a:lnTo>
                  <a:lnTo>
                    <a:pt x="46" y="48"/>
                  </a:lnTo>
                  <a:lnTo>
                    <a:pt x="46" y="48"/>
                  </a:lnTo>
                  <a:lnTo>
                    <a:pt x="46" y="52"/>
                  </a:lnTo>
                  <a:lnTo>
                    <a:pt x="46" y="52"/>
                  </a:lnTo>
                  <a:lnTo>
                    <a:pt x="42" y="52"/>
                  </a:lnTo>
                  <a:lnTo>
                    <a:pt x="42" y="52"/>
                  </a:lnTo>
                  <a:lnTo>
                    <a:pt x="42" y="52"/>
                  </a:lnTo>
                  <a:lnTo>
                    <a:pt x="46" y="56"/>
                  </a:lnTo>
                  <a:lnTo>
                    <a:pt x="46" y="56"/>
                  </a:lnTo>
                  <a:lnTo>
                    <a:pt x="46" y="56"/>
                  </a:lnTo>
                  <a:lnTo>
                    <a:pt x="46" y="56"/>
                  </a:lnTo>
                  <a:lnTo>
                    <a:pt x="42" y="56"/>
                  </a:lnTo>
                  <a:lnTo>
                    <a:pt x="42" y="60"/>
                  </a:lnTo>
                  <a:lnTo>
                    <a:pt x="42" y="60"/>
                  </a:lnTo>
                  <a:lnTo>
                    <a:pt x="42" y="60"/>
                  </a:lnTo>
                  <a:lnTo>
                    <a:pt x="42" y="6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82" name="Freeform 75"/>
            <p:cNvSpPr>
              <a:spLocks noEditPoints="1"/>
            </p:cNvSpPr>
            <p:nvPr/>
          </p:nvSpPr>
          <p:spPr bwMode="auto">
            <a:xfrm>
              <a:off x="6378393" y="3934231"/>
              <a:ext cx="25119" cy="22229"/>
            </a:xfrm>
            <a:custGeom>
              <a:avLst/>
              <a:gdLst>
                <a:gd name="T0" fmla="*/ 22 w 40"/>
                <a:gd name="T1" fmla="*/ 0 h 34"/>
                <a:gd name="T2" fmla="*/ 26 w 40"/>
                <a:gd name="T3" fmla="*/ 0 h 34"/>
                <a:gd name="T4" fmla="*/ 26 w 40"/>
                <a:gd name="T5" fmla="*/ 0 h 34"/>
                <a:gd name="T6" fmla="*/ 18 w 40"/>
                <a:gd name="T7" fmla="*/ 8 h 34"/>
                <a:gd name="T8" fmla="*/ 14 w 40"/>
                <a:gd name="T9" fmla="*/ 8 h 34"/>
                <a:gd name="T10" fmla="*/ 14 w 40"/>
                <a:gd name="T11" fmla="*/ 4 h 34"/>
                <a:gd name="T12" fmla="*/ 18 w 40"/>
                <a:gd name="T13" fmla="*/ 4 h 34"/>
                <a:gd name="T14" fmla="*/ 22 w 40"/>
                <a:gd name="T15" fmla="*/ 0 h 34"/>
                <a:gd name="T16" fmla="*/ 26 w 40"/>
                <a:gd name="T17" fmla="*/ 0 h 34"/>
                <a:gd name="T18" fmla="*/ 30 w 40"/>
                <a:gd name="T19" fmla="*/ 4 h 34"/>
                <a:gd name="T20" fmla="*/ 34 w 40"/>
                <a:gd name="T21" fmla="*/ 4 h 34"/>
                <a:gd name="T22" fmla="*/ 40 w 40"/>
                <a:gd name="T23" fmla="*/ 4 h 34"/>
                <a:gd name="T24" fmla="*/ 40 w 40"/>
                <a:gd name="T25" fmla="*/ 8 h 34"/>
                <a:gd name="T26" fmla="*/ 40 w 40"/>
                <a:gd name="T27" fmla="*/ 8 h 34"/>
                <a:gd name="T28" fmla="*/ 40 w 40"/>
                <a:gd name="T29" fmla="*/ 12 h 34"/>
                <a:gd name="T30" fmla="*/ 40 w 40"/>
                <a:gd name="T31" fmla="*/ 16 h 34"/>
                <a:gd name="T32" fmla="*/ 40 w 40"/>
                <a:gd name="T33" fmla="*/ 16 h 34"/>
                <a:gd name="T34" fmla="*/ 40 w 40"/>
                <a:gd name="T35" fmla="*/ 22 h 34"/>
                <a:gd name="T36" fmla="*/ 40 w 40"/>
                <a:gd name="T37" fmla="*/ 22 h 34"/>
                <a:gd name="T38" fmla="*/ 38 w 40"/>
                <a:gd name="T39" fmla="*/ 22 h 34"/>
                <a:gd name="T40" fmla="*/ 38 w 40"/>
                <a:gd name="T41" fmla="*/ 22 h 34"/>
                <a:gd name="T42" fmla="*/ 38 w 40"/>
                <a:gd name="T43" fmla="*/ 26 h 34"/>
                <a:gd name="T44" fmla="*/ 38 w 40"/>
                <a:gd name="T45" fmla="*/ 26 h 34"/>
                <a:gd name="T46" fmla="*/ 40 w 40"/>
                <a:gd name="T47" fmla="*/ 30 h 34"/>
                <a:gd name="T48" fmla="*/ 40 w 40"/>
                <a:gd name="T49" fmla="*/ 34 h 34"/>
                <a:gd name="T50" fmla="*/ 38 w 40"/>
                <a:gd name="T51" fmla="*/ 34 h 34"/>
                <a:gd name="T52" fmla="*/ 34 w 40"/>
                <a:gd name="T53" fmla="*/ 30 h 34"/>
                <a:gd name="T54" fmla="*/ 34 w 40"/>
                <a:gd name="T55" fmla="*/ 30 h 34"/>
                <a:gd name="T56" fmla="*/ 30 w 40"/>
                <a:gd name="T57" fmla="*/ 34 h 34"/>
                <a:gd name="T58" fmla="*/ 26 w 40"/>
                <a:gd name="T59" fmla="*/ 34 h 34"/>
                <a:gd name="T60" fmla="*/ 22 w 40"/>
                <a:gd name="T61" fmla="*/ 34 h 34"/>
                <a:gd name="T62" fmla="*/ 18 w 40"/>
                <a:gd name="T63" fmla="*/ 30 h 34"/>
                <a:gd name="T64" fmla="*/ 10 w 40"/>
                <a:gd name="T65" fmla="*/ 34 h 34"/>
                <a:gd name="T66" fmla="*/ 10 w 40"/>
                <a:gd name="T67" fmla="*/ 34 h 34"/>
                <a:gd name="T68" fmla="*/ 10 w 40"/>
                <a:gd name="T69" fmla="*/ 34 h 34"/>
                <a:gd name="T70" fmla="*/ 10 w 40"/>
                <a:gd name="T71" fmla="*/ 34 h 34"/>
                <a:gd name="T72" fmla="*/ 8 w 40"/>
                <a:gd name="T73" fmla="*/ 34 h 34"/>
                <a:gd name="T74" fmla="*/ 4 w 40"/>
                <a:gd name="T75" fmla="*/ 30 h 34"/>
                <a:gd name="T76" fmla="*/ 4 w 40"/>
                <a:gd name="T77" fmla="*/ 30 h 34"/>
                <a:gd name="T78" fmla="*/ 4 w 40"/>
                <a:gd name="T79" fmla="*/ 22 h 34"/>
                <a:gd name="T80" fmla="*/ 8 w 40"/>
                <a:gd name="T81" fmla="*/ 22 h 34"/>
                <a:gd name="T82" fmla="*/ 10 w 40"/>
                <a:gd name="T83" fmla="*/ 26 h 34"/>
                <a:gd name="T84" fmla="*/ 10 w 40"/>
                <a:gd name="T85" fmla="*/ 26 h 34"/>
                <a:gd name="T86" fmla="*/ 14 w 40"/>
                <a:gd name="T87" fmla="*/ 26 h 34"/>
                <a:gd name="T88" fmla="*/ 10 w 40"/>
                <a:gd name="T89" fmla="*/ 26 h 34"/>
                <a:gd name="T90" fmla="*/ 14 w 40"/>
                <a:gd name="T91" fmla="*/ 26 h 34"/>
                <a:gd name="T92" fmla="*/ 22 w 40"/>
                <a:gd name="T93" fmla="*/ 26 h 34"/>
                <a:gd name="T94" fmla="*/ 22 w 40"/>
                <a:gd name="T95" fmla="*/ 26 h 34"/>
                <a:gd name="T96" fmla="*/ 26 w 40"/>
                <a:gd name="T97" fmla="*/ 26 h 34"/>
                <a:gd name="T98" fmla="*/ 26 w 40"/>
                <a:gd name="T99" fmla="*/ 26 h 34"/>
                <a:gd name="T100" fmla="*/ 30 w 40"/>
                <a:gd name="T101" fmla="*/ 26 h 34"/>
                <a:gd name="T102" fmla="*/ 30 w 40"/>
                <a:gd name="T103" fmla="*/ 22 h 34"/>
                <a:gd name="T104" fmla="*/ 30 w 40"/>
                <a:gd name="T105" fmla="*/ 22 h 34"/>
                <a:gd name="T106" fmla="*/ 26 w 40"/>
                <a:gd name="T107" fmla="*/ 20 h 34"/>
                <a:gd name="T108" fmla="*/ 26 w 40"/>
                <a:gd name="T109" fmla="*/ 16 h 34"/>
                <a:gd name="T110" fmla="*/ 22 w 40"/>
                <a:gd name="T111" fmla="*/ 8 h 34"/>
                <a:gd name="T112" fmla="*/ 22 w 40"/>
                <a:gd name="T113" fmla="*/ 8 h 34"/>
                <a:gd name="T114" fmla="*/ 18 w 40"/>
                <a:gd name="T115" fmla="*/ 20 h 34"/>
                <a:gd name="T116" fmla="*/ 18 w 40"/>
                <a:gd name="T117" fmla="*/ 20 h 34"/>
                <a:gd name="T118" fmla="*/ 22 w 40"/>
                <a:gd name="T119" fmla="*/ 20 h 34"/>
                <a:gd name="T120" fmla="*/ 26 w 40"/>
                <a:gd name="T121" fmla="*/ 22 h 34"/>
                <a:gd name="T122" fmla="*/ 26 w 40"/>
                <a:gd name="T123"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 h="34">
                  <a:moveTo>
                    <a:pt x="26" y="0"/>
                  </a:moveTo>
                  <a:lnTo>
                    <a:pt x="26" y="0"/>
                  </a:lnTo>
                  <a:lnTo>
                    <a:pt x="22" y="0"/>
                  </a:lnTo>
                  <a:lnTo>
                    <a:pt x="22" y="0"/>
                  </a:lnTo>
                  <a:lnTo>
                    <a:pt x="22" y="0"/>
                  </a:lnTo>
                  <a:lnTo>
                    <a:pt x="22" y="0"/>
                  </a:lnTo>
                  <a:lnTo>
                    <a:pt x="22" y="0"/>
                  </a:lnTo>
                  <a:lnTo>
                    <a:pt x="22" y="0"/>
                  </a:lnTo>
                  <a:lnTo>
                    <a:pt x="22" y="0"/>
                  </a:lnTo>
                  <a:lnTo>
                    <a:pt x="26" y="0"/>
                  </a:lnTo>
                  <a:lnTo>
                    <a:pt x="26" y="0"/>
                  </a:lnTo>
                  <a:lnTo>
                    <a:pt x="26" y="0"/>
                  </a:lnTo>
                  <a:lnTo>
                    <a:pt x="26" y="0"/>
                  </a:lnTo>
                  <a:lnTo>
                    <a:pt x="26" y="0"/>
                  </a:lnTo>
                  <a:lnTo>
                    <a:pt x="26" y="0"/>
                  </a:lnTo>
                  <a:lnTo>
                    <a:pt x="26" y="0"/>
                  </a:lnTo>
                  <a:lnTo>
                    <a:pt x="26" y="0"/>
                  </a:lnTo>
                  <a:lnTo>
                    <a:pt x="26" y="0"/>
                  </a:lnTo>
                  <a:close/>
                  <a:moveTo>
                    <a:pt x="22" y="8"/>
                  </a:moveTo>
                  <a:lnTo>
                    <a:pt x="18" y="8"/>
                  </a:lnTo>
                  <a:lnTo>
                    <a:pt x="18" y="8"/>
                  </a:lnTo>
                  <a:lnTo>
                    <a:pt x="18" y="8"/>
                  </a:lnTo>
                  <a:lnTo>
                    <a:pt x="14" y="8"/>
                  </a:lnTo>
                  <a:lnTo>
                    <a:pt x="14" y="8"/>
                  </a:lnTo>
                  <a:lnTo>
                    <a:pt x="14" y="8"/>
                  </a:lnTo>
                  <a:lnTo>
                    <a:pt x="14" y="4"/>
                  </a:lnTo>
                  <a:lnTo>
                    <a:pt x="14" y="4"/>
                  </a:lnTo>
                  <a:lnTo>
                    <a:pt x="14" y="4"/>
                  </a:lnTo>
                  <a:lnTo>
                    <a:pt x="14" y="4"/>
                  </a:lnTo>
                  <a:lnTo>
                    <a:pt x="14" y="4"/>
                  </a:lnTo>
                  <a:lnTo>
                    <a:pt x="14" y="4"/>
                  </a:lnTo>
                  <a:lnTo>
                    <a:pt x="14" y="4"/>
                  </a:lnTo>
                  <a:lnTo>
                    <a:pt x="18" y="4"/>
                  </a:lnTo>
                  <a:lnTo>
                    <a:pt x="18" y="4"/>
                  </a:lnTo>
                  <a:lnTo>
                    <a:pt x="18" y="4"/>
                  </a:lnTo>
                  <a:lnTo>
                    <a:pt x="18" y="4"/>
                  </a:lnTo>
                  <a:lnTo>
                    <a:pt x="18" y="4"/>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4"/>
                  </a:lnTo>
                  <a:lnTo>
                    <a:pt x="30" y="4"/>
                  </a:lnTo>
                  <a:lnTo>
                    <a:pt x="34" y="4"/>
                  </a:lnTo>
                  <a:lnTo>
                    <a:pt x="34" y="4"/>
                  </a:lnTo>
                  <a:lnTo>
                    <a:pt x="34" y="4"/>
                  </a:lnTo>
                  <a:lnTo>
                    <a:pt x="34" y="4"/>
                  </a:lnTo>
                  <a:lnTo>
                    <a:pt x="34" y="4"/>
                  </a:lnTo>
                  <a:lnTo>
                    <a:pt x="38" y="4"/>
                  </a:lnTo>
                  <a:lnTo>
                    <a:pt x="38" y="4"/>
                  </a:lnTo>
                  <a:lnTo>
                    <a:pt x="38" y="4"/>
                  </a:lnTo>
                  <a:lnTo>
                    <a:pt x="40" y="4"/>
                  </a:lnTo>
                  <a:lnTo>
                    <a:pt x="40" y="4"/>
                  </a:lnTo>
                  <a:lnTo>
                    <a:pt x="40" y="4"/>
                  </a:lnTo>
                  <a:lnTo>
                    <a:pt x="40" y="4"/>
                  </a:lnTo>
                  <a:lnTo>
                    <a:pt x="40" y="8"/>
                  </a:lnTo>
                  <a:lnTo>
                    <a:pt x="40" y="8"/>
                  </a:lnTo>
                  <a:lnTo>
                    <a:pt x="40" y="8"/>
                  </a:lnTo>
                  <a:lnTo>
                    <a:pt x="40" y="8"/>
                  </a:lnTo>
                  <a:lnTo>
                    <a:pt x="40" y="8"/>
                  </a:lnTo>
                  <a:lnTo>
                    <a:pt x="40" y="8"/>
                  </a:lnTo>
                  <a:lnTo>
                    <a:pt x="40" y="8"/>
                  </a:lnTo>
                  <a:lnTo>
                    <a:pt x="40" y="8"/>
                  </a:lnTo>
                  <a:lnTo>
                    <a:pt x="40" y="8"/>
                  </a:lnTo>
                  <a:lnTo>
                    <a:pt x="40" y="8"/>
                  </a:lnTo>
                  <a:lnTo>
                    <a:pt x="40" y="12"/>
                  </a:lnTo>
                  <a:lnTo>
                    <a:pt x="40" y="12"/>
                  </a:lnTo>
                  <a:lnTo>
                    <a:pt x="40" y="12"/>
                  </a:lnTo>
                  <a:lnTo>
                    <a:pt x="40" y="12"/>
                  </a:lnTo>
                  <a:lnTo>
                    <a:pt x="40" y="16"/>
                  </a:lnTo>
                  <a:lnTo>
                    <a:pt x="40" y="16"/>
                  </a:lnTo>
                  <a:lnTo>
                    <a:pt x="40" y="16"/>
                  </a:lnTo>
                  <a:lnTo>
                    <a:pt x="40" y="16"/>
                  </a:lnTo>
                  <a:lnTo>
                    <a:pt x="40" y="16"/>
                  </a:lnTo>
                  <a:lnTo>
                    <a:pt x="40" y="16"/>
                  </a:lnTo>
                  <a:lnTo>
                    <a:pt x="40" y="16"/>
                  </a:lnTo>
                  <a:lnTo>
                    <a:pt x="40" y="16"/>
                  </a:lnTo>
                  <a:lnTo>
                    <a:pt x="40" y="16"/>
                  </a:lnTo>
                  <a:lnTo>
                    <a:pt x="40" y="20"/>
                  </a:lnTo>
                  <a:lnTo>
                    <a:pt x="40" y="20"/>
                  </a:lnTo>
                  <a:lnTo>
                    <a:pt x="40" y="20"/>
                  </a:lnTo>
                  <a:lnTo>
                    <a:pt x="40" y="22"/>
                  </a:lnTo>
                  <a:lnTo>
                    <a:pt x="40" y="22"/>
                  </a:lnTo>
                  <a:lnTo>
                    <a:pt x="40" y="22"/>
                  </a:lnTo>
                  <a:lnTo>
                    <a:pt x="40" y="22"/>
                  </a:lnTo>
                  <a:lnTo>
                    <a:pt x="40" y="22"/>
                  </a:lnTo>
                  <a:lnTo>
                    <a:pt x="40" y="22"/>
                  </a:lnTo>
                  <a:lnTo>
                    <a:pt x="40" y="22"/>
                  </a:lnTo>
                  <a:lnTo>
                    <a:pt x="40" y="22"/>
                  </a:lnTo>
                  <a:lnTo>
                    <a:pt x="40" y="22"/>
                  </a:lnTo>
                  <a:lnTo>
                    <a:pt x="40" y="22"/>
                  </a:lnTo>
                  <a:lnTo>
                    <a:pt x="38" y="22"/>
                  </a:lnTo>
                  <a:lnTo>
                    <a:pt x="38" y="22"/>
                  </a:lnTo>
                  <a:lnTo>
                    <a:pt x="38" y="22"/>
                  </a:lnTo>
                  <a:lnTo>
                    <a:pt x="38" y="26"/>
                  </a:lnTo>
                  <a:lnTo>
                    <a:pt x="38" y="22"/>
                  </a:lnTo>
                  <a:lnTo>
                    <a:pt x="38" y="22"/>
                  </a:lnTo>
                  <a:lnTo>
                    <a:pt x="38" y="22"/>
                  </a:lnTo>
                  <a:lnTo>
                    <a:pt x="38" y="22"/>
                  </a:lnTo>
                  <a:lnTo>
                    <a:pt x="38" y="26"/>
                  </a:lnTo>
                  <a:lnTo>
                    <a:pt x="38" y="26"/>
                  </a:lnTo>
                  <a:lnTo>
                    <a:pt x="38" y="26"/>
                  </a:lnTo>
                  <a:lnTo>
                    <a:pt x="38" y="26"/>
                  </a:lnTo>
                  <a:lnTo>
                    <a:pt x="38" y="26"/>
                  </a:lnTo>
                  <a:lnTo>
                    <a:pt x="38" y="26"/>
                  </a:lnTo>
                  <a:lnTo>
                    <a:pt x="38" y="26"/>
                  </a:lnTo>
                  <a:lnTo>
                    <a:pt x="38" y="26"/>
                  </a:lnTo>
                  <a:lnTo>
                    <a:pt x="38" y="30"/>
                  </a:lnTo>
                  <a:lnTo>
                    <a:pt x="40" y="30"/>
                  </a:lnTo>
                  <a:lnTo>
                    <a:pt x="40" y="30"/>
                  </a:lnTo>
                  <a:lnTo>
                    <a:pt x="40" y="30"/>
                  </a:lnTo>
                  <a:lnTo>
                    <a:pt x="40" y="30"/>
                  </a:lnTo>
                  <a:lnTo>
                    <a:pt x="40" y="30"/>
                  </a:lnTo>
                  <a:lnTo>
                    <a:pt x="40" y="30"/>
                  </a:lnTo>
                  <a:lnTo>
                    <a:pt x="40" y="30"/>
                  </a:lnTo>
                  <a:lnTo>
                    <a:pt x="40" y="34"/>
                  </a:lnTo>
                  <a:lnTo>
                    <a:pt x="40" y="34"/>
                  </a:lnTo>
                  <a:lnTo>
                    <a:pt x="40" y="34"/>
                  </a:lnTo>
                  <a:lnTo>
                    <a:pt x="40" y="34"/>
                  </a:lnTo>
                  <a:lnTo>
                    <a:pt x="40" y="34"/>
                  </a:lnTo>
                  <a:lnTo>
                    <a:pt x="40" y="34"/>
                  </a:lnTo>
                  <a:lnTo>
                    <a:pt x="38" y="34"/>
                  </a:lnTo>
                  <a:lnTo>
                    <a:pt x="38" y="34"/>
                  </a:lnTo>
                  <a:lnTo>
                    <a:pt x="38" y="34"/>
                  </a:lnTo>
                  <a:lnTo>
                    <a:pt x="38" y="34"/>
                  </a:lnTo>
                  <a:lnTo>
                    <a:pt x="38" y="30"/>
                  </a:lnTo>
                  <a:lnTo>
                    <a:pt x="34" y="30"/>
                  </a:lnTo>
                  <a:lnTo>
                    <a:pt x="34" y="30"/>
                  </a:lnTo>
                  <a:lnTo>
                    <a:pt x="34" y="30"/>
                  </a:lnTo>
                  <a:lnTo>
                    <a:pt x="34" y="30"/>
                  </a:lnTo>
                  <a:lnTo>
                    <a:pt x="34" y="30"/>
                  </a:lnTo>
                  <a:lnTo>
                    <a:pt x="34" y="30"/>
                  </a:lnTo>
                  <a:lnTo>
                    <a:pt x="34" y="30"/>
                  </a:lnTo>
                  <a:lnTo>
                    <a:pt x="30" y="30"/>
                  </a:lnTo>
                  <a:lnTo>
                    <a:pt x="30" y="30"/>
                  </a:lnTo>
                  <a:lnTo>
                    <a:pt x="30" y="30"/>
                  </a:lnTo>
                  <a:lnTo>
                    <a:pt x="30" y="34"/>
                  </a:lnTo>
                  <a:lnTo>
                    <a:pt x="26" y="34"/>
                  </a:lnTo>
                  <a:lnTo>
                    <a:pt x="26" y="34"/>
                  </a:lnTo>
                  <a:lnTo>
                    <a:pt x="26" y="34"/>
                  </a:lnTo>
                  <a:lnTo>
                    <a:pt x="26" y="34"/>
                  </a:lnTo>
                  <a:lnTo>
                    <a:pt x="26" y="34"/>
                  </a:lnTo>
                  <a:lnTo>
                    <a:pt x="26" y="34"/>
                  </a:lnTo>
                  <a:lnTo>
                    <a:pt x="26" y="34"/>
                  </a:lnTo>
                  <a:lnTo>
                    <a:pt x="26" y="34"/>
                  </a:lnTo>
                  <a:lnTo>
                    <a:pt x="26" y="34"/>
                  </a:lnTo>
                  <a:lnTo>
                    <a:pt x="22" y="34"/>
                  </a:lnTo>
                  <a:lnTo>
                    <a:pt x="22" y="34"/>
                  </a:lnTo>
                  <a:lnTo>
                    <a:pt x="22" y="34"/>
                  </a:lnTo>
                  <a:lnTo>
                    <a:pt x="22" y="34"/>
                  </a:lnTo>
                  <a:lnTo>
                    <a:pt x="18" y="30"/>
                  </a:lnTo>
                  <a:lnTo>
                    <a:pt x="18" y="30"/>
                  </a:lnTo>
                  <a:lnTo>
                    <a:pt x="18" y="30"/>
                  </a:lnTo>
                  <a:lnTo>
                    <a:pt x="18" y="30"/>
                  </a:lnTo>
                  <a:lnTo>
                    <a:pt x="14" y="30"/>
                  </a:lnTo>
                  <a:lnTo>
                    <a:pt x="14" y="30"/>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10" y="34"/>
                  </a:lnTo>
                  <a:lnTo>
                    <a:pt x="8" y="34"/>
                  </a:lnTo>
                  <a:lnTo>
                    <a:pt x="8" y="34"/>
                  </a:lnTo>
                  <a:lnTo>
                    <a:pt x="8" y="34"/>
                  </a:lnTo>
                  <a:lnTo>
                    <a:pt x="8" y="30"/>
                  </a:lnTo>
                  <a:lnTo>
                    <a:pt x="8" y="30"/>
                  </a:lnTo>
                  <a:lnTo>
                    <a:pt x="4" y="30"/>
                  </a:lnTo>
                  <a:lnTo>
                    <a:pt x="4" y="30"/>
                  </a:lnTo>
                  <a:lnTo>
                    <a:pt x="4" y="30"/>
                  </a:lnTo>
                  <a:lnTo>
                    <a:pt x="4" y="30"/>
                  </a:lnTo>
                  <a:lnTo>
                    <a:pt x="4" y="30"/>
                  </a:lnTo>
                  <a:lnTo>
                    <a:pt x="4" y="30"/>
                  </a:lnTo>
                  <a:lnTo>
                    <a:pt x="4" y="30"/>
                  </a:lnTo>
                  <a:lnTo>
                    <a:pt x="4" y="30"/>
                  </a:lnTo>
                  <a:lnTo>
                    <a:pt x="0" y="30"/>
                  </a:lnTo>
                  <a:lnTo>
                    <a:pt x="0" y="30"/>
                  </a:lnTo>
                  <a:lnTo>
                    <a:pt x="0" y="26"/>
                  </a:lnTo>
                  <a:lnTo>
                    <a:pt x="4" y="22"/>
                  </a:lnTo>
                  <a:lnTo>
                    <a:pt x="4" y="22"/>
                  </a:lnTo>
                  <a:lnTo>
                    <a:pt x="4" y="22"/>
                  </a:lnTo>
                  <a:lnTo>
                    <a:pt x="4" y="22"/>
                  </a:lnTo>
                  <a:lnTo>
                    <a:pt x="8" y="22"/>
                  </a:lnTo>
                  <a:lnTo>
                    <a:pt x="8" y="22"/>
                  </a:lnTo>
                  <a:lnTo>
                    <a:pt x="8" y="22"/>
                  </a:lnTo>
                  <a:lnTo>
                    <a:pt x="8" y="22"/>
                  </a:lnTo>
                  <a:lnTo>
                    <a:pt x="8" y="26"/>
                  </a:lnTo>
                  <a:lnTo>
                    <a:pt x="8" y="26"/>
                  </a:lnTo>
                  <a:lnTo>
                    <a:pt x="8" y="26"/>
                  </a:lnTo>
                  <a:lnTo>
                    <a:pt x="10" y="26"/>
                  </a:lnTo>
                  <a:lnTo>
                    <a:pt x="10" y="26"/>
                  </a:lnTo>
                  <a:lnTo>
                    <a:pt x="10" y="26"/>
                  </a:lnTo>
                  <a:lnTo>
                    <a:pt x="10" y="26"/>
                  </a:lnTo>
                  <a:lnTo>
                    <a:pt x="10" y="26"/>
                  </a:lnTo>
                  <a:lnTo>
                    <a:pt x="10" y="26"/>
                  </a:lnTo>
                  <a:lnTo>
                    <a:pt x="14" y="26"/>
                  </a:lnTo>
                  <a:lnTo>
                    <a:pt x="14" y="26"/>
                  </a:lnTo>
                  <a:lnTo>
                    <a:pt x="14" y="26"/>
                  </a:lnTo>
                  <a:lnTo>
                    <a:pt x="14" y="26"/>
                  </a:lnTo>
                  <a:lnTo>
                    <a:pt x="14" y="26"/>
                  </a:lnTo>
                  <a:lnTo>
                    <a:pt x="10" y="26"/>
                  </a:lnTo>
                  <a:lnTo>
                    <a:pt x="10" y="26"/>
                  </a:lnTo>
                  <a:lnTo>
                    <a:pt x="10" y="26"/>
                  </a:lnTo>
                  <a:lnTo>
                    <a:pt x="10" y="26"/>
                  </a:lnTo>
                  <a:lnTo>
                    <a:pt x="10" y="26"/>
                  </a:lnTo>
                  <a:lnTo>
                    <a:pt x="14" y="26"/>
                  </a:lnTo>
                  <a:lnTo>
                    <a:pt x="14" y="26"/>
                  </a:lnTo>
                  <a:lnTo>
                    <a:pt x="14" y="26"/>
                  </a:lnTo>
                  <a:lnTo>
                    <a:pt x="14" y="26"/>
                  </a:lnTo>
                  <a:lnTo>
                    <a:pt x="14" y="26"/>
                  </a:lnTo>
                  <a:lnTo>
                    <a:pt x="14" y="26"/>
                  </a:lnTo>
                  <a:lnTo>
                    <a:pt x="18" y="26"/>
                  </a:lnTo>
                  <a:lnTo>
                    <a:pt x="18" y="26"/>
                  </a:lnTo>
                  <a:lnTo>
                    <a:pt x="18" y="26"/>
                  </a:lnTo>
                  <a:lnTo>
                    <a:pt x="22" y="26"/>
                  </a:lnTo>
                  <a:lnTo>
                    <a:pt x="22" y="26"/>
                  </a:lnTo>
                  <a:lnTo>
                    <a:pt x="22" y="26"/>
                  </a:lnTo>
                  <a:lnTo>
                    <a:pt x="22" y="26"/>
                  </a:lnTo>
                  <a:lnTo>
                    <a:pt x="22" y="26"/>
                  </a:lnTo>
                  <a:lnTo>
                    <a:pt x="22" y="26"/>
                  </a:lnTo>
                  <a:lnTo>
                    <a:pt x="22" y="26"/>
                  </a:lnTo>
                  <a:lnTo>
                    <a:pt x="26" y="26"/>
                  </a:lnTo>
                  <a:lnTo>
                    <a:pt x="26" y="26"/>
                  </a:lnTo>
                  <a:lnTo>
                    <a:pt x="26" y="26"/>
                  </a:lnTo>
                  <a:lnTo>
                    <a:pt x="26" y="26"/>
                  </a:lnTo>
                  <a:lnTo>
                    <a:pt x="26" y="26"/>
                  </a:lnTo>
                  <a:lnTo>
                    <a:pt x="26" y="26"/>
                  </a:lnTo>
                  <a:lnTo>
                    <a:pt x="26" y="26"/>
                  </a:lnTo>
                  <a:lnTo>
                    <a:pt x="26" y="26"/>
                  </a:lnTo>
                  <a:lnTo>
                    <a:pt x="26" y="26"/>
                  </a:lnTo>
                  <a:lnTo>
                    <a:pt x="30" y="26"/>
                  </a:lnTo>
                  <a:lnTo>
                    <a:pt x="30" y="26"/>
                  </a:lnTo>
                  <a:lnTo>
                    <a:pt x="30" y="26"/>
                  </a:lnTo>
                  <a:lnTo>
                    <a:pt x="30" y="26"/>
                  </a:lnTo>
                  <a:lnTo>
                    <a:pt x="30" y="26"/>
                  </a:lnTo>
                  <a:lnTo>
                    <a:pt x="30" y="26"/>
                  </a:lnTo>
                  <a:lnTo>
                    <a:pt x="30" y="26"/>
                  </a:lnTo>
                  <a:lnTo>
                    <a:pt x="34" y="22"/>
                  </a:lnTo>
                  <a:lnTo>
                    <a:pt x="34" y="22"/>
                  </a:lnTo>
                  <a:lnTo>
                    <a:pt x="30" y="22"/>
                  </a:lnTo>
                  <a:lnTo>
                    <a:pt x="30" y="22"/>
                  </a:lnTo>
                  <a:lnTo>
                    <a:pt x="30" y="22"/>
                  </a:lnTo>
                  <a:lnTo>
                    <a:pt x="30" y="22"/>
                  </a:lnTo>
                  <a:lnTo>
                    <a:pt x="30" y="22"/>
                  </a:lnTo>
                  <a:lnTo>
                    <a:pt x="30" y="22"/>
                  </a:lnTo>
                  <a:lnTo>
                    <a:pt x="30" y="22"/>
                  </a:lnTo>
                  <a:lnTo>
                    <a:pt x="30" y="22"/>
                  </a:lnTo>
                  <a:lnTo>
                    <a:pt x="30" y="20"/>
                  </a:lnTo>
                  <a:lnTo>
                    <a:pt x="26" y="20"/>
                  </a:lnTo>
                  <a:lnTo>
                    <a:pt x="26" y="20"/>
                  </a:lnTo>
                  <a:lnTo>
                    <a:pt x="26" y="20"/>
                  </a:lnTo>
                  <a:lnTo>
                    <a:pt x="26" y="20"/>
                  </a:lnTo>
                  <a:lnTo>
                    <a:pt x="26" y="20"/>
                  </a:lnTo>
                  <a:lnTo>
                    <a:pt x="26" y="20"/>
                  </a:lnTo>
                  <a:lnTo>
                    <a:pt x="26" y="16"/>
                  </a:lnTo>
                  <a:lnTo>
                    <a:pt x="26" y="16"/>
                  </a:lnTo>
                  <a:lnTo>
                    <a:pt x="26" y="12"/>
                  </a:lnTo>
                  <a:lnTo>
                    <a:pt x="26" y="12"/>
                  </a:lnTo>
                  <a:lnTo>
                    <a:pt x="26" y="12"/>
                  </a:lnTo>
                  <a:lnTo>
                    <a:pt x="22" y="8"/>
                  </a:lnTo>
                  <a:lnTo>
                    <a:pt x="22" y="8"/>
                  </a:lnTo>
                  <a:lnTo>
                    <a:pt x="22" y="8"/>
                  </a:lnTo>
                  <a:lnTo>
                    <a:pt x="22" y="8"/>
                  </a:lnTo>
                  <a:lnTo>
                    <a:pt x="22" y="8"/>
                  </a:lnTo>
                  <a:lnTo>
                    <a:pt x="22" y="8"/>
                  </a:lnTo>
                  <a:close/>
                  <a:moveTo>
                    <a:pt x="26" y="22"/>
                  </a:moveTo>
                  <a:lnTo>
                    <a:pt x="26" y="22"/>
                  </a:lnTo>
                  <a:lnTo>
                    <a:pt x="22" y="22"/>
                  </a:lnTo>
                  <a:lnTo>
                    <a:pt x="22" y="22"/>
                  </a:lnTo>
                  <a:lnTo>
                    <a:pt x="18" y="20"/>
                  </a:lnTo>
                  <a:lnTo>
                    <a:pt x="18" y="20"/>
                  </a:lnTo>
                  <a:lnTo>
                    <a:pt x="18" y="20"/>
                  </a:lnTo>
                  <a:lnTo>
                    <a:pt x="18" y="20"/>
                  </a:lnTo>
                  <a:lnTo>
                    <a:pt x="18" y="20"/>
                  </a:lnTo>
                  <a:lnTo>
                    <a:pt x="18" y="20"/>
                  </a:lnTo>
                  <a:lnTo>
                    <a:pt x="18" y="20"/>
                  </a:lnTo>
                  <a:lnTo>
                    <a:pt x="18" y="20"/>
                  </a:lnTo>
                  <a:lnTo>
                    <a:pt x="18" y="20"/>
                  </a:lnTo>
                  <a:lnTo>
                    <a:pt x="18" y="20"/>
                  </a:lnTo>
                  <a:lnTo>
                    <a:pt x="22" y="20"/>
                  </a:lnTo>
                  <a:lnTo>
                    <a:pt x="22" y="20"/>
                  </a:lnTo>
                  <a:lnTo>
                    <a:pt x="26" y="20"/>
                  </a:lnTo>
                  <a:lnTo>
                    <a:pt x="26" y="20"/>
                  </a:lnTo>
                  <a:lnTo>
                    <a:pt x="26" y="22"/>
                  </a:lnTo>
                  <a:lnTo>
                    <a:pt x="26" y="22"/>
                  </a:lnTo>
                  <a:lnTo>
                    <a:pt x="26" y="22"/>
                  </a:lnTo>
                  <a:lnTo>
                    <a:pt x="26" y="22"/>
                  </a:lnTo>
                  <a:lnTo>
                    <a:pt x="26" y="22"/>
                  </a:lnTo>
                  <a:lnTo>
                    <a:pt x="26" y="22"/>
                  </a:lnTo>
                  <a:lnTo>
                    <a:pt x="26" y="22"/>
                  </a:lnTo>
                  <a:lnTo>
                    <a:pt x="26" y="2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83" name="Freeform 76"/>
            <p:cNvSpPr>
              <a:spLocks noEditPoints="1"/>
            </p:cNvSpPr>
            <p:nvPr/>
          </p:nvSpPr>
          <p:spPr bwMode="auto">
            <a:xfrm>
              <a:off x="6247773" y="3976074"/>
              <a:ext cx="55262" cy="39227"/>
            </a:xfrm>
            <a:custGeom>
              <a:avLst/>
              <a:gdLst>
                <a:gd name="T0" fmla="*/ 36 w 88"/>
                <a:gd name="T1" fmla="*/ 52 h 60"/>
                <a:gd name="T2" fmla="*/ 32 w 88"/>
                <a:gd name="T3" fmla="*/ 56 h 60"/>
                <a:gd name="T4" fmla="*/ 32 w 88"/>
                <a:gd name="T5" fmla="*/ 60 h 60"/>
                <a:gd name="T6" fmla="*/ 24 w 88"/>
                <a:gd name="T7" fmla="*/ 56 h 60"/>
                <a:gd name="T8" fmla="*/ 24 w 88"/>
                <a:gd name="T9" fmla="*/ 52 h 60"/>
                <a:gd name="T10" fmla="*/ 24 w 88"/>
                <a:gd name="T11" fmla="*/ 52 h 60"/>
                <a:gd name="T12" fmla="*/ 20 w 88"/>
                <a:gd name="T13" fmla="*/ 52 h 60"/>
                <a:gd name="T14" fmla="*/ 20 w 88"/>
                <a:gd name="T15" fmla="*/ 52 h 60"/>
                <a:gd name="T16" fmla="*/ 20 w 88"/>
                <a:gd name="T17" fmla="*/ 46 h 60"/>
                <a:gd name="T18" fmla="*/ 16 w 88"/>
                <a:gd name="T19" fmla="*/ 46 h 60"/>
                <a:gd name="T20" fmla="*/ 16 w 88"/>
                <a:gd name="T21" fmla="*/ 42 h 60"/>
                <a:gd name="T22" fmla="*/ 14 w 88"/>
                <a:gd name="T23" fmla="*/ 46 h 60"/>
                <a:gd name="T24" fmla="*/ 10 w 88"/>
                <a:gd name="T25" fmla="*/ 46 h 60"/>
                <a:gd name="T26" fmla="*/ 10 w 88"/>
                <a:gd name="T27" fmla="*/ 42 h 60"/>
                <a:gd name="T28" fmla="*/ 6 w 88"/>
                <a:gd name="T29" fmla="*/ 42 h 60"/>
                <a:gd name="T30" fmla="*/ 6 w 88"/>
                <a:gd name="T31" fmla="*/ 38 h 60"/>
                <a:gd name="T32" fmla="*/ 4 w 88"/>
                <a:gd name="T33" fmla="*/ 38 h 60"/>
                <a:gd name="T34" fmla="*/ 0 w 88"/>
                <a:gd name="T35" fmla="*/ 34 h 60"/>
                <a:gd name="T36" fmla="*/ 4 w 88"/>
                <a:gd name="T37" fmla="*/ 30 h 60"/>
                <a:gd name="T38" fmla="*/ 4 w 88"/>
                <a:gd name="T39" fmla="*/ 26 h 60"/>
                <a:gd name="T40" fmla="*/ 4 w 88"/>
                <a:gd name="T41" fmla="*/ 22 h 60"/>
                <a:gd name="T42" fmla="*/ 10 w 88"/>
                <a:gd name="T43" fmla="*/ 16 h 60"/>
                <a:gd name="T44" fmla="*/ 14 w 88"/>
                <a:gd name="T45" fmla="*/ 12 h 60"/>
                <a:gd name="T46" fmla="*/ 16 w 88"/>
                <a:gd name="T47" fmla="*/ 8 h 60"/>
                <a:gd name="T48" fmla="*/ 20 w 88"/>
                <a:gd name="T49" fmla="*/ 8 h 60"/>
                <a:gd name="T50" fmla="*/ 28 w 88"/>
                <a:gd name="T51" fmla="*/ 8 h 60"/>
                <a:gd name="T52" fmla="*/ 36 w 88"/>
                <a:gd name="T53" fmla="*/ 12 h 60"/>
                <a:gd name="T54" fmla="*/ 40 w 88"/>
                <a:gd name="T55" fmla="*/ 12 h 60"/>
                <a:gd name="T56" fmla="*/ 42 w 88"/>
                <a:gd name="T57" fmla="*/ 8 h 60"/>
                <a:gd name="T58" fmla="*/ 46 w 88"/>
                <a:gd name="T59" fmla="*/ 8 h 60"/>
                <a:gd name="T60" fmla="*/ 46 w 88"/>
                <a:gd name="T61" fmla="*/ 8 h 60"/>
                <a:gd name="T62" fmla="*/ 50 w 88"/>
                <a:gd name="T63" fmla="*/ 8 h 60"/>
                <a:gd name="T64" fmla="*/ 58 w 88"/>
                <a:gd name="T65" fmla="*/ 8 h 60"/>
                <a:gd name="T66" fmla="*/ 66 w 88"/>
                <a:gd name="T67" fmla="*/ 8 h 60"/>
                <a:gd name="T68" fmla="*/ 66 w 88"/>
                <a:gd name="T69" fmla="*/ 8 h 60"/>
                <a:gd name="T70" fmla="*/ 76 w 88"/>
                <a:gd name="T71" fmla="*/ 16 h 60"/>
                <a:gd name="T72" fmla="*/ 72 w 88"/>
                <a:gd name="T73" fmla="*/ 18 h 60"/>
                <a:gd name="T74" fmla="*/ 72 w 88"/>
                <a:gd name="T75" fmla="*/ 18 h 60"/>
                <a:gd name="T76" fmla="*/ 76 w 88"/>
                <a:gd name="T77" fmla="*/ 18 h 60"/>
                <a:gd name="T78" fmla="*/ 80 w 88"/>
                <a:gd name="T79" fmla="*/ 18 h 60"/>
                <a:gd name="T80" fmla="*/ 80 w 88"/>
                <a:gd name="T81" fmla="*/ 22 h 60"/>
                <a:gd name="T82" fmla="*/ 80 w 88"/>
                <a:gd name="T83" fmla="*/ 18 h 60"/>
                <a:gd name="T84" fmla="*/ 84 w 88"/>
                <a:gd name="T85" fmla="*/ 18 h 60"/>
                <a:gd name="T86" fmla="*/ 84 w 88"/>
                <a:gd name="T87" fmla="*/ 22 h 60"/>
                <a:gd name="T88" fmla="*/ 84 w 88"/>
                <a:gd name="T89" fmla="*/ 22 h 60"/>
                <a:gd name="T90" fmla="*/ 76 w 88"/>
                <a:gd name="T91" fmla="*/ 26 h 60"/>
                <a:gd name="T92" fmla="*/ 66 w 88"/>
                <a:gd name="T93" fmla="*/ 30 h 60"/>
                <a:gd name="T94" fmla="*/ 58 w 88"/>
                <a:gd name="T95" fmla="*/ 30 h 60"/>
                <a:gd name="T96" fmla="*/ 58 w 88"/>
                <a:gd name="T97" fmla="*/ 34 h 60"/>
                <a:gd name="T98" fmla="*/ 58 w 88"/>
                <a:gd name="T99" fmla="*/ 38 h 60"/>
                <a:gd name="T100" fmla="*/ 54 w 88"/>
                <a:gd name="T101" fmla="*/ 38 h 60"/>
                <a:gd name="T102" fmla="*/ 50 w 88"/>
                <a:gd name="T103" fmla="*/ 46 h 60"/>
                <a:gd name="T104" fmla="*/ 46 w 88"/>
                <a:gd name="T105" fmla="*/ 42 h 60"/>
                <a:gd name="T106" fmla="*/ 42 w 88"/>
                <a:gd name="T107" fmla="*/ 42 h 60"/>
                <a:gd name="T108" fmla="*/ 36 w 88"/>
                <a:gd name="T109" fmla="*/ 46 h 60"/>
                <a:gd name="T110" fmla="*/ 36 w 88"/>
                <a:gd name="T111" fmla="*/ 0 h 60"/>
                <a:gd name="T112" fmla="*/ 40 w 88"/>
                <a:gd name="T113" fmla="*/ 0 h 60"/>
                <a:gd name="T114" fmla="*/ 40 w 88"/>
                <a:gd name="T115" fmla="*/ 0 h 60"/>
                <a:gd name="T116" fmla="*/ 36 w 88"/>
                <a:gd name="T1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8" h="60">
                  <a:moveTo>
                    <a:pt x="36" y="46"/>
                  </a:moveTo>
                  <a:lnTo>
                    <a:pt x="36" y="50"/>
                  </a:lnTo>
                  <a:lnTo>
                    <a:pt x="36" y="52"/>
                  </a:lnTo>
                  <a:lnTo>
                    <a:pt x="36" y="52"/>
                  </a:lnTo>
                  <a:lnTo>
                    <a:pt x="36" y="52"/>
                  </a:lnTo>
                  <a:lnTo>
                    <a:pt x="36" y="52"/>
                  </a:lnTo>
                  <a:lnTo>
                    <a:pt x="36" y="52"/>
                  </a:lnTo>
                  <a:lnTo>
                    <a:pt x="36" y="52"/>
                  </a:lnTo>
                  <a:lnTo>
                    <a:pt x="36" y="52"/>
                  </a:lnTo>
                  <a:lnTo>
                    <a:pt x="36" y="52"/>
                  </a:lnTo>
                  <a:lnTo>
                    <a:pt x="32" y="52"/>
                  </a:lnTo>
                  <a:lnTo>
                    <a:pt x="32" y="56"/>
                  </a:lnTo>
                  <a:lnTo>
                    <a:pt x="32" y="56"/>
                  </a:lnTo>
                  <a:lnTo>
                    <a:pt x="32" y="56"/>
                  </a:lnTo>
                  <a:lnTo>
                    <a:pt x="32" y="56"/>
                  </a:lnTo>
                  <a:lnTo>
                    <a:pt x="32" y="60"/>
                  </a:lnTo>
                  <a:lnTo>
                    <a:pt x="32" y="60"/>
                  </a:lnTo>
                  <a:lnTo>
                    <a:pt x="32" y="60"/>
                  </a:lnTo>
                  <a:lnTo>
                    <a:pt x="28" y="60"/>
                  </a:lnTo>
                  <a:lnTo>
                    <a:pt x="28" y="60"/>
                  </a:lnTo>
                  <a:lnTo>
                    <a:pt x="28" y="60"/>
                  </a:lnTo>
                  <a:lnTo>
                    <a:pt x="28" y="56"/>
                  </a:lnTo>
                  <a:lnTo>
                    <a:pt x="24" y="56"/>
                  </a:lnTo>
                  <a:lnTo>
                    <a:pt x="24" y="56"/>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4" y="52"/>
                  </a:lnTo>
                  <a:lnTo>
                    <a:pt x="20" y="52"/>
                  </a:lnTo>
                  <a:lnTo>
                    <a:pt x="20" y="52"/>
                  </a:lnTo>
                  <a:lnTo>
                    <a:pt x="20" y="52"/>
                  </a:lnTo>
                  <a:lnTo>
                    <a:pt x="20" y="52"/>
                  </a:lnTo>
                  <a:lnTo>
                    <a:pt x="20" y="52"/>
                  </a:lnTo>
                  <a:lnTo>
                    <a:pt x="20" y="52"/>
                  </a:lnTo>
                  <a:lnTo>
                    <a:pt x="20" y="52"/>
                  </a:lnTo>
                  <a:lnTo>
                    <a:pt x="20" y="52"/>
                  </a:lnTo>
                  <a:lnTo>
                    <a:pt x="20" y="52"/>
                  </a:lnTo>
                  <a:lnTo>
                    <a:pt x="20" y="52"/>
                  </a:lnTo>
                  <a:lnTo>
                    <a:pt x="20" y="50"/>
                  </a:lnTo>
                  <a:lnTo>
                    <a:pt x="20" y="50"/>
                  </a:lnTo>
                  <a:lnTo>
                    <a:pt x="20" y="50"/>
                  </a:lnTo>
                  <a:lnTo>
                    <a:pt x="20" y="50"/>
                  </a:lnTo>
                  <a:lnTo>
                    <a:pt x="20" y="50"/>
                  </a:lnTo>
                  <a:lnTo>
                    <a:pt x="20" y="46"/>
                  </a:lnTo>
                  <a:lnTo>
                    <a:pt x="20" y="46"/>
                  </a:lnTo>
                  <a:lnTo>
                    <a:pt x="20" y="46"/>
                  </a:lnTo>
                  <a:lnTo>
                    <a:pt x="20" y="46"/>
                  </a:lnTo>
                  <a:lnTo>
                    <a:pt x="20" y="46"/>
                  </a:lnTo>
                  <a:lnTo>
                    <a:pt x="20" y="46"/>
                  </a:lnTo>
                  <a:lnTo>
                    <a:pt x="16" y="46"/>
                  </a:lnTo>
                  <a:lnTo>
                    <a:pt x="16" y="46"/>
                  </a:lnTo>
                  <a:lnTo>
                    <a:pt x="16" y="46"/>
                  </a:lnTo>
                  <a:lnTo>
                    <a:pt x="16" y="46"/>
                  </a:lnTo>
                  <a:lnTo>
                    <a:pt x="16" y="46"/>
                  </a:lnTo>
                  <a:lnTo>
                    <a:pt x="16" y="42"/>
                  </a:lnTo>
                  <a:lnTo>
                    <a:pt x="16" y="42"/>
                  </a:lnTo>
                  <a:lnTo>
                    <a:pt x="16" y="42"/>
                  </a:lnTo>
                  <a:lnTo>
                    <a:pt x="14" y="42"/>
                  </a:lnTo>
                  <a:lnTo>
                    <a:pt x="14" y="42"/>
                  </a:lnTo>
                  <a:lnTo>
                    <a:pt x="14" y="42"/>
                  </a:lnTo>
                  <a:lnTo>
                    <a:pt x="14" y="42"/>
                  </a:lnTo>
                  <a:lnTo>
                    <a:pt x="14" y="46"/>
                  </a:lnTo>
                  <a:lnTo>
                    <a:pt x="14" y="46"/>
                  </a:lnTo>
                  <a:lnTo>
                    <a:pt x="14" y="46"/>
                  </a:lnTo>
                  <a:lnTo>
                    <a:pt x="14" y="46"/>
                  </a:lnTo>
                  <a:lnTo>
                    <a:pt x="14" y="46"/>
                  </a:lnTo>
                  <a:lnTo>
                    <a:pt x="10" y="46"/>
                  </a:lnTo>
                  <a:lnTo>
                    <a:pt x="10" y="46"/>
                  </a:lnTo>
                  <a:lnTo>
                    <a:pt x="10" y="46"/>
                  </a:lnTo>
                  <a:lnTo>
                    <a:pt x="10" y="42"/>
                  </a:lnTo>
                  <a:lnTo>
                    <a:pt x="10" y="42"/>
                  </a:lnTo>
                  <a:lnTo>
                    <a:pt x="10" y="42"/>
                  </a:lnTo>
                  <a:lnTo>
                    <a:pt x="10" y="42"/>
                  </a:lnTo>
                  <a:lnTo>
                    <a:pt x="10" y="42"/>
                  </a:lnTo>
                  <a:lnTo>
                    <a:pt x="6" y="42"/>
                  </a:lnTo>
                  <a:lnTo>
                    <a:pt x="6" y="42"/>
                  </a:lnTo>
                  <a:lnTo>
                    <a:pt x="6" y="42"/>
                  </a:lnTo>
                  <a:lnTo>
                    <a:pt x="6" y="38"/>
                  </a:lnTo>
                  <a:lnTo>
                    <a:pt x="6" y="38"/>
                  </a:lnTo>
                  <a:lnTo>
                    <a:pt x="6" y="42"/>
                  </a:lnTo>
                  <a:lnTo>
                    <a:pt x="6" y="42"/>
                  </a:lnTo>
                  <a:lnTo>
                    <a:pt x="6" y="42"/>
                  </a:lnTo>
                  <a:lnTo>
                    <a:pt x="6" y="38"/>
                  </a:lnTo>
                  <a:lnTo>
                    <a:pt x="6" y="38"/>
                  </a:lnTo>
                  <a:lnTo>
                    <a:pt x="6" y="38"/>
                  </a:lnTo>
                  <a:lnTo>
                    <a:pt x="6" y="38"/>
                  </a:lnTo>
                  <a:lnTo>
                    <a:pt x="6" y="38"/>
                  </a:lnTo>
                  <a:lnTo>
                    <a:pt x="4" y="38"/>
                  </a:lnTo>
                  <a:lnTo>
                    <a:pt x="4" y="38"/>
                  </a:lnTo>
                  <a:lnTo>
                    <a:pt x="4" y="38"/>
                  </a:lnTo>
                  <a:lnTo>
                    <a:pt x="4" y="38"/>
                  </a:lnTo>
                  <a:lnTo>
                    <a:pt x="4" y="38"/>
                  </a:lnTo>
                  <a:lnTo>
                    <a:pt x="4" y="34"/>
                  </a:lnTo>
                  <a:lnTo>
                    <a:pt x="4" y="38"/>
                  </a:lnTo>
                  <a:lnTo>
                    <a:pt x="4" y="34"/>
                  </a:lnTo>
                  <a:lnTo>
                    <a:pt x="0" y="34"/>
                  </a:lnTo>
                  <a:lnTo>
                    <a:pt x="0" y="34"/>
                  </a:lnTo>
                  <a:lnTo>
                    <a:pt x="0" y="34"/>
                  </a:lnTo>
                  <a:lnTo>
                    <a:pt x="0" y="34"/>
                  </a:lnTo>
                  <a:lnTo>
                    <a:pt x="0" y="34"/>
                  </a:lnTo>
                  <a:lnTo>
                    <a:pt x="0" y="34"/>
                  </a:lnTo>
                  <a:lnTo>
                    <a:pt x="0" y="30"/>
                  </a:lnTo>
                  <a:lnTo>
                    <a:pt x="4" y="30"/>
                  </a:lnTo>
                  <a:lnTo>
                    <a:pt x="4" y="30"/>
                  </a:lnTo>
                  <a:lnTo>
                    <a:pt x="4" y="30"/>
                  </a:lnTo>
                  <a:lnTo>
                    <a:pt x="4" y="30"/>
                  </a:lnTo>
                  <a:lnTo>
                    <a:pt x="0" y="26"/>
                  </a:lnTo>
                  <a:lnTo>
                    <a:pt x="0" y="26"/>
                  </a:lnTo>
                  <a:lnTo>
                    <a:pt x="0" y="26"/>
                  </a:lnTo>
                  <a:lnTo>
                    <a:pt x="4" y="26"/>
                  </a:lnTo>
                  <a:lnTo>
                    <a:pt x="4" y="26"/>
                  </a:lnTo>
                  <a:lnTo>
                    <a:pt x="4" y="22"/>
                  </a:lnTo>
                  <a:lnTo>
                    <a:pt x="4" y="22"/>
                  </a:lnTo>
                  <a:lnTo>
                    <a:pt x="4" y="22"/>
                  </a:lnTo>
                  <a:lnTo>
                    <a:pt x="4" y="22"/>
                  </a:lnTo>
                  <a:lnTo>
                    <a:pt x="4" y="22"/>
                  </a:lnTo>
                  <a:lnTo>
                    <a:pt x="4" y="22"/>
                  </a:lnTo>
                  <a:lnTo>
                    <a:pt x="4" y="22"/>
                  </a:lnTo>
                  <a:lnTo>
                    <a:pt x="6" y="18"/>
                  </a:lnTo>
                  <a:lnTo>
                    <a:pt x="6" y="18"/>
                  </a:lnTo>
                  <a:lnTo>
                    <a:pt x="10" y="18"/>
                  </a:lnTo>
                  <a:lnTo>
                    <a:pt x="10" y="16"/>
                  </a:lnTo>
                  <a:lnTo>
                    <a:pt x="10" y="16"/>
                  </a:lnTo>
                  <a:lnTo>
                    <a:pt x="14" y="12"/>
                  </a:lnTo>
                  <a:lnTo>
                    <a:pt x="14" y="12"/>
                  </a:lnTo>
                  <a:lnTo>
                    <a:pt x="14" y="12"/>
                  </a:lnTo>
                  <a:lnTo>
                    <a:pt x="14" y="12"/>
                  </a:lnTo>
                  <a:lnTo>
                    <a:pt x="14" y="12"/>
                  </a:lnTo>
                  <a:lnTo>
                    <a:pt x="14" y="12"/>
                  </a:lnTo>
                  <a:lnTo>
                    <a:pt x="14" y="12"/>
                  </a:lnTo>
                  <a:lnTo>
                    <a:pt x="16" y="12"/>
                  </a:lnTo>
                  <a:lnTo>
                    <a:pt x="16" y="12"/>
                  </a:lnTo>
                  <a:lnTo>
                    <a:pt x="16" y="12"/>
                  </a:lnTo>
                  <a:lnTo>
                    <a:pt x="16" y="8"/>
                  </a:lnTo>
                  <a:lnTo>
                    <a:pt x="20" y="8"/>
                  </a:lnTo>
                  <a:lnTo>
                    <a:pt x="20" y="8"/>
                  </a:lnTo>
                  <a:lnTo>
                    <a:pt x="20" y="8"/>
                  </a:lnTo>
                  <a:lnTo>
                    <a:pt x="20" y="8"/>
                  </a:lnTo>
                  <a:lnTo>
                    <a:pt x="20" y="8"/>
                  </a:lnTo>
                  <a:lnTo>
                    <a:pt x="20" y="8"/>
                  </a:lnTo>
                  <a:lnTo>
                    <a:pt x="24" y="8"/>
                  </a:lnTo>
                  <a:lnTo>
                    <a:pt x="24" y="12"/>
                  </a:lnTo>
                  <a:lnTo>
                    <a:pt x="24" y="12"/>
                  </a:lnTo>
                  <a:lnTo>
                    <a:pt x="24" y="12"/>
                  </a:lnTo>
                  <a:lnTo>
                    <a:pt x="24" y="12"/>
                  </a:lnTo>
                  <a:lnTo>
                    <a:pt x="28" y="8"/>
                  </a:lnTo>
                  <a:lnTo>
                    <a:pt x="28" y="12"/>
                  </a:lnTo>
                  <a:lnTo>
                    <a:pt x="28" y="12"/>
                  </a:lnTo>
                  <a:lnTo>
                    <a:pt x="32" y="12"/>
                  </a:lnTo>
                  <a:lnTo>
                    <a:pt x="32" y="12"/>
                  </a:lnTo>
                  <a:lnTo>
                    <a:pt x="32" y="12"/>
                  </a:lnTo>
                  <a:lnTo>
                    <a:pt x="36" y="12"/>
                  </a:lnTo>
                  <a:lnTo>
                    <a:pt x="36" y="12"/>
                  </a:lnTo>
                  <a:lnTo>
                    <a:pt x="36" y="12"/>
                  </a:lnTo>
                  <a:lnTo>
                    <a:pt x="40" y="12"/>
                  </a:lnTo>
                  <a:lnTo>
                    <a:pt x="40" y="12"/>
                  </a:lnTo>
                  <a:lnTo>
                    <a:pt x="40" y="12"/>
                  </a:lnTo>
                  <a:lnTo>
                    <a:pt x="40" y="12"/>
                  </a:lnTo>
                  <a:lnTo>
                    <a:pt x="40" y="12"/>
                  </a:lnTo>
                  <a:lnTo>
                    <a:pt x="42" y="12"/>
                  </a:lnTo>
                  <a:lnTo>
                    <a:pt x="42" y="12"/>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6" y="8"/>
                  </a:lnTo>
                  <a:lnTo>
                    <a:pt x="50" y="8"/>
                  </a:lnTo>
                  <a:lnTo>
                    <a:pt x="50" y="8"/>
                  </a:lnTo>
                  <a:lnTo>
                    <a:pt x="50" y="8"/>
                  </a:lnTo>
                  <a:lnTo>
                    <a:pt x="50" y="8"/>
                  </a:lnTo>
                  <a:lnTo>
                    <a:pt x="50" y="8"/>
                  </a:lnTo>
                  <a:lnTo>
                    <a:pt x="54" y="8"/>
                  </a:lnTo>
                  <a:lnTo>
                    <a:pt x="54" y="8"/>
                  </a:lnTo>
                  <a:lnTo>
                    <a:pt x="58" y="8"/>
                  </a:lnTo>
                  <a:lnTo>
                    <a:pt x="58" y="8"/>
                  </a:lnTo>
                  <a:lnTo>
                    <a:pt x="58" y="8"/>
                  </a:lnTo>
                  <a:lnTo>
                    <a:pt x="58" y="8"/>
                  </a:lnTo>
                  <a:lnTo>
                    <a:pt x="58" y="8"/>
                  </a:lnTo>
                  <a:lnTo>
                    <a:pt x="58" y="8"/>
                  </a:lnTo>
                  <a:lnTo>
                    <a:pt x="58" y="8"/>
                  </a:lnTo>
                  <a:lnTo>
                    <a:pt x="58" y="8"/>
                  </a:lnTo>
                  <a:lnTo>
                    <a:pt x="62" y="8"/>
                  </a:lnTo>
                  <a:lnTo>
                    <a:pt x="66" y="8"/>
                  </a:lnTo>
                  <a:lnTo>
                    <a:pt x="66" y="12"/>
                  </a:lnTo>
                  <a:lnTo>
                    <a:pt x="66" y="12"/>
                  </a:lnTo>
                  <a:lnTo>
                    <a:pt x="66" y="12"/>
                  </a:lnTo>
                  <a:lnTo>
                    <a:pt x="66" y="12"/>
                  </a:lnTo>
                  <a:lnTo>
                    <a:pt x="70" y="12"/>
                  </a:lnTo>
                  <a:lnTo>
                    <a:pt x="66" y="8"/>
                  </a:lnTo>
                  <a:lnTo>
                    <a:pt x="66" y="8"/>
                  </a:lnTo>
                  <a:lnTo>
                    <a:pt x="70" y="12"/>
                  </a:lnTo>
                  <a:lnTo>
                    <a:pt x="72" y="12"/>
                  </a:lnTo>
                  <a:lnTo>
                    <a:pt x="72" y="12"/>
                  </a:lnTo>
                  <a:lnTo>
                    <a:pt x="76" y="16"/>
                  </a:lnTo>
                  <a:lnTo>
                    <a:pt x="76" y="16"/>
                  </a:lnTo>
                  <a:lnTo>
                    <a:pt x="72" y="16"/>
                  </a:lnTo>
                  <a:lnTo>
                    <a:pt x="72" y="16"/>
                  </a:lnTo>
                  <a:lnTo>
                    <a:pt x="72" y="16"/>
                  </a:lnTo>
                  <a:lnTo>
                    <a:pt x="70" y="16"/>
                  </a:lnTo>
                  <a:lnTo>
                    <a:pt x="70" y="16"/>
                  </a:lnTo>
                  <a:lnTo>
                    <a:pt x="72" y="18"/>
                  </a:lnTo>
                  <a:lnTo>
                    <a:pt x="72" y="18"/>
                  </a:lnTo>
                  <a:lnTo>
                    <a:pt x="76" y="18"/>
                  </a:lnTo>
                  <a:lnTo>
                    <a:pt x="76" y="18"/>
                  </a:lnTo>
                  <a:lnTo>
                    <a:pt x="76" y="18"/>
                  </a:lnTo>
                  <a:lnTo>
                    <a:pt x="72" y="18"/>
                  </a:lnTo>
                  <a:lnTo>
                    <a:pt x="72" y="18"/>
                  </a:lnTo>
                  <a:lnTo>
                    <a:pt x="72" y="18"/>
                  </a:lnTo>
                  <a:lnTo>
                    <a:pt x="72" y="18"/>
                  </a:lnTo>
                  <a:lnTo>
                    <a:pt x="72" y="16"/>
                  </a:lnTo>
                  <a:lnTo>
                    <a:pt x="72" y="16"/>
                  </a:lnTo>
                  <a:lnTo>
                    <a:pt x="76" y="18"/>
                  </a:lnTo>
                  <a:lnTo>
                    <a:pt x="76" y="18"/>
                  </a:lnTo>
                  <a:lnTo>
                    <a:pt x="76" y="18"/>
                  </a:lnTo>
                  <a:lnTo>
                    <a:pt x="76" y="18"/>
                  </a:lnTo>
                  <a:lnTo>
                    <a:pt x="76" y="18"/>
                  </a:lnTo>
                  <a:lnTo>
                    <a:pt x="80" y="18"/>
                  </a:lnTo>
                  <a:lnTo>
                    <a:pt x="80" y="18"/>
                  </a:lnTo>
                  <a:lnTo>
                    <a:pt x="80" y="18"/>
                  </a:lnTo>
                  <a:lnTo>
                    <a:pt x="80" y="18"/>
                  </a:lnTo>
                  <a:lnTo>
                    <a:pt x="80" y="18"/>
                  </a:lnTo>
                  <a:lnTo>
                    <a:pt x="80" y="18"/>
                  </a:lnTo>
                  <a:lnTo>
                    <a:pt x="80" y="18"/>
                  </a:lnTo>
                  <a:lnTo>
                    <a:pt x="80" y="18"/>
                  </a:lnTo>
                  <a:lnTo>
                    <a:pt x="80" y="22"/>
                  </a:lnTo>
                  <a:lnTo>
                    <a:pt x="80" y="22"/>
                  </a:lnTo>
                  <a:lnTo>
                    <a:pt x="80" y="22"/>
                  </a:lnTo>
                  <a:lnTo>
                    <a:pt x="80" y="18"/>
                  </a:lnTo>
                  <a:lnTo>
                    <a:pt x="80" y="18"/>
                  </a:lnTo>
                  <a:lnTo>
                    <a:pt x="80" y="18"/>
                  </a:lnTo>
                  <a:lnTo>
                    <a:pt x="80" y="18"/>
                  </a:lnTo>
                  <a:lnTo>
                    <a:pt x="80" y="18"/>
                  </a:lnTo>
                  <a:lnTo>
                    <a:pt x="80" y="18"/>
                  </a:lnTo>
                  <a:lnTo>
                    <a:pt x="80" y="18"/>
                  </a:lnTo>
                  <a:lnTo>
                    <a:pt x="80" y="18"/>
                  </a:lnTo>
                  <a:lnTo>
                    <a:pt x="84" y="18"/>
                  </a:lnTo>
                  <a:lnTo>
                    <a:pt x="84" y="18"/>
                  </a:lnTo>
                  <a:lnTo>
                    <a:pt x="84" y="22"/>
                  </a:lnTo>
                  <a:lnTo>
                    <a:pt x="84" y="22"/>
                  </a:lnTo>
                  <a:lnTo>
                    <a:pt x="84" y="22"/>
                  </a:lnTo>
                  <a:lnTo>
                    <a:pt x="84" y="22"/>
                  </a:lnTo>
                  <a:lnTo>
                    <a:pt x="84" y="22"/>
                  </a:lnTo>
                  <a:lnTo>
                    <a:pt x="84" y="22"/>
                  </a:lnTo>
                  <a:lnTo>
                    <a:pt x="84" y="22"/>
                  </a:lnTo>
                  <a:lnTo>
                    <a:pt x="88" y="22"/>
                  </a:lnTo>
                  <a:lnTo>
                    <a:pt x="84" y="22"/>
                  </a:lnTo>
                  <a:lnTo>
                    <a:pt x="84" y="22"/>
                  </a:lnTo>
                  <a:lnTo>
                    <a:pt x="84" y="22"/>
                  </a:lnTo>
                  <a:lnTo>
                    <a:pt x="84" y="22"/>
                  </a:lnTo>
                  <a:lnTo>
                    <a:pt x="84" y="22"/>
                  </a:lnTo>
                  <a:lnTo>
                    <a:pt x="80" y="22"/>
                  </a:lnTo>
                  <a:lnTo>
                    <a:pt x="80" y="26"/>
                  </a:lnTo>
                  <a:lnTo>
                    <a:pt x="80" y="26"/>
                  </a:lnTo>
                  <a:lnTo>
                    <a:pt x="76" y="26"/>
                  </a:lnTo>
                  <a:lnTo>
                    <a:pt x="76" y="26"/>
                  </a:lnTo>
                  <a:lnTo>
                    <a:pt x="72" y="30"/>
                  </a:lnTo>
                  <a:lnTo>
                    <a:pt x="72" y="30"/>
                  </a:lnTo>
                  <a:lnTo>
                    <a:pt x="72" y="30"/>
                  </a:lnTo>
                  <a:lnTo>
                    <a:pt x="70" y="30"/>
                  </a:lnTo>
                  <a:lnTo>
                    <a:pt x="70" y="30"/>
                  </a:lnTo>
                  <a:lnTo>
                    <a:pt x="66" y="30"/>
                  </a:lnTo>
                  <a:lnTo>
                    <a:pt x="66" y="30"/>
                  </a:lnTo>
                  <a:lnTo>
                    <a:pt x="62" y="26"/>
                  </a:lnTo>
                  <a:lnTo>
                    <a:pt x="62" y="26"/>
                  </a:lnTo>
                  <a:lnTo>
                    <a:pt x="62" y="26"/>
                  </a:lnTo>
                  <a:lnTo>
                    <a:pt x="58" y="30"/>
                  </a:lnTo>
                  <a:lnTo>
                    <a:pt x="58" y="30"/>
                  </a:lnTo>
                  <a:lnTo>
                    <a:pt x="58" y="30"/>
                  </a:lnTo>
                  <a:lnTo>
                    <a:pt x="58" y="30"/>
                  </a:lnTo>
                  <a:lnTo>
                    <a:pt x="58" y="30"/>
                  </a:lnTo>
                  <a:lnTo>
                    <a:pt x="58" y="30"/>
                  </a:lnTo>
                  <a:lnTo>
                    <a:pt x="58" y="34"/>
                  </a:lnTo>
                  <a:lnTo>
                    <a:pt x="58" y="34"/>
                  </a:lnTo>
                  <a:lnTo>
                    <a:pt x="58" y="34"/>
                  </a:lnTo>
                  <a:lnTo>
                    <a:pt x="58" y="34"/>
                  </a:lnTo>
                  <a:lnTo>
                    <a:pt x="58" y="34"/>
                  </a:lnTo>
                  <a:lnTo>
                    <a:pt x="58" y="34"/>
                  </a:lnTo>
                  <a:lnTo>
                    <a:pt x="58" y="38"/>
                  </a:lnTo>
                  <a:lnTo>
                    <a:pt x="58" y="38"/>
                  </a:lnTo>
                  <a:lnTo>
                    <a:pt x="54" y="38"/>
                  </a:lnTo>
                  <a:lnTo>
                    <a:pt x="54" y="38"/>
                  </a:lnTo>
                  <a:lnTo>
                    <a:pt x="54" y="38"/>
                  </a:lnTo>
                  <a:lnTo>
                    <a:pt x="54" y="38"/>
                  </a:lnTo>
                  <a:lnTo>
                    <a:pt x="54" y="38"/>
                  </a:lnTo>
                  <a:lnTo>
                    <a:pt x="54" y="38"/>
                  </a:lnTo>
                  <a:lnTo>
                    <a:pt x="54" y="38"/>
                  </a:lnTo>
                  <a:lnTo>
                    <a:pt x="54" y="38"/>
                  </a:lnTo>
                  <a:lnTo>
                    <a:pt x="50" y="42"/>
                  </a:lnTo>
                  <a:lnTo>
                    <a:pt x="50" y="42"/>
                  </a:lnTo>
                  <a:lnTo>
                    <a:pt x="50" y="42"/>
                  </a:lnTo>
                  <a:lnTo>
                    <a:pt x="50" y="46"/>
                  </a:lnTo>
                  <a:lnTo>
                    <a:pt x="50" y="46"/>
                  </a:lnTo>
                  <a:lnTo>
                    <a:pt x="50" y="46"/>
                  </a:lnTo>
                  <a:lnTo>
                    <a:pt x="50" y="46"/>
                  </a:lnTo>
                  <a:lnTo>
                    <a:pt x="46" y="46"/>
                  </a:lnTo>
                  <a:lnTo>
                    <a:pt x="46" y="46"/>
                  </a:lnTo>
                  <a:lnTo>
                    <a:pt x="46" y="42"/>
                  </a:lnTo>
                  <a:lnTo>
                    <a:pt x="46" y="42"/>
                  </a:lnTo>
                  <a:lnTo>
                    <a:pt x="46" y="42"/>
                  </a:lnTo>
                  <a:lnTo>
                    <a:pt x="46" y="42"/>
                  </a:lnTo>
                  <a:lnTo>
                    <a:pt x="42" y="42"/>
                  </a:lnTo>
                  <a:lnTo>
                    <a:pt x="42" y="42"/>
                  </a:lnTo>
                  <a:lnTo>
                    <a:pt x="42" y="42"/>
                  </a:lnTo>
                  <a:lnTo>
                    <a:pt x="40" y="46"/>
                  </a:lnTo>
                  <a:lnTo>
                    <a:pt x="40" y="46"/>
                  </a:lnTo>
                  <a:lnTo>
                    <a:pt x="40" y="46"/>
                  </a:lnTo>
                  <a:lnTo>
                    <a:pt x="36" y="46"/>
                  </a:lnTo>
                  <a:lnTo>
                    <a:pt x="36" y="46"/>
                  </a:lnTo>
                  <a:lnTo>
                    <a:pt x="36" y="46"/>
                  </a:lnTo>
                  <a:lnTo>
                    <a:pt x="36" y="46"/>
                  </a:lnTo>
                  <a:lnTo>
                    <a:pt x="36" y="46"/>
                  </a:lnTo>
                  <a:lnTo>
                    <a:pt x="36" y="46"/>
                  </a:lnTo>
                  <a:close/>
                  <a:moveTo>
                    <a:pt x="36" y="0"/>
                  </a:moveTo>
                  <a:lnTo>
                    <a:pt x="36" y="0"/>
                  </a:lnTo>
                  <a:lnTo>
                    <a:pt x="36" y="0"/>
                  </a:lnTo>
                  <a:lnTo>
                    <a:pt x="36" y="0"/>
                  </a:lnTo>
                  <a:lnTo>
                    <a:pt x="36" y="0"/>
                  </a:lnTo>
                  <a:lnTo>
                    <a:pt x="36" y="0"/>
                  </a:lnTo>
                  <a:lnTo>
                    <a:pt x="36" y="0"/>
                  </a:lnTo>
                  <a:lnTo>
                    <a:pt x="40" y="0"/>
                  </a:lnTo>
                  <a:lnTo>
                    <a:pt x="40" y="0"/>
                  </a:lnTo>
                  <a:lnTo>
                    <a:pt x="40" y="0"/>
                  </a:lnTo>
                  <a:lnTo>
                    <a:pt x="40" y="0"/>
                  </a:lnTo>
                  <a:lnTo>
                    <a:pt x="42" y="0"/>
                  </a:lnTo>
                  <a:lnTo>
                    <a:pt x="42" y="0"/>
                  </a:lnTo>
                  <a:lnTo>
                    <a:pt x="40" y="0"/>
                  </a:lnTo>
                  <a:lnTo>
                    <a:pt x="40" y="0"/>
                  </a:lnTo>
                  <a:lnTo>
                    <a:pt x="40" y="0"/>
                  </a:lnTo>
                  <a:lnTo>
                    <a:pt x="36" y="0"/>
                  </a:lnTo>
                  <a:lnTo>
                    <a:pt x="36" y="0"/>
                  </a:lnTo>
                  <a:lnTo>
                    <a:pt x="36" y="0"/>
                  </a:lnTo>
                  <a:lnTo>
                    <a:pt x="36" y="0"/>
                  </a:lnTo>
                  <a:lnTo>
                    <a:pt x="36" y="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84" name="Freeform 77"/>
            <p:cNvSpPr>
              <a:spLocks/>
            </p:cNvSpPr>
            <p:nvPr/>
          </p:nvSpPr>
          <p:spPr bwMode="auto">
            <a:xfrm>
              <a:off x="6344482" y="3952538"/>
              <a:ext cx="20095" cy="9153"/>
            </a:xfrm>
            <a:custGeom>
              <a:avLst/>
              <a:gdLst>
                <a:gd name="T0" fmla="*/ 24 w 32"/>
                <a:gd name="T1" fmla="*/ 10 h 14"/>
                <a:gd name="T2" fmla="*/ 24 w 32"/>
                <a:gd name="T3" fmla="*/ 10 h 14"/>
                <a:gd name="T4" fmla="*/ 20 w 32"/>
                <a:gd name="T5" fmla="*/ 6 h 14"/>
                <a:gd name="T6" fmla="*/ 20 w 32"/>
                <a:gd name="T7" fmla="*/ 10 h 14"/>
                <a:gd name="T8" fmla="*/ 20 w 32"/>
                <a:gd name="T9" fmla="*/ 10 h 14"/>
                <a:gd name="T10" fmla="*/ 20 w 32"/>
                <a:gd name="T11" fmla="*/ 10 h 14"/>
                <a:gd name="T12" fmla="*/ 16 w 32"/>
                <a:gd name="T13" fmla="*/ 10 h 14"/>
                <a:gd name="T14" fmla="*/ 16 w 32"/>
                <a:gd name="T15" fmla="*/ 10 h 14"/>
                <a:gd name="T16" fmla="*/ 16 w 32"/>
                <a:gd name="T17" fmla="*/ 14 h 14"/>
                <a:gd name="T18" fmla="*/ 16 w 32"/>
                <a:gd name="T19" fmla="*/ 14 h 14"/>
                <a:gd name="T20" fmla="*/ 16 w 32"/>
                <a:gd name="T21" fmla="*/ 14 h 14"/>
                <a:gd name="T22" fmla="*/ 12 w 32"/>
                <a:gd name="T23" fmla="*/ 10 h 14"/>
                <a:gd name="T24" fmla="*/ 12 w 32"/>
                <a:gd name="T25" fmla="*/ 10 h 14"/>
                <a:gd name="T26" fmla="*/ 12 w 32"/>
                <a:gd name="T27" fmla="*/ 10 h 14"/>
                <a:gd name="T28" fmla="*/ 8 w 32"/>
                <a:gd name="T29" fmla="*/ 10 h 14"/>
                <a:gd name="T30" fmla="*/ 8 w 32"/>
                <a:gd name="T31" fmla="*/ 6 h 14"/>
                <a:gd name="T32" fmla="*/ 4 w 32"/>
                <a:gd name="T33" fmla="*/ 6 h 14"/>
                <a:gd name="T34" fmla="*/ 4 w 32"/>
                <a:gd name="T35" fmla="*/ 6 h 14"/>
                <a:gd name="T36" fmla="*/ 4 w 32"/>
                <a:gd name="T37" fmla="*/ 6 h 14"/>
                <a:gd name="T38" fmla="*/ 4 w 32"/>
                <a:gd name="T39" fmla="*/ 4 h 14"/>
                <a:gd name="T40" fmla="*/ 0 w 32"/>
                <a:gd name="T41" fmla="*/ 4 h 14"/>
                <a:gd name="T42" fmla="*/ 0 w 32"/>
                <a:gd name="T43" fmla="*/ 4 h 14"/>
                <a:gd name="T44" fmla="*/ 0 w 32"/>
                <a:gd name="T45" fmla="*/ 4 h 14"/>
                <a:gd name="T46" fmla="*/ 0 w 32"/>
                <a:gd name="T47" fmla="*/ 4 h 14"/>
                <a:gd name="T48" fmla="*/ 0 w 32"/>
                <a:gd name="T49" fmla="*/ 4 h 14"/>
                <a:gd name="T50" fmla="*/ 4 w 32"/>
                <a:gd name="T51" fmla="*/ 0 h 14"/>
                <a:gd name="T52" fmla="*/ 4 w 32"/>
                <a:gd name="T53" fmla="*/ 0 h 14"/>
                <a:gd name="T54" fmla="*/ 8 w 32"/>
                <a:gd name="T55" fmla="*/ 0 h 14"/>
                <a:gd name="T56" fmla="*/ 8 w 32"/>
                <a:gd name="T57" fmla="*/ 0 h 14"/>
                <a:gd name="T58" fmla="*/ 12 w 32"/>
                <a:gd name="T59" fmla="*/ 0 h 14"/>
                <a:gd name="T60" fmla="*/ 12 w 32"/>
                <a:gd name="T61" fmla="*/ 0 h 14"/>
                <a:gd name="T62" fmla="*/ 16 w 32"/>
                <a:gd name="T63" fmla="*/ 0 h 14"/>
                <a:gd name="T64" fmla="*/ 16 w 32"/>
                <a:gd name="T65" fmla="*/ 0 h 14"/>
                <a:gd name="T66" fmla="*/ 20 w 32"/>
                <a:gd name="T67" fmla="*/ 0 h 14"/>
                <a:gd name="T68" fmla="*/ 20 w 32"/>
                <a:gd name="T69" fmla="*/ 4 h 14"/>
                <a:gd name="T70" fmla="*/ 20 w 32"/>
                <a:gd name="T71" fmla="*/ 4 h 14"/>
                <a:gd name="T72" fmla="*/ 24 w 32"/>
                <a:gd name="T73" fmla="*/ 4 h 14"/>
                <a:gd name="T74" fmla="*/ 24 w 32"/>
                <a:gd name="T75" fmla="*/ 4 h 14"/>
                <a:gd name="T76" fmla="*/ 28 w 32"/>
                <a:gd name="T77" fmla="*/ 6 h 14"/>
                <a:gd name="T78" fmla="*/ 28 w 32"/>
                <a:gd name="T79" fmla="*/ 6 h 14"/>
                <a:gd name="T80" fmla="*/ 32 w 32"/>
                <a:gd name="T81" fmla="*/ 6 h 14"/>
                <a:gd name="T82" fmla="*/ 32 w 32"/>
                <a:gd name="T83" fmla="*/ 10 h 14"/>
                <a:gd name="T84" fmla="*/ 28 w 32"/>
                <a:gd name="T85" fmla="*/ 10 h 14"/>
                <a:gd name="T86" fmla="*/ 24 w 32"/>
                <a:gd name="T87" fmla="*/ 10 h 14"/>
                <a:gd name="T88" fmla="*/ 24 w 32"/>
                <a:gd name="T8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 h="14">
                  <a:moveTo>
                    <a:pt x="24" y="10"/>
                  </a:moveTo>
                  <a:lnTo>
                    <a:pt x="24" y="10"/>
                  </a:lnTo>
                  <a:lnTo>
                    <a:pt x="24" y="10"/>
                  </a:lnTo>
                  <a:lnTo>
                    <a:pt x="24" y="10"/>
                  </a:lnTo>
                  <a:lnTo>
                    <a:pt x="24" y="10"/>
                  </a:lnTo>
                  <a:lnTo>
                    <a:pt x="24" y="10"/>
                  </a:lnTo>
                  <a:lnTo>
                    <a:pt x="24" y="10"/>
                  </a:lnTo>
                  <a:lnTo>
                    <a:pt x="24" y="6"/>
                  </a:lnTo>
                  <a:lnTo>
                    <a:pt x="20" y="6"/>
                  </a:lnTo>
                  <a:lnTo>
                    <a:pt x="20" y="6"/>
                  </a:lnTo>
                  <a:lnTo>
                    <a:pt x="20" y="6"/>
                  </a:lnTo>
                  <a:lnTo>
                    <a:pt x="20"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4"/>
                  </a:lnTo>
                  <a:lnTo>
                    <a:pt x="16" y="14"/>
                  </a:lnTo>
                  <a:lnTo>
                    <a:pt x="16" y="14"/>
                  </a:lnTo>
                  <a:lnTo>
                    <a:pt x="16" y="14"/>
                  </a:lnTo>
                  <a:lnTo>
                    <a:pt x="16" y="14"/>
                  </a:lnTo>
                  <a:lnTo>
                    <a:pt x="16" y="14"/>
                  </a:lnTo>
                  <a:lnTo>
                    <a:pt x="16" y="14"/>
                  </a:lnTo>
                  <a:lnTo>
                    <a:pt x="16" y="14"/>
                  </a:lnTo>
                  <a:lnTo>
                    <a:pt x="16" y="14"/>
                  </a:lnTo>
                  <a:lnTo>
                    <a:pt x="12" y="10"/>
                  </a:lnTo>
                  <a:lnTo>
                    <a:pt x="12" y="10"/>
                  </a:lnTo>
                  <a:lnTo>
                    <a:pt x="12" y="10"/>
                  </a:lnTo>
                  <a:lnTo>
                    <a:pt x="12" y="10"/>
                  </a:lnTo>
                  <a:lnTo>
                    <a:pt x="12" y="10"/>
                  </a:lnTo>
                  <a:lnTo>
                    <a:pt x="12" y="10"/>
                  </a:lnTo>
                  <a:lnTo>
                    <a:pt x="12" y="10"/>
                  </a:lnTo>
                  <a:lnTo>
                    <a:pt x="12" y="10"/>
                  </a:lnTo>
                  <a:lnTo>
                    <a:pt x="8" y="10"/>
                  </a:lnTo>
                  <a:lnTo>
                    <a:pt x="8" y="10"/>
                  </a:lnTo>
                  <a:lnTo>
                    <a:pt x="8" y="10"/>
                  </a:lnTo>
                  <a:lnTo>
                    <a:pt x="8" y="10"/>
                  </a:lnTo>
                  <a:lnTo>
                    <a:pt x="8" y="10"/>
                  </a:lnTo>
                  <a:lnTo>
                    <a:pt x="8" y="6"/>
                  </a:lnTo>
                  <a:lnTo>
                    <a:pt x="8" y="6"/>
                  </a:lnTo>
                  <a:lnTo>
                    <a:pt x="8" y="6"/>
                  </a:lnTo>
                  <a:lnTo>
                    <a:pt x="4" y="6"/>
                  </a:lnTo>
                  <a:lnTo>
                    <a:pt x="4" y="6"/>
                  </a:lnTo>
                  <a:lnTo>
                    <a:pt x="4" y="6"/>
                  </a:lnTo>
                  <a:lnTo>
                    <a:pt x="4" y="6"/>
                  </a:lnTo>
                  <a:lnTo>
                    <a:pt x="4" y="6"/>
                  </a:lnTo>
                  <a:lnTo>
                    <a:pt x="4" y="6"/>
                  </a:lnTo>
                  <a:lnTo>
                    <a:pt x="4" y="6"/>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4" y="0"/>
                  </a:lnTo>
                  <a:lnTo>
                    <a:pt x="4" y="0"/>
                  </a:lnTo>
                  <a:lnTo>
                    <a:pt x="4" y="0"/>
                  </a:lnTo>
                  <a:lnTo>
                    <a:pt x="4" y="0"/>
                  </a:lnTo>
                  <a:lnTo>
                    <a:pt x="4" y="0"/>
                  </a:lnTo>
                  <a:lnTo>
                    <a:pt x="8" y="0"/>
                  </a:lnTo>
                  <a:lnTo>
                    <a:pt x="8" y="0"/>
                  </a:lnTo>
                  <a:lnTo>
                    <a:pt x="8" y="0"/>
                  </a:lnTo>
                  <a:lnTo>
                    <a:pt x="8" y="0"/>
                  </a:lnTo>
                  <a:lnTo>
                    <a:pt x="8" y="0"/>
                  </a:lnTo>
                  <a:lnTo>
                    <a:pt x="8" y="0"/>
                  </a:lnTo>
                  <a:lnTo>
                    <a:pt x="8" y="0"/>
                  </a:lnTo>
                  <a:lnTo>
                    <a:pt x="12" y="0"/>
                  </a:lnTo>
                  <a:lnTo>
                    <a:pt x="12" y="0"/>
                  </a:lnTo>
                  <a:lnTo>
                    <a:pt x="12" y="0"/>
                  </a:lnTo>
                  <a:lnTo>
                    <a:pt x="12" y="0"/>
                  </a:lnTo>
                  <a:lnTo>
                    <a:pt x="12" y="0"/>
                  </a:lnTo>
                  <a:lnTo>
                    <a:pt x="12" y="0"/>
                  </a:lnTo>
                  <a:lnTo>
                    <a:pt x="16" y="0"/>
                  </a:lnTo>
                  <a:lnTo>
                    <a:pt x="16" y="0"/>
                  </a:lnTo>
                  <a:lnTo>
                    <a:pt x="16" y="0"/>
                  </a:lnTo>
                  <a:lnTo>
                    <a:pt x="16" y="0"/>
                  </a:lnTo>
                  <a:lnTo>
                    <a:pt x="16" y="0"/>
                  </a:lnTo>
                  <a:lnTo>
                    <a:pt x="16" y="0"/>
                  </a:lnTo>
                  <a:lnTo>
                    <a:pt x="16" y="0"/>
                  </a:lnTo>
                  <a:lnTo>
                    <a:pt x="20" y="0"/>
                  </a:lnTo>
                  <a:lnTo>
                    <a:pt x="20" y="0"/>
                  </a:lnTo>
                  <a:lnTo>
                    <a:pt x="20" y="0"/>
                  </a:lnTo>
                  <a:lnTo>
                    <a:pt x="20" y="4"/>
                  </a:lnTo>
                  <a:lnTo>
                    <a:pt x="20" y="0"/>
                  </a:lnTo>
                  <a:lnTo>
                    <a:pt x="20" y="4"/>
                  </a:lnTo>
                  <a:lnTo>
                    <a:pt x="20" y="4"/>
                  </a:lnTo>
                  <a:lnTo>
                    <a:pt x="24" y="4"/>
                  </a:lnTo>
                  <a:lnTo>
                    <a:pt x="24" y="4"/>
                  </a:lnTo>
                  <a:lnTo>
                    <a:pt x="24" y="4"/>
                  </a:lnTo>
                  <a:lnTo>
                    <a:pt x="24" y="4"/>
                  </a:lnTo>
                  <a:lnTo>
                    <a:pt x="24" y="4"/>
                  </a:lnTo>
                  <a:lnTo>
                    <a:pt x="24" y="4"/>
                  </a:lnTo>
                  <a:lnTo>
                    <a:pt x="28" y="4"/>
                  </a:lnTo>
                  <a:lnTo>
                    <a:pt x="28" y="4"/>
                  </a:lnTo>
                  <a:lnTo>
                    <a:pt x="28" y="6"/>
                  </a:lnTo>
                  <a:lnTo>
                    <a:pt x="28" y="6"/>
                  </a:lnTo>
                  <a:lnTo>
                    <a:pt x="28" y="6"/>
                  </a:lnTo>
                  <a:lnTo>
                    <a:pt x="28" y="6"/>
                  </a:lnTo>
                  <a:lnTo>
                    <a:pt x="28" y="6"/>
                  </a:lnTo>
                  <a:lnTo>
                    <a:pt x="32" y="6"/>
                  </a:lnTo>
                  <a:lnTo>
                    <a:pt x="32" y="6"/>
                  </a:lnTo>
                  <a:lnTo>
                    <a:pt x="32" y="6"/>
                  </a:lnTo>
                  <a:lnTo>
                    <a:pt x="32" y="10"/>
                  </a:lnTo>
                  <a:lnTo>
                    <a:pt x="32" y="10"/>
                  </a:lnTo>
                  <a:lnTo>
                    <a:pt x="32" y="10"/>
                  </a:lnTo>
                  <a:lnTo>
                    <a:pt x="28" y="10"/>
                  </a:lnTo>
                  <a:lnTo>
                    <a:pt x="28" y="10"/>
                  </a:lnTo>
                  <a:lnTo>
                    <a:pt x="28" y="10"/>
                  </a:lnTo>
                  <a:lnTo>
                    <a:pt x="24" y="10"/>
                  </a:lnTo>
                  <a:lnTo>
                    <a:pt x="24" y="10"/>
                  </a:lnTo>
                  <a:lnTo>
                    <a:pt x="24" y="10"/>
                  </a:lnTo>
                  <a:lnTo>
                    <a:pt x="24" y="10"/>
                  </a:lnTo>
                  <a:lnTo>
                    <a:pt x="24" y="1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85" name="Freeform 78"/>
            <p:cNvSpPr>
              <a:spLocks noEditPoints="1"/>
            </p:cNvSpPr>
            <p:nvPr/>
          </p:nvSpPr>
          <p:spPr bwMode="auto">
            <a:xfrm>
              <a:off x="5990301" y="3783859"/>
              <a:ext cx="280079" cy="211828"/>
            </a:xfrm>
            <a:custGeom>
              <a:avLst/>
              <a:gdLst>
                <a:gd name="T0" fmla="*/ 90 w 446"/>
                <a:gd name="T1" fmla="*/ 134 h 324"/>
                <a:gd name="T2" fmla="*/ 74 w 446"/>
                <a:gd name="T3" fmla="*/ 112 h 324"/>
                <a:gd name="T4" fmla="*/ 60 w 446"/>
                <a:gd name="T5" fmla="*/ 104 h 324"/>
                <a:gd name="T6" fmla="*/ 56 w 446"/>
                <a:gd name="T7" fmla="*/ 90 h 324"/>
                <a:gd name="T8" fmla="*/ 48 w 446"/>
                <a:gd name="T9" fmla="*/ 64 h 324"/>
                <a:gd name="T10" fmla="*/ 32 w 446"/>
                <a:gd name="T11" fmla="*/ 38 h 324"/>
                <a:gd name="T12" fmla="*/ 18 w 446"/>
                <a:gd name="T13" fmla="*/ 4 h 324"/>
                <a:gd name="T14" fmla="*/ 52 w 446"/>
                <a:gd name="T15" fmla="*/ 8 h 324"/>
                <a:gd name="T16" fmla="*/ 104 w 446"/>
                <a:gd name="T17" fmla="*/ 26 h 324"/>
                <a:gd name="T18" fmla="*/ 156 w 446"/>
                <a:gd name="T19" fmla="*/ 18 h 324"/>
                <a:gd name="T20" fmla="*/ 182 w 446"/>
                <a:gd name="T21" fmla="*/ 38 h 324"/>
                <a:gd name="T22" fmla="*/ 208 w 446"/>
                <a:gd name="T23" fmla="*/ 68 h 324"/>
                <a:gd name="T24" fmla="*/ 230 w 446"/>
                <a:gd name="T25" fmla="*/ 56 h 324"/>
                <a:gd name="T26" fmla="*/ 256 w 446"/>
                <a:gd name="T27" fmla="*/ 82 h 324"/>
                <a:gd name="T28" fmla="*/ 274 w 446"/>
                <a:gd name="T29" fmla="*/ 116 h 324"/>
                <a:gd name="T30" fmla="*/ 298 w 446"/>
                <a:gd name="T31" fmla="*/ 132 h 324"/>
                <a:gd name="T32" fmla="*/ 290 w 446"/>
                <a:gd name="T33" fmla="*/ 172 h 324"/>
                <a:gd name="T34" fmla="*/ 294 w 446"/>
                <a:gd name="T35" fmla="*/ 210 h 324"/>
                <a:gd name="T36" fmla="*/ 294 w 446"/>
                <a:gd name="T37" fmla="*/ 214 h 324"/>
                <a:gd name="T38" fmla="*/ 316 w 446"/>
                <a:gd name="T39" fmla="*/ 250 h 324"/>
                <a:gd name="T40" fmla="*/ 350 w 446"/>
                <a:gd name="T41" fmla="*/ 262 h 324"/>
                <a:gd name="T42" fmla="*/ 372 w 446"/>
                <a:gd name="T43" fmla="*/ 258 h 324"/>
                <a:gd name="T44" fmla="*/ 390 w 446"/>
                <a:gd name="T45" fmla="*/ 238 h 324"/>
                <a:gd name="T46" fmla="*/ 402 w 446"/>
                <a:gd name="T47" fmla="*/ 210 h 324"/>
                <a:gd name="T48" fmla="*/ 430 w 446"/>
                <a:gd name="T49" fmla="*/ 206 h 324"/>
                <a:gd name="T50" fmla="*/ 442 w 446"/>
                <a:gd name="T51" fmla="*/ 220 h 324"/>
                <a:gd name="T52" fmla="*/ 430 w 446"/>
                <a:gd name="T53" fmla="*/ 242 h 324"/>
                <a:gd name="T54" fmla="*/ 428 w 446"/>
                <a:gd name="T55" fmla="*/ 250 h 324"/>
                <a:gd name="T56" fmla="*/ 410 w 446"/>
                <a:gd name="T57" fmla="*/ 268 h 324"/>
                <a:gd name="T58" fmla="*/ 390 w 446"/>
                <a:gd name="T59" fmla="*/ 290 h 324"/>
                <a:gd name="T60" fmla="*/ 368 w 446"/>
                <a:gd name="T61" fmla="*/ 320 h 324"/>
                <a:gd name="T62" fmla="*/ 346 w 446"/>
                <a:gd name="T63" fmla="*/ 302 h 324"/>
                <a:gd name="T64" fmla="*/ 330 w 446"/>
                <a:gd name="T65" fmla="*/ 294 h 324"/>
                <a:gd name="T66" fmla="*/ 298 w 446"/>
                <a:gd name="T67" fmla="*/ 302 h 324"/>
                <a:gd name="T68" fmla="*/ 264 w 446"/>
                <a:gd name="T69" fmla="*/ 288 h 324"/>
                <a:gd name="T70" fmla="*/ 230 w 446"/>
                <a:gd name="T71" fmla="*/ 268 h 324"/>
                <a:gd name="T72" fmla="*/ 204 w 446"/>
                <a:gd name="T73" fmla="*/ 250 h 324"/>
                <a:gd name="T74" fmla="*/ 178 w 446"/>
                <a:gd name="T75" fmla="*/ 228 h 324"/>
                <a:gd name="T76" fmla="*/ 182 w 446"/>
                <a:gd name="T77" fmla="*/ 198 h 324"/>
                <a:gd name="T78" fmla="*/ 162 w 446"/>
                <a:gd name="T79" fmla="*/ 164 h 324"/>
                <a:gd name="T80" fmla="*/ 144 w 446"/>
                <a:gd name="T81" fmla="*/ 150 h 324"/>
                <a:gd name="T82" fmla="*/ 130 w 446"/>
                <a:gd name="T83" fmla="*/ 134 h 324"/>
                <a:gd name="T84" fmla="*/ 130 w 446"/>
                <a:gd name="T85" fmla="*/ 120 h 324"/>
                <a:gd name="T86" fmla="*/ 106 w 446"/>
                <a:gd name="T87" fmla="*/ 90 h 324"/>
                <a:gd name="T88" fmla="*/ 86 w 446"/>
                <a:gd name="T89" fmla="*/ 72 h 324"/>
                <a:gd name="T90" fmla="*/ 74 w 446"/>
                <a:gd name="T91" fmla="*/ 34 h 324"/>
                <a:gd name="T92" fmla="*/ 48 w 446"/>
                <a:gd name="T93" fmla="*/ 18 h 324"/>
                <a:gd name="T94" fmla="*/ 52 w 446"/>
                <a:gd name="T95" fmla="*/ 46 h 324"/>
                <a:gd name="T96" fmla="*/ 70 w 446"/>
                <a:gd name="T97" fmla="*/ 72 h 324"/>
                <a:gd name="T98" fmla="*/ 90 w 446"/>
                <a:gd name="T99" fmla="*/ 108 h 324"/>
                <a:gd name="T100" fmla="*/ 100 w 446"/>
                <a:gd name="T101" fmla="*/ 128 h 324"/>
                <a:gd name="T102" fmla="*/ 110 w 446"/>
                <a:gd name="T103" fmla="*/ 158 h 324"/>
                <a:gd name="T104" fmla="*/ 122 w 446"/>
                <a:gd name="T105" fmla="*/ 176 h 324"/>
                <a:gd name="T106" fmla="*/ 96 w 446"/>
                <a:gd name="T107" fmla="*/ 154 h 324"/>
                <a:gd name="T108" fmla="*/ 86 w 446"/>
                <a:gd name="T109" fmla="*/ 146 h 324"/>
                <a:gd name="T110" fmla="*/ 104 w 446"/>
                <a:gd name="T111" fmla="*/ 254 h 324"/>
                <a:gd name="T112" fmla="*/ 74 w 446"/>
                <a:gd name="T113" fmla="*/ 72 h 324"/>
                <a:gd name="T114" fmla="*/ 0 w 446"/>
                <a:gd name="T115" fmla="*/ 72 h 324"/>
                <a:gd name="T116" fmla="*/ 44 w 446"/>
                <a:gd name="T117" fmla="*/ 90 h 324"/>
                <a:gd name="T118" fmla="*/ 92 w 446"/>
                <a:gd name="T119" fmla="*/ 154 h 324"/>
                <a:gd name="T120" fmla="*/ 162 w 446"/>
                <a:gd name="T121" fmla="*/ 206 h 324"/>
                <a:gd name="T122" fmla="*/ 442 w 446"/>
                <a:gd name="T123" fmla="*/ 228 h 324"/>
                <a:gd name="T124" fmla="*/ 380 w 446"/>
                <a:gd name="T125" fmla="*/ 25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6" h="324">
                  <a:moveTo>
                    <a:pt x="96" y="154"/>
                  </a:moveTo>
                  <a:lnTo>
                    <a:pt x="92" y="154"/>
                  </a:lnTo>
                  <a:lnTo>
                    <a:pt x="92" y="150"/>
                  </a:lnTo>
                  <a:lnTo>
                    <a:pt x="90" y="150"/>
                  </a:lnTo>
                  <a:lnTo>
                    <a:pt x="90" y="146"/>
                  </a:lnTo>
                  <a:lnTo>
                    <a:pt x="90" y="142"/>
                  </a:lnTo>
                  <a:lnTo>
                    <a:pt x="86" y="142"/>
                  </a:lnTo>
                  <a:lnTo>
                    <a:pt x="86" y="146"/>
                  </a:lnTo>
                  <a:lnTo>
                    <a:pt x="86" y="142"/>
                  </a:lnTo>
                  <a:lnTo>
                    <a:pt x="86" y="138"/>
                  </a:lnTo>
                  <a:lnTo>
                    <a:pt x="90" y="138"/>
                  </a:lnTo>
                  <a:lnTo>
                    <a:pt x="90" y="134"/>
                  </a:lnTo>
                  <a:lnTo>
                    <a:pt x="90" y="132"/>
                  </a:lnTo>
                  <a:lnTo>
                    <a:pt x="90" y="134"/>
                  </a:lnTo>
                  <a:lnTo>
                    <a:pt x="90" y="132"/>
                  </a:lnTo>
                  <a:lnTo>
                    <a:pt x="90" y="128"/>
                  </a:lnTo>
                  <a:lnTo>
                    <a:pt x="86" y="128"/>
                  </a:lnTo>
                  <a:lnTo>
                    <a:pt x="86" y="124"/>
                  </a:lnTo>
                  <a:lnTo>
                    <a:pt x="86" y="120"/>
                  </a:lnTo>
                  <a:lnTo>
                    <a:pt x="82" y="120"/>
                  </a:lnTo>
                  <a:lnTo>
                    <a:pt x="78" y="120"/>
                  </a:lnTo>
                  <a:lnTo>
                    <a:pt x="78" y="116"/>
                  </a:lnTo>
                  <a:lnTo>
                    <a:pt x="74" y="116"/>
                  </a:lnTo>
                  <a:lnTo>
                    <a:pt x="74" y="112"/>
                  </a:lnTo>
                  <a:lnTo>
                    <a:pt x="70" y="112"/>
                  </a:lnTo>
                  <a:lnTo>
                    <a:pt x="70" y="108"/>
                  </a:lnTo>
                  <a:lnTo>
                    <a:pt x="74" y="108"/>
                  </a:lnTo>
                  <a:lnTo>
                    <a:pt x="70" y="108"/>
                  </a:lnTo>
                  <a:lnTo>
                    <a:pt x="70" y="112"/>
                  </a:lnTo>
                  <a:lnTo>
                    <a:pt x="70" y="108"/>
                  </a:lnTo>
                  <a:lnTo>
                    <a:pt x="66" y="108"/>
                  </a:lnTo>
                  <a:lnTo>
                    <a:pt x="66" y="112"/>
                  </a:lnTo>
                  <a:lnTo>
                    <a:pt x="62" y="108"/>
                  </a:lnTo>
                  <a:lnTo>
                    <a:pt x="62" y="104"/>
                  </a:lnTo>
                  <a:lnTo>
                    <a:pt x="60" y="108"/>
                  </a:lnTo>
                  <a:lnTo>
                    <a:pt x="60" y="104"/>
                  </a:lnTo>
                  <a:lnTo>
                    <a:pt x="56" y="104"/>
                  </a:lnTo>
                  <a:lnTo>
                    <a:pt x="56" y="102"/>
                  </a:lnTo>
                  <a:lnTo>
                    <a:pt x="52" y="98"/>
                  </a:lnTo>
                  <a:lnTo>
                    <a:pt x="48" y="98"/>
                  </a:lnTo>
                  <a:lnTo>
                    <a:pt x="48" y="94"/>
                  </a:lnTo>
                  <a:lnTo>
                    <a:pt x="44" y="94"/>
                  </a:lnTo>
                  <a:lnTo>
                    <a:pt x="48" y="90"/>
                  </a:lnTo>
                  <a:lnTo>
                    <a:pt x="48" y="94"/>
                  </a:lnTo>
                  <a:lnTo>
                    <a:pt x="52" y="94"/>
                  </a:lnTo>
                  <a:lnTo>
                    <a:pt x="56" y="94"/>
                  </a:lnTo>
                  <a:lnTo>
                    <a:pt x="60" y="94"/>
                  </a:lnTo>
                  <a:lnTo>
                    <a:pt x="56" y="90"/>
                  </a:lnTo>
                  <a:lnTo>
                    <a:pt x="60" y="90"/>
                  </a:lnTo>
                  <a:lnTo>
                    <a:pt x="60" y="86"/>
                  </a:lnTo>
                  <a:lnTo>
                    <a:pt x="60" y="90"/>
                  </a:lnTo>
                  <a:lnTo>
                    <a:pt x="60" y="86"/>
                  </a:lnTo>
                  <a:lnTo>
                    <a:pt x="60" y="82"/>
                  </a:lnTo>
                  <a:lnTo>
                    <a:pt x="60" y="78"/>
                  </a:lnTo>
                  <a:lnTo>
                    <a:pt x="60" y="74"/>
                  </a:lnTo>
                  <a:lnTo>
                    <a:pt x="56" y="74"/>
                  </a:lnTo>
                  <a:lnTo>
                    <a:pt x="56" y="72"/>
                  </a:lnTo>
                  <a:lnTo>
                    <a:pt x="52" y="72"/>
                  </a:lnTo>
                  <a:lnTo>
                    <a:pt x="52" y="68"/>
                  </a:lnTo>
                  <a:lnTo>
                    <a:pt x="48" y="64"/>
                  </a:lnTo>
                  <a:lnTo>
                    <a:pt x="44" y="64"/>
                  </a:lnTo>
                  <a:lnTo>
                    <a:pt x="44" y="60"/>
                  </a:lnTo>
                  <a:lnTo>
                    <a:pt x="40" y="60"/>
                  </a:lnTo>
                  <a:lnTo>
                    <a:pt x="36" y="56"/>
                  </a:lnTo>
                  <a:lnTo>
                    <a:pt x="36" y="52"/>
                  </a:lnTo>
                  <a:lnTo>
                    <a:pt x="36" y="48"/>
                  </a:lnTo>
                  <a:lnTo>
                    <a:pt x="36" y="46"/>
                  </a:lnTo>
                  <a:lnTo>
                    <a:pt x="32" y="46"/>
                  </a:lnTo>
                  <a:lnTo>
                    <a:pt x="32" y="42"/>
                  </a:lnTo>
                  <a:lnTo>
                    <a:pt x="32" y="46"/>
                  </a:lnTo>
                  <a:lnTo>
                    <a:pt x="32" y="42"/>
                  </a:lnTo>
                  <a:lnTo>
                    <a:pt x="32" y="38"/>
                  </a:lnTo>
                  <a:lnTo>
                    <a:pt x="30" y="34"/>
                  </a:lnTo>
                  <a:lnTo>
                    <a:pt x="30" y="30"/>
                  </a:lnTo>
                  <a:lnTo>
                    <a:pt x="26" y="30"/>
                  </a:lnTo>
                  <a:lnTo>
                    <a:pt x="26" y="26"/>
                  </a:lnTo>
                  <a:lnTo>
                    <a:pt x="22" y="22"/>
                  </a:lnTo>
                  <a:lnTo>
                    <a:pt x="26" y="18"/>
                  </a:lnTo>
                  <a:lnTo>
                    <a:pt x="22" y="18"/>
                  </a:lnTo>
                  <a:lnTo>
                    <a:pt x="22" y="16"/>
                  </a:lnTo>
                  <a:lnTo>
                    <a:pt x="18" y="16"/>
                  </a:lnTo>
                  <a:lnTo>
                    <a:pt x="18" y="12"/>
                  </a:lnTo>
                  <a:lnTo>
                    <a:pt x="18" y="8"/>
                  </a:lnTo>
                  <a:lnTo>
                    <a:pt x="18" y="4"/>
                  </a:lnTo>
                  <a:lnTo>
                    <a:pt x="22" y="4"/>
                  </a:lnTo>
                  <a:lnTo>
                    <a:pt x="26" y="4"/>
                  </a:lnTo>
                  <a:lnTo>
                    <a:pt x="30" y="4"/>
                  </a:lnTo>
                  <a:lnTo>
                    <a:pt x="32" y="4"/>
                  </a:lnTo>
                  <a:lnTo>
                    <a:pt x="36" y="4"/>
                  </a:lnTo>
                  <a:lnTo>
                    <a:pt x="40" y="4"/>
                  </a:lnTo>
                  <a:lnTo>
                    <a:pt x="44" y="4"/>
                  </a:lnTo>
                  <a:lnTo>
                    <a:pt x="48" y="0"/>
                  </a:lnTo>
                  <a:lnTo>
                    <a:pt x="52" y="0"/>
                  </a:lnTo>
                  <a:lnTo>
                    <a:pt x="52" y="4"/>
                  </a:lnTo>
                  <a:lnTo>
                    <a:pt x="48" y="4"/>
                  </a:lnTo>
                  <a:lnTo>
                    <a:pt x="52" y="8"/>
                  </a:lnTo>
                  <a:lnTo>
                    <a:pt x="56" y="8"/>
                  </a:lnTo>
                  <a:lnTo>
                    <a:pt x="60" y="12"/>
                  </a:lnTo>
                  <a:lnTo>
                    <a:pt x="62" y="12"/>
                  </a:lnTo>
                  <a:lnTo>
                    <a:pt x="66" y="12"/>
                  </a:lnTo>
                  <a:lnTo>
                    <a:pt x="70" y="16"/>
                  </a:lnTo>
                  <a:lnTo>
                    <a:pt x="74" y="16"/>
                  </a:lnTo>
                  <a:lnTo>
                    <a:pt x="78" y="16"/>
                  </a:lnTo>
                  <a:lnTo>
                    <a:pt x="82" y="18"/>
                  </a:lnTo>
                  <a:lnTo>
                    <a:pt x="86" y="18"/>
                  </a:lnTo>
                  <a:lnTo>
                    <a:pt x="90" y="22"/>
                  </a:lnTo>
                  <a:lnTo>
                    <a:pt x="96" y="26"/>
                  </a:lnTo>
                  <a:lnTo>
                    <a:pt x="104" y="26"/>
                  </a:lnTo>
                  <a:lnTo>
                    <a:pt x="110" y="26"/>
                  </a:lnTo>
                  <a:lnTo>
                    <a:pt x="114" y="26"/>
                  </a:lnTo>
                  <a:lnTo>
                    <a:pt x="118" y="26"/>
                  </a:lnTo>
                  <a:lnTo>
                    <a:pt x="122" y="26"/>
                  </a:lnTo>
                  <a:lnTo>
                    <a:pt x="130" y="26"/>
                  </a:lnTo>
                  <a:lnTo>
                    <a:pt x="132" y="26"/>
                  </a:lnTo>
                  <a:lnTo>
                    <a:pt x="140" y="26"/>
                  </a:lnTo>
                  <a:lnTo>
                    <a:pt x="140" y="22"/>
                  </a:lnTo>
                  <a:lnTo>
                    <a:pt x="140" y="18"/>
                  </a:lnTo>
                  <a:lnTo>
                    <a:pt x="148" y="18"/>
                  </a:lnTo>
                  <a:lnTo>
                    <a:pt x="152" y="18"/>
                  </a:lnTo>
                  <a:lnTo>
                    <a:pt x="156" y="18"/>
                  </a:lnTo>
                  <a:lnTo>
                    <a:pt x="160" y="18"/>
                  </a:lnTo>
                  <a:lnTo>
                    <a:pt x="162" y="18"/>
                  </a:lnTo>
                  <a:lnTo>
                    <a:pt x="166" y="18"/>
                  </a:lnTo>
                  <a:lnTo>
                    <a:pt x="166" y="22"/>
                  </a:lnTo>
                  <a:lnTo>
                    <a:pt x="170" y="22"/>
                  </a:lnTo>
                  <a:lnTo>
                    <a:pt x="170" y="26"/>
                  </a:lnTo>
                  <a:lnTo>
                    <a:pt x="174" y="26"/>
                  </a:lnTo>
                  <a:lnTo>
                    <a:pt x="174" y="30"/>
                  </a:lnTo>
                  <a:lnTo>
                    <a:pt x="178" y="30"/>
                  </a:lnTo>
                  <a:lnTo>
                    <a:pt x="178" y="34"/>
                  </a:lnTo>
                  <a:lnTo>
                    <a:pt x="182" y="34"/>
                  </a:lnTo>
                  <a:lnTo>
                    <a:pt x="182" y="38"/>
                  </a:lnTo>
                  <a:lnTo>
                    <a:pt x="186" y="38"/>
                  </a:lnTo>
                  <a:lnTo>
                    <a:pt x="188" y="42"/>
                  </a:lnTo>
                  <a:lnTo>
                    <a:pt x="188" y="46"/>
                  </a:lnTo>
                  <a:lnTo>
                    <a:pt x="192" y="48"/>
                  </a:lnTo>
                  <a:lnTo>
                    <a:pt x="192" y="52"/>
                  </a:lnTo>
                  <a:lnTo>
                    <a:pt x="192" y="56"/>
                  </a:lnTo>
                  <a:lnTo>
                    <a:pt x="196" y="60"/>
                  </a:lnTo>
                  <a:lnTo>
                    <a:pt x="200" y="60"/>
                  </a:lnTo>
                  <a:lnTo>
                    <a:pt x="200" y="64"/>
                  </a:lnTo>
                  <a:lnTo>
                    <a:pt x="204" y="64"/>
                  </a:lnTo>
                  <a:lnTo>
                    <a:pt x="204" y="68"/>
                  </a:lnTo>
                  <a:lnTo>
                    <a:pt x="208" y="68"/>
                  </a:lnTo>
                  <a:lnTo>
                    <a:pt x="212" y="72"/>
                  </a:lnTo>
                  <a:lnTo>
                    <a:pt x="216" y="72"/>
                  </a:lnTo>
                  <a:lnTo>
                    <a:pt x="216" y="68"/>
                  </a:lnTo>
                  <a:lnTo>
                    <a:pt x="218" y="68"/>
                  </a:lnTo>
                  <a:lnTo>
                    <a:pt x="218" y="64"/>
                  </a:lnTo>
                  <a:lnTo>
                    <a:pt x="218" y="60"/>
                  </a:lnTo>
                  <a:lnTo>
                    <a:pt x="218" y="56"/>
                  </a:lnTo>
                  <a:lnTo>
                    <a:pt x="222" y="56"/>
                  </a:lnTo>
                  <a:lnTo>
                    <a:pt x="226" y="56"/>
                  </a:lnTo>
                  <a:lnTo>
                    <a:pt x="226" y="52"/>
                  </a:lnTo>
                  <a:lnTo>
                    <a:pt x="226" y="56"/>
                  </a:lnTo>
                  <a:lnTo>
                    <a:pt x="230" y="56"/>
                  </a:lnTo>
                  <a:lnTo>
                    <a:pt x="234" y="56"/>
                  </a:lnTo>
                  <a:lnTo>
                    <a:pt x="238" y="56"/>
                  </a:lnTo>
                  <a:lnTo>
                    <a:pt x="238" y="60"/>
                  </a:lnTo>
                  <a:lnTo>
                    <a:pt x="242" y="60"/>
                  </a:lnTo>
                  <a:lnTo>
                    <a:pt x="244" y="60"/>
                  </a:lnTo>
                  <a:lnTo>
                    <a:pt x="244" y="64"/>
                  </a:lnTo>
                  <a:lnTo>
                    <a:pt x="248" y="68"/>
                  </a:lnTo>
                  <a:lnTo>
                    <a:pt x="248" y="72"/>
                  </a:lnTo>
                  <a:lnTo>
                    <a:pt x="252" y="74"/>
                  </a:lnTo>
                  <a:lnTo>
                    <a:pt x="252" y="78"/>
                  </a:lnTo>
                  <a:lnTo>
                    <a:pt x="252" y="82"/>
                  </a:lnTo>
                  <a:lnTo>
                    <a:pt x="256" y="82"/>
                  </a:lnTo>
                  <a:lnTo>
                    <a:pt x="256" y="86"/>
                  </a:lnTo>
                  <a:lnTo>
                    <a:pt x="260" y="90"/>
                  </a:lnTo>
                  <a:lnTo>
                    <a:pt x="260" y="94"/>
                  </a:lnTo>
                  <a:lnTo>
                    <a:pt x="264" y="94"/>
                  </a:lnTo>
                  <a:lnTo>
                    <a:pt x="264" y="98"/>
                  </a:lnTo>
                  <a:lnTo>
                    <a:pt x="268" y="98"/>
                  </a:lnTo>
                  <a:lnTo>
                    <a:pt x="268" y="102"/>
                  </a:lnTo>
                  <a:lnTo>
                    <a:pt x="268" y="104"/>
                  </a:lnTo>
                  <a:lnTo>
                    <a:pt x="268" y="108"/>
                  </a:lnTo>
                  <a:lnTo>
                    <a:pt x="272" y="112"/>
                  </a:lnTo>
                  <a:lnTo>
                    <a:pt x="272" y="116"/>
                  </a:lnTo>
                  <a:lnTo>
                    <a:pt x="274" y="116"/>
                  </a:lnTo>
                  <a:lnTo>
                    <a:pt x="274" y="120"/>
                  </a:lnTo>
                  <a:lnTo>
                    <a:pt x="278" y="120"/>
                  </a:lnTo>
                  <a:lnTo>
                    <a:pt x="282" y="120"/>
                  </a:lnTo>
                  <a:lnTo>
                    <a:pt x="282" y="124"/>
                  </a:lnTo>
                  <a:lnTo>
                    <a:pt x="286" y="124"/>
                  </a:lnTo>
                  <a:lnTo>
                    <a:pt x="290" y="124"/>
                  </a:lnTo>
                  <a:lnTo>
                    <a:pt x="294" y="124"/>
                  </a:lnTo>
                  <a:lnTo>
                    <a:pt x="294" y="128"/>
                  </a:lnTo>
                  <a:lnTo>
                    <a:pt x="298" y="128"/>
                  </a:lnTo>
                  <a:lnTo>
                    <a:pt x="298" y="124"/>
                  </a:lnTo>
                  <a:lnTo>
                    <a:pt x="298" y="128"/>
                  </a:lnTo>
                  <a:lnTo>
                    <a:pt x="298" y="132"/>
                  </a:lnTo>
                  <a:lnTo>
                    <a:pt x="298" y="134"/>
                  </a:lnTo>
                  <a:lnTo>
                    <a:pt x="294" y="138"/>
                  </a:lnTo>
                  <a:lnTo>
                    <a:pt x="294" y="142"/>
                  </a:lnTo>
                  <a:lnTo>
                    <a:pt x="294" y="146"/>
                  </a:lnTo>
                  <a:lnTo>
                    <a:pt x="294" y="150"/>
                  </a:lnTo>
                  <a:lnTo>
                    <a:pt x="290" y="150"/>
                  </a:lnTo>
                  <a:lnTo>
                    <a:pt x="290" y="154"/>
                  </a:lnTo>
                  <a:lnTo>
                    <a:pt x="290" y="158"/>
                  </a:lnTo>
                  <a:lnTo>
                    <a:pt x="290" y="160"/>
                  </a:lnTo>
                  <a:lnTo>
                    <a:pt x="290" y="164"/>
                  </a:lnTo>
                  <a:lnTo>
                    <a:pt x="290" y="168"/>
                  </a:lnTo>
                  <a:lnTo>
                    <a:pt x="290" y="172"/>
                  </a:lnTo>
                  <a:lnTo>
                    <a:pt x="290" y="176"/>
                  </a:lnTo>
                  <a:lnTo>
                    <a:pt x="290" y="180"/>
                  </a:lnTo>
                  <a:lnTo>
                    <a:pt x="290" y="184"/>
                  </a:lnTo>
                  <a:lnTo>
                    <a:pt x="290" y="188"/>
                  </a:lnTo>
                  <a:lnTo>
                    <a:pt x="290" y="190"/>
                  </a:lnTo>
                  <a:lnTo>
                    <a:pt x="290" y="194"/>
                  </a:lnTo>
                  <a:lnTo>
                    <a:pt x="290" y="198"/>
                  </a:lnTo>
                  <a:lnTo>
                    <a:pt x="294" y="198"/>
                  </a:lnTo>
                  <a:lnTo>
                    <a:pt x="294" y="202"/>
                  </a:lnTo>
                  <a:lnTo>
                    <a:pt x="298" y="202"/>
                  </a:lnTo>
                  <a:lnTo>
                    <a:pt x="298" y="206"/>
                  </a:lnTo>
                  <a:lnTo>
                    <a:pt x="294" y="210"/>
                  </a:lnTo>
                  <a:lnTo>
                    <a:pt x="294" y="206"/>
                  </a:lnTo>
                  <a:lnTo>
                    <a:pt x="298" y="206"/>
                  </a:lnTo>
                  <a:lnTo>
                    <a:pt x="294" y="206"/>
                  </a:lnTo>
                  <a:lnTo>
                    <a:pt x="294" y="202"/>
                  </a:lnTo>
                  <a:lnTo>
                    <a:pt x="294" y="198"/>
                  </a:lnTo>
                  <a:lnTo>
                    <a:pt x="290" y="198"/>
                  </a:lnTo>
                  <a:lnTo>
                    <a:pt x="290" y="194"/>
                  </a:lnTo>
                  <a:lnTo>
                    <a:pt x="290" y="198"/>
                  </a:lnTo>
                  <a:lnTo>
                    <a:pt x="290" y="202"/>
                  </a:lnTo>
                  <a:lnTo>
                    <a:pt x="294" y="206"/>
                  </a:lnTo>
                  <a:lnTo>
                    <a:pt x="294" y="210"/>
                  </a:lnTo>
                  <a:lnTo>
                    <a:pt x="294" y="214"/>
                  </a:lnTo>
                  <a:lnTo>
                    <a:pt x="298" y="214"/>
                  </a:lnTo>
                  <a:lnTo>
                    <a:pt x="298" y="218"/>
                  </a:lnTo>
                  <a:lnTo>
                    <a:pt x="298" y="220"/>
                  </a:lnTo>
                  <a:lnTo>
                    <a:pt x="302" y="220"/>
                  </a:lnTo>
                  <a:lnTo>
                    <a:pt x="304" y="228"/>
                  </a:lnTo>
                  <a:lnTo>
                    <a:pt x="308" y="232"/>
                  </a:lnTo>
                  <a:lnTo>
                    <a:pt x="308" y="234"/>
                  </a:lnTo>
                  <a:lnTo>
                    <a:pt x="308" y="238"/>
                  </a:lnTo>
                  <a:lnTo>
                    <a:pt x="312" y="242"/>
                  </a:lnTo>
                  <a:lnTo>
                    <a:pt x="312" y="246"/>
                  </a:lnTo>
                  <a:lnTo>
                    <a:pt x="316" y="246"/>
                  </a:lnTo>
                  <a:lnTo>
                    <a:pt x="316" y="250"/>
                  </a:lnTo>
                  <a:lnTo>
                    <a:pt x="316" y="254"/>
                  </a:lnTo>
                  <a:lnTo>
                    <a:pt x="320" y="254"/>
                  </a:lnTo>
                  <a:lnTo>
                    <a:pt x="324" y="254"/>
                  </a:lnTo>
                  <a:lnTo>
                    <a:pt x="328" y="254"/>
                  </a:lnTo>
                  <a:lnTo>
                    <a:pt x="328" y="258"/>
                  </a:lnTo>
                  <a:lnTo>
                    <a:pt x="330" y="258"/>
                  </a:lnTo>
                  <a:lnTo>
                    <a:pt x="330" y="262"/>
                  </a:lnTo>
                  <a:lnTo>
                    <a:pt x="334" y="264"/>
                  </a:lnTo>
                  <a:lnTo>
                    <a:pt x="338" y="264"/>
                  </a:lnTo>
                  <a:lnTo>
                    <a:pt x="342" y="262"/>
                  </a:lnTo>
                  <a:lnTo>
                    <a:pt x="346" y="262"/>
                  </a:lnTo>
                  <a:lnTo>
                    <a:pt x="350" y="262"/>
                  </a:lnTo>
                  <a:lnTo>
                    <a:pt x="350" y="258"/>
                  </a:lnTo>
                  <a:lnTo>
                    <a:pt x="346" y="262"/>
                  </a:lnTo>
                  <a:lnTo>
                    <a:pt x="350" y="258"/>
                  </a:lnTo>
                  <a:lnTo>
                    <a:pt x="354" y="258"/>
                  </a:lnTo>
                  <a:lnTo>
                    <a:pt x="354" y="262"/>
                  </a:lnTo>
                  <a:lnTo>
                    <a:pt x="358" y="262"/>
                  </a:lnTo>
                  <a:lnTo>
                    <a:pt x="358" y="258"/>
                  </a:lnTo>
                  <a:lnTo>
                    <a:pt x="360" y="258"/>
                  </a:lnTo>
                  <a:lnTo>
                    <a:pt x="364" y="254"/>
                  </a:lnTo>
                  <a:lnTo>
                    <a:pt x="368" y="254"/>
                  </a:lnTo>
                  <a:lnTo>
                    <a:pt x="372" y="254"/>
                  </a:lnTo>
                  <a:lnTo>
                    <a:pt x="372" y="258"/>
                  </a:lnTo>
                  <a:lnTo>
                    <a:pt x="376" y="258"/>
                  </a:lnTo>
                  <a:lnTo>
                    <a:pt x="372" y="258"/>
                  </a:lnTo>
                  <a:lnTo>
                    <a:pt x="376" y="262"/>
                  </a:lnTo>
                  <a:lnTo>
                    <a:pt x="376" y="258"/>
                  </a:lnTo>
                  <a:lnTo>
                    <a:pt x="380" y="258"/>
                  </a:lnTo>
                  <a:lnTo>
                    <a:pt x="384" y="254"/>
                  </a:lnTo>
                  <a:lnTo>
                    <a:pt x="380" y="254"/>
                  </a:lnTo>
                  <a:lnTo>
                    <a:pt x="380" y="250"/>
                  </a:lnTo>
                  <a:lnTo>
                    <a:pt x="384" y="250"/>
                  </a:lnTo>
                  <a:lnTo>
                    <a:pt x="386" y="246"/>
                  </a:lnTo>
                  <a:lnTo>
                    <a:pt x="390" y="242"/>
                  </a:lnTo>
                  <a:lnTo>
                    <a:pt x="390" y="238"/>
                  </a:lnTo>
                  <a:lnTo>
                    <a:pt x="390" y="234"/>
                  </a:lnTo>
                  <a:lnTo>
                    <a:pt x="394" y="232"/>
                  </a:lnTo>
                  <a:lnTo>
                    <a:pt x="394" y="228"/>
                  </a:lnTo>
                  <a:lnTo>
                    <a:pt x="394" y="224"/>
                  </a:lnTo>
                  <a:lnTo>
                    <a:pt x="394" y="220"/>
                  </a:lnTo>
                  <a:lnTo>
                    <a:pt x="394" y="218"/>
                  </a:lnTo>
                  <a:lnTo>
                    <a:pt x="394" y="214"/>
                  </a:lnTo>
                  <a:lnTo>
                    <a:pt x="394" y="218"/>
                  </a:lnTo>
                  <a:lnTo>
                    <a:pt x="394" y="214"/>
                  </a:lnTo>
                  <a:lnTo>
                    <a:pt x="398" y="214"/>
                  </a:lnTo>
                  <a:lnTo>
                    <a:pt x="398" y="210"/>
                  </a:lnTo>
                  <a:lnTo>
                    <a:pt x="402" y="210"/>
                  </a:lnTo>
                  <a:lnTo>
                    <a:pt x="406" y="210"/>
                  </a:lnTo>
                  <a:lnTo>
                    <a:pt x="410" y="210"/>
                  </a:lnTo>
                  <a:lnTo>
                    <a:pt x="414" y="206"/>
                  </a:lnTo>
                  <a:lnTo>
                    <a:pt x="416" y="206"/>
                  </a:lnTo>
                  <a:lnTo>
                    <a:pt x="420" y="206"/>
                  </a:lnTo>
                  <a:lnTo>
                    <a:pt x="424" y="206"/>
                  </a:lnTo>
                  <a:lnTo>
                    <a:pt x="428" y="202"/>
                  </a:lnTo>
                  <a:lnTo>
                    <a:pt x="424" y="202"/>
                  </a:lnTo>
                  <a:lnTo>
                    <a:pt x="424" y="206"/>
                  </a:lnTo>
                  <a:lnTo>
                    <a:pt x="424" y="202"/>
                  </a:lnTo>
                  <a:lnTo>
                    <a:pt x="428" y="202"/>
                  </a:lnTo>
                  <a:lnTo>
                    <a:pt x="430" y="206"/>
                  </a:lnTo>
                  <a:lnTo>
                    <a:pt x="434" y="206"/>
                  </a:lnTo>
                  <a:lnTo>
                    <a:pt x="438" y="206"/>
                  </a:lnTo>
                  <a:lnTo>
                    <a:pt x="434" y="206"/>
                  </a:lnTo>
                  <a:lnTo>
                    <a:pt x="438" y="206"/>
                  </a:lnTo>
                  <a:lnTo>
                    <a:pt x="438" y="202"/>
                  </a:lnTo>
                  <a:lnTo>
                    <a:pt x="442" y="202"/>
                  </a:lnTo>
                  <a:lnTo>
                    <a:pt x="442" y="206"/>
                  </a:lnTo>
                  <a:lnTo>
                    <a:pt x="446" y="206"/>
                  </a:lnTo>
                  <a:lnTo>
                    <a:pt x="446" y="210"/>
                  </a:lnTo>
                  <a:lnTo>
                    <a:pt x="446" y="214"/>
                  </a:lnTo>
                  <a:lnTo>
                    <a:pt x="442" y="218"/>
                  </a:lnTo>
                  <a:lnTo>
                    <a:pt x="442" y="220"/>
                  </a:lnTo>
                  <a:lnTo>
                    <a:pt x="438" y="220"/>
                  </a:lnTo>
                  <a:lnTo>
                    <a:pt x="438" y="224"/>
                  </a:lnTo>
                  <a:lnTo>
                    <a:pt x="434" y="228"/>
                  </a:lnTo>
                  <a:lnTo>
                    <a:pt x="434" y="232"/>
                  </a:lnTo>
                  <a:lnTo>
                    <a:pt x="434" y="234"/>
                  </a:lnTo>
                  <a:lnTo>
                    <a:pt x="434" y="232"/>
                  </a:lnTo>
                  <a:lnTo>
                    <a:pt x="434" y="234"/>
                  </a:lnTo>
                  <a:lnTo>
                    <a:pt x="430" y="234"/>
                  </a:lnTo>
                  <a:lnTo>
                    <a:pt x="430" y="238"/>
                  </a:lnTo>
                  <a:lnTo>
                    <a:pt x="434" y="238"/>
                  </a:lnTo>
                  <a:lnTo>
                    <a:pt x="434" y="242"/>
                  </a:lnTo>
                  <a:lnTo>
                    <a:pt x="430" y="242"/>
                  </a:lnTo>
                  <a:lnTo>
                    <a:pt x="430" y="246"/>
                  </a:lnTo>
                  <a:lnTo>
                    <a:pt x="434" y="242"/>
                  </a:lnTo>
                  <a:lnTo>
                    <a:pt x="434" y="246"/>
                  </a:lnTo>
                  <a:lnTo>
                    <a:pt x="434" y="250"/>
                  </a:lnTo>
                  <a:lnTo>
                    <a:pt x="430" y="250"/>
                  </a:lnTo>
                  <a:lnTo>
                    <a:pt x="430" y="254"/>
                  </a:lnTo>
                  <a:lnTo>
                    <a:pt x="430" y="258"/>
                  </a:lnTo>
                  <a:lnTo>
                    <a:pt x="430" y="262"/>
                  </a:lnTo>
                  <a:lnTo>
                    <a:pt x="428" y="262"/>
                  </a:lnTo>
                  <a:lnTo>
                    <a:pt x="428" y="258"/>
                  </a:lnTo>
                  <a:lnTo>
                    <a:pt x="428" y="254"/>
                  </a:lnTo>
                  <a:lnTo>
                    <a:pt x="428" y="250"/>
                  </a:lnTo>
                  <a:lnTo>
                    <a:pt x="428" y="254"/>
                  </a:lnTo>
                  <a:lnTo>
                    <a:pt x="424" y="254"/>
                  </a:lnTo>
                  <a:lnTo>
                    <a:pt x="424" y="258"/>
                  </a:lnTo>
                  <a:lnTo>
                    <a:pt x="420" y="258"/>
                  </a:lnTo>
                  <a:lnTo>
                    <a:pt x="420" y="262"/>
                  </a:lnTo>
                  <a:lnTo>
                    <a:pt x="416" y="262"/>
                  </a:lnTo>
                  <a:lnTo>
                    <a:pt x="416" y="264"/>
                  </a:lnTo>
                  <a:lnTo>
                    <a:pt x="416" y="268"/>
                  </a:lnTo>
                  <a:lnTo>
                    <a:pt x="414" y="268"/>
                  </a:lnTo>
                  <a:lnTo>
                    <a:pt x="414" y="264"/>
                  </a:lnTo>
                  <a:lnTo>
                    <a:pt x="414" y="268"/>
                  </a:lnTo>
                  <a:lnTo>
                    <a:pt x="410" y="268"/>
                  </a:lnTo>
                  <a:lnTo>
                    <a:pt x="402" y="268"/>
                  </a:lnTo>
                  <a:lnTo>
                    <a:pt x="398" y="268"/>
                  </a:lnTo>
                  <a:lnTo>
                    <a:pt x="390" y="268"/>
                  </a:lnTo>
                  <a:lnTo>
                    <a:pt x="386" y="268"/>
                  </a:lnTo>
                  <a:lnTo>
                    <a:pt x="386" y="272"/>
                  </a:lnTo>
                  <a:lnTo>
                    <a:pt x="386" y="280"/>
                  </a:lnTo>
                  <a:lnTo>
                    <a:pt x="380" y="280"/>
                  </a:lnTo>
                  <a:lnTo>
                    <a:pt x="384" y="280"/>
                  </a:lnTo>
                  <a:lnTo>
                    <a:pt x="384" y="284"/>
                  </a:lnTo>
                  <a:lnTo>
                    <a:pt x="386" y="288"/>
                  </a:lnTo>
                  <a:lnTo>
                    <a:pt x="390" y="288"/>
                  </a:lnTo>
                  <a:lnTo>
                    <a:pt x="390" y="290"/>
                  </a:lnTo>
                  <a:lnTo>
                    <a:pt x="390" y="294"/>
                  </a:lnTo>
                  <a:lnTo>
                    <a:pt x="394" y="294"/>
                  </a:lnTo>
                  <a:lnTo>
                    <a:pt x="394" y="298"/>
                  </a:lnTo>
                  <a:lnTo>
                    <a:pt x="390" y="298"/>
                  </a:lnTo>
                  <a:lnTo>
                    <a:pt x="386" y="298"/>
                  </a:lnTo>
                  <a:lnTo>
                    <a:pt x="380" y="298"/>
                  </a:lnTo>
                  <a:lnTo>
                    <a:pt x="376" y="298"/>
                  </a:lnTo>
                  <a:lnTo>
                    <a:pt x="376" y="302"/>
                  </a:lnTo>
                  <a:lnTo>
                    <a:pt x="368" y="310"/>
                  </a:lnTo>
                  <a:lnTo>
                    <a:pt x="368" y="314"/>
                  </a:lnTo>
                  <a:lnTo>
                    <a:pt x="372" y="318"/>
                  </a:lnTo>
                  <a:lnTo>
                    <a:pt x="368" y="320"/>
                  </a:lnTo>
                  <a:lnTo>
                    <a:pt x="368" y="324"/>
                  </a:lnTo>
                  <a:lnTo>
                    <a:pt x="364" y="324"/>
                  </a:lnTo>
                  <a:lnTo>
                    <a:pt x="364" y="320"/>
                  </a:lnTo>
                  <a:lnTo>
                    <a:pt x="360" y="320"/>
                  </a:lnTo>
                  <a:lnTo>
                    <a:pt x="360" y="318"/>
                  </a:lnTo>
                  <a:lnTo>
                    <a:pt x="360" y="314"/>
                  </a:lnTo>
                  <a:lnTo>
                    <a:pt x="358" y="314"/>
                  </a:lnTo>
                  <a:lnTo>
                    <a:pt x="358" y="310"/>
                  </a:lnTo>
                  <a:lnTo>
                    <a:pt x="354" y="310"/>
                  </a:lnTo>
                  <a:lnTo>
                    <a:pt x="354" y="306"/>
                  </a:lnTo>
                  <a:lnTo>
                    <a:pt x="350" y="306"/>
                  </a:lnTo>
                  <a:lnTo>
                    <a:pt x="346" y="302"/>
                  </a:lnTo>
                  <a:lnTo>
                    <a:pt x="346" y="298"/>
                  </a:lnTo>
                  <a:lnTo>
                    <a:pt x="342" y="298"/>
                  </a:lnTo>
                  <a:lnTo>
                    <a:pt x="338" y="298"/>
                  </a:lnTo>
                  <a:lnTo>
                    <a:pt x="338" y="294"/>
                  </a:lnTo>
                  <a:lnTo>
                    <a:pt x="338" y="298"/>
                  </a:lnTo>
                  <a:lnTo>
                    <a:pt x="342" y="298"/>
                  </a:lnTo>
                  <a:lnTo>
                    <a:pt x="342" y="302"/>
                  </a:lnTo>
                  <a:lnTo>
                    <a:pt x="338" y="298"/>
                  </a:lnTo>
                  <a:lnTo>
                    <a:pt x="334" y="298"/>
                  </a:lnTo>
                  <a:lnTo>
                    <a:pt x="334" y="294"/>
                  </a:lnTo>
                  <a:lnTo>
                    <a:pt x="330" y="298"/>
                  </a:lnTo>
                  <a:lnTo>
                    <a:pt x="330" y="294"/>
                  </a:lnTo>
                  <a:lnTo>
                    <a:pt x="328" y="294"/>
                  </a:lnTo>
                  <a:lnTo>
                    <a:pt x="328" y="298"/>
                  </a:lnTo>
                  <a:lnTo>
                    <a:pt x="330" y="298"/>
                  </a:lnTo>
                  <a:lnTo>
                    <a:pt x="328" y="298"/>
                  </a:lnTo>
                  <a:lnTo>
                    <a:pt x="324" y="302"/>
                  </a:lnTo>
                  <a:lnTo>
                    <a:pt x="320" y="302"/>
                  </a:lnTo>
                  <a:lnTo>
                    <a:pt x="316" y="306"/>
                  </a:lnTo>
                  <a:lnTo>
                    <a:pt x="312" y="306"/>
                  </a:lnTo>
                  <a:lnTo>
                    <a:pt x="308" y="306"/>
                  </a:lnTo>
                  <a:lnTo>
                    <a:pt x="304" y="306"/>
                  </a:lnTo>
                  <a:lnTo>
                    <a:pt x="302" y="302"/>
                  </a:lnTo>
                  <a:lnTo>
                    <a:pt x="298" y="302"/>
                  </a:lnTo>
                  <a:lnTo>
                    <a:pt x="294" y="302"/>
                  </a:lnTo>
                  <a:lnTo>
                    <a:pt x="290" y="302"/>
                  </a:lnTo>
                  <a:lnTo>
                    <a:pt x="286" y="298"/>
                  </a:lnTo>
                  <a:lnTo>
                    <a:pt x="282" y="298"/>
                  </a:lnTo>
                  <a:lnTo>
                    <a:pt x="282" y="294"/>
                  </a:lnTo>
                  <a:lnTo>
                    <a:pt x="278" y="294"/>
                  </a:lnTo>
                  <a:lnTo>
                    <a:pt x="274" y="294"/>
                  </a:lnTo>
                  <a:lnTo>
                    <a:pt x="274" y="290"/>
                  </a:lnTo>
                  <a:lnTo>
                    <a:pt x="272" y="290"/>
                  </a:lnTo>
                  <a:lnTo>
                    <a:pt x="268" y="290"/>
                  </a:lnTo>
                  <a:lnTo>
                    <a:pt x="264" y="290"/>
                  </a:lnTo>
                  <a:lnTo>
                    <a:pt x="264" y="288"/>
                  </a:lnTo>
                  <a:lnTo>
                    <a:pt x="260" y="288"/>
                  </a:lnTo>
                  <a:lnTo>
                    <a:pt x="256" y="284"/>
                  </a:lnTo>
                  <a:lnTo>
                    <a:pt x="252" y="284"/>
                  </a:lnTo>
                  <a:lnTo>
                    <a:pt x="248" y="280"/>
                  </a:lnTo>
                  <a:lnTo>
                    <a:pt x="244" y="280"/>
                  </a:lnTo>
                  <a:lnTo>
                    <a:pt x="242" y="280"/>
                  </a:lnTo>
                  <a:lnTo>
                    <a:pt x="242" y="276"/>
                  </a:lnTo>
                  <a:lnTo>
                    <a:pt x="238" y="276"/>
                  </a:lnTo>
                  <a:lnTo>
                    <a:pt x="238" y="272"/>
                  </a:lnTo>
                  <a:lnTo>
                    <a:pt x="234" y="272"/>
                  </a:lnTo>
                  <a:lnTo>
                    <a:pt x="234" y="268"/>
                  </a:lnTo>
                  <a:lnTo>
                    <a:pt x="230" y="268"/>
                  </a:lnTo>
                  <a:lnTo>
                    <a:pt x="230" y="264"/>
                  </a:lnTo>
                  <a:lnTo>
                    <a:pt x="230" y="268"/>
                  </a:lnTo>
                  <a:lnTo>
                    <a:pt x="226" y="268"/>
                  </a:lnTo>
                  <a:lnTo>
                    <a:pt x="222" y="264"/>
                  </a:lnTo>
                  <a:lnTo>
                    <a:pt x="218" y="264"/>
                  </a:lnTo>
                  <a:lnTo>
                    <a:pt x="216" y="264"/>
                  </a:lnTo>
                  <a:lnTo>
                    <a:pt x="216" y="262"/>
                  </a:lnTo>
                  <a:lnTo>
                    <a:pt x="212" y="262"/>
                  </a:lnTo>
                  <a:lnTo>
                    <a:pt x="208" y="262"/>
                  </a:lnTo>
                  <a:lnTo>
                    <a:pt x="208" y="258"/>
                  </a:lnTo>
                  <a:lnTo>
                    <a:pt x="204" y="254"/>
                  </a:lnTo>
                  <a:lnTo>
                    <a:pt x="204" y="250"/>
                  </a:lnTo>
                  <a:lnTo>
                    <a:pt x="200" y="250"/>
                  </a:lnTo>
                  <a:lnTo>
                    <a:pt x="196" y="250"/>
                  </a:lnTo>
                  <a:lnTo>
                    <a:pt x="196" y="246"/>
                  </a:lnTo>
                  <a:lnTo>
                    <a:pt x="192" y="246"/>
                  </a:lnTo>
                  <a:lnTo>
                    <a:pt x="188" y="242"/>
                  </a:lnTo>
                  <a:lnTo>
                    <a:pt x="186" y="242"/>
                  </a:lnTo>
                  <a:lnTo>
                    <a:pt x="186" y="238"/>
                  </a:lnTo>
                  <a:lnTo>
                    <a:pt x="186" y="234"/>
                  </a:lnTo>
                  <a:lnTo>
                    <a:pt x="182" y="234"/>
                  </a:lnTo>
                  <a:lnTo>
                    <a:pt x="182" y="232"/>
                  </a:lnTo>
                  <a:lnTo>
                    <a:pt x="178" y="232"/>
                  </a:lnTo>
                  <a:lnTo>
                    <a:pt x="178" y="228"/>
                  </a:lnTo>
                  <a:lnTo>
                    <a:pt x="178" y="224"/>
                  </a:lnTo>
                  <a:lnTo>
                    <a:pt x="182" y="224"/>
                  </a:lnTo>
                  <a:lnTo>
                    <a:pt x="182" y="220"/>
                  </a:lnTo>
                  <a:lnTo>
                    <a:pt x="186" y="220"/>
                  </a:lnTo>
                  <a:lnTo>
                    <a:pt x="182" y="218"/>
                  </a:lnTo>
                  <a:lnTo>
                    <a:pt x="182" y="214"/>
                  </a:lnTo>
                  <a:lnTo>
                    <a:pt x="186" y="214"/>
                  </a:lnTo>
                  <a:lnTo>
                    <a:pt x="186" y="210"/>
                  </a:lnTo>
                  <a:lnTo>
                    <a:pt x="186" y="206"/>
                  </a:lnTo>
                  <a:lnTo>
                    <a:pt x="182" y="206"/>
                  </a:lnTo>
                  <a:lnTo>
                    <a:pt x="182" y="202"/>
                  </a:lnTo>
                  <a:lnTo>
                    <a:pt x="182" y="198"/>
                  </a:lnTo>
                  <a:lnTo>
                    <a:pt x="178" y="198"/>
                  </a:lnTo>
                  <a:lnTo>
                    <a:pt x="178" y="194"/>
                  </a:lnTo>
                  <a:lnTo>
                    <a:pt x="178" y="190"/>
                  </a:lnTo>
                  <a:lnTo>
                    <a:pt x="178" y="188"/>
                  </a:lnTo>
                  <a:lnTo>
                    <a:pt x="178" y="184"/>
                  </a:lnTo>
                  <a:lnTo>
                    <a:pt x="174" y="184"/>
                  </a:lnTo>
                  <a:lnTo>
                    <a:pt x="170" y="180"/>
                  </a:lnTo>
                  <a:lnTo>
                    <a:pt x="170" y="176"/>
                  </a:lnTo>
                  <a:lnTo>
                    <a:pt x="166" y="176"/>
                  </a:lnTo>
                  <a:lnTo>
                    <a:pt x="166" y="172"/>
                  </a:lnTo>
                  <a:lnTo>
                    <a:pt x="162" y="168"/>
                  </a:lnTo>
                  <a:lnTo>
                    <a:pt x="162" y="164"/>
                  </a:lnTo>
                  <a:lnTo>
                    <a:pt x="160" y="164"/>
                  </a:lnTo>
                  <a:lnTo>
                    <a:pt x="160" y="160"/>
                  </a:lnTo>
                  <a:lnTo>
                    <a:pt x="152" y="158"/>
                  </a:lnTo>
                  <a:lnTo>
                    <a:pt x="152" y="154"/>
                  </a:lnTo>
                  <a:lnTo>
                    <a:pt x="148" y="154"/>
                  </a:lnTo>
                  <a:lnTo>
                    <a:pt x="152" y="154"/>
                  </a:lnTo>
                  <a:lnTo>
                    <a:pt x="152" y="150"/>
                  </a:lnTo>
                  <a:lnTo>
                    <a:pt x="148" y="154"/>
                  </a:lnTo>
                  <a:lnTo>
                    <a:pt x="148" y="150"/>
                  </a:lnTo>
                  <a:lnTo>
                    <a:pt x="144" y="150"/>
                  </a:lnTo>
                  <a:lnTo>
                    <a:pt x="148" y="150"/>
                  </a:lnTo>
                  <a:lnTo>
                    <a:pt x="144" y="150"/>
                  </a:lnTo>
                  <a:lnTo>
                    <a:pt x="144" y="146"/>
                  </a:lnTo>
                  <a:lnTo>
                    <a:pt x="144" y="142"/>
                  </a:lnTo>
                  <a:lnTo>
                    <a:pt x="144" y="146"/>
                  </a:lnTo>
                  <a:lnTo>
                    <a:pt x="140" y="142"/>
                  </a:lnTo>
                  <a:lnTo>
                    <a:pt x="144" y="142"/>
                  </a:lnTo>
                  <a:lnTo>
                    <a:pt x="140" y="138"/>
                  </a:lnTo>
                  <a:lnTo>
                    <a:pt x="136" y="138"/>
                  </a:lnTo>
                  <a:lnTo>
                    <a:pt x="136" y="134"/>
                  </a:lnTo>
                  <a:lnTo>
                    <a:pt x="132" y="134"/>
                  </a:lnTo>
                  <a:lnTo>
                    <a:pt x="132" y="132"/>
                  </a:lnTo>
                  <a:lnTo>
                    <a:pt x="132" y="134"/>
                  </a:lnTo>
                  <a:lnTo>
                    <a:pt x="130" y="134"/>
                  </a:lnTo>
                  <a:lnTo>
                    <a:pt x="130" y="132"/>
                  </a:lnTo>
                  <a:lnTo>
                    <a:pt x="132" y="132"/>
                  </a:lnTo>
                  <a:lnTo>
                    <a:pt x="132" y="128"/>
                  </a:lnTo>
                  <a:lnTo>
                    <a:pt x="132" y="132"/>
                  </a:lnTo>
                  <a:lnTo>
                    <a:pt x="130" y="132"/>
                  </a:lnTo>
                  <a:lnTo>
                    <a:pt x="126" y="132"/>
                  </a:lnTo>
                  <a:lnTo>
                    <a:pt x="126" y="128"/>
                  </a:lnTo>
                  <a:lnTo>
                    <a:pt x="126" y="124"/>
                  </a:lnTo>
                  <a:lnTo>
                    <a:pt x="126" y="120"/>
                  </a:lnTo>
                  <a:lnTo>
                    <a:pt x="126" y="124"/>
                  </a:lnTo>
                  <a:lnTo>
                    <a:pt x="126" y="120"/>
                  </a:lnTo>
                  <a:lnTo>
                    <a:pt x="130" y="120"/>
                  </a:lnTo>
                  <a:lnTo>
                    <a:pt x="126" y="116"/>
                  </a:lnTo>
                  <a:lnTo>
                    <a:pt x="126" y="112"/>
                  </a:lnTo>
                  <a:lnTo>
                    <a:pt x="122" y="112"/>
                  </a:lnTo>
                  <a:lnTo>
                    <a:pt x="118" y="112"/>
                  </a:lnTo>
                  <a:lnTo>
                    <a:pt x="118" y="108"/>
                  </a:lnTo>
                  <a:lnTo>
                    <a:pt x="118" y="104"/>
                  </a:lnTo>
                  <a:lnTo>
                    <a:pt x="114" y="104"/>
                  </a:lnTo>
                  <a:lnTo>
                    <a:pt x="110" y="104"/>
                  </a:lnTo>
                  <a:lnTo>
                    <a:pt x="110" y="102"/>
                  </a:lnTo>
                  <a:lnTo>
                    <a:pt x="106" y="98"/>
                  </a:lnTo>
                  <a:lnTo>
                    <a:pt x="106" y="94"/>
                  </a:lnTo>
                  <a:lnTo>
                    <a:pt x="106" y="90"/>
                  </a:lnTo>
                  <a:lnTo>
                    <a:pt x="110" y="90"/>
                  </a:lnTo>
                  <a:lnTo>
                    <a:pt x="106" y="90"/>
                  </a:lnTo>
                  <a:lnTo>
                    <a:pt x="104" y="90"/>
                  </a:lnTo>
                  <a:lnTo>
                    <a:pt x="100" y="90"/>
                  </a:lnTo>
                  <a:lnTo>
                    <a:pt x="100" y="86"/>
                  </a:lnTo>
                  <a:lnTo>
                    <a:pt x="96" y="86"/>
                  </a:lnTo>
                  <a:lnTo>
                    <a:pt x="96" y="82"/>
                  </a:lnTo>
                  <a:lnTo>
                    <a:pt x="92" y="78"/>
                  </a:lnTo>
                  <a:lnTo>
                    <a:pt x="92" y="74"/>
                  </a:lnTo>
                  <a:lnTo>
                    <a:pt x="90" y="74"/>
                  </a:lnTo>
                  <a:lnTo>
                    <a:pt x="90" y="72"/>
                  </a:lnTo>
                  <a:lnTo>
                    <a:pt x="86" y="72"/>
                  </a:lnTo>
                  <a:lnTo>
                    <a:pt x="86" y="68"/>
                  </a:lnTo>
                  <a:lnTo>
                    <a:pt x="86" y="64"/>
                  </a:lnTo>
                  <a:lnTo>
                    <a:pt x="82" y="64"/>
                  </a:lnTo>
                  <a:lnTo>
                    <a:pt x="86" y="60"/>
                  </a:lnTo>
                  <a:lnTo>
                    <a:pt x="82" y="60"/>
                  </a:lnTo>
                  <a:lnTo>
                    <a:pt x="82" y="56"/>
                  </a:lnTo>
                  <a:lnTo>
                    <a:pt x="78" y="52"/>
                  </a:lnTo>
                  <a:lnTo>
                    <a:pt x="78" y="48"/>
                  </a:lnTo>
                  <a:lnTo>
                    <a:pt x="78" y="46"/>
                  </a:lnTo>
                  <a:lnTo>
                    <a:pt x="74" y="42"/>
                  </a:lnTo>
                  <a:lnTo>
                    <a:pt x="74" y="38"/>
                  </a:lnTo>
                  <a:lnTo>
                    <a:pt x="74" y="34"/>
                  </a:lnTo>
                  <a:lnTo>
                    <a:pt x="74" y="30"/>
                  </a:lnTo>
                  <a:lnTo>
                    <a:pt x="70" y="30"/>
                  </a:lnTo>
                  <a:lnTo>
                    <a:pt x="66" y="30"/>
                  </a:lnTo>
                  <a:lnTo>
                    <a:pt x="66" y="26"/>
                  </a:lnTo>
                  <a:lnTo>
                    <a:pt x="66" y="22"/>
                  </a:lnTo>
                  <a:lnTo>
                    <a:pt x="62" y="22"/>
                  </a:lnTo>
                  <a:lnTo>
                    <a:pt x="60" y="22"/>
                  </a:lnTo>
                  <a:lnTo>
                    <a:pt x="62" y="22"/>
                  </a:lnTo>
                  <a:lnTo>
                    <a:pt x="60" y="22"/>
                  </a:lnTo>
                  <a:lnTo>
                    <a:pt x="56" y="22"/>
                  </a:lnTo>
                  <a:lnTo>
                    <a:pt x="52" y="18"/>
                  </a:lnTo>
                  <a:lnTo>
                    <a:pt x="48" y="18"/>
                  </a:lnTo>
                  <a:lnTo>
                    <a:pt x="48" y="16"/>
                  </a:lnTo>
                  <a:lnTo>
                    <a:pt x="44" y="16"/>
                  </a:lnTo>
                  <a:lnTo>
                    <a:pt x="48" y="16"/>
                  </a:lnTo>
                  <a:lnTo>
                    <a:pt x="48" y="18"/>
                  </a:lnTo>
                  <a:lnTo>
                    <a:pt x="48" y="22"/>
                  </a:lnTo>
                  <a:lnTo>
                    <a:pt x="48" y="26"/>
                  </a:lnTo>
                  <a:lnTo>
                    <a:pt x="48" y="30"/>
                  </a:lnTo>
                  <a:lnTo>
                    <a:pt x="48" y="34"/>
                  </a:lnTo>
                  <a:lnTo>
                    <a:pt x="52" y="34"/>
                  </a:lnTo>
                  <a:lnTo>
                    <a:pt x="52" y="38"/>
                  </a:lnTo>
                  <a:lnTo>
                    <a:pt x="52" y="42"/>
                  </a:lnTo>
                  <a:lnTo>
                    <a:pt x="52" y="46"/>
                  </a:lnTo>
                  <a:lnTo>
                    <a:pt x="52" y="48"/>
                  </a:lnTo>
                  <a:lnTo>
                    <a:pt x="52" y="52"/>
                  </a:lnTo>
                  <a:lnTo>
                    <a:pt x="56" y="52"/>
                  </a:lnTo>
                  <a:lnTo>
                    <a:pt x="56" y="56"/>
                  </a:lnTo>
                  <a:lnTo>
                    <a:pt x="60" y="56"/>
                  </a:lnTo>
                  <a:lnTo>
                    <a:pt x="60" y="60"/>
                  </a:lnTo>
                  <a:lnTo>
                    <a:pt x="62" y="60"/>
                  </a:lnTo>
                  <a:lnTo>
                    <a:pt x="62" y="64"/>
                  </a:lnTo>
                  <a:lnTo>
                    <a:pt x="66" y="64"/>
                  </a:lnTo>
                  <a:lnTo>
                    <a:pt x="66" y="68"/>
                  </a:lnTo>
                  <a:lnTo>
                    <a:pt x="66" y="72"/>
                  </a:lnTo>
                  <a:lnTo>
                    <a:pt x="70" y="72"/>
                  </a:lnTo>
                  <a:lnTo>
                    <a:pt x="70" y="74"/>
                  </a:lnTo>
                  <a:lnTo>
                    <a:pt x="74" y="74"/>
                  </a:lnTo>
                  <a:lnTo>
                    <a:pt x="74" y="78"/>
                  </a:lnTo>
                  <a:lnTo>
                    <a:pt x="78" y="82"/>
                  </a:lnTo>
                  <a:lnTo>
                    <a:pt x="78" y="86"/>
                  </a:lnTo>
                  <a:lnTo>
                    <a:pt x="78" y="90"/>
                  </a:lnTo>
                  <a:lnTo>
                    <a:pt x="78" y="94"/>
                  </a:lnTo>
                  <a:lnTo>
                    <a:pt x="82" y="94"/>
                  </a:lnTo>
                  <a:lnTo>
                    <a:pt x="86" y="98"/>
                  </a:lnTo>
                  <a:lnTo>
                    <a:pt x="86" y="102"/>
                  </a:lnTo>
                  <a:lnTo>
                    <a:pt x="90" y="104"/>
                  </a:lnTo>
                  <a:lnTo>
                    <a:pt x="90" y="108"/>
                  </a:lnTo>
                  <a:lnTo>
                    <a:pt x="90" y="112"/>
                  </a:lnTo>
                  <a:lnTo>
                    <a:pt x="92" y="112"/>
                  </a:lnTo>
                  <a:lnTo>
                    <a:pt x="92" y="116"/>
                  </a:lnTo>
                  <a:lnTo>
                    <a:pt x="92" y="112"/>
                  </a:lnTo>
                  <a:lnTo>
                    <a:pt x="92" y="108"/>
                  </a:lnTo>
                  <a:lnTo>
                    <a:pt x="92" y="112"/>
                  </a:lnTo>
                  <a:lnTo>
                    <a:pt x="96" y="112"/>
                  </a:lnTo>
                  <a:lnTo>
                    <a:pt x="96" y="116"/>
                  </a:lnTo>
                  <a:lnTo>
                    <a:pt x="96" y="120"/>
                  </a:lnTo>
                  <a:lnTo>
                    <a:pt x="96" y="124"/>
                  </a:lnTo>
                  <a:lnTo>
                    <a:pt x="96" y="128"/>
                  </a:lnTo>
                  <a:lnTo>
                    <a:pt x="100" y="128"/>
                  </a:lnTo>
                  <a:lnTo>
                    <a:pt x="100" y="132"/>
                  </a:lnTo>
                  <a:lnTo>
                    <a:pt x="104" y="134"/>
                  </a:lnTo>
                  <a:lnTo>
                    <a:pt x="104" y="138"/>
                  </a:lnTo>
                  <a:lnTo>
                    <a:pt x="104" y="142"/>
                  </a:lnTo>
                  <a:lnTo>
                    <a:pt x="106" y="142"/>
                  </a:lnTo>
                  <a:lnTo>
                    <a:pt x="106" y="146"/>
                  </a:lnTo>
                  <a:lnTo>
                    <a:pt x="106" y="150"/>
                  </a:lnTo>
                  <a:lnTo>
                    <a:pt x="106" y="154"/>
                  </a:lnTo>
                  <a:lnTo>
                    <a:pt x="106" y="158"/>
                  </a:lnTo>
                  <a:lnTo>
                    <a:pt x="110" y="158"/>
                  </a:lnTo>
                  <a:lnTo>
                    <a:pt x="114" y="158"/>
                  </a:lnTo>
                  <a:lnTo>
                    <a:pt x="110" y="158"/>
                  </a:lnTo>
                  <a:lnTo>
                    <a:pt x="110" y="154"/>
                  </a:lnTo>
                  <a:lnTo>
                    <a:pt x="114" y="154"/>
                  </a:lnTo>
                  <a:lnTo>
                    <a:pt x="114" y="158"/>
                  </a:lnTo>
                  <a:lnTo>
                    <a:pt x="118" y="158"/>
                  </a:lnTo>
                  <a:lnTo>
                    <a:pt x="118" y="160"/>
                  </a:lnTo>
                  <a:lnTo>
                    <a:pt x="118" y="164"/>
                  </a:lnTo>
                  <a:lnTo>
                    <a:pt x="122" y="164"/>
                  </a:lnTo>
                  <a:lnTo>
                    <a:pt x="122" y="168"/>
                  </a:lnTo>
                  <a:lnTo>
                    <a:pt x="126" y="168"/>
                  </a:lnTo>
                  <a:lnTo>
                    <a:pt x="126" y="172"/>
                  </a:lnTo>
                  <a:lnTo>
                    <a:pt x="126" y="176"/>
                  </a:lnTo>
                  <a:lnTo>
                    <a:pt x="122" y="176"/>
                  </a:lnTo>
                  <a:lnTo>
                    <a:pt x="122" y="180"/>
                  </a:lnTo>
                  <a:lnTo>
                    <a:pt x="118" y="180"/>
                  </a:lnTo>
                  <a:lnTo>
                    <a:pt x="114" y="180"/>
                  </a:lnTo>
                  <a:lnTo>
                    <a:pt x="114" y="176"/>
                  </a:lnTo>
                  <a:lnTo>
                    <a:pt x="114" y="172"/>
                  </a:lnTo>
                  <a:lnTo>
                    <a:pt x="110" y="168"/>
                  </a:lnTo>
                  <a:lnTo>
                    <a:pt x="106" y="164"/>
                  </a:lnTo>
                  <a:lnTo>
                    <a:pt x="104" y="160"/>
                  </a:lnTo>
                  <a:lnTo>
                    <a:pt x="104" y="158"/>
                  </a:lnTo>
                  <a:lnTo>
                    <a:pt x="100" y="158"/>
                  </a:lnTo>
                  <a:lnTo>
                    <a:pt x="96" y="154"/>
                  </a:lnTo>
                  <a:lnTo>
                    <a:pt x="96" y="154"/>
                  </a:lnTo>
                  <a:lnTo>
                    <a:pt x="96" y="154"/>
                  </a:lnTo>
                  <a:close/>
                  <a:moveTo>
                    <a:pt x="106" y="142"/>
                  </a:moveTo>
                  <a:lnTo>
                    <a:pt x="110" y="146"/>
                  </a:lnTo>
                  <a:lnTo>
                    <a:pt x="106" y="146"/>
                  </a:lnTo>
                  <a:lnTo>
                    <a:pt x="106" y="142"/>
                  </a:lnTo>
                  <a:lnTo>
                    <a:pt x="106" y="142"/>
                  </a:lnTo>
                  <a:lnTo>
                    <a:pt x="106" y="142"/>
                  </a:lnTo>
                  <a:close/>
                  <a:moveTo>
                    <a:pt x="86" y="138"/>
                  </a:moveTo>
                  <a:lnTo>
                    <a:pt x="90" y="138"/>
                  </a:lnTo>
                  <a:lnTo>
                    <a:pt x="86" y="138"/>
                  </a:lnTo>
                  <a:lnTo>
                    <a:pt x="86" y="142"/>
                  </a:lnTo>
                  <a:lnTo>
                    <a:pt x="86" y="146"/>
                  </a:lnTo>
                  <a:lnTo>
                    <a:pt x="90" y="150"/>
                  </a:lnTo>
                  <a:lnTo>
                    <a:pt x="86" y="150"/>
                  </a:lnTo>
                  <a:lnTo>
                    <a:pt x="86" y="146"/>
                  </a:lnTo>
                  <a:lnTo>
                    <a:pt x="86" y="142"/>
                  </a:lnTo>
                  <a:lnTo>
                    <a:pt x="86" y="138"/>
                  </a:lnTo>
                  <a:lnTo>
                    <a:pt x="86" y="138"/>
                  </a:lnTo>
                  <a:lnTo>
                    <a:pt x="86" y="138"/>
                  </a:lnTo>
                  <a:close/>
                  <a:moveTo>
                    <a:pt x="104" y="254"/>
                  </a:moveTo>
                  <a:lnTo>
                    <a:pt x="100" y="254"/>
                  </a:lnTo>
                  <a:lnTo>
                    <a:pt x="104" y="254"/>
                  </a:lnTo>
                  <a:lnTo>
                    <a:pt x="104" y="250"/>
                  </a:lnTo>
                  <a:lnTo>
                    <a:pt x="104" y="254"/>
                  </a:lnTo>
                  <a:lnTo>
                    <a:pt x="104" y="254"/>
                  </a:lnTo>
                  <a:lnTo>
                    <a:pt x="104" y="254"/>
                  </a:lnTo>
                  <a:close/>
                  <a:moveTo>
                    <a:pt x="74" y="72"/>
                  </a:moveTo>
                  <a:lnTo>
                    <a:pt x="70" y="72"/>
                  </a:lnTo>
                  <a:lnTo>
                    <a:pt x="70" y="68"/>
                  </a:lnTo>
                  <a:lnTo>
                    <a:pt x="66" y="64"/>
                  </a:lnTo>
                  <a:lnTo>
                    <a:pt x="66" y="60"/>
                  </a:lnTo>
                  <a:lnTo>
                    <a:pt x="70" y="60"/>
                  </a:lnTo>
                  <a:lnTo>
                    <a:pt x="70" y="64"/>
                  </a:lnTo>
                  <a:lnTo>
                    <a:pt x="70" y="68"/>
                  </a:lnTo>
                  <a:lnTo>
                    <a:pt x="74" y="68"/>
                  </a:lnTo>
                  <a:lnTo>
                    <a:pt x="74" y="72"/>
                  </a:lnTo>
                  <a:lnTo>
                    <a:pt x="74" y="72"/>
                  </a:lnTo>
                  <a:lnTo>
                    <a:pt x="74" y="72"/>
                  </a:lnTo>
                  <a:close/>
                  <a:moveTo>
                    <a:pt x="86" y="74"/>
                  </a:moveTo>
                  <a:lnTo>
                    <a:pt x="82" y="74"/>
                  </a:lnTo>
                  <a:lnTo>
                    <a:pt x="82" y="72"/>
                  </a:lnTo>
                  <a:lnTo>
                    <a:pt x="82" y="68"/>
                  </a:lnTo>
                  <a:lnTo>
                    <a:pt x="86" y="68"/>
                  </a:lnTo>
                  <a:lnTo>
                    <a:pt x="86" y="72"/>
                  </a:lnTo>
                  <a:lnTo>
                    <a:pt x="86" y="74"/>
                  </a:lnTo>
                  <a:lnTo>
                    <a:pt x="86" y="74"/>
                  </a:lnTo>
                  <a:lnTo>
                    <a:pt x="86" y="74"/>
                  </a:lnTo>
                  <a:close/>
                  <a:moveTo>
                    <a:pt x="0" y="72"/>
                  </a:moveTo>
                  <a:lnTo>
                    <a:pt x="0" y="68"/>
                  </a:lnTo>
                  <a:lnTo>
                    <a:pt x="0" y="72"/>
                  </a:lnTo>
                  <a:lnTo>
                    <a:pt x="0" y="72"/>
                  </a:lnTo>
                  <a:lnTo>
                    <a:pt x="0" y="72"/>
                  </a:lnTo>
                  <a:close/>
                  <a:moveTo>
                    <a:pt x="44" y="90"/>
                  </a:moveTo>
                  <a:lnTo>
                    <a:pt x="44" y="86"/>
                  </a:lnTo>
                  <a:lnTo>
                    <a:pt x="40" y="86"/>
                  </a:lnTo>
                  <a:lnTo>
                    <a:pt x="44" y="86"/>
                  </a:lnTo>
                  <a:lnTo>
                    <a:pt x="44" y="82"/>
                  </a:lnTo>
                  <a:lnTo>
                    <a:pt x="44" y="86"/>
                  </a:lnTo>
                  <a:lnTo>
                    <a:pt x="44" y="90"/>
                  </a:lnTo>
                  <a:lnTo>
                    <a:pt x="44" y="90"/>
                  </a:lnTo>
                  <a:lnTo>
                    <a:pt x="44" y="90"/>
                  </a:lnTo>
                  <a:close/>
                  <a:moveTo>
                    <a:pt x="100" y="128"/>
                  </a:moveTo>
                  <a:lnTo>
                    <a:pt x="100" y="124"/>
                  </a:lnTo>
                  <a:lnTo>
                    <a:pt x="100" y="128"/>
                  </a:lnTo>
                  <a:lnTo>
                    <a:pt x="100" y="128"/>
                  </a:lnTo>
                  <a:lnTo>
                    <a:pt x="100" y="128"/>
                  </a:lnTo>
                  <a:close/>
                  <a:moveTo>
                    <a:pt x="110" y="154"/>
                  </a:moveTo>
                  <a:lnTo>
                    <a:pt x="110" y="150"/>
                  </a:lnTo>
                  <a:lnTo>
                    <a:pt x="110" y="154"/>
                  </a:lnTo>
                  <a:lnTo>
                    <a:pt x="110" y="154"/>
                  </a:lnTo>
                  <a:lnTo>
                    <a:pt x="110" y="154"/>
                  </a:lnTo>
                  <a:close/>
                  <a:moveTo>
                    <a:pt x="92" y="154"/>
                  </a:moveTo>
                  <a:lnTo>
                    <a:pt x="90" y="154"/>
                  </a:lnTo>
                  <a:lnTo>
                    <a:pt x="90" y="150"/>
                  </a:lnTo>
                  <a:lnTo>
                    <a:pt x="92" y="150"/>
                  </a:lnTo>
                  <a:lnTo>
                    <a:pt x="92" y="154"/>
                  </a:lnTo>
                  <a:lnTo>
                    <a:pt x="92" y="154"/>
                  </a:lnTo>
                  <a:lnTo>
                    <a:pt x="92" y="154"/>
                  </a:lnTo>
                  <a:close/>
                  <a:moveTo>
                    <a:pt x="118" y="158"/>
                  </a:moveTo>
                  <a:lnTo>
                    <a:pt x="118" y="154"/>
                  </a:lnTo>
                  <a:lnTo>
                    <a:pt x="118" y="158"/>
                  </a:lnTo>
                  <a:lnTo>
                    <a:pt x="118" y="158"/>
                  </a:lnTo>
                  <a:lnTo>
                    <a:pt x="118" y="158"/>
                  </a:lnTo>
                  <a:close/>
                  <a:moveTo>
                    <a:pt x="162" y="206"/>
                  </a:moveTo>
                  <a:lnTo>
                    <a:pt x="162" y="202"/>
                  </a:lnTo>
                  <a:lnTo>
                    <a:pt x="166" y="202"/>
                  </a:lnTo>
                  <a:lnTo>
                    <a:pt x="166" y="206"/>
                  </a:lnTo>
                  <a:lnTo>
                    <a:pt x="162" y="206"/>
                  </a:lnTo>
                  <a:lnTo>
                    <a:pt x="162" y="206"/>
                  </a:lnTo>
                  <a:lnTo>
                    <a:pt x="162" y="206"/>
                  </a:lnTo>
                  <a:close/>
                  <a:moveTo>
                    <a:pt x="166" y="206"/>
                  </a:moveTo>
                  <a:lnTo>
                    <a:pt x="170" y="206"/>
                  </a:lnTo>
                  <a:lnTo>
                    <a:pt x="166" y="206"/>
                  </a:lnTo>
                  <a:lnTo>
                    <a:pt x="166" y="206"/>
                  </a:lnTo>
                  <a:lnTo>
                    <a:pt x="166" y="206"/>
                  </a:lnTo>
                  <a:close/>
                  <a:moveTo>
                    <a:pt x="442" y="228"/>
                  </a:moveTo>
                  <a:lnTo>
                    <a:pt x="442" y="224"/>
                  </a:lnTo>
                  <a:lnTo>
                    <a:pt x="442" y="220"/>
                  </a:lnTo>
                  <a:lnTo>
                    <a:pt x="446" y="220"/>
                  </a:lnTo>
                  <a:lnTo>
                    <a:pt x="446" y="224"/>
                  </a:lnTo>
                  <a:lnTo>
                    <a:pt x="442" y="224"/>
                  </a:lnTo>
                  <a:lnTo>
                    <a:pt x="442" y="228"/>
                  </a:lnTo>
                  <a:lnTo>
                    <a:pt x="442" y="228"/>
                  </a:lnTo>
                  <a:lnTo>
                    <a:pt x="442" y="228"/>
                  </a:lnTo>
                  <a:close/>
                  <a:moveTo>
                    <a:pt x="376" y="254"/>
                  </a:moveTo>
                  <a:lnTo>
                    <a:pt x="372" y="254"/>
                  </a:lnTo>
                  <a:lnTo>
                    <a:pt x="376" y="254"/>
                  </a:lnTo>
                  <a:lnTo>
                    <a:pt x="380" y="254"/>
                  </a:lnTo>
                  <a:lnTo>
                    <a:pt x="376" y="254"/>
                  </a:lnTo>
                  <a:lnTo>
                    <a:pt x="376" y="254"/>
                  </a:lnTo>
                  <a:lnTo>
                    <a:pt x="376" y="25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86" name="Freeform 79"/>
            <p:cNvSpPr>
              <a:spLocks noEditPoints="1"/>
            </p:cNvSpPr>
            <p:nvPr/>
          </p:nvSpPr>
          <p:spPr bwMode="auto">
            <a:xfrm>
              <a:off x="6427375" y="4021839"/>
              <a:ext cx="6280" cy="2615"/>
            </a:xfrm>
            <a:custGeom>
              <a:avLst/>
              <a:gdLst>
                <a:gd name="T0" fmla="*/ 4 w 10"/>
                <a:gd name="T1" fmla="*/ 4 h 4"/>
                <a:gd name="T2" fmla="*/ 4 w 10"/>
                <a:gd name="T3" fmla="*/ 4 h 4"/>
                <a:gd name="T4" fmla="*/ 4 w 10"/>
                <a:gd name="T5" fmla="*/ 4 h 4"/>
                <a:gd name="T6" fmla="*/ 4 w 10"/>
                <a:gd name="T7" fmla="*/ 4 h 4"/>
                <a:gd name="T8" fmla="*/ 0 w 10"/>
                <a:gd name="T9" fmla="*/ 4 h 4"/>
                <a:gd name="T10" fmla="*/ 0 w 10"/>
                <a:gd name="T11" fmla="*/ 0 h 4"/>
                <a:gd name="T12" fmla="*/ 0 w 10"/>
                <a:gd name="T13" fmla="*/ 0 h 4"/>
                <a:gd name="T14" fmla="*/ 0 w 10"/>
                <a:gd name="T15" fmla="*/ 0 h 4"/>
                <a:gd name="T16" fmla="*/ 0 w 10"/>
                <a:gd name="T17" fmla="*/ 0 h 4"/>
                <a:gd name="T18" fmla="*/ 0 w 10"/>
                <a:gd name="T19" fmla="*/ 0 h 4"/>
                <a:gd name="T20" fmla="*/ 0 w 10"/>
                <a:gd name="T21" fmla="*/ 0 h 4"/>
                <a:gd name="T22" fmla="*/ 0 w 10"/>
                <a:gd name="T23" fmla="*/ 0 h 4"/>
                <a:gd name="T24" fmla="*/ 0 w 10"/>
                <a:gd name="T25" fmla="*/ 0 h 4"/>
                <a:gd name="T26" fmla="*/ 0 w 10"/>
                <a:gd name="T27" fmla="*/ 0 h 4"/>
                <a:gd name="T28" fmla="*/ 0 w 10"/>
                <a:gd name="T29" fmla="*/ 0 h 4"/>
                <a:gd name="T30" fmla="*/ 0 w 10"/>
                <a:gd name="T31" fmla="*/ 0 h 4"/>
                <a:gd name="T32" fmla="*/ 0 w 10"/>
                <a:gd name="T33" fmla="*/ 0 h 4"/>
                <a:gd name="T34" fmla="*/ 0 w 10"/>
                <a:gd name="T35" fmla="*/ 0 h 4"/>
                <a:gd name="T36" fmla="*/ 0 w 10"/>
                <a:gd name="T37" fmla="*/ 0 h 4"/>
                <a:gd name="T38" fmla="*/ 0 w 10"/>
                <a:gd name="T39" fmla="*/ 0 h 4"/>
                <a:gd name="T40" fmla="*/ 0 w 10"/>
                <a:gd name="T41" fmla="*/ 0 h 4"/>
                <a:gd name="T42" fmla="*/ 0 w 10"/>
                <a:gd name="T43" fmla="*/ 0 h 4"/>
                <a:gd name="T44" fmla="*/ 4 w 10"/>
                <a:gd name="T45" fmla="*/ 0 h 4"/>
                <a:gd name="T46" fmla="*/ 4 w 10"/>
                <a:gd name="T47" fmla="*/ 0 h 4"/>
                <a:gd name="T48" fmla="*/ 4 w 10"/>
                <a:gd name="T49" fmla="*/ 4 h 4"/>
                <a:gd name="T50" fmla="*/ 4 w 10"/>
                <a:gd name="T51" fmla="*/ 4 h 4"/>
                <a:gd name="T52" fmla="*/ 4 w 10"/>
                <a:gd name="T53" fmla="*/ 4 h 4"/>
                <a:gd name="T54" fmla="*/ 4 w 10"/>
                <a:gd name="T55" fmla="*/ 4 h 4"/>
                <a:gd name="T56" fmla="*/ 4 w 10"/>
                <a:gd name="T57" fmla="*/ 4 h 4"/>
                <a:gd name="T58" fmla="*/ 4 w 10"/>
                <a:gd name="T59" fmla="*/ 4 h 4"/>
                <a:gd name="T60" fmla="*/ 4 w 10"/>
                <a:gd name="T61" fmla="*/ 4 h 4"/>
                <a:gd name="T62" fmla="*/ 10 w 10"/>
                <a:gd name="T63" fmla="*/ 4 h 4"/>
                <a:gd name="T64" fmla="*/ 10 w 10"/>
                <a:gd name="T65" fmla="*/ 4 h 4"/>
                <a:gd name="T66" fmla="*/ 10 w 10"/>
                <a:gd name="T67" fmla="*/ 4 h 4"/>
                <a:gd name="T68" fmla="*/ 10 w 10"/>
                <a:gd name="T69" fmla="*/ 4 h 4"/>
                <a:gd name="T70" fmla="*/ 10 w 10"/>
                <a:gd name="T71" fmla="*/ 4 h 4"/>
                <a:gd name="T72" fmla="*/ 10 w 10"/>
                <a:gd name="T73" fmla="*/ 4 h 4"/>
                <a:gd name="T74" fmla="*/ 10 w 10"/>
                <a:gd name="T75" fmla="*/ 4 h 4"/>
                <a:gd name="T76" fmla="*/ 10 w 10"/>
                <a:gd name="T77" fmla="*/ 4 h 4"/>
                <a:gd name="T78" fmla="*/ 10 w 10"/>
                <a:gd name="T79" fmla="*/ 0 h 4"/>
                <a:gd name="T80" fmla="*/ 10 w 10"/>
                <a:gd name="T81" fmla="*/ 0 h 4"/>
                <a:gd name="T82" fmla="*/ 10 w 10"/>
                <a:gd name="T83" fmla="*/ 0 h 4"/>
                <a:gd name="T84" fmla="*/ 10 w 10"/>
                <a:gd name="T85" fmla="*/ 0 h 4"/>
                <a:gd name="T86" fmla="*/ 10 w 10"/>
                <a:gd name="T87" fmla="*/ 0 h 4"/>
                <a:gd name="T88" fmla="*/ 8 w 10"/>
                <a:gd name="T89" fmla="*/ 0 h 4"/>
                <a:gd name="T90" fmla="*/ 8 w 10"/>
                <a:gd name="T91" fmla="*/ 0 h 4"/>
                <a:gd name="T92" fmla="*/ 8 w 10"/>
                <a:gd name="T93" fmla="*/ 0 h 4"/>
                <a:gd name="T94" fmla="*/ 8 w 10"/>
                <a:gd name="T95" fmla="*/ 0 h 4"/>
                <a:gd name="T96" fmla="*/ 8 w 10"/>
                <a:gd name="T97" fmla="*/ 0 h 4"/>
                <a:gd name="T98" fmla="*/ 8 w 10"/>
                <a:gd name="T99" fmla="*/ 0 h 4"/>
                <a:gd name="T100" fmla="*/ 10 w 10"/>
                <a:gd name="T101" fmla="*/ 0 h 4"/>
                <a:gd name="T102" fmla="*/ 10 w 10"/>
                <a:gd name="T103" fmla="*/ 0 h 4"/>
                <a:gd name="T104" fmla="*/ 10 w 10"/>
                <a:gd name="T105" fmla="*/ 0 h 4"/>
                <a:gd name="T106" fmla="*/ 10 w 10"/>
                <a:gd name="T107" fmla="*/ 4 h 4"/>
                <a:gd name="T108" fmla="*/ 10 w 10"/>
                <a:gd name="T109" fmla="*/ 4 h 4"/>
                <a:gd name="T110" fmla="*/ 10 w 10"/>
                <a:gd name="T111" fmla="*/ 4 h 4"/>
                <a:gd name="T112" fmla="*/ 10 w 10"/>
                <a:gd name="T113" fmla="*/ 4 h 4"/>
                <a:gd name="T114" fmla="*/ 10 w 10"/>
                <a:gd name="T115" fmla="*/ 4 h 4"/>
                <a:gd name="T116" fmla="*/ 10 w 10"/>
                <a:gd name="T1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 h="4">
                  <a:moveTo>
                    <a:pt x="4" y="4"/>
                  </a:moveTo>
                  <a:lnTo>
                    <a:pt x="4" y="4"/>
                  </a:lnTo>
                  <a:lnTo>
                    <a:pt x="4" y="4"/>
                  </a:lnTo>
                  <a:lnTo>
                    <a:pt x="4"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4" y="0"/>
                  </a:lnTo>
                  <a:lnTo>
                    <a:pt x="4" y="0"/>
                  </a:lnTo>
                  <a:lnTo>
                    <a:pt x="4" y="4"/>
                  </a:lnTo>
                  <a:lnTo>
                    <a:pt x="4" y="4"/>
                  </a:lnTo>
                  <a:lnTo>
                    <a:pt x="4" y="4"/>
                  </a:lnTo>
                  <a:lnTo>
                    <a:pt x="4" y="4"/>
                  </a:lnTo>
                  <a:lnTo>
                    <a:pt x="4" y="4"/>
                  </a:lnTo>
                  <a:lnTo>
                    <a:pt x="4" y="4"/>
                  </a:lnTo>
                  <a:lnTo>
                    <a:pt x="4" y="4"/>
                  </a:lnTo>
                  <a:close/>
                  <a:moveTo>
                    <a:pt x="10" y="4"/>
                  </a:moveTo>
                  <a:lnTo>
                    <a:pt x="10" y="4"/>
                  </a:lnTo>
                  <a:lnTo>
                    <a:pt x="10" y="4"/>
                  </a:lnTo>
                  <a:lnTo>
                    <a:pt x="10" y="4"/>
                  </a:lnTo>
                  <a:lnTo>
                    <a:pt x="10" y="4"/>
                  </a:lnTo>
                  <a:lnTo>
                    <a:pt x="10" y="4"/>
                  </a:lnTo>
                  <a:lnTo>
                    <a:pt x="10" y="4"/>
                  </a:lnTo>
                  <a:lnTo>
                    <a:pt x="10" y="4"/>
                  </a:lnTo>
                  <a:lnTo>
                    <a:pt x="10" y="0"/>
                  </a:lnTo>
                  <a:lnTo>
                    <a:pt x="10" y="0"/>
                  </a:lnTo>
                  <a:lnTo>
                    <a:pt x="10" y="0"/>
                  </a:lnTo>
                  <a:lnTo>
                    <a:pt x="10" y="0"/>
                  </a:lnTo>
                  <a:lnTo>
                    <a:pt x="10" y="0"/>
                  </a:lnTo>
                  <a:lnTo>
                    <a:pt x="8" y="0"/>
                  </a:lnTo>
                  <a:lnTo>
                    <a:pt x="8" y="0"/>
                  </a:lnTo>
                  <a:lnTo>
                    <a:pt x="8" y="0"/>
                  </a:lnTo>
                  <a:lnTo>
                    <a:pt x="8" y="0"/>
                  </a:lnTo>
                  <a:lnTo>
                    <a:pt x="8" y="0"/>
                  </a:lnTo>
                  <a:lnTo>
                    <a:pt x="8" y="0"/>
                  </a:lnTo>
                  <a:lnTo>
                    <a:pt x="10" y="0"/>
                  </a:lnTo>
                  <a:lnTo>
                    <a:pt x="10" y="0"/>
                  </a:lnTo>
                  <a:lnTo>
                    <a:pt x="10" y="0"/>
                  </a:lnTo>
                  <a:lnTo>
                    <a:pt x="10" y="4"/>
                  </a:lnTo>
                  <a:lnTo>
                    <a:pt x="10" y="4"/>
                  </a:lnTo>
                  <a:lnTo>
                    <a:pt x="10" y="4"/>
                  </a:lnTo>
                  <a:lnTo>
                    <a:pt x="10" y="4"/>
                  </a:lnTo>
                  <a:lnTo>
                    <a:pt x="10" y="4"/>
                  </a:lnTo>
                  <a:lnTo>
                    <a:pt x="10" y="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87" name="Freeform 80"/>
            <p:cNvSpPr>
              <a:spLocks/>
            </p:cNvSpPr>
            <p:nvPr/>
          </p:nvSpPr>
          <p:spPr bwMode="auto">
            <a:xfrm>
              <a:off x="6260332" y="3990457"/>
              <a:ext cx="42703" cy="49688"/>
            </a:xfrm>
            <a:custGeom>
              <a:avLst/>
              <a:gdLst>
                <a:gd name="T0" fmla="*/ 64 w 68"/>
                <a:gd name="T1" fmla="*/ 4 h 76"/>
                <a:gd name="T2" fmla="*/ 64 w 68"/>
                <a:gd name="T3" fmla="*/ 8 h 76"/>
                <a:gd name="T4" fmla="*/ 64 w 68"/>
                <a:gd name="T5" fmla="*/ 12 h 76"/>
                <a:gd name="T6" fmla="*/ 64 w 68"/>
                <a:gd name="T7" fmla="*/ 20 h 76"/>
                <a:gd name="T8" fmla="*/ 60 w 68"/>
                <a:gd name="T9" fmla="*/ 24 h 76"/>
                <a:gd name="T10" fmla="*/ 60 w 68"/>
                <a:gd name="T11" fmla="*/ 30 h 76"/>
                <a:gd name="T12" fmla="*/ 60 w 68"/>
                <a:gd name="T13" fmla="*/ 34 h 76"/>
                <a:gd name="T14" fmla="*/ 60 w 68"/>
                <a:gd name="T15" fmla="*/ 42 h 76"/>
                <a:gd name="T16" fmla="*/ 60 w 68"/>
                <a:gd name="T17" fmla="*/ 46 h 76"/>
                <a:gd name="T18" fmla="*/ 60 w 68"/>
                <a:gd name="T19" fmla="*/ 46 h 76"/>
                <a:gd name="T20" fmla="*/ 60 w 68"/>
                <a:gd name="T21" fmla="*/ 46 h 76"/>
                <a:gd name="T22" fmla="*/ 60 w 68"/>
                <a:gd name="T23" fmla="*/ 42 h 76"/>
                <a:gd name="T24" fmla="*/ 56 w 68"/>
                <a:gd name="T25" fmla="*/ 46 h 76"/>
                <a:gd name="T26" fmla="*/ 56 w 68"/>
                <a:gd name="T27" fmla="*/ 54 h 76"/>
                <a:gd name="T28" fmla="*/ 56 w 68"/>
                <a:gd name="T29" fmla="*/ 58 h 76"/>
                <a:gd name="T30" fmla="*/ 56 w 68"/>
                <a:gd name="T31" fmla="*/ 58 h 76"/>
                <a:gd name="T32" fmla="*/ 60 w 68"/>
                <a:gd name="T33" fmla="*/ 60 h 76"/>
                <a:gd name="T34" fmla="*/ 56 w 68"/>
                <a:gd name="T35" fmla="*/ 64 h 76"/>
                <a:gd name="T36" fmla="*/ 56 w 68"/>
                <a:gd name="T37" fmla="*/ 68 h 76"/>
                <a:gd name="T38" fmla="*/ 56 w 68"/>
                <a:gd name="T39" fmla="*/ 72 h 76"/>
                <a:gd name="T40" fmla="*/ 60 w 68"/>
                <a:gd name="T41" fmla="*/ 76 h 76"/>
                <a:gd name="T42" fmla="*/ 56 w 68"/>
                <a:gd name="T43" fmla="*/ 76 h 76"/>
                <a:gd name="T44" fmla="*/ 52 w 68"/>
                <a:gd name="T45" fmla="*/ 76 h 76"/>
                <a:gd name="T46" fmla="*/ 48 w 68"/>
                <a:gd name="T47" fmla="*/ 76 h 76"/>
                <a:gd name="T48" fmla="*/ 38 w 68"/>
                <a:gd name="T49" fmla="*/ 72 h 76"/>
                <a:gd name="T50" fmla="*/ 38 w 68"/>
                <a:gd name="T51" fmla="*/ 72 h 76"/>
                <a:gd name="T52" fmla="*/ 30 w 68"/>
                <a:gd name="T53" fmla="*/ 68 h 76"/>
                <a:gd name="T54" fmla="*/ 26 w 68"/>
                <a:gd name="T55" fmla="*/ 68 h 76"/>
                <a:gd name="T56" fmla="*/ 22 w 68"/>
                <a:gd name="T57" fmla="*/ 64 h 76"/>
                <a:gd name="T58" fmla="*/ 20 w 68"/>
                <a:gd name="T59" fmla="*/ 58 h 76"/>
                <a:gd name="T60" fmla="*/ 16 w 68"/>
                <a:gd name="T61" fmla="*/ 54 h 76"/>
                <a:gd name="T62" fmla="*/ 16 w 68"/>
                <a:gd name="T63" fmla="*/ 50 h 76"/>
                <a:gd name="T64" fmla="*/ 12 w 68"/>
                <a:gd name="T65" fmla="*/ 46 h 76"/>
                <a:gd name="T66" fmla="*/ 4 w 68"/>
                <a:gd name="T67" fmla="*/ 42 h 76"/>
                <a:gd name="T68" fmla="*/ 0 w 68"/>
                <a:gd name="T69" fmla="*/ 38 h 76"/>
                <a:gd name="T70" fmla="*/ 4 w 68"/>
                <a:gd name="T71" fmla="*/ 38 h 76"/>
                <a:gd name="T72" fmla="*/ 8 w 68"/>
                <a:gd name="T73" fmla="*/ 38 h 76"/>
                <a:gd name="T74" fmla="*/ 12 w 68"/>
                <a:gd name="T75" fmla="*/ 38 h 76"/>
                <a:gd name="T76" fmla="*/ 12 w 68"/>
                <a:gd name="T77" fmla="*/ 34 h 76"/>
                <a:gd name="T78" fmla="*/ 16 w 68"/>
                <a:gd name="T79" fmla="*/ 30 h 76"/>
                <a:gd name="T80" fmla="*/ 16 w 68"/>
                <a:gd name="T81" fmla="*/ 30 h 76"/>
                <a:gd name="T82" fmla="*/ 16 w 68"/>
                <a:gd name="T83" fmla="*/ 24 h 76"/>
                <a:gd name="T84" fmla="*/ 22 w 68"/>
                <a:gd name="T85" fmla="*/ 20 h 76"/>
                <a:gd name="T86" fmla="*/ 26 w 68"/>
                <a:gd name="T87" fmla="*/ 20 h 76"/>
                <a:gd name="T88" fmla="*/ 30 w 68"/>
                <a:gd name="T89" fmla="*/ 24 h 76"/>
                <a:gd name="T90" fmla="*/ 34 w 68"/>
                <a:gd name="T91" fmla="*/ 16 h 76"/>
                <a:gd name="T92" fmla="*/ 34 w 68"/>
                <a:gd name="T93" fmla="*/ 16 h 76"/>
                <a:gd name="T94" fmla="*/ 38 w 68"/>
                <a:gd name="T95" fmla="*/ 12 h 76"/>
                <a:gd name="T96" fmla="*/ 38 w 68"/>
                <a:gd name="T97" fmla="*/ 12 h 76"/>
                <a:gd name="T98" fmla="*/ 38 w 68"/>
                <a:gd name="T99" fmla="*/ 8 h 76"/>
                <a:gd name="T100" fmla="*/ 46 w 68"/>
                <a:gd name="T101" fmla="*/ 8 h 76"/>
                <a:gd name="T102" fmla="*/ 52 w 68"/>
                <a:gd name="T103" fmla="*/ 8 h 76"/>
                <a:gd name="T104" fmla="*/ 60 w 68"/>
                <a:gd name="T105" fmla="*/ 4 h 76"/>
                <a:gd name="T106" fmla="*/ 64 w 68"/>
                <a:gd name="T10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76">
                  <a:moveTo>
                    <a:pt x="68" y="0"/>
                  </a:moveTo>
                  <a:lnTo>
                    <a:pt x="64" y="4"/>
                  </a:lnTo>
                  <a:lnTo>
                    <a:pt x="64" y="4"/>
                  </a:lnTo>
                  <a:lnTo>
                    <a:pt x="64" y="4"/>
                  </a:lnTo>
                  <a:lnTo>
                    <a:pt x="64" y="4"/>
                  </a:lnTo>
                  <a:lnTo>
                    <a:pt x="64" y="4"/>
                  </a:lnTo>
                  <a:lnTo>
                    <a:pt x="60" y="4"/>
                  </a:lnTo>
                  <a:lnTo>
                    <a:pt x="64" y="8"/>
                  </a:lnTo>
                  <a:lnTo>
                    <a:pt x="64" y="8"/>
                  </a:lnTo>
                  <a:lnTo>
                    <a:pt x="64" y="8"/>
                  </a:lnTo>
                  <a:lnTo>
                    <a:pt x="64" y="8"/>
                  </a:lnTo>
                  <a:lnTo>
                    <a:pt x="64" y="8"/>
                  </a:lnTo>
                  <a:lnTo>
                    <a:pt x="64" y="12"/>
                  </a:lnTo>
                  <a:lnTo>
                    <a:pt x="64" y="12"/>
                  </a:lnTo>
                  <a:lnTo>
                    <a:pt x="64" y="12"/>
                  </a:lnTo>
                  <a:lnTo>
                    <a:pt x="64" y="16"/>
                  </a:lnTo>
                  <a:lnTo>
                    <a:pt x="64" y="16"/>
                  </a:lnTo>
                  <a:lnTo>
                    <a:pt x="64" y="16"/>
                  </a:lnTo>
                  <a:lnTo>
                    <a:pt x="64" y="16"/>
                  </a:lnTo>
                  <a:lnTo>
                    <a:pt x="64" y="20"/>
                  </a:lnTo>
                  <a:lnTo>
                    <a:pt x="64" y="20"/>
                  </a:lnTo>
                  <a:lnTo>
                    <a:pt x="64" y="20"/>
                  </a:lnTo>
                  <a:lnTo>
                    <a:pt x="60" y="20"/>
                  </a:lnTo>
                  <a:lnTo>
                    <a:pt x="60" y="20"/>
                  </a:lnTo>
                  <a:lnTo>
                    <a:pt x="60" y="24"/>
                  </a:lnTo>
                  <a:lnTo>
                    <a:pt x="60" y="24"/>
                  </a:lnTo>
                  <a:lnTo>
                    <a:pt x="60" y="24"/>
                  </a:lnTo>
                  <a:lnTo>
                    <a:pt x="60" y="28"/>
                  </a:lnTo>
                  <a:lnTo>
                    <a:pt x="60" y="30"/>
                  </a:lnTo>
                  <a:lnTo>
                    <a:pt x="60" y="30"/>
                  </a:lnTo>
                  <a:lnTo>
                    <a:pt x="60" y="30"/>
                  </a:lnTo>
                  <a:lnTo>
                    <a:pt x="60" y="30"/>
                  </a:lnTo>
                  <a:lnTo>
                    <a:pt x="60" y="34"/>
                  </a:lnTo>
                  <a:lnTo>
                    <a:pt x="60" y="34"/>
                  </a:lnTo>
                  <a:lnTo>
                    <a:pt x="60" y="34"/>
                  </a:lnTo>
                  <a:lnTo>
                    <a:pt x="60" y="34"/>
                  </a:lnTo>
                  <a:lnTo>
                    <a:pt x="60" y="38"/>
                  </a:lnTo>
                  <a:lnTo>
                    <a:pt x="60" y="38"/>
                  </a:lnTo>
                  <a:lnTo>
                    <a:pt x="60" y="38"/>
                  </a:lnTo>
                  <a:lnTo>
                    <a:pt x="60" y="42"/>
                  </a:lnTo>
                  <a:lnTo>
                    <a:pt x="60" y="42"/>
                  </a:lnTo>
                  <a:lnTo>
                    <a:pt x="60" y="46"/>
                  </a:lnTo>
                  <a:lnTo>
                    <a:pt x="60" y="46"/>
                  </a:lnTo>
                  <a:lnTo>
                    <a:pt x="60" y="46"/>
                  </a:lnTo>
                  <a:lnTo>
                    <a:pt x="60" y="46"/>
                  </a:lnTo>
                  <a:lnTo>
                    <a:pt x="60" y="46"/>
                  </a:lnTo>
                  <a:lnTo>
                    <a:pt x="60" y="46"/>
                  </a:lnTo>
                  <a:lnTo>
                    <a:pt x="60" y="50"/>
                  </a:lnTo>
                  <a:lnTo>
                    <a:pt x="60" y="50"/>
                  </a:lnTo>
                  <a:lnTo>
                    <a:pt x="60" y="46"/>
                  </a:lnTo>
                  <a:lnTo>
                    <a:pt x="60" y="46"/>
                  </a:lnTo>
                  <a:lnTo>
                    <a:pt x="60" y="46"/>
                  </a:lnTo>
                  <a:lnTo>
                    <a:pt x="60" y="46"/>
                  </a:lnTo>
                  <a:lnTo>
                    <a:pt x="60" y="46"/>
                  </a:lnTo>
                  <a:lnTo>
                    <a:pt x="60" y="46"/>
                  </a:lnTo>
                  <a:lnTo>
                    <a:pt x="60" y="42"/>
                  </a:lnTo>
                  <a:lnTo>
                    <a:pt x="60" y="42"/>
                  </a:lnTo>
                  <a:lnTo>
                    <a:pt x="60" y="42"/>
                  </a:lnTo>
                  <a:lnTo>
                    <a:pt x="60" y="42"/>
                  </a:lnTo>
                  <a:lnTo>
                    <a:pt x="60" y="42"/>
                  </a:lnTo>
                  <a:lnTo>
                    <a:pt x="60" y="42"/>
                  </a:lnTo>
                  <a:lnTo>
                    <a:pt x="60" y="42"/>
                  </a:lnTo>
                  <a:lnTo>
                    <a:pt x="60" y="42"/>
                  </a:lnTo>
                  <a:lnTo>
                    <a:pt x="60" y="42"/>
                  </a:lnTo>
                  <a:lnTo>
                    <a:pt x="56" y="46"/>
                  </a:lnTo>
                  <a:lnTo>
                    <a:pt x="56" y="46"/>
                  </a:lnTo>
                  <a:lnTo>
                    <a:pt x="56" y="50"/>
                  </a:lnTo>
                  <a:lnTo>
                    <a:pt x="56" y="50"/>
                  </a:lnTo>
                  <a:lnTo>
                    <a:pt x="56" y="50"/>
                  </a:lnTo>
                  <a:lnTo>
                    <a:pt x="56" y="54"/>
                  </a:lnTo>
                  <a:lnTo>
                    <a:pt x="56" y="54"/>
                  </a:lnTo>
                  <a:lnTo>
                    <a:pt x="56" y="54"/>
                  </a:lnTo>
                  <a:lnTo>
                    <a:pt x="56" y="54"/>
                  </a:lnTo>
                  <a:lnTo>
                    <a:pt x="56" y="58"/>
                  </a:lnTo>
                  <a:lnTo>
                    <a:pt x="56" y="58"/>
                  </a:lnTo>
                  <a:lnTo>
                    <a:pt x="56" y="58"/>
                  </a:lnTo>
                  <a:lnTo>
                    <a:pt x="56" y="58"/>
                  </a:lnTo>
                  <a:lnTo>
                    <a:pt x="56" y="58"/>
                  </a:lnTo>
                  <a:lnTo>
                    <a:pt x="56" y="58"/>
                  </a:lnTo>
                  <a:lnTo>
                    <a:pt x="56" y="58"/>
                  </a:lnTo>
                  <a:lnTo>
                    <a:pt x="56" y="58"/>
                  </a:lnTo>
                  <a:lnTo>
                    <a:pt x="56" y="58"/>
                  </a:lnTo>
                  <a:lnTo>
                    <a:pt x="56" y="58"/>
                  </a:lnTo>
                  <a:lnTo>
                    <a:pt x="56" y="60"/>
                  </a:lnTo>
                  <a:lnTo>
                    <a:pt x="60" y="60"/>
                  </a:lnTo>
                  <a:lnTo>
                    <a:pt x="60" y="60"/>
                  </a:lnTo>
                  <a:lnTo>
                    <a:pt x="56" y="60"/>
                  </a:lnTo>
                  <a:lnTo>
                    <a:pt x="56" y="60"/>
                  </a:lnTo>
                  <a:lnTo>
                    <a:pt x="56" y="64"/>
                  </a:lnTo>
                  <a:lnTo>
                    <a:pt x="56" y="64"/>
                  </a:lnTo>
                  <a:lnTo>
                    <a:pt x="56" y="64"/>
                  </a:lnTo>
                  <a:lnTo>
                    <a:pt x="56" y="64"/>
                  </a:lnTo>
                  <a:lnTo>
                    <a:pt x="56" y="68"/>
                  </a:lnTo>
                  <a:lnTo>
                    <a:pt x="56" y="68"/>
                  </a:lnTo>
                  <a:lnTo>
                    <a:pt x="56" y="68"/>
                  </a:lnTo>
                  <a:lnTo>
                    <a:pt x="56" y="72"/>
                  </a:lnTo>
                  <a:lnTo>
                    <a:pt x="56" y="72"/>
                  </a:lnTo>
                  <a:lnTo>
                    <a:pt x="56" y="72"/>
                  </a:lnTo>
                  <a:lnTo>
                    <a:pt x="56" y="72"/>
                  </a:lnTo>
                  <a:lnTo>
                    <a:pt x="56" y="72"/>
                  </a:lnTo>
                  <a:lnTo>
                    <a:pt x="60" y="72"/>
                  </a:lnTo>
                  <a:lnTo>
                    <a:pt x="60" y="72"/>
                  </a:lnTo>
                  <a:lnTo>
                    <a:pt x="60" y="72"/>
                  </a:lnTo>
                  <a:lnTo>
                    <a:pt x="60" y="76"/>
                  </a:lnTo>
                  <a:lnTo>
                    <a:pt x="60" y="76"/>
                  </a:lnTo>
                  <a:lnTo>
                    <a:pt x="56" y="76"/>
                  </a:lnTo>
                  <a:lnTo>
                    <a:pt x="56" y="76"/>
                  </a:lnTo>
                  <a:lnTo>
                    <a:pt x="56" y="76"/>
                  </a:lnTo>
                  <a:lnTo>
                    <a:pt x="56" y="76"/>
                  </a:lnTo>
                  <a:lnTo>
                    <a:pt x="56" y="76"/>
                  </a:lnTo>
                  <a:lnTo>
                    <a:pt x="56" y="76"/>
                  </a:lnTo>
                  <a:lnTo>
                    <a:pt x="56" y="76"/>
                  </a:lnTo>
                  <a:lnTo>
                    <a:pt x="52" y="76"/>
                  </a:lnTo>
                  <a:lnTo>
                    <a:pt x="52" y="76"/>
                  </a:lnTo>
                  <a:lnTo>
                    <a:pt x="52" y="76"/>
                  </a:lnTo>
                  <a:lnTo>
                    <a:pt x="52" y="76"/>
                  </a:lnTo>
                  <a:lnTo>
                    <a:pt x="52" y="76"/>
                  </a:lnTo>
                  <a:lnTo>
                    <a:pt x="52" y="76"/>
                  </a:lnTo>
                  <a:lnTo>
                    <a:pt x="52" y="76"/>
                  </a:lnTo>
                  <a:lnTo>
                    <a:pt x="48" y="76"/>
                  </a:lnTo>
                  <a:lnTo>
                    <a:pt x="48" y="72"/>
                  </a:lnTo>
                  <a:lnTo>
                    <a:pt x="48" y="72"/>
                  </a:lnTo>
                  <a:lnTo>
                    <a:pt x="46" y="72"/>
                  </a:lnTo>
                  <a:lnTo>
                    <a:pt x="42" y="72"/>
                  </a:lnTo>
                  <a:lnTo>
                    <a:pt x="38" y="72"/>
                  </a:lnTo>
                  <a:lnTo>
                    <a:pt x="38" y="72"/>
                  </a:lnTo>
                  <a:lnTo>
                    <a:pt x="38" y="72"/>
                  </a:lnTo>
                  <a:lnTo>
                    <a:pt x="38" y="72"/>
                  </a:lnTo>
                  <a:lnTo>
                    <a:pt x="38" y="72"/>
                  </a:lnTo>
                  <a:lnTo>
                    <a:pt x="38" y="72"/>
                  </a:lnTo>
                  <a:lnTo>
                    <a:pt x="34" y="72"/>
                  </a:lnTo>
                  <a:lnTo>
                    <a:pt x="34" y="68"/>
                  </a:lnTo>
                  <a:lnTo>
                    <a:pt x="34" y="68"/>
                  </a:lnTo>
                  <a:lnTo>
                    <a:pt x="30" y="68"/>
                  </a:lnTo>
                  <a:lnTo>
                    <a:pt x="30" y="68"/>
                  </a:lnTo>
                  <a:lnTo>
                    <a:pt x="30" y="68"/>
                  </a:lnTo>
                  <a:lnTo>
                    <a:pt x="30" y="72"/>
                  </a:lnTo>
                  <a:lnTo>
                    <a:pt x="30" y="72"/>
                  </a:lnTo>
                  <a:lnTo>
                    <a:pt x="26" y="68"/>
                  </a:lnTo>
                  <a:lnTo>
                    <a:pt x="26" y="68"/>
                  </a:lnTo>
                  <a:lnTo>
                    <a:pt x="26" y="68"/>
                  </a:lnTo>
                  <a:lnTo>
                    <a:pt x="26" y="68"/>
                  </a:lnTo>
                  <a:lnTo>
                    <a:pt x="22" y="64"/>
                  </a:lnTo>
                  <a:lnTo>
                    <a:pt x="22" y="64"/>
                  </a:lnTo>
                  <a:lnTo>
                    <a:pt x="22" y="64"/>
                  </a:lnTo>
                  <a:lnTo>
                    <a:pt x="22" y="60"/>
                  </a:lnTo>
                  <a:lnTo>
                    <a:pt x="20" y="60"/>
                  </a:lnTo>
                  <a:lnTo>
                    <a:pt x="20" y="60"/>
                  </a:lnTo>
                  <a:lnTo>
                    <a:pt x="20" y="58"/>
                  </a:lnTo>
                  <a:lnTo>
                    <a:pt x="20" y="58"/>
                  </a:lnTo>
                  <a:lnTo>
                    <a:pt x="20" y="58"/>
                  </a:lnTo>
                  <a:lnTo>
                    <a:pt x="20" y="58"/>
                  </a:lnTo>
                  <a:lnTo>
                    <a:pt x="16" y="54"/>
                  </a:lnTo>
                  <a:lnTo>
                    <a:pt x="16" y="54"/>
                  </a:lnTo>
                  <a:lnTo>
                    <a:pt x="16" y="54"/>
                  </a:lnTo>
                  <a:lnTo>
                    <a:pt x="16" y="54"/>
                  </a:lnTo>
                  <a:lnTo>
                    <a:pt x="16" y="54"/>
                  </a:lnTo>
                  <a:lnTo>
                    <a:pt x="16" y="54"/>
                  </a:lnTo>
                  <a:lnTo>
                    <a:pt x="16" y="54"/>
                  </a:lnTo>
                  <a:lnTo>
                    <a:pt x="16" y="50"/>
                  </a:lnTo>
                  <a:lnTo>
                    <a:pt x="16" y="50"/>
                  </a:lnTo>
                  <a:lnTo>
                    <a:pt x="12" y="50"/>
                  </a:lnTo>
                  <a:lnTo>
                    <a:pt x="12" y="50"/>
                  </a:lnTo>
                  <a:lnTo>
                    <a:pt x="12" y="50"/>
                  </a:lnTo>
                  <a:lnTo>
                    <a:pt x="12" y="46"/>
                  </a:lnTo>
                  <a:lnTo>
                    <a:pt x="8" y="46"/>
                  </a:lnTo>
                  <a:lnTo>
                    <a:pt x="8" y="46"/>
                  </a:lnTo>
                  <a:lnTo>
                    <a:pt x="8" y="46"/>
                  </a:lnTo>
                  <a:lnTo>
                    <a:pt x="8" y="46"/>
                  </a:lnTo>
                  <a:lnTo>
                    <a:pt x="4" y="42"/>
                  </a:lnTo>
                  <a:lnTo>
                    <a:pt x="4" y="42"/>
                  </a:lnTo>
                  <a:lnTo>
                    <a:pt x="4" y="38"/>
                  </a:lnTo>
                  <a:lnTo>
                    <a:pt x="0" y="38"/>
                  </a:lnTo>
                  <a:lnTo>
                    <a:pt x="0" y="38"/>
                  </a:lnTo>
                  <a:lnTo>
                    <a:pt x="0" y="38"/>
                  </a:lnTo>
                  <a:lnTo>
                    <a:pt x="4" y="34"/>
                  </a:lnTo>
                  <a:lnTo>
                    <a:pt x="4" y="34"/>
                  </a:lnTo>
                  <a:lnTo>
                    <a:pt x="4" y="38"/>
                  </a:lnTo>
                  <a:lnTo>
                    <a:pt x="4" y="38"/>
                  </a:lnTo>
                  <a:lnTo>
                    <a:pt x="4" y="38"/>
                  </a:lnTo>
                  <a:lnTo>
                    <a:pt x="4" y="38"/>
                  </a:lnTo>
                  <a:lnTo>
                    <a:pt x="4" y="38"/>
                  </a:lnTo>
                  <a:lnTo>
                    <a:pt x="4" y="38"/>
                  </a:lnTo>
                  <a:lnTo>
                    <a:pt x="4" y="38"/>
                  </a:lnTo>
                  <a:lnTo>
                    <a:pt x="8" y="38"/>
                  </a:lnTo>
                  <a:lnTo>
                    <a:pt x="8" y="38"/>
                  </a:lnTo>
                  <a:lnTo>
                    <a:pt x="8" y="38"/>
                  </a:lnTo>
                  <a:lnTo>
                    <a:pt x="8" y="38"/>
                  </a:lnTo>
                  <a:lnTo>
                    <a:pt x="8" y="38"/>
                  </a:lnTo>
                  <a:lnTo>
                    <a:pt x="12" y="38"/>
                  </a:lnTo>
                  <a:lnTo>
                    <a:pt x="12" y="38"/>
                  </a:lnTo>
                  <a:lnTo>
                    <a:pt x="12" y="38"/>
                  </a:lnTo>
                  <a:lnTo>
                    <a:pt x="12" y="34"/>
                  </a:lnTo>
                  <a:lnTo>
                    <a:pt x="12" y="34"/>
                  </a:lnTo>
                  <a:lnTo>
                    <a:pt x="12" y="34"/>
                  </a:lnTo>
                  <a:lnTo>
                    <a:pt x="12" y="34"/>
                  </a:lnTo>
                  <a:lnTo>
                    <a:pt x="12" y="30"/>
                  </a:lnTo>
                  <a:lnTo>
                    <a:pt x="16" y="30"/>
                  </a:lnTo>
                  <a:lnTo>
                    <a:pt x="16" y="30"/>
                  </a:lnTo>
                  <a:lnTo>
                    <a:pt x="16" y="30"/>
                  </a:lnTo>
                  <a:lnTo>
                    <a:pt x="16" y="30"/>
                  </a:lnTo>
                  <a:lnTo>
                    <a:pt x="16" y="30"/>
                  </a:lnTo>
                  <a:lnTo>
                    <a:pt x="16" y="30"/>
                  </a:lnTo>
                  <a:lnTo>
                    <a:pt x="16" y="30"/>
                  </a:lnTo>
                  <a:lnTo>
                    <a:pt x="16" y="30"/>
                  </a:lnTo>
                  <a:lnTo>
                    <a:pt x="16" y="28"/>
                  </a:lnTo>
                  <a:lnTo>
                    <a:pt x="16" y="24"/>
                  </a:lnTo>
                  <a:lnTo>
                    <a:pt x="16" y="24"/>
                  </a:lnTo>
                  <a:lnTo>
                    <a:pt x="16" y="24"/>
                  </a:lnTo>
                  <a:lnTo>
                    <a:pt x="16" y="24"/>
                  </a:lnTo>
                  <a:lnTo>
                    <a:pt x="20" y="24"/>
                  </a:lnTo>
                  <a:lnTo>
                    <a:pt x="20" y="24"/>
                  </a:lnTo>
                  <a:lnTo>
                    <a:pt x="20" y="24"/>
                  </a:lnTo>
                  <a:lnTo>
                    <a:pt x="22" y="20"/>
                  </a:lnTo>
                  <a:lnTo>
                    <a:pt x="22" y="20"/>
                  </a:lnTo>
                  <a:lnTo>
                    <a:pt x="22" y="20"/>
                  </a:lnTo>
                  <a:lnTo>
                    <a:pt x="26" y="20"/>
                  </a:lnTo>
                  <a:lnTo>
                    <a:pt x="26" y="20"/>
                  </a:lnTo>
                  <a:lnTo>
                    <a:pt x="26" y="20"/>
                  </a:lnTo>
                  <a:lnTo>
                    <a:pt x="26" y="20"/>
                  </a:lnTo>
                  <a:lnTo>
                    <a:pt x="26" y="24"/>
                  </a:lnTo>
                  <a:lnTo>
                    <a:pt x="26" y="24"/>
                  </a:lnTo>
                  <a:lnTo>
                    <a:pt x="30" y="24"/>
                  </a:lnTo>
                  <a:lnTo>
                    <a:pt x="30" y="24"/>
                  </a:lnTo>
                  <a:lnTo>
                    <a:pt x="30" y="24"/>
                  </a:lnTo>
                  <a:lnTo>
                    <a:pt x="30" y="24"/>
                  </a:lnTo>
                  <a:lnTo>
                    <a:pt x="30" y="20"/>
                  </a:lnTo>
                  <a:lnTo>
                    <a:pt x="30" y="20"/>
                  </a:lnTo>
                  <a:lnTo>
                    <a:pt x="30" y="20"/>
                  </a:lnTo>
                  <a:lnTo>
                    <a:pt x="34" y="16"/>
                  </a:lnTo>
                  <a:lnTo>
                    <a:pt x="34" y="16"/>
                  </a:lnTo>
                  <a:lnTo>
                    <a:pt x="34" y="16"/>
                  </a:lnTo>
                  <a:lnTo>
                    <a:pt x="34" y="16"/>
                  </a:lnTo>
                  <a:lnTo>
                    <a:pt x="34" y="16"/>
                  </a:lnTo>
                  <a:lnTo>
                    <a:pt x="34" y="16"/>
                  </a:lnTo>
                  <a:lnTo>
                    <a:pt x="34" y="16"/>
                  </a:lnTo>
                  <a:lnTo>
                    <a:pt x="34" y="16"/>
                  </a:lnTo>
                  <a:lnTo>
                    <a:pt x="38" y="16"/>
                  </a:lnTo>
                  <a:lnTo>
                    <a:pt x="38" y="16"/>
                  </a:lnTo>
                  <a:lnTo>
                    <a:pt x="38" y="12"/>
                  </a:lnTo>
                  <a:lnTo>
                    <a:pt x="38" y="12"/>
                  </a:lnTo>
                  <a:lnTo>
                    <a:pt x="38" y="12"/>
                  </a:lnTo>
                  <a:lnTo>
                    <a:pt x="38" y="12"/>
                  </a:lnTo>
                  <a:lnTo>
                    <a:pt x="38" y="12"/>
                  </a:lnTo>
                  <a:lnTo>
                    <a:pt x="38" y="12"/>
                  </a:lnTo>
                  <a:lnTo>
                    <a:pt x="38" y="8"/>
                  </a:lnTo>
                  <a:lnTo>
                    <a:pt x="38" y="8"/>
                  </a:lnTo>
                  <a:lnTo>
                    <a:pt x="38" y="8"/>
                  </a:lnTo>
                  <a:lnTo>
                    <a:pt x="38" y="8"/>
                  </a:lnTo>
                  <a:lnTo>
                    <a:pt x="38" y="8"/>
                  </a:lnTo>
                  <a:lnTo>
                    <a:pt x="38" y="8"/>
                  </a:lnTo>
                  <a:lnTo>
                    <a:pt x="42" y="4"/>
                  </a:lnTo>
                  <a:lnTo>
                    <a:pt x="42" y="4"/>
                  </a:lnTo>
                  <a:lnTo>
                    <a:pt x="42" y="4"/>
                  </a:lnTo>
                  <a:lnTo>
                    <a:pt x="46" y="8"/>
                  </a:lnTo>
                  <a:lnTo>
                    <a:pt x="46" y="8"/>
                  </a:lnTo>
                  <a:lnTo>
                    <a:pt x="48" y="8"/>
                  </a:lnTo>
                  <a:lnTo>
                    <a:pt x="48" y="8"/>
                  </a:lnTo>
                  <a:lnTo>
                    <a:pt x="52" y="8"/>
                  </a:lnTo>
                  <a:lnTo>
                    <a:pt x="52" y="8"/>
                  </a:lnTo>
                  <a:lnTo>
                    <a:pt x="52" y="8"/>
                  </a:lnTo>
                  <a:lnTo>
                    <a:pt x="56" y="4"/>
                  </a:lnTo>
                  <a:lnTo>
                    <a:pt x="56" y="4"/>
                  </a:lnTo>
                  <a:lnTo>
                    <a:pt x="60" y="4"/>
                  </a:lnTo>
                  <a:lnTo>
                    <a:pt x="60" y="4"/>
                  </a:lnTo>
                  <a:lnTo>
                    <a:pt x="60" y="0"/>
                  </a:lnTo>
                  <a:lnTo>
                    <a:pt x="64" y="0"/>
                  </a:lnTo>
                  <a:lnTo>
                    <a:pt x="64" y="0"/>
                  </a:lnTo>
                  <a:lnTo>
                    <a:pt x="64" y="0"/>
                  </a:lnTo>
                  <a:lnTo>
                    <a:pt x="64" y="0"/>
                  </a:lnTo>
                  <a:lnTo>
                    <a:pt x="64" y="0"/>
                  </a:lnTo>
                  <a:lnTo>
                    <a:pt x="68" y="0"/>
                  </a:lnTo>
                  <a:lnTo>
                    <a:pt x="68" y="0"/>
                  </a:lnTo>
                  <a:lnTo>
                    <a:pt x="68" y="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88" name="Freeform 81"/>
            <p:cNvSpPr>
              <a:spLocks noEditPoints="1"/>
            </p:cNvSpPr>
            <p:nvPr/>
          </p:nvSpPr>
          <p:spPr bwMode="auto">
            <a:xfrm>
              <a:off x="6303035" y="4051914"/>
              <a:ext cx="51494" cy="27459"/>
            </a:xfrm>
            <a:custGeom>
              <a:avLst/>
              <a:gdLst>
                <a:gd name="T0" fmla="*/ 38 w 82"/>
                <a:gd name="T1" fmla="*/ 22 h 42"/>
                <a:gd name="T2" fmla="*/ 38 w 82"/>
                <a:gd name="T3" fmla="*/ 30 h 42"/>
                <a:gd name="T4" fmla="*/ 40 w 82"/>
                <a:gd name="T5" fmla="*/ 34 h 42"/>
                <a:gd name="T6" fmla="*/ 40 w 82"/>
                <a:gd name="T7" fmla="*/ 38 h 42"/>
                <a:gd name="T8" fmla="*/ 34 w 82"/>
                <a:gd name="T9" fmla="*/ 42 h 42"/>
                <a:gd name="T10" fmla="*/ 30 w 82"/>
                <a:gd name="T11" fmla="*/ 42 h 42"/>
                <a:gd name="T12" fmla="*/ 30 w 82"/>
                <a:gd name="T13" fmla="*/ 34 h 42"/>
                <a:gd name="T14" fmla="*/ 26 w 82"/>
                <a:gd name="T15" fmla="*/ 30 h 42"/>
                <a:gd name="T16" fmla="*/ 22 w 82"/>
                <a:gd name="T17" fmla="*/ 34 h 42"/>
                <a:gd name="T18" fmla="*/ 18 w 82"/>
                <a:gd name="T19" fmla="*/ 30 h 42"/>
                <a:gd name="T20" fmla="*/ 18 w 82"/>
                <a:gd name="T21" fmla="*/ 26 h 42"/>
                <a:gd name="T22" fmla="*/ 10 w 82"/>
                <a:gd name="T23" fmla="*/ 26 h 42"/>
                <a:gd name="T24" fmla="*/ 8 w 82"/>
                <a:gd name="T25" fmla="*/ 26 h 42"/>
                <a:gd name="T26" fmla="*/ 4 w 82"/>
                <a:gd name="T27" fmla="*/ 22 h 42"/>
                <a:gd name="T28" fmla="*/ 4 w 82"/>
                <a:gd name="T29" fmla="*/ 30 h 42"/>
                <a:gd name="T30" fmla="*/ 0 w 82"/>
                <a:gd name="T31" fmla="*/ 26 h 42"/>
                <a:gd name="T32" fmla="*/ 4 w 82"/>
                <a:gd name="T33" fmla="*/ 22 h 42"/>
                <a:gd name="T34" fmla="*/ 0 w 82"/>
                <a:gd name="T35" fmla="*/ 16 h 42"/>
                <a:gd name="T36" fmla="*/ 0 w 82"/>
                <a:gd name="T37" fmla="*/ 12 h 42"/>
                <a:gd name="T38" fmla="*/ 4 w 82"/>
                <a:gd name="T39" fmla="*/ 0 h 42"/>
                <a:gd name="T40" fmla="*/ 8 w 82"/>
                <a:gd name="T41" fmla="*/ 4 h 42"/>
                <a:gd name="T42" fmla="*/ 10 w 82"/>
                <a:gd name="T43" fmla="*/ 12 h 42"/>
                <a:gd name="T44" fmla="*/ 14 w 82"/>
                <a:gd name="T45" fmla="*/ 12 h 42"/>
                <a:gd name="T46" fmla="*/ 18 w 82"/>
                <a:gd name="T47" fmla="*/ 16 h 42"/>
                <a:gd name="T48" fmla="*/ 26 w 82"/>
                <a:gd name="T49" fmla="*/ 16 h 42"/>
                <a:gd name="T50" fmla="*/ 30 w 82"/>
                <a:gd name="T51" fmla="*/ 16 h 42"/>
                <a:gd name="T52" fmla="*/ 38 w 82"/>
                <a:gd name="T53" fmla="*/ 12 h 42"/>
                <a:gd name="T54" fmla="*/ 40 w 82"/>
                <a:gd name="T55" fmla="*/ 8 h 42"/>
                <a:gd name="T56" fmla="*/ 48 w 82"/>
                <a:gd name="T57" fmla="*/ 4 h 42"/>
                <a:gd name="T58" fmla="*/ 56 w 82"/>
                <a:gd name="T59" fmla="*/ 4 h 42"/>
                <a:gd name="T60" fmla="*/ 56 w 82"/>
                <a:gd name="T61" fmla="*/ 4 h 42"/>
                <a:gd name="T62" fmla="*/ 64 w 82"/>
                <a:gd name="T63" fmla="*/ 4 h 42"/>
                <a:gd name="T64" fmla="*/ 70 w 82"/>
                <a:gd name="T65" fmla="*/ 12 h 42"/>
                <a:gd name="T66" fmla="*/ 78 w 82"/>
                <a:gd name="T67" fmla="*/ 16 h 42"/>
                <a:gd name="T68" fmla="*/ 78 w 82"/>
                <a:gd name="T69" fmla="*/ 18 h 42"/>
                <a:gd name="T70" fmla="*/ 78 w 82"/>
                <a:gd name="T71" fmla="*/ 22 h 42"/>
                <a:gd name="T72" fmla="*/ 82 w 82"/>
                <a:gd name="T73" fmla="*/ 26 h 42"/>
                <a:gd name="T74" fmla="*/ 82 w 82"/>
                <a:gd name="T75" fmla="*/ 34 h 42"/>
                <a:gd name="T76" fmla="*/ 74 w 82"/>
                <a:gd name="T77" fmla="*/ 34 h 42"/>
                <a:gd name="T78" fmla="*/ 74 w 82"/>
                <a:gd name="T79" fmla="*/ 38 h 42"/>
                <a:gd name="T80" fmla="*/ 68 w 82"/>
                <a:gd name="T81" fmla="*/ 38 h 42"/>
                <a:gd name="T82" fmla="*/ 68 w 82"/>
                <a:gd name="T83" fmla="*/ 30 h 42"/>
                <a:gd name="T84" fmla="*/ 68 w 82"/>
                <a:gd name="T85" fmla="*/ 30 h 42"/>
                <a:gd name="T86" fmla="*/ 68 w 82"/>
                <a:gd name="T87" fmla="*/ 26 h 42"/>
                <a:gd name="T88" fmla="*/ 70 w 82"/>
                <a:gd name="T89" fmla="*/ 26 h 42"/>
                <a:gd name="T90" fmla="*/ 74 w 82"/>
                <a:gd name="T91" fmla="*/ 26 h 42"/>
                <a:gd name="T92" fmla="*/ 70 w 82"/>
                <a:gd name="T93" fmla="*/ 22 h 42"/>
                <a:gd name="T94" fmla="*/ 64 w 82"/>
                <a:gd name="T95" fmla="*/ 22 h 42"/>
                <a:gd name="T96" fmla="*/ 60 w 82"/>
                <a:gd name="T97" fmla="*/ 16 h 42"/>
                <a:gd name="T98" fmla="*/ 56 w 82"/>
                <a:gd name="T99" fmla="*/ 12 h 42"/>
                <a:gd name="T100" fmla="*/ 56 w 82"/>
                <a:gd name="T101" fmla="*/ 12 h 42"/>
                <a:gd name="T102" fmla="*/ 48 w 82"/>
                <a:gd name="T103" fmla="*/ 12 h 42"/>
                <a:gd name="T104" fmla="*/ 44 w 82"/>
                <a:gd name="T105" fmla="*/ 16 h 42"/>
                <a:gd name="T106" fmla="*/ 40 w 82"/>
                <a:gd name="T107" fmla="*/ 22 h 42"/>
                <a:gd name="T108" fmla="*/ 10 w 82"/>
                <a:gd name="T109" fmla="*/ 8 h 42"/>
                <a:gd name="T110" fmla="*/ 60 w 82"/>
                <a:gd name="T111" fmla="*/ 22 h 42"/>
                <a:gd name="T112" fmla="*/ 56 w 82"/>
                <a:gd name="T113" fmla="*/ 22 h 42"/>
                <a:gd name="T114" fmla="*/ 18 w 82"/>
                <a:gd name="T115" fmla="*/ 38 h 42"/>
                <a:gd name="T116" fmla="*/ 18 w 82"/>
                <a:gd name="T117" fmla="*/ 42 h 42"/>
                <a:gd name="T118" fmla="*/ 18 w 82"/>
                <a:gd name="T119" fmla="*/ 42 h 42"/>
                <a:gd name="T120" fmla="*/ 18 w 82"/>
                <a:gd name="T12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42">
                  <a:moveTo>
                    <a:pt x="40" y="22"/>
                  </a:moveTo>
                  <a:lnTo>
                    <a:pt x="40" y="22"/>
                  </a:lnTo>
                  <a:lnTo>
                    <a:pt x="40" y="22"/>
                  </a:lnTo>
                  <a:lnTo>
                    <a:pt x="40" y="22"/>
                  </a:lnTo>
                  <a:lnTo>
                    <a:pt x="40" y="22"/>
                  </a:lnTo>
                  <a:lnTo>
                    <a:pt x="38" y="22"/>
                  </a:lnTo>
                  <a:lnTo>
                    <a:pt x="38" y="22"/>
                  </a:lnTo>
                  <a:lnTo>
                    <a:pt x="38" y="26"/>
                  </a:lnTo>
                  <a:lnTo>
                    <a:pt x="38" y="26"/>
                  </a:lnTo>
                  <a:lnTo>
                    <a:pt x="38" y="26"/>
                  </a:lnTo>
                  <a:lnTo>
                    <a:pt x="38" y="26"/>
                  </a:lnTo>
                  <a:lnTo>
                    <a:pt x="38" y="26"/>
                  </a:lnTo>
                  <a:lnTo>
                    <a:pt x="38" y="26"/>
                  </a:lnTo>
                  <a:lnTo>
                    <a:pt x="38" y="30"/>
                  </a:lnTo>
                  <a:lnTo>
                    <a:pt x="38" y="30"/>
                  </a:lnTo>
                  <a:lnTo>
                    <a:pt x="38" y="30"/>
                  </a:lnTo>
                  <a:lnTo>
                    <a:pt x="38" y="30"/>
                  </a:lnTo>
                  <a:lnTo>
                    <a:pt x="38" y="30"/>
                  </a:lnTo>
                  <a:lnTo>
                    <a:pt x="38" y="30"/>
                  </a:lnTo>
                  <a:lnTo>
                    <a:pt x="38" y="30"/>
                  </a:lnTo>
                  <a:lnTo>
                    <a:pt x="40" y="34"/>
                  </a:lnTo>
                  <a:lnTo>
                    <a:pt x="40" y="34"/>
                  </a:lnTo>
                  <a:lnTo>
                    <a:pt x="40" y="38"/>
                  </a:lnTo>
                  <a:lnTo>
                    <a:pt x="40" y="38"/>
                  </a:lnTo>
                  <a:lnTo>
                    <a:pt x="40" y="38"/>
                  </a:lnTo>
                  <a:lnTo>
                    <a:pt x="40" y="38"/>
                  </a:lnTo>
                  <a:lnTo>
                    <a:pt x="40" y="38"/>
                  </a:lnTo>
                  <a:lnTo>
                    <a:pt x="40" y="38"/>
                  </a:lnTo>
                  <a:lnTo>
                    <a:pt x="38" y="38"/>
                  </a:lnTo>
                  <a:lnTo>
                    <a:pt x="38" y="38"/>
                  </a:lnTo>
                  <a:lnTo>
                    <a:pt x="38" y="38"/>
                  </a:lnTo>
                  <a:lnTo>
                    <a:pt x="38" y="42"/>
                  </a:lnTo>
                  <a:lnTo>
                    <a:pt x="38" y="42"/>
                  </a:lnTo>
                  <a:lnTo>
                    <a:pt x="38" y="42"/>
                  </a:lnTo>
                  <a:lnTo>
                    <a:pt x="34" y="42"/>
                  </a:lnTo>
                  <a:lnTo>
                    <a:pt x="34" y="42"/>
                  </a:lnTo>
                  <a:lnTo>
                    <a:pt x="34" y="42"/>
                  </a:lnTo>
                  <a:lnTo>
                    <a:pt x="34" y="42"/>
                  </a:lnTo>
                  <a:lnTo>
                    <a:pt x="34" y="42"/>
                  </a:lnTo>
                  <a:lnTo>
                    <a:pt x="30" y="42"/>
                  </a:lnTo>
                  <a:lnTo>
                    <a:pt x="30" y="42"/>
                  </a:lnTo>
                  <a:lnTo>
                    <a:pt x="30" y="42"/>
                  </a:lnTo>
                  <a:lnTo>
                    <a:pt x="30" y="42"/>
                  </a:lnTo>
                  <a:lnTo>
                    <a:pt x="30" y="42"/>
                  </a:lnTo>
                  <a:lnTo>
                    <a:pt x="30" y="42"/>
                  </a:lnTo>
                  <a:lnTo>
                    <a:pt x="30" y="38"/>
                  </a:lnTo>
                  <a:lnTo>
                    <a:pt x="30" y="38"/>
                  </a:lnTo>
                  <a:lnTo>
                    <a:pt x="30" y="38"/>
                  </a:lnTo>
                  <a:lnTo>
                    <a:pt x="30" y="34"/>
                  </a:lnTo>
                  <a:lnTo>
                    <a:pt x="26" y="34"/>
                  </a:lnTo>
                  <a:lnTo>
                    <a:pt x="26" y="34"/>
                  </a:lnTo>
                  <a:lnTo>
                    <a:pt x="26" y="34"/>
                  </a:lnTo>
                  <a:lnTo>
                    <a:pt x="26" y="30"/>
                  </a:lnTo>
                  <a:lnTo>
                    <a:pt x="26" y="34"/>
                  </a:lnTo>
                  <a:lnTo>
                    <a:pt x="26" y="30"/>
                  </a:lnTo>
                  <a:lnTo>
                    <a:pt x="26" y="30"/>
                  </a:lnTo>
                  <a:lnTo>
                    <a:pt x="26" y="34"/>
                  </a:lnTo>
                  <a:lnTo>
                    <a:pt x="26" y="34"/>
                  </a:lnTo>
                  <a:lnTo>
                    <a:pt x="26" y="34"/>
                  </a:lnTo>
                  <a:lnTo>
                    <a:pt x="26" y="34"/>
                  </a:lnTo>
                  <a:lnTo>
                    <a:pt x="26" y="38"/>
                  </a:lnTo>
                  <a:lnTo>
                    <a:pt x="26" y="34"/>
                  </a:lnTo>
                  <a:lnTo>
                    <a:pt x="22" y="34"/>
                  </a:lnTo>
                  <a:lnTo>
                    <a:pt x="22" y="34"/>
                  </a:lnTo>
                  <a:lnTo>
                    <a:pt x="22" y="34"/>
                  </a:lnTo>
                  <a:lnTo>
                    <a:pt x="22" y="34"/>
                  </a:lnTo>
                  <a:lnTo>
                    <a:pt x="18" y="34"/>
                  </a:lnTo>
                  <a:lnTo>
                    <a:pt x="18" y="34"/>
                  </a:lnTo>
                  <a:lnTo>
                    <a:pt x="18" y="30"/>
                  </a:lnTo>
                  <a:lnTo>
                    <a:pt x="18" y="30"/>
                  </a:lnTo>
                  <a:lnTo>
                    <a:pt x="18" y="30"/>
                  </a:lnTo>
                  <a:lnTo>
                    <a:pt x="18" y="30"/>
                  </a:lnTo>
                  <a:lnTo>
                    <a:pt x="18" y="30"/>
                  </a:lnTo>
                  <a:lnTo>
                    <a:pt x="18" y="30"/>
                  </a:lnTo>
                  <a:lnTo>
                    <a:pt x="18" y="30"/>
                  </a:lnTo>
                  <a:lnTo>
                    <a:pt x="18" y="26"/>
                  </a:lnTo>
                  <a:lnTo>
                    <a:pt x="18" y="26"/>
                  </a:lnTo>
                  <a:lnTo>
                    <a:pt x="18" y="26"/>
                  </a:lnTo>
                  <a:lnTo>
                    <a:pt x="18" y="26"/>
                  </a:lnTo>
                  <a:lnTo>
                    <a:pt x="14" y="26"/>
                  </a:lnTo>
                  <a:lnTo>
                    <a:pt x="10" y="26"/>
                  </a:lnTo>
                  <a:lnTo>
                    <a:pt x="10" y="26"/>
                  </a:lnTo>
                  <a:lnTo>
                    <a:pt x="10" y="26"/>
                  </a:lnTo>
                  <a:lnTo>
                    <a:pt x="10" y="26"/>
                  </a:lnTo>
                  <a:lnTo>
                    <a:pt x="10" y="26"/>
                  </a:lnTo>
                  <a:lnTo>
                    <a:pt x="10" y="22"/>
                  </a:lnTo>
                  <a:lnTo>
                    <a:pt x="10" y="22"/>
                  </a:lnTo>
                  <a:lnTo>
                    <a:pt x="10" y="22"/>
                  </a:lnTo>
                  <a:lnTo>
                    <a:pt x="8" y="22"/>
                  </a:lnTo>
                  <a:lnTo>
                    <a:pt x="8" y="22"/>
                  </a:lnTo>
                  <a:lnTo>
                    <a:pt x="8" y="26"/>
                  </a:lnTo>
                  <a:lnTo>
                    <a:pt x="8" y="26"/>
                  </a:lnTo>
                  <a:lnTo>
                    <a:pt x="8" y="26"/>
                  </a:lnTo>
                  <a:lnTo>
                    <a:pt x="8" y="22"/>
                  </a:lnTo>
                  <a:lnTo>
                    <a:pt x="8" y="22"/>
                  </a:lnTo>
                  <a:lnTo>
                    <a:pt x="4" y="22"/>
                  </a:lnTo>
                  <a:lnTo>
                    <a:pt x="4" y="22"/>
                  </a:lnTo>
                  <a:lnTo>
                    <a:pt x="4" y="22"/>
                  </a:lnTo>
                  <a:lnTo>
                    <a:pt x="4" y="22"/>
                  </a:lnTo>
                  <a:lnTo>
                    <a:pt x="4" y="26"/>
                  </a:lnTo>
                  <a:lnTo>
                    <a:pt x="4" y="26"/>
                  </a:lnTo>
                  <a:lnTo>
                    <a:pt x="4" y="26"/>
                  </a:lnTo>
                  <a:lnTo>
                    <a:pt x="4" y="26"/>
                  </a:lnTo>
                  <a:lnTo>
                    <a:pt x="4" y="30"/>
                  </a:lnTo>
                  <a:lnTo>
                    <a:pt x="4" y="30"/>
                  </a:lnTo>
                  <a:lnTo>
                    <a:pt x="0" y="30"/>
                  </a:lnTo>
                  <a:lnTo>
                    <a:pt x="0" y="30"/>
                  </a:lnTo>
                  <a:lnTo>
                    <a:pt x="0" y="26"/>
                  </a:lnTo>
                  <a:lnTo>
                    <a:pt x="0" y="26"/>
                  </a:lnTo>
                  <a:lnTo>
                    <a:pt x="0" y="26"/>
                  </a:lnTo>
                  <a:lnTo>
                    <a:pt x="0" y="26"/>
                  </a:lnTo>
                  <a:lnTo>
                    <a:pt x="0" y="26"/>
                  </a:lnTo>
                  <a:lnTo>
                    <a:pt x="0" y="22"/>
                  </a:lnTo>
                  <a:lnTo>
                    <a:pt x="0" y="22"/>
                  </a:lnTo>
                  <a:lnTo>
                    <a:pt x="0" y="22"/>
                  </a:lnTo>
                  <a:lnTo>
                    <a:pt x="0" y="22"/>
                  </a:lnTo>
                  <a:lnTo>
                    <a:pt x="0" y="22"/>
                  </a:lnTo>
                  <a:lnTo>
                    <a:pt x="0" y="22"/>
                  </a:lnTo>
                  <a:lnTo>
                    <a:pt x="4" y="22"/>
                  </a:lnTo>
                  <a:lnTo>
                    <a:pt x="4" y="18"/>
                  </a:lnTo>
                  <a:lnTo>
                    <a:pt x="4" y="18"/>
                  </a:lnTo>
                  <a:lnTo>
                    <a:pt x="0" y="18"/>
                  </a:lnTo>
                  <a:lnTo>
                    <a:pt x="0" y="18"/>
                  </a:lnTo>
                  <a:lnTo>
                    <a:pt x="0" y="16"/>
                  </a:lnTo>
                  <a:lnTo>
                    <a:pt x="0" y="16"/>
                  </a:lnTo>
                  <a:lnTo>
                    <a:pt x="0" y="16"/>
                  </a:lnTo>
                  <a:lnTo>
                    <a:pt x="4" y="16"/>
                  </a:lnTo>
                  <a:lnTo>
                    <a:pt x="4" y="16"/>
                  </a:lnTo>
                  <a:lnTo>
                    <a:pt x="4" y="16"/>
                  </a:lnTo>
                  <a:lnTo>
                    <a:pt x="4" y="16"/>
                  </a:lnTo>
                  <a:lnTo>
                    <a:pt x="4" y="16"/>
                  </a:lnTo>
                  <a:lnTo>
                    <a:pt x="4" y="12"/>
                  </a:lnTo>
                  <a:lnTo>
                    <a:pt x="0" y="12"/>
                  </a:lnTo>
                  <a:lnTo>
                    <a:pt x="0" y="12"/>
                  </a:lnTo>
                  <a:lnTo>
                    <a:pt x="0" y="8"/>
                  </a:lnTo>
                  <a:lnTo>
                    <a:pt x="0" y="4"/>
                  </a:lnTo>
                  <a:lnTo>
                    <a:pt x="4" y="0"/>
                  </a:lnTo>
                  <a:lnTo>
                    <a:pt x="4" y="0"/>
                  </a:lnTo>
                  <a:lnTo>
                    <a:pt x="4" y="0"/>
                  </a:lnTo>
                  <a:lnTo>
                    <a:pt x="4" y="0"/>
                  </a:lnTo>
                  <a:lnTo>
                    <a:pt x="4" y="4"/>
                  </a:lnTo>
                  <a:lnTo>
                    <a:pt x="4" y="4"/>
                  </a:lnTo>
                  <a:lnTo>
                    <a:pt x="4" y="4"/>
                  </a:lnTo>
                  <a:lnTo>
                    <a:pt x="8" y="4"/>
                  </a:lnTo>
                  <a:lnTo>
                    <a:pt x="8" y="4"/>
                  </a:lnTo>
                  <a:lnTo>
                    <a:pt x="8" y="4"/>
                  </a:lnTo>
                  <a:lnTo>
                    <a:pt x="8" y="4"/>
                  </a:lnTo>
                  <a:lnTo>
                    <a:pt x="8" y="4"/>
                  </a:lnTo>
                  <a:lnTo>
                    <a:pt x="8" y="4"/>
                  </a:lnTo>
                  <a:lnTo>
                    <a:pt x="8" y="8"/>
                  </a:lnTo>
                  <a:lnTo>
                    <a:pt x="8" y="8"/>
                  </a:lnTo>
                  <a:lnTo>
                    <a:pt x="10" y="8"/>
                  </a:lnTo>
                  <a:lnTo>
                    <a:pt x="10" y="12"/>
                  </a:lnTo>
                  <a:lnTo>
                    <a:pt x="10" y="12"/>
                  </a:lnTo>
                  <a:lnTo>
                    <a:pt x="10" y="12"/>
                  </a:lnTo>
                  <a:lnTo>
                    <a:pt x="14" y="16"/>
                  </a:lnTo>
                  <a:lnTo>
                    <a:pt x="14" y="12"/>
                  </a:lnTo>
                  <a:lnTo>
                    <a:pt x="18" y="12"/>
                  </a:lnTo>
                  <a:lnTo>
                    <a:pt x="18" y="12"/>
                  </a:lnTo>
                  <a:lnTo>
                    <a:pt x="14" y="12"/>
                  </a:lnTo>
                  <a:lnTo>
                    <a:pt x="14" y="12"/>
                  </a:lnTo>
                  <a:lnTo>
                    <a:pt x="14" y="8"/>
                  </a:lnTo>
                  <a:lnTo>
                    <a:pt x="14" y="8"/>
                  </a:lnTo>
                  <a:lnTo>
                    <a:pt x="14" y="8"/>
                  </a:lnTo>
                  <a:lnTo>
                    <a:pt x="18" y="12"/>
                  </a:lnTo>
                  <a:lnTo>
                    <a:pt x="18" y="12"/>
                  </a:lnTo>
                  <a:lnTo>
                    <a:pt x="18" y="12"/>
                  </a:lnTo>
                  <a:lnTo>
                    <a:pt x="18" y="16"/>
                  </a:lnTo>
                  <a:lnTo>
                    <a:pt x="18" y="16"/>
                  </a:lnTo>
                  <a:lnTo>
                    <a:pt x="18" y="16"/>
                  </a:lnTo>
                  <a:lnTo>
                    <a:pt x="22" y="16"/>
                  </a:lnTo>
                  <a:lnTo>
                    <a:pt x="26" y="16"/>
                  </a:lnTo>
                  <a:lnTo>
                    <a:pt x="26" y="16"/>
                  </a:lnTo>
                  <a:lnTo>
                    <a:pt x="26" y="16"/>
                  </a:lnTo>
                  <a:lnTo>
                    <a:pt x="26" y="16"/>
                  </a:lnTo>
                  <a:lnTo>
                    <a:pt x="26" y="16"/>
                  </a:lnTo>
                  <a:lnTo>
                    <a:pt x="30" y="16"/>
                  </a:lnTo>
                  <a:lnTo>
                    <a:pt x="30" y="16"/>
                  </a:lnTo>
                  <a:lnTo>
                    <a:pt x="30" y="16"/>
                  </a:lnTo>
                  <a:lnTo>
                    <a:pt x="30" y="16"/>
                  </a:lnTo>
                  <a:lnTo>
                    <a:pt x="30" y="16"/>
                  </a:lnTo>
                  <a:lnTo>
                    <a:pt x="30" y="16"/>
                  </a:lnTo>
                  <a:lnTo>
                    <a:pt x="30" y="16"/>
                  </a:lnTo>
                  <a:lnTo>
                    <a:pt x="30" y="12"/>
                  </a:lnTo>
                  <a:lnTo>
                    <a:pt x="34" y="12"/>
                  </a:lnTo>
                  <a:lnTo>
                    <a:pt x="34" y="12"/>
                  </a:lnTo>
                  <a:lnTo>
                    <a:pt x="34" y="12"/>
                  </a:lnTo>
                  <a:lnTo>
                    <a:pt x="34" y="12"/>
                  </a:lnTo>
                  <a:lnTo>
                    <a:pt x="38" y="12"/>
                  </a:lnTo>
                  <a:lnTo>
                    <a:pt x="38" y="8"/>
                  </a:lnTo>
                  <a:lnTo>
                    <a:pt x="38" y="8"/>
                  </a:lnTo>
                  <a:lnTo>
                    <a:pt x="40" y="8"/>
                  </a:lnTo>
                  <a:lnTo>
                    <a:pt x="40" y="8"/>
                  </a:lnTo>
                  <a:lnTo>
                    <a:pt x="40" y="8"/>
                  </a:lnTo>
                  <a:lnTo>
                    <a:pt x="40" y="8"/>
                  </a:lnTo>
                  <a:lnTo>
                    <a:pt x="40" y="8"/>
                  </a:lnTo>
                  <a:lnTo>
                    <a:pt x="40" y="8"/>
                  </a:lnTo>
                  <a:lnTo>
                    <a:pt x="44" y="8"/>
                  </a:lnTo>
                  <a:lnTo>
                    <a:pt x="44" y="8"/>
                  </a:lnTo>
                  <a:lnTo>
                    <a:pt x="44" y="4"/>
                  </a:lnTo>
                  <a:lnTo>
                    <a:pt x="44" y="4"/>
                  </a:lnTo>
                  <a:lnTo>
                    <a:pt x="48" y="4"/>
                  </a:lnTo>
                  <a:lnTo>
                    <a:pt x="48" y="4"/>
                  </a:lnTo>
                  <a:lnTo>
                    <a:pt x="48" y="0"/>
                  </a:lnTo>
                  <a:lnTo>
                    <a:pt x="48" y="0"/>
                  </a:lnTo>
                  <a:lnTo>
                    <a:pt x="48" y="0"/>
                  </a:lnTo>
                  <a:lnTo>
                    <a:pt x="48" y="4"/>
                  </a:lnTo>
                  <a:lnTo>
                    <a:pt x="52" y="4"/>
                  </a:lnTo>
                  <a:lnTo>
                    <a:pt x="56" y="4"/>
                  </a:lnTo>
                  <a:lnTo>
                    <a:pt x="56" y="4"/>
                  </a:lnTo>
                  <a:lnTo>
                    <a:pt x="56" y="4"/>
                  </a:lnTo>
                  <a:lnTo>
                    <a:pt x="56" y="4"/>
                  </a:lnTo>
                  <a:lnTo>
                    <a:pt x="56" y="4"/>
                  </a:lnTo>
                  <a:lnTo>
                    <a:pt x="56" y="4"/>
                  </a:lnTo>
                  <a:lnTo>
                    <a:pt x="56" y="4"/>
                  </a:lnTo>
                  <a:lnTo>
                    <a:pt x="56" y="4"/>
                  </a:lnTo>
                  <a:lnTo>
                    <a:pt x="56" y="4"/>
                  </a:lnTo>
                  <a:lnTo>
                    <a:pt x="56" y="4"/>
                  </a:lnTo>
                  <a:lnTo>
                    <a:pt x="56" y="4"/>
                  </a:lnTo>
                  <a:lnTo>
                    <a:pt x="56" y="4"/>
                  </a:lnTo>
                  <a:lnTo>
                    <a:pt x="60" y="4"/>
                  </a:lnTo>
                  <a:lnTo>
                    <a:pt x="64" y="4"/>
                  </a:lnTo>
                  <a:lnTo>
                    <a:pt x="64" y="4"/>
                  </a:lnTo>
                  <a:lnTo>
                    <a:pt x="64" y="4"/>
                  </a:lnTo>
                  <a:lnTo>
                    <a:pt x="64" y="8"/>
                  </a:lnTo>
                  <a:lnTo>
                    <a:pt x="68" y="8"/>
                  </a:lnTo>
                  <a:lnTo>
                    <a:pt x="68" y="8"/>
                  </a:lnTo>
                  <a:lnTo>
                    <a:pt x="68" y="8"/>
                  </a:lnTo>
                  <a:lnTo>
                    <a:pt x="70" y="8"/>
                  </a:lnTo>
                  <a:lnTo>
                    <a:pt x="70" y="12"/>
                  </a:lnTo>
                  <a:lnTo>
                    <a:pt x="70" y="12"/>
                  </a:lnTo>
                  <a:lnTo>
                    <a:pt x="74" y="12"/>
                  </a:lnTo>
                  <a:lnTo>
                    <a:pt x="74" y="12"/>
                  </a:lnTo>
                  <a:lnTo>
                    <a:pt x="74" y="12"/>
                  </a:lnTo>
                  <a:lnTo>
                    <a:pt x="74" y="12"/>
                  </a:lnTo>
                  <a:lnTo>
                    <a:pt x="74" y="16"/>
                  </a:lnTo>
                  <a:lnTo>
                    <a:pt x="74" y="16"/>
                  </a:lnTo>
                  <a:lnTo>
                    <a:pt x="78" y="16"/>
                  </a:lnTo>
                  <a:lnTo>
                    <a:pt x="78" y="18"/>
                  </a:lnTo>
                  <a:lnTo>
                    <a:pt x="78" y="18"/>
                  </a:lnTo>
                  <a:lnTo>
                    <a:pt x="78" y="18"/>
                  </a:lnTo>
                  <a:lnTo>
                    <a:pt x="78" y="18"/>
                  </a:lnTo>
                  <a:lnTo>
                    <a:pt x="78" y="18"/>
                  </a:lnTo>
                  <a:lnTo>
                    <a:pt x="78" y="18"/>
                  </a:lnTo>
                  <a:lnTo>
                    <a:pt x="78" y="18"/>
                  </a:lnTo>
                  <a:lnTo>
                    <a:pt x="78" y="18"/>
                  </a:lnTo>
                  <a:lnTo>
                    <a:pt x="78" y="18"/>
                  </a:lnTo>
                  <a:lnTo>
                    <a:pt x="78" y="18"/>
                  </a:lnTo>
                  <a:lnTo>
                    <a:pt x="78" y="22"/>
                  </a:lnTo>
                  <a:lnTo>
                    <a:pt x="78" y="22"/>
                  </a:lnTo>
                  <a:lnTo>
                    <a:pt x="78" y="22"/>
                  </a:lnTo>
                  <a:lnTo>
                    <a:pt x="78" y="22"/>
                  </a:lnTo>
                  <a:lnTo>
                    <a:pt x="78" y="22"/>
                  </a:lnTo>
                  <a:lnTo>
                    <a:pt x="78" y="22"/>
                  </a:lnTo>
                  <a:lnTo>
                    <a:pt x="78" y="22"/>
                  </a:lnTo>
                  <a:lnTo>
                    <a:pt x="78" y="26"/>
                  </a:lnTo>
                  <a:lnTo>
                    <a:pt x="82" y="26"/>
                  </a:lnTo>
                  <a:lnTo>
                    <a:pt x="82" y="26"/>
                  </a:lnTo>
                  <a:lnTo>
                    <a:pt x="82" y="26"/>
                  </a:lnTo>
                  <a:lnTo>
                    <a:pt x="82" y="26"/>
                  </a:lnTo>
                  <a:lnTo>
                    <a:pt x="82" y="30"/>
                  </a:lnTo>
                  <a:lnTo>
                    <a:pt x="82" y="30"/>
                  </a:lnTo>
                  <a:lnTo>
                    <a:pt x="82" y="30"/>
                  </a:lnTo>
                  <a:lnTo>
                    <a:pt x="82" y="30"/>
                  </a:lnTo>
                  <a:lnTo>
                    <a:pt x="78" y="34"/>
                  </a:lnTo>
                  <a:lnTo>
                    <a:pt x="82" y="34"/>
                  </a:lnTo>
                  <a:lnTo>
                    <a:pt x="82" y="34"/>
                  </a:lnTo>
                  <a:lnTo>
                    <a:pt x="78" y="38"/>
                  </a:lnTo>
                  <a:lnTo>
                    <a:pt x="78" y="38"/>
                  </a:lnTo>
                  <a:lnTo>
                    <a:pt x="74" y="38"/>
                  </a:lnTo>
                  <a:lnTo>
                    <a:pt x="74" y="38"/>
                  </a:lnTo>
                  <a:lnTo>
                    <a:pt x="74" y="34"/>
                  </a:lnTo>
                  <a:lnTo>
                    <a:pt x="74" y="34"/>
                  </a:lnTo>
                  <a:lnTo>
                    <a:pt x="74" y="34"/>
                  </a:lnTo>
                  <a:lnTo>
                    <a:pt x="74" y="34"/>
                  </a:lnTo>
                  <a:lnTo>
                    <a:pt x="74" y="34"/>
                  </a:lnTo>
                  <a:lnTo>
                    <a:pt x="74" y="38"/>
                  </a:lnTo>
                  <a:lnTo>
                    <a:pt x="74" y="38"/>
                  </a:lnTo>
                  <a:lnTo>
                    <a:pt x="74" y="38"/>
                  </a:lnTo>
                  <a:lnTo>
                    <a:pt x="74" y="38"/>
                  </a:lnTo>
                  <a:lnTo>
                    <a:pt x="74" y="38"/>
                  </a:lnTo>
                  <a:lnTo>
                    <a:pt x="74" y="38"/>
                  </a:lnTo>
                  <a:lnTo>
                    <a:pt x="74" y="38"/>
                  </a:lnTo>
                  <a:lnTo>
                    <a:pt x="70" y="42"/>
                  </a:lnTo>
                  <a:lnTo>
                    <a:pt x="70" y="42"/>
                  </a:lnTo>
                  <a:lnTo>
                    <a:pt x="70" y="42"/>
                  </a:lnTo>
                  <a:lnTo>
                    <a:pt x="68" y="38"/>
                  </a:lnTo>
                  <a:lnTo>
                    <a:pt x="68" y="38"/>
                  </a:lnTo>
                  <a:lnTo>
                    <a:pt x="68" y="38"/>
                  </a:lnTo>
                  <a:lnTo>
                    <a:pt x="68" y="34"/>
                  </a:lnTo>
                  <a:lnTo>
                    <a:pt x="68" y="34"/>
                  </a:lnTo>
                  <a:lnTo>
                    <a:pt x="68" y="34"/>
                  </a:lnTo>
                  <a:lnTo>
                    <a:pt x="68" y="30"/>
                  </a:lnTo>
                  <a:lnTo>
                    <a:pt x="68" y="30"/>
                  </a:lnTo>
                  <a:lnTo>
                    <a:pt x="68" y="30"/>
                  </a:lnTo>
                  <a:lnTo>
                    <a:pt x="64" y="30"/>
                  </a:lnTo>
                  <a:lnTo>
                    <a:pt x="64" y="30"/>
                  </a:lnTo>
                  <a:lnTo>
                    <a:pt x="64" y="26"/>
                  </a:lnTo>
                  <a:lnTo>
                    <a:pt x="64" y="26"/>
                  </a:lnTo>
                  <a:lnTo>
                    <a:pt x="64" y="26"/>
                  </a:lnTo>
                  <a:lnTo>
                    <a:pt x="68" y="30"/>
                  </a:lnTo>
                  <a:lnTo>
                    <a:pt x="68" y="30"/>
                  </a:lnTo>
                  <a:lnTo>
                    <a:pt x="68" y="26"/>
                  </a:lnTo>
                  <a:lnTo>
                    <a:pt x="68" y="26"/>
                  </a:lnTo>
                  <a:lnTo>
                    <a:pt x="68" y="26"/>
                  </a:lnTo>
                  <a:lnTo>
                    <a:pt x="68" y="26"/>
                  </a:lnTo>
                  <a:lnTo>
                    <a:pt x="68" y="26"/>
                  </a:lnTo>
                  <a:lnTo>
                    <a:pt x="68" y="26"/>
                  </a:lnTo>
                  <a:lnTo>
                    <a:pt x="68" y="26"/>
                  </a:lnTo>
                  <a:lnTo>
                    <a:pt x="68" y="22"/>
                  </a:lnTo>
                  <a:lnTo>
                    <a:pt x="68" y="22"/>
                  </a:lnTo>
                  <a:lnTo>
                    <a:pt x="68" y="22"/>
                  </a:lnTo>
                  <a:lnTo>
                    <a:pt x="70" y="22"/>
                  </a:lnTo>
                  <a:lnTo>
                    <a:pt x="70" y="26"/>
                  </a:lnTo>
                  <a:lnTo>
                    <a:pt x="70" y="26"/>
                  </a:lnTo>
                  <a:lnTo>
                    <a:pt x="70" y="26"/>
                  </a:lnTo>
                  <a:lnTo>
                    <a:pt x="70" y="26"/>
                  </a:lnTo>
                  <a:lnTo>
                    <a:pt x="74" y="26"/>
                  </a:lnTo>
                  <a:lnTo>
                    <a:pt x="74" y="26"/>
                  </a:lnTo>
                  <a:lnTo>
                    <a:pt x="74" y="26"/>
                  </a:lnTo>
                  <a:lnTo>
                    <a:pt x="74" y="26"/>
                  </a:lnTo>
                  <a:lnTo>
                    <a:pt x="74" y="26"/>
                  </a:lnTo>
                  <a:lnTo>
                    <a:pt x="70" y="26"/>
                  </a:lnTo>
                  <a:lnTo>
                    <a:pt x="70" y="26"/>
                  </a:lnTo>
                  <a:lnTo>
                    <a:pt x="70" y="26"/>
                  </a:lnTo>
                  <a:lnTo>
                    <a:pt x="70" y="26"/>
                  </a:lnTo>
                  <a:lnTo>
                    <a:pt x="70" y="22"/>
                  </a:lnTo>
                  <a:lnTo>
                    <a:pt x="70" y="22"/>
                  </a:lnTo>
                  <a:lnTo>
                    <a:pt x="70" y="22"/>
                  </a:lnTo>
                  <a:lnTo>
                    <a:pt x="68" y="22"/>
                  </a:lnTo>
                  <a:lnTo>
                    <a:pt x="68" y="22"/>
                  </a:lnTo>
                  <a:lnTo>
                    <a:pt x="68" y="22"/>
                  </a:lnTo>
                  <a:lnTo>
                    <a:pt x="68" y="22"/>
                  </a:lnTo>
                  <a:lnTo>
                    <a:pt x="64" y="22"/>
                  </a:lnTo>
                  <a:lnTo>
                    <a:pt x="64" y="22"/>
                  </a:lnTo>
                  <a:lnTo>
                    <a:pt x="64" y="22"/>
                  </a:lnTo>
                  <a:lnTo>
                    <a:pt x="64" y="22"/>
                  </a:lnTo>
                  <a:lnTo>
                    <a:pt x="64" y="18"/>
                  </a:lnTo>
                  <a:lnTo>
                    <a:pt x="64" y="18"/>
                  </a:lnTo>
                  <a:lnTo>
                    <a:pt x="64" y="18"/>
                  </a:lnTo>
                  <a:lnTo>
                    <a:pt x="64" y="18"/>
                  </a:lnTo>
                  <a:lnTo>
                    <a:pt x="64" y="18"/>
                  </a:lnTo>
                  <a:lnTo>
                    <a:pt x="60" y="16"/>
                  </a:lnTo>
                  <a:lnTo>
                    <a:pt x="60" y="16"/>
                  </a:lnTo>
                  <a:lnTo>
                    <a:pt x="60" y="16"/>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6" y="12"/>
                  </a:lnTo>
                  <a:lnTo>
                    <a:pt x="52" y="12"/>
                  </a:lnTo>
                  <a:lnTo>
                    <a:pt x="52" y="12"/>
                  </a:lnTo>
                  <a:lnTo>
                    <a:pt x="52" y="12"/>
                  </a:lnTo>
                  <a:lnTo>
                    <a:pt x="52" y="12"/>
                  </a:lnTo>
                  <a:lnTo>
                    <a:pt x="52" y="12"/>
                  </a:lnTo>
                  <a:lnTo>
                    <a:pt x="52" y="12"/>
                  </a:lnTo>
                  <a:lnTo>
                    <a:pt x="48" y="12"/>
                  </a:lnTo>
                  <a:lnTo>
                    <a:pt x="48" y="12"/>
                  </a:lnTo>
                  <a:lnTo>
                    <a:pt x="48" y="16"/>
                  </a:lnTo>
                  <a:lnTo>
                    <a:pt x="48" y="16"/>
                  </a:lnTo>
                  <a:lnTo>
                    <a:pt x="48" y="16"/>
                  </a:lnTo>
                  <a:lnTo>
                    <a:pt x="48" y="16"/>
                  </a:lnTo>
                  <a:lnTo>
                    <a:pt x="44" y="16"/>
                  </a:lnTo>
                  <a:lnTo>
                    <a:pt x="44" y="16"/>
                  </a:lnTo>
                  <a:lnTo>
                    <a:pt x="44" y="16"/>
                  </a:lnTo>
                  <a:lnTo>
                    <a:pt x="44" y="18"/>
                  </a:lnTo>
                  <a:lnTo>
                    <a:pt x="44" y="18"/>
                  </a:lnTo>
                  <a:lnTo>
                    <a:pt x="44" y="22"/>
                  </a:lnTo>
                  <a:lnTo>
                    <a:pt x="40" y="22"/>
                  </a:lnTo>
                  <a:lnTo>
                    <a:pt x="40" y="22"/>
                  </a:lnTo>
                  <a:lnTo>
                    <a:pt x="40" y="22"/>
                  </a:lnTo>
                  <a:lnTo>
                    <a:pt x="40" y="22"/>
                  </a:lnTo>
                  <a:close/>
                  <a:moveTo>
                    <a:pt x="10" y="4"/>
                  </a:moveTo>
                  <a:lnTo>
                    <a:pt x="10" y="4"/>
                  </a:lnTo>
                  <a:lnTo>
                    <a:pt x="10" y="4"/>
                  </a:lnTo>
                  <a:lnTo>
                    <a:pt x="10" y="4"/>
                  </a:lnTo>
                  <a:lnTo>
                    <a:pt x="10" y="8"/>
                  </a:lnTo>
                  <a:lnTo>
                    <a:pt x="10" y="8"/>
                  </a:lnTo>
                  <a:lnTo>
                    <a:pt x="10" y="8"/>
                  </a:lnTo>
                  <a:lnTo>
                    <a:pt x="10" y="4"/>
                  </a:lnTo>
                  <a:lnTo>
                    <a:pt x="10" y="4"/>
                  </a:lnTo>
                  <a:lnTo>
                    <a:pt x="10" y="4"/>
                  </a:lnTo>
                  <a:close/>
                  <a:moveTo>
                    <a:pt x="60" y="22"/>
                  </a:moveTo>
                  <a:lnTo>
                    <a:pt x="60" y="22"/>
                  </a:lnTo>
                  <a:lnTo>
                    <a:pt x="60" y="22"/>
                  </a:lnTo>
                  <a:lnTo>
                    <a:pt x="60" y="22"/>
                  </a:lnTo>
                  <a:lnTo>
                    <a:pt x="60" y="22"/>
                  </a:lnTo>
                  <a:lnTo>
                    <a:pt x="60" y="22"/>
                  </a:lnTo>
                  <a:lnTo>
                    <a:pt x="60" y="22"/>
                  </a:lnTo>
                  <a:lnTo>
                    <a:pt x="60" y="26"/>
                  </a:lnTo>
                  <a:lnTo>
                    <a:pt x="56" y="22"/>
                  </a:lnTo>
                  <a:lnTo>
                    <a:pt x="56" y="22"/>
                  </a:lnTo>
                  <a:lnTo>
                    <a:pt x="56" y="22"/>
                  </a:lnTo>
                  <a:lnTo>
                    <a:pt x="60" y="22"/>
                  </a:lnTo>
                  <a:lnTo>
                    <a:pt x="60" y="22"/>
                  </a:lnTo>
                  <a:lnTo>
                    <a:pt x="60" y="22"/>
                  </a:lnTo>
                  <a:lnTo>
                    <a:pt x="60" y="22"/>
                  </a:lnTo>
                  <a:close/>
                  <a:moveTo>
                    <a:pt x="18" y="34"/>
                  </a:moveTo>
                  <a:lnTo>
                    <a:pt x="18" y="38"/>
                  </a:lnTo>
                  <a:lnTo>
                    <a:pt x="18" y="38"/>
                  </a:lnTo>
                  <a:lnTo>
                    <a:pt x="18" y="38"/>
                  </a:lnTo>
                  <a:lnTo>
                    <a:pt x="18" y="38"/>
                  </a:lnTo>
                  <a:lnTo>
                    <a:pt x="18" y="38"/>
                  </a:lnTo>
                  <a:lnTo>
                    <a:pt x="18" y="38"/>
                  </a:lnTo>
                  <a:lnTo>
                    <a:pt x="18" y="42"/>
                  </a:lnTo>
                  <a:lnTo>
                    <a:pt x="18" y="42"/>
                  </a:lnTo>
                  <a:lnTo>
                    <a:pt x="18" y="42"/>
                  </a:lnTo>
                  <a:lnTo>
                    <a:pt x="18" y="42"/>
                  </a:lnTo>
                  <a:lnTo>
                    <a:pt x="18" y="42"/>
                  </a:lnTo>
                  <a:lnTo>
                    <a:pt x="18" y="42"/>
                  </a:lnTo>
                  <a:lnTo>
                    <a:pt x="18" y="42"/>
                  </a:lnTo>
                  <a:lnTo>
                    <a:pt x="18" y="42"/>
                  </a:lnTo>
                  <a:lnTo>
                    <a:pt x="18" y="42"/>
                  </a:lnTo>
                  <a:lnTo>
                    <a:pt x="18" y="42"/>
                  </a:lnTo>
                  <a:lnTo>
                    <a:pt x="14" y="38"/>
                  </a:lnTo>
                  <a:lnTo>
                    <a:pt x="14" y="38"/>
                  </a:lnTo>
                  <a:lnTo>
                    <a:pt x="14" y="38"/>
                  </a:lnTo>
                  <a:lnTo>
                    <a:pt x="14" y="38"/>
                  </a:lnTo>
                  <a:lnTo>
                    <a:pt x="14" y="38"/>
                  </a:lnTo>
                  <a:lnTo>
                    <a:pt x="18" y="34"/>
                  </a:lnTo>
                  <a:lnTo>
                    <a:pt x="18" y="34"/>
                  </a:lnTo>
                  <a:lnTo>
                    <a:pt x="18" y="34"/>
                  </a:lnTo>
                  <a:lnTo>
                    <a:pt x="18" y="3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89" name="Freeform 82"/>
            <p:cNvSpPr>
              <a:spLocks noEditPoints="1"/>
            </p:cNvSpPr>
            <p:nvPr/>
          </p:nvSpPr>
          <p:spPr bwMode="auto">
            <a:xfrm>
              <a:off x="6443703" y="3952538"/>
              <a:ext cx="16328" cy="6538"/>
            </a:xfrm>
            <a:custGeom>
              <a:avLst/>
              <a:gdLst>
                <a:gd name="T0" fmla="*/ 18 w 26"/>
                <a:gd name="T1" fmla="*/ 6 h 10"/>
                <a:gd name="T2" fmla="*/ 18 w 26"/>
                <a:gd name="T3" fmla="*/ 6 h 10"/>
                <a:gd name="T4" fmla="*/ 18 w 26"/>
                <a:gd name="T5" fmla="*/ 10 h 10"/>
                <a:gd name="T6" fmla="*/ 16 w 26"/>
                <a:gd name="T7" fmla="*/ 10 h 10"/>
                <a:gd name="T8" fmla="*/ 12 w 26"/>
                <a:gd name="T9" fmla="*/ 10 h 10"/>
                <a:gd name="T10" fmla="*/ 12 w 26"/>
                <a:gd name="T11" fmla="*/ 10 h 10"/>
                <a:gd name="T12" fmla="*/ 8 w 26"/>
                <a:gd name="T13" fmla="*/ 10 h 10"/>
                <a:gd name="T14" fmla="*/ 8 w 26"/>
                <a:gd name="T15" fmla="*/ 10 h 10"/>
                <a:gd name="T16" fmla="*/ 8 w 26"/>
                <a:gd name="T17" fmla="*/ 6 h 10"/>
                <a:gd name="T18" fmla="*/ 4 w 26"/>
                <a:gd name="T19" fmla="*/ 10 h 10"/>
                <a:gd name="T20" fmla="*/ 4 w 26"/>
                <a:gd name="T21" fmla="*/ 10 h 10"/>
                <a:gd name="T22" fmla="*/ 4 w 26"/>
                <a:gd name="T23" fmla="*/ 10 h 10"/>
                <a:gd name="T24" fmla="*/ 0 w 26"/>
                <a:gd name="T25" fmla="*/ 10 h 10"/>
                <a:gd name="T26" fmla="*/ 0 w 26"/>
                <a:gd name="T27" fmla="*/ 10 h 10"/>
                <a:gd name="T28" fmla="*/ 0 w 26"/>
                <a:gd name="T29" fmla="*/ 6 h 10"/>
                <a:gd name="T30" fmla="*/ 0 w 26"/>
                <a:gd name="T31" fmla="*/ 2 h 10"/>
                <a:gd name="T32" fmla="*/ 0 w 26"/>
                <a:gd name="T33" fmla="*/ 2 h 10"/>
                <a:gd name="T34" fmla="*/ 0 w 26"/>
                <a:gd name="T35" fmla="*/ 2 h 10"/>
                <a:gd name="T36" fmla="*/ 0 w 26"/>
                <a:gd name="T37" fmla="*/ 2 h 10"/>
                <a:gd name="T38" fmla="*/ 0 w 26"/>
                <a:gd name="T39" fmla="*/ 2 h 10"/>
                <a:gd name="T40" fmla="*/ 0 w 26"/>
                <a:gd name="T41" fmla="*/ 2 h 10"/>
                <a:gd name="T42" fmla="*/ 0 w 26"/>
                <a:gd name="T43" fmla="*/ 0 h 10"/>
                <a:gd name="T44" fmla="*/ 0 w 26"/>
                <a:gd name="T45" fmla="*/ 0 h 10"/>
                <a:gd name="T46" fmla="*/ 0 w 26"/>
                <a:gd name="T47" fmla="*/ 0 h 10"/>
                <a:gd name="T48" fmla="*/ 4 w 26"/>
                <a:gd name="T49" fmla="*/ 0 h 10"/>
                <a:gd name="T50" fmla="*/ 4 w 26"/>
                <a:gd name="T51" fmla="*/ 0 h 10"/>
                <a:gd name="T52" fmla="*/ 8 w 26"/>
                <a:gd name="T53" fmla="*/ 0 h 10"/>
                <a:gd name="T54" fmla="*/ 12 w 26"/>
                <a:gd name="T55" fmla="*/ 0 h 10"/>
                <a:gd name="T56" fmla="*/ 16 w 26"/>
                <a:gd name="T57" fmla="*/ 0 h 10"/>
                <a:gd name="T58" fmla="*/ 16 w 26"/>
                <a:gd name="T59" fmla="*/ 0 h 10"/>
                <a:gd name="T60" fmla="*/ 16 w 26"/>
                <a:gd name="T61" fmla="*/ 0 h 10"/>
                <a:gd name="T62" fmla="*/ 16 w 26"/>
                <a:gd name="T63" fmla="*/ 0 h 10"/>
                <a:gd name="T64" fmla="*/ 18 w 26"/>
                <a:gd name="T65" fmla="*/ 0 h 10"/>
                <a:gd name="T66" fmla="*/ 18 w 26"/>
                <a:gd name="T67" fmla="*/ 0 h 10"/>
                <a:gd name="T68" fmla="*/ 22 w 26"/>
                <a:gd name="T69" fmla="*/ 2 h 10"/>
                <a:gd name="T70" fmla="*/ 22 w 26"/>
                <a:gd name="T71" fmla="*/ 2 h 10"/>
                <a:gd name="T72" fmla="*/ 22 w 26"/>
                <a:gd name="T73" fmla="*/ 2 h 10"/>
                <a:gd name="T74" fmla="*/ 22 w 26"/>
                <a:gd name="T75" fmla="*/ 2 h 10"/>
                <a:gd name="T76" fmla="*/ 18 w 26"/>
                <a:gd name="T77" fmla="*/ 6 h 10"/>
                <a:gd name="T78" fmla="*/ 18 w 26"/>
                <a:gd name="T79" fmla="*/ 6 h 10"/>
                <a:gd name="T80" fmla="*/ 22 w 26"/>
                <a:gd name="T81" fmla="*/ 6 h 10"/>
                <a:gd name="T82" fmla="*/ 22 w 26"/>
                <a:gd name="T83" fmla="*/ 6 h 10"/>
                <a:gd name="T84" fmla="*/ 22 w 26"/>
                <a:gd name="T85" fmla="*/ 6 h 10"/>
                <a:gd name="T86" fmla="*/ 26 w 26"/>
                <a:gd name="T87" fmla="*/ 6 h 10"/>
                <a:gd name="T88" fmla="*/ 26 w 26"/>
                <a:gd name="T89" fmla="*/ 6 h 10"/>
                <a:gd name="T90" fmla="*/ 26 w 26"/>
                <a:gd name="T91" fmla="*/ 6 h 10"/>
                <a:gd name="T92" fmla="*/ 22 w 26"/>
                <a:gd name="T93" fmla="*/ 6 h 10"/>
                <a:gd name="T94" fmla="*/ 22 w 26"/>
                <a:gd name="T95"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 h="10">
                  <a:moveTo>
                    <a:pt x="18" y="6"/>
                  </a:moveTo>
                  <a:lnTo>
                    <a:pt x="18" y="6"/>
                  </a:lnTo>
                  <a:lnTo>
                    <a:pt x="18" y="6"/>
                  </a:lnTo>
                  <a:lnTo>
                    <a:pt x="18" y="6"/>
                  </a:lnTo>
                  <a:lnTo>
                    <a:pt x="18" y="6"/>
                  </a:lnTo>
                  <a:lnTo>
                    <a:pt x="18" y="10"/>
                  </a:lnTo>
                  <a:lnTo>
                    <a:pt x="18" y="10"/>
                  </a:lnTo>
                  <a:lnTo>
                    <a:pt x="16" y="10"/>
                  </a:lnTo>
                  <a:lnTo>
                    <a:pt x="16" y="10"/>
                  </a:lnTo>
                  <a:lnTo>
                    <a:pt x="12" y="10"/>
                  </a:lnTo>
                  <a:lnTo>
                    <a:pt x="12" y="10"/>
                  </a:lnTo>
                  <a:lnTo>
                    <a:pt x="12" y="10"/>
                  </a:lnTo>
                  <a:lnTo>
                    <a:pt x="12" y="6"/>
                  </a:lnTo>
                  <a:lnTo>
                    <a:pt x="8" y="10"/>
                  </a:lnTo>
                  <a:lnTo>
                    <a:pt x="8" y="10"/>
                  </a:lnTo>
                  <a:lnTo>
                    <a:pt x="8" y="10"/>
                  </a:lnTo>
                  <a:lnTo>
                    <a:pt x="8" y="10"/>
                  </a:lnTo>
                  <a:lnTo>
                    <a:pt x="8" y="6"/>
                  </a:lnTo>
                  <a:lnTo>
                    <a:pt x="8" y="6"/>
                  </a:lnTo>
                  <a:lnTo>
                    <a:pt x="4" y="10"/>
                  </a:lnTo>
                  <a:lnTo>
                    <a:pt x="4" y="10"/>
                  </a:lnTo>
                  <a:lnTo>
                    <a:pt x="4" y="10"/>
                  </a:lnTo>
                  <a:lnTo>
                    <a:pt x="4" y="10"/>
                  </a:lnTo>
                  <a:lnTo>
                    <a:pt x="4" y="10"/>
                  </a:lnTo>
                  <a:lnTo>
                    <a:pt x="4" y="10"/>
                  </a:lnTo>
                  <a:lnTo>
                    <a:pt x="0" y="10"/>
                  </a:lnTo>
                  <a:lnTo>
                    <a:pt x="0" y="10"/>
                  </a:lnTo>
                  <a:lnTo>
                    <a:pt x="0" y="10"/>
                  </a:lnTo>
                  <a:lnTo>
                    <a:pt x="0" y="10"/>
                  </a:lnTo>
                  <a:lnTo>
                    <a:pt x="0" y="6"/>
                  </a:lnTo>
                  <a:lnTo>
                    <a:pt x="0" y="6"/>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4" y="0"/>
                  </a:lnTo>
                  <a:lnTo>
                    <a:pt x="4" y="0"/>
                  </a:lnTo>
                  <a:lnTo>
                    <a:pt x="4" y="0"/>
                  </a:lnTo>
                  <a:lnTo>
                    <a:pt x="4" y="0"/>
                  </a:lnTo>
                  <a:lnTo>
                    <a:pt x="8" y="0"/>
                  </a:lnTo>
                  <a:lnTo>
                    <a:pt x="8" y="0"/>
                  </a:lnTo>
                  <a:lnTo>
                    <a:pt x="8" y="0"/>
                  </a:lnTo>
                  <a:lnTo>
                    <a:pt x="12" y="0"/>
                  </a:lnTo>
                  <a:lnTo>
                    <a:pt x="12" y="0"/>
                  </a:lnTo>
                  <a:lnTo>
                    <a:pt x="16" y="0"/>
                  </a:lnTo>
                  <a:lnTo>
                    <a:pt x="16" y="0"/>
                  </a:lnTo>
                  <a:lnTo>
                    <a:pt x="16" y="0"/>
                  </a:lnTo>
                  <a:lnTo>
                    <a:pt x="16" y="0"/>
                  </a:lnTo>
                  <a:lnTo>
                    <a:pt x="16" y="0"/>
                  </a:lnTo>
                  <a:lnTo>
                    <a:pt x="16" y="0"/>
                  </a:lnTo>
                  <a:lnTo>
                    <a:pt x="16" y="0"/>
                  </a:lnTo>
                  <a:lnTo>
                    <a:pt x="18" y="0"/>
                  </a:lnTo>
                  <a:lnTo>
                    <a:pt x="18" y="0"/>
                  </a:lnTo>
                  <a:lnTo>
                    <a:pt x="18" y="0"/>
                  </a:lnTo>
                  <a:lnTo>
                    <a:pt x="18" y="0"/>
                  </a:lnTo>
                  <a:lnTo>
                    <a:pt x="18" y="0"/>
                  </a:lnTo>
                  <a:lnTo>
                    <a:pt x="22" y="2"/>
                  </a:lnTo>
                  <a:lnTo>
                    <a:pt x="22" y="2"/>
                  </a:lnTo>
                  <a:lnTo>
                    <a:pt x="22" y="2"/>
                  </a:lnTo>
                  <a:lnTo>
                    <a:pt x="22" y="2"/>
                  </a:lnTo>
                  <a:lnTo>
                    <a:pt x="22" y="2"/>
                  </a:lnTo>
                  <a:lnTo>
                    <a:pt x="22" y="2"/>
                  </a:lnTo>
                  <a:lnTo>
                    <a:pt x="22" y="2"/>
                  </a:lnTo>
                  <a:lnTo>
                    <a:pt x="18" y="6"/>
                  </a:lnTo>
                  <a:lnTo>
                    <a:pt x="18" y="6"/>
                  </a:lnTo>
                  <a:lnTo>
                    <a:pt x="18" y="6"/>
                  </a:lnTo>
                  <a:lnTo>
                    <a:pt x="18" y="6"/>
                  </a:lnTo>
                  <a:close/>
                  <a:moveTo>
                    <a:pt x="22" y="6"/>
                  </a:moveTo>
                  <a:lnTo>
                    <a:pt x="22" y="6"/>
                  </a:lnTo>
                  <a:lnTo>
                    <a:pt x="22" y="6"/>
                  </a:lnTo>
                  <a:lnTo>
                    <a:pt x="22" y="6"/>
                  </a:lnTo>
                  <a:lnTo>
                    <a:pt x="22" y="6"/>
                  </a:lnTo>
                  <a:lnTo>
                    <a:pt x="22" y="6"/>
                  </a:lnTo>
                  <a:lnTo>
                    <a:pt x="22" y="6"/>
                  </a:lnTo>
                  <a:lnTo>
                    <a:pt x="26" y="6"/>
                  </a:lnTo>
                  <a:lnTo>
                    <a:pt x="26" y="6"/>
                  </a:lnTo>
                  <a:lnTo>
                    <a:pt x="26" y="6"/>
                  </a:lnTo>
                  <a:lnTo>
                    <a:pt x="26" y="6"/>
                  </a:lnTo>
                  <a:lnTo>
                    <a:pt x="26" y="6"/>
                  </a:lnTo>
                  <a:lnTo>
                    <a:pt x="26" y="6"/>
                  </a:lnTo>
                  <a:lnTo>
                    <a:pt x="22" y="6"/>
                  </a:lnTo>
                  <a:lnTo>
                    <a:pt x="22" y="6"/>
                  </a:lnTo>
                  <a:lnTo>
                    <a:pt x="22" y="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90" name="Freeform 83"/>
            <p:cNvSpPr>
              <a:spLocks noEditPoints="1"/>
            </p:cNvSpPr>
            <p:nvPr/>
          </p:nvSpPr>
          <p:spPr bwMode="auto">
            <a:xfrm>
              <a:off x="6539156" y="3603413"/>
              <a:ext cx="2512" cy="5230"/>
            </a:xfrm>
            <a:custGeom>
              <a:avLst/>
              <a:gdLst>
                <a:gd name="T0" fmla="*/ 0 w 4"/>
                <a:gd name="T1" fmla="*/ 0 h 8"/>
                <a:gd name="T2" fmla="*/ 4 w 4"/>
                <a:gd name="T3" fmla="*/ 0 h 8"/>
                <a:gd name="T4" fmla="*/ 4 w 4"/>
                <a:gd name="T5" fmla="*/ 0 h 8"/>
                <a:gd name="T6" fmla="*/ 0 w 4"/>
                <a:gd name="T7" fmla="*/ 0 h 8"/>
                <a:gd name="T8" fmla="*/ 0 w 4"/>
                <a:gd name="T9" fmla="*/ 0 h 8"/>
                <a:gd name="T10" fmla="*/ 0 w 4"/>
                <a:gd name="T11" fmla="*/ 0 h 8"/>
                <a:gd name="T12" fmla="*/ 0 w 4"/>
                <a:gd name="T13" fmla="*/ 0 h 8"/>
                <a:gd name="T14" fmla="*/ 0 w 4"/>
                <a:gd name="T15" fmla="*/ 0 h 8"/>
                <a:gd name="T16" fmla="*/ 0 w 4"/>
                <a:gd name="T17" fmla="*/ 0 h 8"/>
                <a:gd name="T18" fmla="*/ 0 w 4"/>
                <a:gd name="T19" fmla="*/ 0 h 8"/>
                <a:gd name="T20" fmla="*/ 0 w 4"/>
                <a:gd name="T21" fmla="*/ 0 h 8"/>
                <a:gd name="T22" fmla="*/ 0 w 4"/>
                <a:gd name="T23" fmla="*/ 4 h 8"/>
                <a:gd name="T24" fmla="*/ 0 w 4"/>
                <a:gd name="T25" fmla="*/ 4 h 8"/>
                <a:gd name="T26" fmla="*/ 0 w 4"/>
                <a:gd name="T27" fmla="*/ 4 h 8"/>
                <a:gd name="T28" fmla="*/ 0 w 4"/>
                <a:gd name="T29" fmla="*/ 4 h 8"/>
                <a:gd name="T30" fmla="*/ 0 w 4"/>
                <a:gd name="T31" fmla="*/ 4 h 8"/>
                <a:gd name="T32" fmla="*/ 4 w 4"/>
                <a:gd name="T33" fmla="*/ 4 h 8"/>
                <a:gd name="T34" fmla="*/ 4 w 4"/>
                <a:gd name="T35" fmla="*/ 4 h 8"/>
                <a:gd name="T36" fmla="*/ 4 w 4"/>
                <a:gd name="T37" fmla="*/ 4 h 8"/>
                <a:gd name="T38" fmla="*/ 4 w 4"/>
                <a:gd name="T39" fmla="*/ 4 h 8"/>
                <a:gd name="T40" fmla="*/ 4 w 4"/>
                <a:gd name="T41" fmla="*/ 4 h 8"/>
                <a:gd name="T42" fmla="*/ 4 w 4"/>
                <a:gd name="T43" fmla="*/ 4 h 8"/>
                <a:gd name="T44" fmla="*/ 0 w 4"/>
                <a:gd name="T45" fmla="*/ 4 h 8"/>
                <a:gd name="T46" fmla="*/ 0 w 4"/>
                <a:gd name="T47" fmla="*/ 4 h 8"/>
                <a:gd name="T48" fmla="*/ 0 w 4"/>
                <a:gd name="T49" fmla="*/ 4 h 8"/>
                <a:gd name="T50" fmla="*/ 0 w 4"/>
                <a:gd name="T51" fmla="*/ 4 h 8"/>
                <a:gd name="T52" fmla="*/ 0 w 4"/>
                <a:gd name="T53" fmla="*/ 4 h 8"/>
                <a:gd name="T54" fmla="*/ 0 w 4"/>
                <a:gd name="T55" fmla="*/ 4 h 8"/>
                <a:gd name="T56" fmla="*/ 0 w 4"/>
                <a:gd name="T57" fmla="*/ 4 h 8"/>
                <a:gd name="T58" fmla="*/ 0 w 4"/>
                <a:gd name="T59" fmla="*/ 4 h 8"/>
                <a:gd name="T60" fmla="*/ 0 w 4"/>
                <a:gd name="T61" fmla="*/ 4 h 8"/>
                <a:gd name="T62" fmla="*/ 0 w 4"/>
                <a:gd name="T63" fmla="*/ 4 h 8"/>
                <a:gd name="T64" fmla="*/ 0 w 4"/>
                <a:gd name="T65" fmla="*/ 4 h 8"/>
                <a:gd name="T66" fmla="*/ 0 w 4"/>
                <a:gd name="T67" fmla="*/ 0 h 8"/>
                <a:gd name="T68" fmla="*/ 0 w 4"/>
                <a:gd name="T69" fmla="*/ 0 h 8"/>
                <a:gd name="T70" fmla="*/ 0 w 4"/>
                <a:gd name="T71" fmla="*/ 0 h 8"/>
                <a:gd name="T72" fmla="*/ 0 w 4"/>
                <a:gd name="T73" fmla="*/ 0 h 8"/>
                <a:gd name="T74" fmla="*/ 0 w 4"/>
                <a:gd name="T75" fmla="*/ 0 h 8"/>
                <a:gd name="T76" fmla="*/ 0 w 4"/>
                <a:gd name="T77" fmla="*/ 0 h 8"/>
                <a:gd name="T78" fmla="*/ 0 w 4"/>
                <a:gd name="T79" fmla="*/ 0 h 8"/>
                <a:gd name="T80" fmla="*/ 0 w 4"/>
                <a:gd name="T81" fmla="*/ 0 h 8"/>
                <a:gd name="T82" fmla="*/ 0 w 4"/>
                <a:gd name="T83" fmla="*/ 0 h 8"/>
                <a:gd name="T84" fmla="*/ 0 w 4"/>
                <a:gd name="T85" fmla="*/ 0 h 8"/>
                <a:gd name="T86" fmla="*/ 0 w 4"/>
                <a:gd name="T87" fmla="*/ 0 h 8"/>
                <a:gd name="T88" fmla="*/ 0 w 4"/>
                <a:gd name="T89" fmla="*/ 0 h 8"/>
                <a:gd name="T90" fmla="*/ 0 w 4"/>
                <a:gd name="T91" fmla="*/ 0 h 8"/>
                <a:gd name="T92" fmla="*/ 4 w 4"/>
                <a:gd name="T93" fmla="*/ 4 h 8"/>
                <a:gd name="T94" fmla="*/ 4 w 4"/>
                <a:gd name="T95" fmla="*/ 4 h 8"/>
                <a:gd name="T96" fmla="*/ 4 w 4"/>
                <a:gd name="T97" fmla="*/ 8 h 8"/>
                <a:gd name="T98" fmla="*/ 4 w 4"/>
                <a:gd name="T99" fmla="*/ 8 h 8"/>
                <a:gd name="T100" fmla="*/ 4 w 4"/>
                <a:gd name="T101" fmla="*/ 8 h 8"/>
                <a:gd name="T102" fmla="*/ 4 w 4"/>
                <a:gd name="T103" fmla="*/ 4 h 8"/>
                <a:gd name="T104" fmla="*/ 4 w 4"/>
                <a:gd name="T105" fmla="*/ 4 h 8"/>
                <a:gd name="T106" fmla="*/ 4 w 4"/>
                <a:gd name="T10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 h="8">
                  <a:moveTo>
                    <a:pt x="0" y="0"/>
                  </a:moveTo>
                  <a:lnTo>
                    <a:pt x="4" y="0"/>
                  </a:lnTo>
                  <a:lnTo>
                    <a:pt x="4" y="0"/>
                  </a:lnTo>
                  <a:lnTo>
                    <a:pt x="0" y="0"/>
                  </a:lnTo>
                  <a:lnTo>
                    <a:pt x="0" y="0"/>
                  </a:lnTo>
                  <a:lnTo>
                    <a:pt x="0" y="0"/>
                  </a:lnTo>
                  <a:lnTo>
                    <a:pt x="0" y="0"/>
                  </a:lnTo>
                  <a:lnTo>
                    <a:pt x="0" y="0"/>
                  </a:lnTo>
                  <a:lnTo>
                    <a:pt x="0" y="0"/>
                  </a:lnTo>
                  <a:lnTo>
                    <a:pt x="0" y="0"/>
                  </a:lnTo>
                  <a:lnTo>
                    <a:pt x="0" y="0"/>
                  </a:lnTo>
                  <a:lnTo>
                    <a:pt x="0" y="4"/>
                  </a:lnTo>
                  <a:lnTo>
                    <a:pt x="0" y="4"/>
                  </a:lnTo>
                  <a:lnTo>
                    <a:pt x="0" y="4"/>
                  </a:lnTo>
                  <a:lnTo>
                    <a:pt x="0" y="4"/>
                  </a:lnTo>
                  <a:lnTo>
                    <a:pt x="0" y="4"/>
                  </a:lnTo>
                  <a:lnTo>
                    <a:pt x="4" y="4"/>
                  </a:lnTo>
                  <a:lnTo>
                    <a:pt x="4" y="4"/>
                  </a:lnTo>
                  <a:lnTo>
                    <a:pt x="4" y="4"/>
                  </a:lnTo>
                  <a:lnTo>
                    <a:pt x="4" y="4"/>
                  </a:lnTo>
                  <a:lnTo>
                    <a:pt x="4" y="4"/>
                  </a:lnTo>
                  <a:lnTo>
                    <a:pt x="4"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4" y="4"/>
                  </a:moveTo>
                  <a:lnTo>
                    <a:pt x="4" y="4"/>
                  </a:lnTo>
                  <a:lnTo>
                    <a:pt x="4" y="8"/>
                  </a:lnTo>
                  <a:lnTo>
                    <a:pt x="4" y="8"/>
                  </a:lnTo>
                  <a:lnTo>
                    <a:pt x="4" y="8"/>
                  </a:lnTo>
                  <a:lnTo>
                    <a:pt x="4" y="4"/>
                  </a:lnTo>
                  <a:lnTo>
                    <a:pt x="4" y="4"/>
                  </a:lnTo>
                  <a:lnTo>
                    <a:pt x="4" y="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91" name="Freeform 84"/>
            <p:cNvSpPr>
              <a:spLocks noEditPoints="1"/>
            </p:cNvSpPr>
            <p:nvPr/>
          </p:nvSpPr>
          <p:spPr bwMode="auto">
            <a:xfrm>
              <a:off x="6338202" y="3854469"/>
              <a:ext cx="56518" cy="71917"/>
            </a:xfrm>
            <a:custGeom>
              <a:avLst/>
              <a:gdLst>
                <a:gd name="T0" fmla="*/ 52 w 90"/>
                <a:gd name="T1" fmla="*/ 50 h 110"/>
                <a:gd name="T2" fmla="*/ 48 w 90"/>
                <a:gd name="T3" fmla="*/ 46 h 110"/>
                <a:gd name="T4" fmla="*/ 52 w 90"/>
                <a:gd name="T5" fmla="*/ 50 h 110"/>
                <a:gd name="T6" fmla="*/ 64 w 90"/>
                <a:gd name="T7" fmla="*/ 50 h 110"/>
                <a:gd name="T8" fmla="*/ 64 w 90"/>
                <a:gd name="T9" fmla="*/ 54 h 110"/>
                <a:gd name="T10" fmla="*/ 86 w 90"/>
                <a:gd name="T11" fmla="*/ 82 h 110"/>
                <a:gd name="T12" fmla="*/ 86 w 90"/>
                <a:gd name="T13" fmla="*/ 80 h 110"/>
                <a:gd name="T14" fmla="*/ 90 w 90"/>
                <a:gd name="T15" fmla="*/ 82 h 110"/>
                <a:gd name="T16" fmla="*/ 22 w 90"/>
                <a:gd name="T17" fmla="*/ 0 h 110"/>
                <a:gd name="T18" fmla="*/ 26 w 90"/>
                <a:gd name="T19" fmla="*/ 8 h 110"/>
                <a:gd name="T20" fmla="*/ 26 w 90"/>
                <a:gd name="T21" fmla="*/ 12 h 110"/>
                <a:gd name="T22" fmla="*/ 26 w 90"/>
                <a:gd name="T23" fmla="*/ 16 h 110"/>
                <a:gd name="T24" fmla="*/ 26 w 90"/>
                <a:gd name="T25" fmla="*/ 12 h 110"/>
                <a:gd name="T26" fmla="*/ 22 w 90"/>
                <a:gd name="T27" fmla="*/ 4 h 110"/>
                <a:gd name="T28" fmla="*/ 16 w 90"/>
                <a:gd name="T29" fmla="*/ 0 h 110"/>
                <a:gd name="T30" fmla="*/ 4 w 90"/>
                <a:gd name="T31" fmla="*/ 8 h 110"/>
                <a:gd name="T32" fmla="*/ 8 w 90"/>
                <a:gd name="T33" fmla="*/ 4 h 110"/>
                <a:gd name="T34" fmla="*/ 12 w 90"/>
                <a:gd name="T35" fmla="*/ 4 h 110"/>
                <a:gd name="T36" fmla="*/ 4 w 90"/>
                <a:gd name="T37" fmla="*/ 8 h 110"/>
                <a:gd name="T38" fmla="*/ 34 w 90"/>
                <a:gd name="T39" fmla="*/ 26 h 110"/>
                <a:gd name="T40" fmla="*/ 42 w 90"/>
                <a:gd name="T41" fmla="*/ 30 h 110"/>
                <a:gd name="T42" fmla="*/ 42 w 90"/>
                <a:gd name="T43" fmla="*/ 42 h 110"/>
                <a:gd name="T44" fmla="*/ 42 w 90"/>
                <a:gd name="T45" fmla="*/ 38 h 110"/>
                <a:gd name="T46" fmla="*/ 38 w 90"/>
                <a:gd name="T47" fmla="*/ 30 h 110"/>
                <a:gd name="T48" fmla="*/ 34 w 90"/>
                <a:gd name="T49" fmla="*/ 24 h 110"/>
                <a:gd name="T50" fmla="*/ 12 w 90"/>
                <a:gd name="T51" fmla="*/ 30 h 110"/>
                <a:gd name="T52" fmla="*/ 16 w 90"/>
                <a:gd name="T53" fmla="*/ 38 h 110"/>
                <a:gd name="T54" fmla="*/ 18 w 90"/>
                <a:gd name="T55" fmla="*/ 46 h 110"/>
                <a:gd name="T56" fmla="*/ 12 w 90"/>
                <a:gd name="T57" fmla="*/ 46 h 110"/>
                <a:gd name="T58" fmla="*/ 12 w 90"/>
                <a:gd name="T59" fmla="*/ 42 h 110"/>
                <a:gd name="T60" fmla="*/ 12 w 90"/>
                <a:gd name="T61" fmla="*/ 38 h 110"/>
                <a:gd name="T62" fmla="*/ 12 w 90"/>
                <a:gd name="T63" fmla="*/ 30 h 110"/>
                <a:gd name="T64" fmla="*/ 26 w 90"/>
                <a:gd name="T65" fmla="*/ 34 h 110"/>
                <a:gd name="T66" fmla="*/ 22 w 90"/>
                <a:gd name="T67" fmla="*/ 34 h 110"/>
                <a:gd name="T68" fmla="*/ 18 w 90"/>
                <a:gd name="T69" fmla="*/ 50 h 110"/>
                <a:gd name="T70" fmla="*/ 22 w 90"/>
                <a:gd name="T71" fmla="*/ 56 h 110"/>
                <a:gd name="T72" fmla="*/ 18 w 90"/>
                <a:gd name="T73" fmla="*/ 56 h 110"/>
                <a:gd name="T74" fmla="*/ 18 w 90"/>
                <a:gd name="T75" fmla="*/ 50 h 110"/>
                <a:gd name="T76" fmla="*/ 44 w 90"/>
                <a:gd name="T77" fmla="*/ 60 h 110"/>
                <a:gd name="T78" fmla="*/ 44 w 90"/>
                <a:gd name="T79" fmla="*/ 56 h 110"/>
                <a:gd name="T80" fmla="*/ 52 w 90"/>
                <a:gd name="T81" fmla="*/ 60 h 110"/>
                <a:gd name="T82" fmla="*/ 60 w 90"/>
                <a:gd name="T83" fmla="*/ 68 h 110"/>
                <a:gd name="T84" fmla="*/ 56 w 90"/>
                <a:gd name="T85" fmla="*/ 68 h 110"/>
                <a:gd name="T86" fmla="*/ 52 w 90"/>
                <a:gd name="T87" fmla="*/ 60 h 110"/>
                <a:gd name="T88" fmla="*/ 68 w 90"/>
                <a:gd name="T89" fmla="*/ 76 h 110"/>
                <a:gd name="T90" fmla="*/ 70 w 90"/>
                <a:gd name="T91" fmla="*/ 76 h 110"/>
                <a:gd name="T92" fmla="*/ 68 w 90"/>
                <a:gd name="T93" fmla="*/ 86 h 110"/>
                <a:gd name="T94" fmla="*/ 70 w 90"/>
                <a:gd name="T95" fmla="*/ 80 h 110"/>
                <a:gd name="T96" fmla="*/ 70 w 90"/>
                <a:gd name="T97" fmla="*/ 76 h 110"/>
                <a:gd name="T98" fmla="*/ 70 w 90"/>
                <a:gd name="T99" fmla="*/ 82 h 110"/>
                <a:gd name="T100" fmla="*/ 68 w 90"/>
                <a:gd name="T101" fmla="*/ 86 h 110"/>
                <a:gd name="T102" fmla="*/ 74 w 90"/>
                <a:gd name="T103" fmla="*/ 106 h 110"/>
                <a:gd name="T104" fmla="*/ 82 w 90"/>
                <a:gd name="T105" fmla="*/ 102 h 110"/>
                <a:gd name="T106" fmla="*/ 86 w 90"/>
                <a:gd name="T107" fmla="*/ 102 h 110"/>
                <a:gd name="T108" fmla="*/ 82 w 90"/>
                <a:gd name="T109" fmla="*/ 110 h 110"/>
                <a:gd name="T110" fmla="*/ 74 w 90"/>
                <a:gd name="T11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 h="110">
                  <a:moveTo>
                    <a:pt x="52" y="50"/>
                  </a:moveTo>
                  <a:lnTo>
                    <a:pt x="48" y="50"/>
                  </a:lnTo>
                  <a:lnTo>
                    <a:pt x="52" y="50"/>
                  </a:lnTo>
                  <a:lnTo>
                    <a:pt x="48" y="46"/>
                  </a:lnTo>
                  <a:lnTo>
                    <a:pt x="48" y="42"/>
                  </a:lnTo>
                  <a:lnTo>
                    <a:pt x="48" y="46"/>
                  </a:lnTo>
                  <a:lnTo>
                    <a:pt x="52" y="46"/>
                  </a:lnTo>
                  <a:lnTo>
                    <a:pt x="52" y="50"/>
                  </a:lnTo>
                  <a:lnTo>
                    <a:pt x="52" y="50"/>
                  </a:lnTo>
                  <a:lnTo>
                    <a:pt x="52" y="50"/>
                  </a:lnTo>
                  <a:close/>
                  <a:moveTo>
                    <a:pt x="64" y="54"/>
                  </a:moveTo>
                  <a:lnTo>
                    <a:pt x="64" y="50"/>
                  </a:lnTo>
                  <a:lnTo>
                    <a:pt x="68" y="54"/>
                  </a:lnTo>
                  <a:lnTo>
                    <a:pt x="64" y="54"/>
                  </a:lnTo>
                  <a:lnTo>
                    <a:pt x="64" y="54"/>
                  </a:lnTo>
                  <a:lnTo>
                    <a:pt x="64" y="54"/>
                  </a:lnTo>
                  <a:close/>
                  <a:moveTo>
                    <a:pt x="90" y="82"/>
                  </a:moveTo>
                  <a:lnTo>
                    <a:pt x="86" y="82"/>
                  </a:lnTo>
                  <a:lnTo>
                    <a:pt x="82" y="82"/>
                  </a:lnTo>
                  <a:lnTo>
                    <a:pt x="82" y="80"/>
                  </a:lnTo>
                  <a:lnTo>
                    <a:pt x="86" y="80"/>
                  </a:lnTo>
                  <a:lnTo>
                    <a:pt x="90" y="82"/>
                  </a:lnTo>
                  <a:lnTo>
                    <a:pt x="90" y="82"/>
                  </a:lnTo>
                  <a:lnTo>
                    <a:pt x="90" y="82"/>
                  </a:lnTo>
                  <a:close/>
                  <a:moveTo>
                    <a:pt x="16" y="0"/>
                  </a:moveTo>
                  <a:lnTo>
                    <a:pt x="18" y="0"/>
                  </a:lnTo>
                  <a:lnTo>
                    <a:pt x="22" y="0"/>
                  </a:lnTo>
                  <a:lnTo>
                    <a:pt x="22" y="4"/>
                  </a:lnTo>
                  <a:lnTo>
                    <a:pt x="26" y="4"/>
                  </a:lnTo>
                  <a:lnTo>
                    <a:pt x="26" y="8"/>
                  </a:lnTo>
                  <a:lnTo>
                    <a:pt x="30" y="8"/>
                  </a:lnTo>
                  <a:lnTo>
                    <a:pt x="30" y="12"/>
                  </a:lnTo>
                  <a:lnTo>
                    <a:pt x="26" y="12"/>
                  </a:lnTo>
                  <a:lnTo>
                    <a:pt x="26" y="16"/>
                  </a:lnTo>
                  <a:lnTo>
                    <a:pt x="26" y="20"/>
                  </a:lnTo>
                  <a:lnTo>
                    <a:pt x="26" y="16"/>
                  </a:lnTo>
                  <a:lnTo>
                    <a:pt x="22" y="16"/>
                  </a:lnTo>
                  <a:lnTo>
                    <a:pt x="26" y="16"/>
                  </a:lnTo>
                  <a:lnTo>
                    <a:pt x="26" y="12"/>
                  </a:lnTo>
                  <a:lnTo>
                    <a:pt x="26" y="8"/>
                  </a:lnTo>
                  <a:lnTo>
                    <a:pt x="26" y="4"/>
                  </a:lnTo>
                  <a:lnTo>
                    <a:pt x="22" y="4"/>
                  </a:lnTo>
                  <a:lnTo>
                    <a:pt x="22" y="0"/>
                  </a:lnTo>
                  <a:lnTo>
                    <a:pt x="18" y="0"/>
                  </a:lnTo>
                  <a:lnTo>
                    <a:pt x="16" y="0"/>
                  </a:lnTo>
                  <a:lnTo>
                    <a:pt x="16" y="0"/>
                  </a:lnTo>
                  <a:lnTo>
                    <a:pt x="16" y="0"/>
                  </a:lnTo>
                  <a:close/>
                  <a:moveTo>
                    <a:pt x="4" y="8"/>
                  </a:moveTo>
                  <a:lnTo>
                    <a:pt x="0" y="4"/>
                  </a:lnTo>
                  <a:lnTo>
                    <a:pt x="4" y="4"/>
                  </a:lnTo>
                  <a:lnTo>
                    <a:pt x="8" y="4"/>
                  </a:lnTo>
                  <a:lnTo>
                    <a:pt x="12" y="4"/>
                  </a:lnTo>
                  <a:lnTo>
                    <a:pt x="16" y="4"/>
                  </a:lnTo>
                  <a:lnTo>
                    <a:pt x="12" y="4"/>
                  </a:lnTo>
                  <a:lnTo>
                    <a:pt x="8" y="8"/>
                  </a:lnTo>
                  <a:lnTo>
                    <a:pt x="4" y="8"/>
                  </a:lnTo>
                  <a:lnTo>
                    <a:pt x="4" y="8"/>
                  </a:lnTo>
                  <a:lnTo>
                    <a:pt x="4" y="8"/>
                  </a:lnTo>
                  <a:close/>
                  <a:moveTo>
                    <a:pt x="34" y="24"/>
                  </a:moveTo>
                  <a:lnTo>
                    <a:pt x="34" y="26"/>
                  </a:lnTo>
                  <a:lnTo>
                    <a:pt x="38" y="26"/>
                  </a:lnTo>
                  <a:lnTo>
                    <a:pt x="38" y="30"/>
                  </a:lnTo>
                  <a:lnTo>
                    <a:pt x="42" y="30"/>
                  </a:lnTo>
                  <a:lnTo>
                    <a:pt x="42" y="34"/>
                  </a:lnTo>
                  <a:lnTo>
                    <a:pt x="42" y="38"/>
                  </a:lnTo>
                  <a:lnTo>
                    <a:pt x="42" y="42"/>
                  </a:lnTo>
                  <a:lnTo>
                    <a:pt x="42" y="38"/>
                  </a:lnTo>
                  <a:lnTo>
                    <a:pt x="38" y="38"/>
                  </a:lnTo>
                  <a:lnTo>
                    <a:pt x="42" y="38"/>
                  </a:lnTo>
                  <a:lnTo>
                    <a:pt x="42" y="34"/>
                  </a:lnTo>
                  <a:lnTo>
                    <a:pt x="42" y="30"/>
                  </a:lnTo>
                  <a:lnTo>
                    <a:pt x="38" y="30"/>
                  </a:lnTo>
                  <a:lnTo>
                    <a:pt x="38" y="26"/>
                  </a:lnTo>
                  <a:lnTo>
                    <a:pt x="34" y="26"/>
                  </a:lnTo>
                  <a:lnTo>
                    <a:pt x="34" y="24"/>
                  </a:lnTo>
                  <a:lnTo>
                    <a:pt x="34" y="24"/>
                  </a:lnTo>
                  <a:lnTo>
                    <a:pt x="34" y="24"/>
                  </a:lnTo>
                  <a:close/>
                  <a:moveTo>
                    <a:pt x="12" y="30"/>
                  </a:moveTo>
                  <a:lnTo>
                    <a:pt x="16" y="30"/>
                  </a:lnTo>
                  <a:lnTo>
                    <a:pt x="16" y="34"/>
                  </a:lnTo>
                  <a:lnTo>
                    <a:pt x="16" y="38"/>
                  </a:lnTo>
                  <a:lnTo>
                    <a:pt x="18" y="38"/>
                  </a:lnTo>
                  <a:lnTo>
                    <a:pt x="18" y="42"/>
                  </a:lnTo>
                  <a:lnTo>
                    <a:pt x="18" y="46"/>
                  </a:lnTo>
                  <a:lnTo>
                    <a:pt x="16" y="50"/>
                  </a:lnTo>
                  <a:lnTo>
                    <a:pt x="16" y="46"/>
                  </a:lnTo>
                  <a:lnTo>
                    <a:pt x="12" y="46"/>
                  </a:lnTo>
                  <a:lnTo>
                    <a:pt x="12" y="42"/>
                  </a:lnTo>
                  <a:lnTo>
                    <a:pt x="8" y="42"/>
                  </a:lnTo>
                  <a:lnTo>
                    <a:pt x="12" y="42"/>
                  </a:lnTo>
                  <a:lnTo>
                    <a:pt x="12" y="38"/>
                  </a:lnTo>
                  <a:lnTo>
                    <a:pt x="12" y="42"/>
                  </a:lnTo>
                  <a:lnTo>
                    <a:pt x="12" y="38"/>
                  </a:lnTo>
                  <a:lnTo>
                    <a:pt x="12" y="34"/>
                  </a:lnTo>
                  <a:lnTo>
                    <a:pt x="12" y="30"/>
                  </a:lnTo>
                  <a:lnTo>
                    <a:pt x="12" y="30"/>
                  </a:lnTo>
                  <a:lnTo>
                    <a:pt x="12" y="30"/>
                  </a:lnTo>
                  <a:close/>
                  <a:moveTo>
                    <a:pt x="22" y="34"/>
                  </a:moveTo>
                  <a:lnTo>
                    <a:pt x="26" y="34"/>
                  </a:lnTo>
                  <a:lnTo>
                    <a:pt x="22" y="34"/>
                  </a:lnTo>
                  <a:lnTo>
                    <a:pt x="22" y="34"/>
                  </a:lnTo>
                  <a:lnTo>
                    <a:pt x="22" y="34"/>
                  </a:lnTo>
                  <a:close/>
                  <a:moveTo>
                    <a:pt x="18" y="50"/>
                  </a:moveTo>
                  <a:lnTo>
                    <a:pt x="18" y="54"/>
                  </a:lnTo>
                  <a:lnTo>
                    <a:pt x="18" y="50"/>
                  </a:lnTo>
                  <a:lnTo>
                    <a:pt x="22" y="50"/>
                  </a:lnTo>
                  <a:lnTo>
                    <a:pt x="22" y="54"/>
                  </a:lnTo>
                  <a:lnTo>
                    <a:pt x="22" y="56"/>
                  </a:lnTo>
                  <a:lnTo>
                    <a:pt x="18" y="56"/>
                  </a:lnTo>
                  <a:lnTo>
                    <a:pt x="22" y="56"/>
                  </a:lnTo>
                  <a:lnTo>
                    <a:pt x="18" y="56"/>
                  </a:lnTo>
                  <a:lnTo>
                    <a:pt x="16" y="54"/>
                  </a:lnTo>
                  <a:lnTo>
                    <a:pt x="18" y="50"/>
                  </a:lnTo>
                  <a:lnTo>
                    <a:pt x="18" y="50"/>
                  </a:lnTo>
                  <a:lnTo>
                    <a:pt x="18" y="50"/>
                  </a:lnTo>
                  <a:close/>
                  <a:moveTo>
                    <a:pt x="44" y="56"/>
                  </a:moveTo>
                  <a:lnTo>
                    <a:pt x="44" y="60"/>
                  </a:lnTo>
                  <a:lnTo>
                    <a:pt x="42" y="60"/>
                  </a:lnTo>
                  <a:lnTo>
                    <a:pt x="42" y="56"/>
                  </a:lnTo>
                  <a:lnTo>
                    <a:pt x="44" y="56"/>
                  </a:lnTo>
                  <a:lnTo>
                    <a:pt x="44" y="56"/>
                  </a:lnTo>
                  <a:lnTo>
                    <a:pt x="44" y="56"/>
                  </a:lnTo>
                  <a:close/>
                  <a:moveTo>
                    <a:pt x="52" y="60"/>
                  </a:moveTo>
                  <a:lnTo>
                    <a:pt x="56" y="64"/>
                  </a:lnTo>
                  <a:lnTo>
                    <a:pt x="56" y="68"/>
                  </a:lnTo>
                  <a:lnTo>
                    <a:pt x="60" y="68"/>
                  </a:lnTo>
                  <a:lnTo>
                    <a:pt x="60" y="72"/>
                  </a:lnTo>
                  <a:lnTo>
                    <a:pt x="60" y="68"/>
                  </a:lnTo>
                  <a:lnTo>
                    <a:pt x="56" y="68"/>
                  </a:lnTo>
                  <a:lnTo>
                    <a:pt x="56" y="64"/>
                  </a:lnTo>
                  <a:lnTo>
                    <a:pt x="52" y="60"/>
                  </a:lnTo>
                  <a:lnTo>
                    <a:pt x="52" y="60"/>
                  </a:lnTo>
                  <a:lnTo>
                    <a:pt x="52" y="60"/>
                  </a:lnTo>
                  <a:close/>
                  <a:moveTo>
                    <a:pt x="70" y="76"/>
                  </a:moveTo>
                  <a:lnTo>
                    <a:pt x="68" y="76"/>
                  </a:lnTo>
                  <a:lnTo>
                    <a:pt x="68" y="72"/>
                  </a:lnTo>
                  <a:lnTo>
                    <a:pt x="68" y="76"/>
                  </a:lnTo>
                  <a:lnTo>
                    <a:pt x="70" y="76"/>
                  </a:lnTo>
                  <a:lnTo>
                    <a:pt x="70" y="76"/>
                  </a:lnTo>
                  <a:lnTo>
                    <a:pt x="70" y="76"/>
                  </a:lnTo>
                  <a:close/>
                  <a:moveTo>
                    <a:pt x="68" y="86"/>
                  </a:moveTo>
                  <a:lnTo>
                    <a:pt x="68" y="82"/>
                  </a:lnTo>
                  <a:lnTo>
                    <a:pt x="70" y="82"/>
                  </a:lnTo>
                  <a:lnTo>
                    <a:pt x="70" y="80"/>
                  </a:lnTo>
                  <a:lnTo>
                    <a:pt x="74" y="80"/>
                  </a:lnTo>
                  <a:lnTo>
                    <a:pt x="70" y="80"/>
                  </a:lnTo>
                  <a:lnTo>
                    <a:pt x="70" y="76"/>
                  </a:lnTo>
                  <a:lnTo>
                    <a:pt x="74" y="76"/>
                  </a:lnTo>
                  <a:lnTo>
                    <a:pt x="74" y="80"/>
                  </a:lnTo>
                  <a:lnTo>
                    <a:pt x="70" y="82"/>
                  </a:lnTo>
                  <a:lnTo>
                    <a:pt x="68" y="82"/>
                  </a:lnTo>
                  <a:lnTo>
                    <a:pt x="68" y="86"/>
                  </a:lnTo>
                  <a:lnTo>
                    <a:pt x="68" y="86"/>
                  </a:lnTo>
                  <a:lnTo>
                    <a:pt x="68" y="86"/>
                  </a:lnTo>
                  <a:close/>
                  <a:moveTo>
                    <a:pt x="74" y="110"/>
                  </a:moveTo>
                  <a:lnTo>
                    <a:pt x="74" y="106"/>
                  </a:lnTo>
                  <a:lnTo>
                    <a:pt x="78" y="106"/>
                  </a:lnTo>
                  <a:lnTo>
                    <a:pt x="78" y="102"/>
                  </a:lnTo>
                  <a:lnTo>
                    <a:pt x="82" y="102"/>
                  </a:lnTo>
                  <a:lnTo>
                    <a:pt x="82" y="106"/>
                  </a:lnTo>
                  <a:lnTo>
                    <a:pt x="82" y="102"/>
                  </a:lnTo>
                  <a:lnTo>
                    <a:pt x="86" y="102"/>
                  </a:lnTo>
                  <a:lnTo>
                    <a:pt x="86" y="106"/>
                  </a:lnTo>
                  <a:lnTo>
                    <a:pt x="82" y="106"/>
                  </a:lnTo>
                  <a:lnTo>
                    <a:pt x="82" y="110"/>
                  </a:lnTo>
                  <a:lnTo>
                    <a:pt x="78" y="110"/>
                  </a:lnTo>
                  <a:lnTo>
                    <a:pt x="78" y="106"/>
                  </a:lnTo>
                  <a:lnTo>
                    <a:pt x="74" y="110"/>
                  </a:lnTo>
                  <a:lnTo>
                    <a:pt x="74" y="110"/>
                  </a:lnTo>
                  <a:lnTo>
                    <a:pt x="74" y="11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92" name="Freeform 85"/>
            <p:cNvSpPr>
              <a:spLocks noEditPoints="1"/>
            </p:cNvSpPr>
            <p:nvPr/>
          </p:nvSpPr>
          <p:spPr bwMode="auto">
            <a:xfrm>
              <a:off x="6490173" y="4032300"/>
              <a:ext cx="11304" cy="14383"/>
            </a:xfrm>
            <a:custGeom>
              <a:avLst/>
              <a:gdLst>
                <a:gd name="T0" fmla="*/ 14 w 18"/>
                <a:gd name="T1" fmla="*/ 4 h 22"/>
                <a:gd name="T2" fmla="*/ 14 w 18"/>
                <a:gd name="T3" fmla="*/ 4 h 22"/>
                <a:gd name="T4" fmla="*/ 18 w 18"/>
                <a:gd name="T5" fmla="*/ 4 h 22"/>
                <a:gd name="T6" fmla="*/ 18 w 18"/>
                <a:gd name="T7" fmla="*/ 0 h 22"/>
                <a:gd name="T8" fmla="*/ 18 w 18"/>
                <a:gd name="T9" fmla="*/ 4 h 22"/>
                <a:gd name="T10" fmla="*/ 18 w 18"/>
                <a:gd name="T11" fmla="*/ 4 h 22"/>
                <a:gd name="T12" fmla="*/ 18 w 18"/>
                <a:gd name="T13" fmla="*/ 4 h 22"/>
                <a:gd name="T14" fmla="*/ 14 w 18"/>
                <a:gd name="T15" fmla="*/ 4 h 22"/>
                <a:gd name="T16" fmla="*/ 14 w 18"/>
                <a:gd name="T17" fmla="*/ 4 h 22"/>
                <a:gd name="T18" fmla="*/ 12 w 18"/>
                <a:gd name="T19" fmla="*/ 12 h 22"/>
                <a:gd name="T20" fmla="*/ 14 w 18"/>
                <a:gd name="T21" fmla="*/ 12 h 22"/>
                <a:gd name="T22" fmla="*/ 14 w 18"/>
                <a:gd name="T23" fmla="*/ 12 h 22"/>
                <a:gd name="T24" fmla="*/ 14 w 18"/>
                <a:gd name="T25" fmla="*/ 12 h 22"/>
                <a:gd name="T26" fmla="*/ 12 w 18"/>
                <a:gd name="T27" fmla="*/ 12 h 22"/>
                <a:gd name="T28" fmla="*/ 12 w 18"/>
                <a:gd name="T29" fmla="*/ 16 h 22"/>
                <a:gd name="T30" fmla="*/ 14 w 18"/>
                <a:gd name="T31" fmla="*/ 18 h 22"/>
                <a:gd name="T32" fmla="*/ 12 w 18"/>
                <a:gd name="T33" fmla="*/ 22 h 22"/>
                <a:gd name="T34" fmla="*/ 12 w 18"/>
                <a:gd name="T35" fmla="*/ 22 h 22"/>
                <a:gd name="T36" fmla="*/ 8 w 18"/>
                <a:gd name="T37" fmla="*/ 22 h 22"/>
                <a:gd name="T38" fmla="*/ 4 w 18"/>
                <a:gd name="T39" fmla="*/ 22 h 22"/>
                <a:gd name="T40" fmla="*/ 0 w 18"/>
                <a:gd name="T41" fmla="*/ 22 h 22"/>
                <a:gd name="T42" fmla="*/ 0 w 18"/>
                <a:gd name="T43" fmla="*/ 22 h 22"/>
                <a:gd name="T44" fmla="*/ 0 w 18"/>
                <a:gd name="T45" fmla="*/ 22 h 22"/>
                <a:gd name="T46" fmla="*/ 0 w 18"/>
                <a:gd name="T47" fmla="*/ 22 h 22"/>
                <a:gd name="T48" fmla="*/ 8 w 18"/>
                <a:gd name="T49" fmla="*/ 18 h 22"/>
                <a:gd name="T50" fmla="*/ 8 w 18"/>
                <a:gd name="T51" fmla="*/ 18 h 22"/>
                <a:gd name="T52" fmla="*/ 8 w 18"/>
                <a:gd name="T53" fmla="*/ 16 h 22"/>
                <a:gd name="T54" fmla="*/ 4 w 18"/>
                <a:gd name="T55" fmla="*/ 12 h 22"/>
                <a:gd name="T56" fmla="*/ 4 w 18"/>
                <a:gd name="T57" fmla="*/ 12 h 22"/>
                <a:gd name="T58" fmla="*/ 4 w 18"/>
                <a:gd name="T59" fmla="*/ 12 h 22"/>
                <a:gd name="T60" fmla="*/ 8 w 18"/>
                <a:gd name="T61" fmla="*/ 12 h 22"/>
                <a:gd name="T62" fmla="*/ 8 w 18"/>
                <a:gd name="T63" fmla="*/ 12 h 22"/>
                <a:gd name="T64" fmla="*/ 12 w 18"/>
                <a:gd name="T65" fmla="*/ 12 h 22"/>
                <a:gd name="T66" fmla="*/ 12 w 18"/>
                <a:gd name="T67" fmla="*/ 12 h 22"/>
                <a:gd name="T68" fmla="*/ 12 w 18"/>
                <a:gd name="T69" fmla="*/ 1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22">
                  <a:moveTo>
                    <a:pt x="14" y="4"/>
                  </a:moveTo>
                  <a:lnTo>
                    <a:pt x="14" y="4"/>
                  </a:lnTo>
                  <a:lnTo>
                    <a:pt x="14" y="4"/>
                  </a:lnTo>
                  <a:lnTo>
                    <a:pt x="14" y="4"/>
                  </a:lnTo>
                  <a:lnTo>
                    <a:pt x="18" y="4"/>
                  </a:lnTo>
                  <a:lnTo>
                    <a:pt x="18" y="4"/>
                  </a:lnTo>
                  <a:lnTo>
                    <a:pt x="18" y="0"/>
                  </a:lnTo>
                  <a:lnTo>
                    <a:pt x="18" y="0"/>
                  </a:lnTo>
                  <a:lnTo>
                    <a:pt x="18" y="4"/>
                  </a:lnTo>
                  <a:lnTo>
                    <a:pt x="18" y="4"/>
                  </a:lnTo>
                  <a:lnTo>
                    <a:pt x="18" y="4"/>
                  </a:lnTo>
                  <a:lnTo>
                    <a:pt x="18" y="4"/>
                  </a:lnTo>
                  <a:lnTo>
                    <a:pt x="18" y="4"/>
                  </a:lnTo>
                  <a:lnTo>
                    <a:pt x="18" y="4"/>
                  </a:lnTo>
                  <a:lnTo>
                    <a:pt x="14" y="4"/>
                  </a:lnTo>
                  <a:lnTo>
                    <a:pt x="14" y="4"/>
                  </a:lnTo>
                  <a:lnTo>
                    <a:pt x="14" y="4"/>
                  </a:lnTo>
                  <a:lnTo>
                    <a:pt x="14" y="4"/>
                  </a:lnTo>
                  <a:close/>
                  <a:moveTo>
                    <a:pt x="12" y="12"/>
                  </a:moveTo>
                  <a:lnTo>
                    <a:pt x="12" y="12"/>
                  </a:lnTo>
                  <a:lnTo>
                    <a:pt x="12" y="12"/>
                  </a:lnTo>
                  <a:lnTo>
                    <a:pt x="14" y="12"/>
                  </a:lnTo>
                  <a:lnTo>
                    <a:pt x="14" y="12"/>
                  </a:lnTo>
                  <a:lnTo>
                    <a:pt x="14" y="12"/>
                  </a:lnTo>
                  <a:lnTo>
                    <a:pt x="14" y="12"/>
                  </a:lnTo>
                  <a:lnTo>
                    <a:pt x="14" y="12"/>
                  </a:lnTo>
                  <a:lnTo>
                    <a:pt x="14" y="12"/>
                  </a:lnTo>
                  <a:lnTo>
                    <a:pt x="12" y="12"/>
                  </a:lnTo>
                  <a:lnTo>
                    <a:pt x="12" y="12"/>
                  </a:lnTo>
                  <a:lnTo>
                    <a:pt x="12" y="16"/>
                  </a:lnTo>
                  <a:lnTo>
                    <a:pt x="12" y="18"/>
                  </a:lnTo>
                  <a:lnTo>
                    <a:pt x="14" y="18"/>
                  </a:lnTo>
                  <a:lnTo>
                    <a:pt x="12" y="22"/>
                  </a:lnTo>
                  <a:lnTo>
                    <a:pt x="12" y="22"/>
                  </a:lnTo>
                  <a:lnTo>
                    <a:pt x="12" y="22"/>
                  </a:lnTo>
                  <a:lnTo>
                    <a:pt x="12" y="22"/>
                  </a:lnTo>
                  <a:lnTo>
                    <a:pt x="12" y="22"/>
                  </a:lnTo>
                  <a:lnTo>
                    <a:pt x="8" y="22"/>
                  </a:lnTo>
                  <a:lnTo>
                    <a:pt x="8" y="22"/>
                  </a:lnTo>
                  <a:lnTo>
                    <a:pt x="4" y="22"/>
                  </a:lnTo>
                  <a:lnTo>
                    <a:pt x="4" y="22"/>
                  </a:lnTo>
                  <a:lnTo>
                    <a:pt x="0" y="22"/>
                  </a:lnTo>
                  <a:lnTo>
                    <a:pt x="0" y="22"/>
                  </a:lnTo>
                  <a:lnTo>
                    <a:pt x="0" y="22"/>
                  </a:lnTo>
                  <a:lnTo>
                    <a:pt x="0" y="22"/>
                  </a:lnTo>
                  <a:lnTo>
                    <a:pt x="0" y="22"/>
                  </a:lnTo>
                  <a:lnTo>
                    <a:pt x="0" y="22"/>
                  </a:lnTo>
                  <a:lnTo>
                    <a:pt x="0" y="22"/>
                  </a:lnTo>
                  <a:lnTo>
                    <a:pt x="4" y="22"/>
                  </a:lnTo>
                  <a:lnTo>
                    <a:pt x="8" y="18"/>
                  </a:lnTo>
                  <a:lnTo>
                    <a:pt x="8" y="18"/>
                  </a:lnTo>
                  <a:lnTo>
                    <a:pt x="8" y="18"/>
                  </a:lnTo>
                  <a:lnTo>
                    <a:pt x="8" y="16"/>
                  </a:lnTo>
                  <a:lnTo>
                    <a:pt x="8" y="16"/>
                  </a:lnTo>
                  <a:lnTo>
                    <a:pt x="8" y="16"/>
                  </a:lnTo>
                  <a:lnTo>
                    <a:pt x="4" y="12"/>
                  </a:lnTo>
                  <a:lnTo>
                    <a:pt x="4" y="12"/>
                  </a:lnTo>
                  <a:lnTo>
                    <a:pt x="4" y="12"/>
                  </a:lnTo>
                  <a:lnTo>
                    <a:pt x="4" y="12"/>
                  </a:lnTo>
                  <a:lnTo>
                    <a:pt x="4" y="12"/>
                  </a:lnTo>
                  <a:lnTo>
                    <a:pt x="4" y="12"/>
                  </a:lnTo>
                  <a:lnTo>
                    <a:pt x="8" y="12"/>
                  </a:lnTo>
                  <a:lnTo>
                    <a:pt x="8" y="12"/>
                  </a:lnTo>
                  <a:lnTo>
                    <a:pt x="8" y="12"/>
                  </a:lnTo>
                  <a:lnTo>
                    <a:pt x="12" y="12"/>
                  </a:lnTo>
                  <a:lnTo>
                    <a:pt x="12" y="12"/>
                  </a:lnTo>
                  <a:lnTo>
                    <a:pt x="12" y="12"/>
                  </a:lnTo>
                  <a:lnTo>
                    <a:pt x="12" y="12"/>
                  </a:lnTo>
                  <a:lnTo>
                    <a:pt x="12" y="12"/>
                  </a:lnTo>
                  <a:lnTo>
                    <a:pt x="12" y="12"/>
                  </a:lnTo>
                  <a:lnTo>
                    <a:pt x="12" y="1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93" name="Freeform 86"/>
            <p:cNvSpPr>
              <a:spLocks noEditPoints="1"/>
            </p:cNvSpPr>
            <p:nvPr/>
          </p:nvSpPr>
          <p:spPr bwMode="auto">
            <a:xfrm>
              <a:off x="6402256" y="3913310"/>
              <a:ext cx="6280" cy="5230"/>
            </a:xfrm>
            <a:custGeom>
              <a:avLst/>
              <a:gdLst>
                <a:gd name="T0" fmla="*/ 10 w 10"/>
                <a:gd name="T1" fmla="*/ 8 h 8"/>
                <a:gd name="T2" fmla="*/ 10 w 10"/>
                <a:gd name="T3" fmla="*/ 8 h 8"/>
                <a:gd name="T4" fmla="*/ 10 w 10"/>
                <a:gd name="T5" fmla="*/ 8 h 8"/>
                <a:gd name="T6" fmla="*/ 10 w 10"/>
                <a:gd name="T7" fmla="*/ 8 h 8"/>
                <a:gd name="T8" fmla="*/ 10 w 10"/>
                <a:gd name="T9" fmla="*/ 8 h 8"/>
                <a:gd name="T10" fmla="*/ 10 w 10"/>
                <a:gd name="T11" fmla="*/ 8 h 8"/>
                <a:gd name="T12" fmla="*/ 10 w 10"/>
                <a:gd name="T13" fmla="*/ 8 h 8"/>
                <a:gd name="T14" fmla="*/ 0 w 10"/>
                <a:gd name="T15" fmla="*/ 0 h 8"/>
                <a:gd name="T16" fmla="*/ 0 w 10"/>
                <a:gd name="T17" fmla="*/ 0 h 8"/>
                <a:gd name="T18" fmla="*/ 0 w 10"/>
                <a:gd name="T19" fmla="*/ 0 h 8"/>
                <a:gd name="T20" fmla="*/ 0 w 10"/>
                <a:gd name="T21" fmla="*/ 0 h 8"/>
                <a:gd name="T22" fmla="*/ 0 w 10"/>
                <a:gd name="T23" fmla="*/ 0 h 8"/>
                <a:gd name="T24" fmla="*/ 0 w 10"/>
                <a:gd name="T25" fmla="*/ 0 h 8"/>
                <a:gd name="T26" fmla="*/ 0 w 10"/>
                <a:gd name="T27" fmla="*/ 0 h 8"/>
                <a:gd name="T28" fmla="*/ 0 w 10"/>
                <a:gd name="T29" fmla="*/ 0 h 8"/>
                <a:gd name="T30" fmla="*/ 0 w 10"/>
                <a:gd name="T31" fmla="*/ 0 h 8"/>
                <a:gd name="T32" fmla="*/ 0 w 10"/>
                <a:gd name="T33" fmla="*/ 0 h 8"/>
                <a:gd name="T34" fmla="*/ 0 w 10"/>
                <a:gd name="T35" fmla="*/ 0 h 8"/>
                <a:gd name="T36" fmla="*/ 0 w 10"/>
                <a:gd name="T37" fmla="*/ 0 h 8"/>
                <a:gd name="T38" fmla="*/ 0 w 10"/>
                <a:gd name="T39" fmla="*/ 0 h 8"/>
                <a:gd name="T40" fmla="*/ 0 w 10"/>
                <a:gd name="T41" fmla="*/ 0 h 8"/>
                <a:gd name="T42" fmla="*/ 0 w 10"/>
                <a:gd name="T43" fmla="*/ 0 h 8"/>
                <a:gd name="T44" fmla="*/ 2 w 10"/>
                <a:gd name="T45" fmla="*/ 4 h 8"/>
                <a:gd name="T46" fmla="*/ 2 w 10"/>
                <a:gd name="T47" fmla="*/ 4 h 8"/>
                <a:gd name="T48" fmla="*/ 2 w 10"/>
                <a:gd name="T49" fmla="*/ 4 h 8"/>
                <a:gd name="T50" fmla="*/ 2 w 10"/>
                <a:gd name="T51" fmla="*/ 0 h 8"/>
                <a:gd name="T52" fmla="*/ 2 w 10"/>
                <a:gd name="T53" fmla="*/ 0 h 8"/>
                <a:gd name="T54" fmla="*/ 2 w 10"/>
                <a:gd name="T55" fmla="*/ 0 h 8"/>
                <a:gd name="T56" fmla="*/ 2 w 10"/>
                <a:gd name="T57" fmla="*/ 0 h 8"/>
                <a:gd name="T58" fmla="*/ 0 w 10"/>
                <a:gd name="T59" fmla="*/ 4 h 8"/>
                <a:gd name="T60" fmla="*/ 0 w 10"/>
                <a:gd name="T61" fmla="*/ 4 h 8"/>
                <a:gd name="T62" fmla="*/ 0 w 10"/>
                <a:gd name="T63" fmla="*/ 0 h 8"/>
                <a:gd name="T64" fmla="*/ 0 w 10"/>
                <a:gd name="T65" fmla="*/ 0 h 8"/>
                <a:gd name="T66" fmla="*/ 0 w 10"/>
                <a:gd name="T67" fmla="*/ 0 h 8"/>
                <a:gd name="T68" fmla="*/ 2 w 10"/>
                <a:gd name="T69" fmla="*/ 0 h 8"/>
                <a:gd name="T70" fmla="*/ 2 w 10"/>
                <a:gd name="T71" fmla="*/ 0 h 8"/>
                <a:gd name="T72" fmla="*/ 2 w 10"/>
                <a:gd name="T73" fmla="*/ 0 h 8"/>
                <a:gd name="T74" fmla="*/ 2 w 10"/>
                <a:gd name="T75" fmla="*/ 0 h 8"/>
                <a:gd name="T76" fmla="*/ 2 w 10"/>
                <a:gd name="T77" fmla="*/ 4 h 8"/>
                <a:gd name="T78" fmla="*/ 2 w 10"/>
                <a:gd name="T79" fmla="*/ 4 h 8"/>
                <a:gd name="T80" fmla="*/ 2 w 10"/>
                <a:gd name="T81" fmla="*/ 4 h 8"/>
                <a:gd name="T82" fmla="*/ 2 w 10"/>
                <a:gd name="T83" fmla="*/ 4 h 8"/>
                <a:gd name="T84" fmla="*/ 2 w 10"/>
                <a:gd name="T85" fmla="*/ 4 h 8"/>
                <a:gd name="T86" fmla="*/ 2 w 10"/>
                <a:gd name="T87" fmla="*/ 4 h 8"/>
                <a:gd name="T88" fmla="*/ 2 w 10"/>
                <a:gd name="T8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 h="8">
                  <a:moveTo>
                    <a:pt x="10" y="8"/>
                  </a:moveTo>
                  <a:lnTo>
                    <a:pt x="10" y="8"/>
                  </a:lnTo>
                  <a:lnTo>
                    <a:pt x="10" y="8"/>
                  </a:lnTo>
                  <a:lnTo>
                    <a:pt x="10" y="8"/>
                  </a:lnTo>
                  <a:lnTo>
                    <a:pt x="10" y="8"/>
                  </a:lnTo>
                  <a:lnTo>
                    <a:pt x="10" y="8"/>
                  </a:lnTo>
                  <a:lnTo>
                    <a:pt x="10" y="8"/>
                  </a:lnTo>
                  <a:close/>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moveTo>
                    <a:pt x="2" y="4"/>
                  </a:moveTo>
                  <a:lnTo>
                    <a:pt x="2" y="4"/>
                  </a:lnTo>
                  <a:lnTo>
                    <a:pt x="2" y="4"/>
                  </a:lnTo>
                  <a:lnTo>
                    <a:pt x="2" y="0"/>
                  </a:lnTo>
                  <a:lnTo>
                    <a:pt x="2" y="0"/>
                  </a:lnTo>
                  <a:lnTo>
                    <a:pt x="2" y="0"/>
                  </a:lnTo>
                  <a:lnTo>
                    <a:pt x="2" y="0"/>
                  </a:lnTo>
                  <a:lnTo>
                    <a:pt x="0" y="4"/>
                  </a:lnTo>
                  <a:lnTo>
                    <a:pt x="0" y="4"/>
                  </a:lnTo>
                  <a:lnTo>
                    <a:pt x="0" y="0"/>
                  </a:lnTo>
                  <a:lnTo>
                    <a:pt x="0" y="0"/>
                  </a:lnTo>
                  <a:lnTo>
                    <a:pt x="0" y="0"/>
                  </a:lnTo>
                  <a:lnTo>
                    <a:pt x="2" y="0"/>
                  </a:lnTo>
                  <a:lnTo>
                    <a:pt x="2" y="0"/>
                  </a:lnTo>
                  <a:lnTo>
                    <a:pt x="2" y="0"/>
                  </a:lnTo>
                  <a:lnTo>
                    <a:pt x="2" y="0"/>
                  </a:lnTo>
                  <a:lnTo>
                    <a:pt x="2" y="4"/>
                  </a:lnTo>
                  <a:lnTo>
                    <a:pt x="2" y="4"/>
                  </a:lnTo>
                  <a:lnTo>
                    <a:pt x="2" y="4"/>
                  </a:lnTo>
                  <a:lnTo>
                    <a:pt x="2" y="4"/>
                  </a:lnTo>
                  <a:lnTo>
                    <a:pt x="2" y="4"/>
                  </a:lnTo>
                  <a:lnTo>
                    <a:pt x="2" y="4"/>
                  </a:lnTo>
                  <a:lnTo>
                    <a:pt x="2" y="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94" name="Freeform 87"/>
            <p:cNvSpPr>
              <a:spLocks/>
            </p:cNvSpPr>
            <p:nvPr/>
          </p:nvSpPr>
          <p:spPr bwMode="auto">
            <a:xfrm>
              <a:off x="7211095" y="3662254"/>
              <a:ext cx="16328" cy="36612"/>
            </a:xfrm>
            <a:custGeom>
              <a:avLst/>
              <a:gdLst>
                <a:gd name="T0" fmla="*/ 4 w 26"/>
                <a:gd name="T1" fmla="*/ 14 h 56"/>
                <a:gd name="T2" fmla="*/ 4 w 26"/>
                <a:gd name="T3" fmla="*/ 14 h 56"/>
                <a:gd name="T4" fmla="*/ 4 w 26"/>
                <a:gd name="T5" fmla="*/ 14 h 56"/>
                <a:gd name="T6" fmla="*/ 4 w 26"/>
                <a:gd name="T7" fmla="*/ 10 h 56"/>
                <a:gd name="T8" fmla="*/ 0 w 26"/>
                <a:gd name="T9" fmla="*/ 6 h 56"/>
                <a:gd name="T10" fmla="*/ 4 w 26"/>
                <a:gd name="T11" fmla="*/ 0 h 56"/>
                <a:gd name="T12" fmla="*/ 8 w 26"/>
                <a:gd name="T13" fmla="*/ 0 h 56"/>
                <a:gd name="T14" fmla="*/ 8 w 26"/>
                <a:gd name="T15" fmla="*/ 0 h 56"/>
                <a:gd name="T16" fmla="*/ 8 w 26"/>
                <a:gd name="T17" fmla="*/ 0 h 56"/>
                <a:gd name="T18" fmla="*/ 12 w 26"/>
                <a:gd name="T19" fmla="*/ 0 h 56"/>
                <a:gd name="T20" fmla="*/ 16 w 26"/>
                <a:gd name="T21" fmla="*/ 0 h 56"/>
                <a:gd name="T22" fmla="*/ 16 w 26"/>
                <a:gd name="T23" fmla="*/ 2 h 56"/>
                <a:gd name="T24" fmla="*/ 18 w 26"/>
                <a:gd name="T25" fmla="*/ 6 h 56"/>
                <a:gd name="T26" fmla="*/ 18 w 26"/>
                <a:gd name="T27" fmla="*/ 10 h 56"/>
                <a:gd name="T28" fmla="*/ 18 w 26"/>
                <a:gd name="T29" fmla="*/ 10 h 56"/>
                <a:gd name="T30" fmla="*/ 18 w 26"/>
                <a:gd name="T31" fmla="*/ 14 h 56"/>
                <a:gd name="T32" fmla="*/ 18 w 26"/>
                <a:gd name="T33" fmla="*/ 18 h 56"/>
                <a:gd name="T34" fmla="*/ 18 w 26"/>
                <a:gd name="T35" fmla="*/ 22 h 56"/>
                <a:gd name="T36" fmla="*/ 18 w 26"/>
                <a:gd name="T37" fmla="*/ 22 h 56"/>
                <a:gd name="T38" fmla="*/ 18 w 26"/>
                <a:gd name="T39" fmla="*/ 26 h 56"/>
                <a:gd name="T40" fmla="*/ 18 w 26"/>
                <a:gd name="T41" fmla="*/ 30 h 56"/>
                <a:gd name="T42" fmla="*/ 22 w 26"/>
                <a:gd name="T43" fmla="*/ 32 h 56"/>
                <a:gd name="T44" fmla="*/ 26 w 26"/>
                <a:gd name="T45" fmla="*/ 32 h 56"/>
                <a:gd name="T46" fmla="*/ 26 w 26"/>
                <a:gd name="T47" fmla="*/ 32 h 56"/>
                <a:gd name="T48" fmla="*/ 26 w 26"/>
                <a:gd name="T49" fmla="*/ 36 h 56"/>
                <a:gd name="T50" fmla="*/ 22 w 26"/>
                <a:gd name="T51" fmla="*/ 40 h 56"/>
                <a:gd name="T52" fmla="*/ 22 w 26"/>
                <a:gd name="T53" fmla="*/ 40 h 56"/>
                <a:gd name="T54" fmla="*/ 22 w 26"/>
                <a:gd name="T55" fmla="*/ 44 h 56"/>
                <a:gd name="T56" fmla="*/ 18 w 26"/>
                <a:gd name="T57" fmla="*/ 48 h 56"/>
                <a:gd name="T58" fmla="*/ 18 w 26"/>
                <a:gd name="T59" fmla="*/ 48 h 56"/>
                <a:gd name="T60" fmla="*/ 18 w 26"/>
                <a:gd name="T61" fmla="*/ 48 h 56"/>
                <a:gd name="T62" fmla="*/ 16 w 26"/>
                <a:gd name="T63" fmla="*/ 52 h 56"/>
                <a:gd name="T64" fmla="*/ 16 w 26"/>
                <a:gd name="T65" fmla="*/ 52 h 56"/>
                <a:gd name="T66" fmla="*/ 16 w 26"/>
                <a:gd name="T67" fmla="*/ 52 h 56"/>
                <a:gd name="T68" fmla="*/ 16 w 26"/>
                <a:gd name="T69" fmla="*/ 56 h 56"/>
                <a:gd name="T70" fmla="*/ 16 w 26"/>
                <a:gd name="T71" fmla="*/ 56 h 56"/>
                <a:gd name="T72" fmla="*/ 12 w 26"/>
                <a:gd name="T73" fmla="*/ 56 h 56"/>
                <a:gd name="T74" fmla="*/ 12 w 26"/>
                <a:gd name="T75" fmla="*/ 56 h 56"/>
                <a:gd name="T76" fmla="*/ 8 w 26"/>
                <a:gd name="T77" fmla="*/ 48 h 56"/>
                <a:gd name="T78" fmla="*/ 8 w 26"/>
                <a:gd name="T79" fmla="*/ 48 h 56"/>
                <a:gd name="T80" fmla="*/ 4 w 26"/>
                <a:gd name="T81" fmla="*/ 44 h 56"/>
                <a:gd name="T82" fmla="*/ 0 w 26"/>
                <a:gd name="T83" fmla="*/ 40 h 56"/>
                <a:gd name="T84" fmla="*/ 4 w 26"/>
                <a:gd name="T85" fmla="*/ 40 h 56"/>
                <a:gd name="T86" fmla="*/ 4 w 26"/>
                <a:gd name="T87" fmla="*/ 44 h 56"/>
                <a:gd name="T88" fmla="*/ 4 w 26"/>
                <a:gd name="T89" fmla="*/ 40 h 56"/>
                <a:gd name="T90" fmla="*/ 4 w 26"/>
                <a:gd name="T91" fmla="*/ 36 h 56"/>
                <a:gd name="T92" fmla="*/ 0 w 26"/>
                <a:gd name="T93" fmla="*/ 36 h 56"/>
                <a:gd name="T94" fmla="*/ 4 w 26"/>
                <a:gd name="T95" fmla="*/ 32 h 56"/>
                <a:gd name="T96" fmla="*/ 4 w 26"/>
                <a:gd name="T97" fmla="*/ 32 h 56"/>
                <a:gd name="T98" fmla="*/ 4 w 26"/>
                <a:gd name="T99" fmla="*/ 30 h 56"/>
                <a:gd name="T100" fmla="*/ 4 w 26"/>
                <a:gd name="T101" fmla="*/ 26 h 56"/>
                <a:gd name="T102" fmla="*/ 4 w 26"/>
                <a:gd name="T103" fmla="*/ 26 h 56"/>
                <a:gd name="T104" fmla="*/ 4 w 26"/>
                <a:gd name="T105" fmla="*/ 18 h 56"/>
                <a:gd name="T106" fmla="*/ 4 w 26"/>
                <a:gd name="T107"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 h="56">
                  <a:moveTo>
                    <a:pt x="4" y="18"/>
                  </a:moveTo>
                  <a:lnTo>
                    <a:pt x="4" y="18"/>
                  </a:lnTo>
                  <a:lnTo>
                    <a:pt x="4" y="14"/>
                  </a:lnTo>
                  <a:lnTo>
                    <a:pt x="4" y="14"/>
                  </a:lnTo>
                  <a:lnTo>
                    <a:pt x="4" y="14"/>
                  </a:lnTo>
                  <a:lnTo>
                    <a:pt x="4" y="14"/>
                  </a:lnTo>
                  <a:lnTo>
                    <a:pt x="4" y="14"/>
                  </a:lnTo>
                  <a:lnTo>
                    <a:pt x="4" y="14"/>
                  </a:lnTo>
                  <a:lnTo>
                    <a:pt x="4" y="14"/>
                  </a:lnTo>
                  <a:lnTo>
                    <a:pt x="0" y="10"/>
                  </a:lnTo>
                  <a:lnTo>
                    <a:pt x="0" y="10"/>
                  </a:lnTo>
                  <a:lnTo>
                    <a:pt x="4" y="10"/>
                  </a:lnTo>
                  <a:lnTo>
                    <a:pt x="4" y="6"/>
                  </a:lnTo>
                  <a:lnTo>
                    <a:pt x="4" y="6"/>
                  </a:lnTo>
                  <a:lnTo>
                    <a:pt x="0" y="6"/>
                  </a:lnTo>
                  <a:lnTo>
                    <a:pt x="0" y="6"/>
                  </a:lnTo>
                  <a:lnTo>
                    <a:pt x="4" y="2"/>
                  </a:lnTo>
                  <a:lnTo>
                    <a:pt x="4" y="0"/>
                  </a:lnTo>
                  <a:lnTo>
                    <a:pt x="4" y="0"/>
                  </a:lnTo>
                  <a:lnTo>
                    <a:pt x="8" y="0"/>
                  </a:lnTo>
                  <a:lnTo>
                    <a:pt x="8" y="0"/>
                  </a:lnTo>
                  <a:lnTo>
                    <a:pt x="8" y="0"/>
                  </a:lnTo>
                  <a:lnTo>
                    <a:pt x="8" y="0"/>
                  </a:lnTo>
                  <a:lnTo>
                    <a:pt x="8" y="0"/>
                  </a:lnTo>
                  <a:lnTo>
                    <a:pt x="8" y="0"/>
                  </a:lnTo>
                  <a:lnTo>
                    <a:pt x="8" y="0"/>
                  </a:lnTo>
                  <a:lnTo>
                    <a:pt x="8" y="0"/>
                  </a:lnTo>
                  <a:lnTo>
                    <a:pt x="8" y="2"/>
                  </a:lnTo>
                  <a:lnTo>
                    <a:pt x="12" y="0"/>
                  </a:lnTo>
                  <a:lnTo>
                    <a:pt x="12" y="0"/>
                  </a:lnTo>
                  <a:lnTo>
                    <a:pt x="12" y="0"/>
                  </a:lnTo>
                  <a:lnTo>
                    <a:pt x="12" y="0"/>
                  </a:lnTo>
                  <a:lnTo>
                    <a:pt x="16" y="0"/>
                  </a:lnTo>
                  <a:lnTo>
                    <a:pt x="16" y="2"/>
                  </a:lnTo>
                  <a:lnTo>
                    <a:pt x="16" y="2"/>
                  </a:lnTo>
                  <a:lnTo>
                    <a:pt x="16" y="2"/>
                  </a:lnTo>
                  <a:lnTo>
                    <a:pt x="16" y="2"/>
                  </a:lnTo>
                  <a:lnTo>
                    <a:pt x="16" y="2"/>
                  </a:lnTo>
                  <a:lnTo>
                    <a:pt x="18" y="6"/>
                  </a:lnTo>
                  <a:lnTo>
                    <a:pt x="18" y="6"/>
                  </a:lnTo>
                  <a:lnTo>
                    <a:pt x="18" y="6"/>
                  </a:lnTo>
                  <a:lnTo>
                    <a:pt x="18" y="10"/>
                  </a:lnTo>
                  <a:lnTo>
                    <a:pt x="18" y="10"/>
                  </a:lnTo>
                  <a:lnTo>
                    <a:pt x="18" y="10"/>
                  </a:lnTo>
                  <a:lnTo>
                    <a:pt x="18" y="10"/>
                  </a:lnTo>
                  <a:lnTo>
                    <a:pt x="18" y="14"/>
                  </a:lnTo>
                  <a:lnTo>
                    <a:pt x="18" y="14"/>
                  </a:lnTo>
                  <a:lnTo>
                    <a:pt x="18" y="14"/>
                  </a:lnTo>
                  <a:lnTo>
                    <a:pt x="18" y="14"/>
                  </a:lnTo>
                  <a:lnTo>
                    <a:pt x="18" y="18"/>
                  </a:lnTo>
                  <a:lnTo>
                    <a:pt x="18" y="18"/>
                  </a:lnTo>
                  <a:lnTo>
                    <a:pt x="18" y="22"/>
                  </a:lnTo>
                  <a:lnTo>
                    <a:pt x="18" y="22"/>
                  </a:lnTo>
                  <a:lnTo>
                    <a:pt x="18" y="22"/>
                  </a:lnTo>
                  <a:lnTo>
                    <a:pt x="18" y="22"/>
                  </a:lnTo>
                  <a:lnTo>
                    <a:pt x="18" y="22"/>
                  </a:lnTo>
                  <a:lnTo>
                    <a:pt x="18" y="22"/>
                  </a:lnTo>
                  <a:lnTo>
                    <a:pt x="18" y="22"/>
                  </a:lnTo>
                  <a:lnTo>
                    <a:pt x="18" y="26"/>
                  </a:lnTo>
                  <a:lnTo>
                    <a:pt x="18" y="26"/>
                  </a:lnTo>
                  <a:lnTo>
                    <a:pt x="18" y="26"/>
                  </a:lnTo>
                  <a:lnTo>
                    <a:pt x="18" y="30"/>
                  </a:lnTo>
                  <a:lnTo>
                    <a:pt x="18" y="30"/>
                  </a:lnTo>
                  <a:lnTo>
                    <a:pt x="22" y="32"/>
                  </a:lnTo>
                  <a:lnTo>
                    <a:pt x="22" y="32"/>
                  </a:lnTo>
                  <a:lnTo>
                    <a:pt x="22" y="32"/>
                  </a:lnTo>
                  <a:lnTo>
                    <a:pt x="22" y="32"/>
                  </a:lnTo>
                  <a:lnTo>
                    <a:pt x="22" y="32"/>
                  </a:lnTo>
                  <a:lnTo>
                    <a:pt x="26" y="32"/>
                  </a:lnTo>
                  <a:lnTo>
                    <a:pt x="26" y="32"/>
                  </a:lnTo>
                  <a:lnTo>
                    <a:pt x="26" y="32"/>
                  </a:lnTo>
                  <a:lnTo>
                    <a:pt x="26" y="32"/>
                  </a:lnTo>
                  <a:lnTo>
                    <a:pt x="26" y="36"/>
                  </a:lnTo>
                  <a:lnTo>
                    <a:pt x="26" y="36"/>
                  </a:lnTo>
                  <a:lnTo>
                    <a:pt x="26" y="36"/>
                  </a:lnTo>
                  <a:lnTo>
                    <a:pt x="26" y="40"/>
                  </a:lnTo>
                  <a:lnTo>
                    <a:pt x="26" y="40"/>
                  </a:lnTo>
                  <a:lnTo>
                    <a:pt x="22" y="40"/>
                  </a:lnTo>
                  <a:lnTo>
                    <a:pt x="22" y="40"/>
                  </a:lnTo>
                  <a:lnTo>
                    <a:pt x="22" y="40"/>
                  </a:lnTo>
                  <a:lnTo>
                    <a:pt x="22" y="40"/>
                  </a:lnTo>
                  <a:lnTo>
                    <a:pt x="22" y="44"/>
                  </a:lnTo>
                  <a:lnTo>
                    <a:pt x="22" y="44"/>
                  </a:lnTo>
                  <a:lnTo>
                    <a:pt x="22" y="44"/>
                  </a:lnTo>
                  <a:lnTo>
                    <a:pt x="22" y="44"/>
                  </a:lnTo>
                  <a:lnTo>
                    <a:pt x="18" y="48"/>
                  </a:lnTo>
                  <a:lnTo>
                    <a:pt x="18" y="48"/>
                  </a:lnTo>
                  <a:lnTo>
                    <a:pt x="18" y="48"/>
                  </a:lnTo>
                  <a:lnTo>
                    <a:pt x="18" y="48"/>
                  </a:lnTo>
                  <a:lnTo>
                    <a:pt x="18" y="48"/>
                  </a:lnTo>
                  <a:lnTo>
                    <a:pt x="18" y="48"/>
                  </a:lnTo>
                  <a:lnTo>
                    <a:pt x="18" y="48"/>
                  </a:lnTo>
                  <a:lnTo>
                    <a:pt x="18" y="48"/>
                  </a:lnTo>
                  <a:lnTo>
                    <a:pt x="18" y="48"/>
                  </a:lnTo>
                  <a:lnTo>
                    <a:pt x="16" y="48"/>
                  </a:lnTo>
                  <a:lnTo>
                    <a:pt x="16" y="52"/>
                  </a:lnTo>
                  <a:lnTo>
                    <a:pt x="16" y="52"/>
                  </a:lnTo>
                  <a:lnTo>
                    <a:pt x="16" y="52"/>
                  </a:lnTo>
                  <a:lnTo>
                    <a:pt x="16" y="52"/>
                  </a:lnTo>
                  <a:lnTo>
                    <a:pt x="16" y="52"/>
                  </a:lnTo>
                  <a:lnTo>
                    <a:pt x="16" y="56"/>
                  </a:lnTo>
                  <a:lnTo>
                    <a:pt x="16" y="52"/>
                  </a:lnTo>
                  <a:lnTo>
                    <a:pt x="16" y="52"/>
                  </a:lnTo>
                  <a:lnTo>
                    <a:pt x="16" y="56"/>
                  </a:lnTo>
                  <a:lnTo>
                    <a:pt x="16" y="56"/>
                  </a:lnTo>
                  <a:lnTo>
                    <a:pt x="16" y="56"/>
                  </a:lnTo>
                  <a:lnTo>
                    <a:pt x="16" y="56"/>
                  </a:lnTo>
                  <a:lnTo>
                    <a:pt x="16" y="56"/>
                  </a:lnTo>
                  <a:lnTo>
                    <a:pt x="12" y="56"/>
                  </a:lnTo>
                  <a:lnTo>
                    <a:pt x="12" y="56"/>
                  </a:lnTo>
                  <a:lnTo>
                    <a:pt x="12" y="56"/>
                  </a:lnTo>
                  <a:lnTo>
                    <a:pt x="12" y="56"/>
                  </a:lnTo>
                  <a:lnTo>
                    <a:pt x="12" y="56"/>
                  </a:lnTo>
                  <a:lnTo>
                    <a:pt x="12" y="56"/>
                  </a:lnTo>
                  <a:lnTo>
                    <a:pt x="12" y="52"/>
                  </a:lnTo>
                  <a:lnTo>
                    <a:pt x="12" y="52"/>
                  </a:lnTo>
                  <a:lnTo>
                    <a:pt x="8" y="48"/>
                  </a:lnTo>
                  <a:lnTo>
                    <a:pt x="8" y="48"/>
                  </a:lnTo>
                  <a:lnTo>
                    <a:pt x="8" y="48"/>
                  </a:lnTo>
                  <a:lnTo>
                    <a:pt x="8" y="48"/>
                  </a:lnTo>
                  <a:lnTo>
                    <a:pt x="8" y="48"/>
                  </a:lnTo>
                  <a:lnTo>
                    <a:pt x="4" y="48"/>
                  </a:lnTo>
                  <a:lnTo>
                    <a:pt x="4" y="44"/>
                  </a:lnTo>
                  <a:lnTo>
                    <a:pt x="4" y="44"/>
                  </a:lnTo>
                  <a:lnTo>
                    <a:pt x="4" y="44"/>
                  </a:lnTo>
                  <a:lnTo>
                    <a:pt x="0" y="40"/>
                  </a:lnTo>
                  <a:lnTo>
                    <a:pt x="0" y="40"/>
                  </a:lnTo>
                  <a:lnTo>
                    <a:pt x="0" y="40"/>
                  </a:lnTo>
                  <a:lnTo>
                    <a:pt x="4" y="40"/>
                  </a:lnTo>
                  <a:lnTo>
                    <a:pt x="4" y="44"/>
                  </a:lnTo>
                  <a:lnTo>
                    <a:pt x="4" y="44"/>
                  </a:lnTo>
                  <a:lnTo>
                    <a:pt x="4" y="44"/>
                  </a:lnTo>
                  <a:lnTo>
                    <a:pt x="4" y="44"/>
                  </a:lnTo>
                  <a:lnTo>
                    <a:pt x="4" y="44"/>
                  </a:lnTo>
                  <a:lnTo>
                    <a:pt x="4" y="40"/>
                  </a:lnTo>
                  <a:lnTo>
                    <a:pt x="4" y="40"/>
                  </a:lnTo>
                  <a:lnTo>
                    <a:pt x="4" y="36"/>
                  </a:lnTo>
                  <a:lnTo>
                    <a:pt x="4" y="36"/>
                  </a:lnTo>
                  <a:lnTo>
                    <a:pt x="0" y="36"/>
                  </a:lnTo>
                  <a:lnTo>
                    <a:pt x="0" y="36"/>
                  </a:lnTo>
                  <a:lnTo>
                    <a:pt x="0" y="36"/>
                  </a:lnTo>
                  <a:lnTo>
                    <a:pt x="4" y="32"/>
                  </a:lnTo>
                  <a:lnTo>
                    <a:pt x="4" y="32"/>
                  </a:lnTo>
                  <a:lnTo>
                    <a:pt x="4" y="32"/>
                  </a:lnTo>
                  <a:lnTo>
                    <a:pt x="4" y="32"/>
                  </a:lnTo>
                  <a:lnTo>
                    <a:pt x="4" y="32"/>
                  </a:lnTo>
                  <a:lnTo>
                    <a:pt x="4" y="32"/>
                  </a:lnTo>
                  <a:lnTo>
                    <a:pt x="4" y="30"/>
                  </a:lnTo>
                  <a:lnTo>
                    <a:pt x="4" y="30"/>
                  </a:lnTo>
                  <a:lnTo>
                    <a:pt x="4" y="30"/>
                  </a:lnTo>
                  <a:lnTo>
                    <a:pt x="4" y="30"/>
                  </a:lnTo>
                  <a:lnTo>
                    <a:pt x="4" y="26"/>
                  </a:lnTo>
                  <a:lnTo>
                    <a:pt x="4" y="26"/>
                  </a:lnTo>
                  <a:lnTo>
                    <a:pt x="4" y="26"/>
                  </a:lnTo>
                  <a:lnTo>
                    <a:pt x="4" y="26"/>
                  </a:lnTo>
                  <a:lnTo>
                    <a:pt x="4" y="26"/>
                  </a:lnTo>
                  <a:lnTo>
                    <a:pt x="4" y="22"/>
                  </a:lnTo>
                  <a:lnTo>
                    <a:pt x="4" y="18"/>
                  </a:lnTo>
                  <a:lnTo>
                    <a:pt x="4" y="18"/>
                  </a:lnTo>
                  <a:lnTo>
                    <a:pt x="4" y="18"/>
                  </a:lnTo>
                  <a:lnTo>
                    <a:pt x="4" y="18"/>
                  </a:lnTo>
                  <a:lnTo>
                    <a:pt x="4" y="18"/>
                  </a:lnTo>
                  <a:lnTo>
                    <a:pt x="4" y="18"/>
                  </a:lnTo>
                  <a:lnTo>
                    <a:pt x="4" y="1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95" name="Freeform 88"/>
            <p:cNvSpPr>
              <a:spLocks/>
            </p:cNvSpPr>
            <p:nvPr/>
          </p:nvSpPr>
          <p:spPr bwMode="auto">
            <a:xfrm>
              <a:off x="7051588" y="3662254"/>
              <a:ext cx="5024" cy="1308"/>
            </a:xfrm>
            <a:custGeom>
              <a:avLst/>
              <a:gdLst>
                <a:gd name="T0" fmla="*/ 0 w 8"/>
                <a:gd name="T1" fmla="*/ 0 h 2"/>
                <a:gd name="T2" fmla="*/ 4 w 8"/>
                <a:gd name="T3" fmla="*/ 0 h 2"/>
                <a:gd name="T4" fmla="*/ 4 w 8"/>
                <a:gd name="T5" fmla="*/ 0 h 2"/>
                <a:gd name="T6" fmla="*/ 4 w 8"/>
                <a:gd name="T7" fmla="*/ 0 h 2"/>
                <a:gd name="T8" fmla="*/ 8 w 8"/>
                <a:gd name="T9" fmla="*/ 0 h 2"/>
                <a:gd name="T10" fmla="*/ 8 w 8"/>
                <a:gd name="T11" fmla="*/ 0 h 2"/>
                <a:gd name="T12" fmla="*/ 8 w 8"/>
                <a:gd name="T13" fmla="*/ 0 h 2"/>
                <a:gd name="T14" fmla="*/ 8 w 8"/>
                <a:gd name="T15" fmla="*/ 0 h 2"/>
                <a:gd name="T16" fmla="*/ 8 w 8"/>
                <a:gd name="T17" fmla="*/ 0 h 2"/>
                <a:gd name="T18" fmla="*/ 8 w 8"/>
                <a:gd name="T19" fmla="*/ 0 h 2"/>
                <a:gd name="T20" fmla="*/ 8 w 8"/>
                <a:gd name="T21" fmla="*/ 0 h 2"/>
                <a:gd name="T22" fmla="*/ 4 w 8"/>
                <a:gd name="T23" fmla="*/ 2 h 2"/>
                <a:gd name="T24" fmla="*/ 4 w 8"/>
                <a:gd name="T25" fmla="*/ 2 h 2"/>
                <a:gd name="T26" fmla="*/ 4 w 8"/>
                <a:gd name="T27" fmla="*/ 2 h 2"/>
                <a:gd name="T28" fmla="*/ 4 w 8"/>
                <a:gd name="T29" fmla="*/ 2 h 2"/>
                <a:gd name="T30" fmla="*/ 0 w 8"/>
                <a:gd name="T31" fmla="*/ 0 h 2"/>
                <a:gd name="T32" fmla="*/ 0 w 8"/>
                <a:gd name="T33" fmla="*/ 0 h 2"/>
                <a:gd name="T34" fmla="*/ 0 w 8"/>
                <a:gd name="T35" fmla="*/ 0 h 2"/>
                <a:gd name="T36" fmla="*/ 0 w 8"/>
                <a:gd name="T37" fmla="*/ 0 h 2"/>
                <a:gd name="T38" fmla="*/ 0 w 8"/>
                <a:gd name="T39" fmla="*/ 0 h 2"/>
                <a:gd name="T40" fmla="*/ 0 w 8"/>
                <a:gd name="T4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2">
                  <a:moveTo>
                    <a:pt x="0" y="0"/>
                  </a:moveTo>
                  <a:lnTo>
                    <a:pt x="4" y="0"/>
                  </a:lnTo>
                  <a:lnTo>
                    <a:pt x="4" y="0"/>
                  </a:lnTo>
                  <a:lnTo>
                    <a:pt x="4" y="0"/>
                  </a:lnTo>
                  <a:lnTo>
                    <a:pt x="8" y="0"/>
                  </a:lnTo>
                  <a:lnTo>
                    <a:pt x="8" y="0"/>
                  </a:lnTo>
                  <a:lnTo>
                    <a:pt x="8" y="0"/>
                  </a:lnTo>
                  <a:lnTo>
                    <a:pt x="8" y="0"/>
                  </a:lnTo>
                  <a:lnTo>
                    <a:pt x="8" y="0"/>
                  </a:lnTo>
                  <a:lnTo>
                    <a:pt x="8" y="0"/>
                  </a:lnTo>
                  <a:lnTo>
                    <a:pt x="8" y="0"/>
                  </a:lnTo>
                  <a:lnTo>
                    <a:pt x="4" y="2"/>
                  </a:lnTo>
                  <a:lnTo>
                    <a:pt x="4" y="2"/>
                  </a:lnTo>
                  <a:lnTo>
                    <a:pt x="4" y="2"/>
                  </a:lnTo>
                  <a:lnTo>
                    <a:pt x="4" y="2"/>
                  </a:lnTo>
                  <a:lnTo>
                    <a:pt x="0" y="0"/>
                  </a:lnTo>
                  <a:lnTo>
                    <a:pt x="0" y="0"/>
                  </a:lnTo>
                  <a:lnTo>
                    <a:pt x="0" y="0"/>
                  </a:lnTo>
                  <a:lnTo>
                    <a:pt x="0" y="0"/>
                  </a:lnTo>
                  <a:lnTo>
                    <a:pt x="0" y="0"/>
                  </a:lnTo>
                  <a:lnTo>
                    <a:pt x="0" y="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96" name="Freeform 89"/>
            <p:cNvSpPr>
              <a:spLocks/>
            </p:cNvSpPr>
            <p:nvPr/>
          </p:nvSpPr>
          <p:spPr bwMode="auto">
            <a:xfrm>
              <a:off x="7124434" y="3577261"/>
              <a:ext cx="67822" cy="33997"/>
            </a:xfrm>
            <a:custGeom>
              <a:avLst/>
              <a:gdLst>
                <a:gd name="T0" fmla="*/ 12 w 108"/>
                <a:gd name="T1" fmla="*/ 40 h 52"/>
                <a:gd name="T2" fmla="*/ 8 w 108"/>
                <a:gd name="T3" fmla="*/ 44 h 52"/>
                <a:gd name="T4" fmla="*/ 4 w 108"/>
                <a:gd name="T5" fmla="*/ 40 h 52"/>
                <a:gd name="T6" fmla="*/ 4 w 108"/>
                <a:gd name="T7" fmla="*/ 40 h 52"/>
                <a:gd name="T8" fmla="*/ 4 w 108"/>
                <a:gd name="T9" fmla="*/ 34 h 52"/>
                <a:gd name="T10" fmla="*/ 0 w 108"/>
                <a:gd name="T11" fmla="*/ 30 h 52"/>
                <a:gd name="T12" fmla="*/ 4 w 108"/>
                <a:gd name="T13" fmla="*/ 30 h 52"/>
                <a:gd name="T14" fmla="*/ 12 w 108"/>
                <a:gd name="T15" fmla="*/ 38 h 52"/>
                <a:gd name="T16" fmla="*/ 14 w 108"/>
                <a:gd name="T17" fmla="*/ 34 h 52"/>
                <a:gd name="T18" fmla="*/ 18 w 108"/>
                <a:gd name="T19" fmla="*/ 30 h 52"/>
                <a:gd name="T20" fmla="*/ 26 w 108"/>
                <a:gd name="T21" fmla="*/ 30 h 52"/>
                <a:gd name="T22" fmla="*/ 38 w 108"/>
                <a:gd name="T23" fmla="*/ 30 h 52"/>
                <a:gd name="T24" fmla="*/ 38 w 108"/>
                <a:gd name="T25" fmla="*/ 30 h 52"/>
                <a:gd name="T26" fmla="*/ 44 w 108"/>
                <a:gd name="T27" fmla="*/ 30 h 52"/>
                <a:gd name="T28" fmla="*/ 48 w 108"/>
                <a:gd name="T29" fmla="*/ 34 h 52"/>
                <a:gd name="T30" fmla="*/ 48 w 108"/>
                <a:gd name="T31" fmla="*/ 26 h 52"/>
                <a:gd name="T32" fmla="*/ 48 w 108"/>
                <a:gd name="T33" fmla="*/ 22 h 52"/>
                <a:gd name="T34" fmla="*/ 44 w 108"/>
                <a:gd name="T35" fmla="*/ 18 h 52"/>
                <a:gd name="T36" fmla="*/ 52 w 108"/>
                <a:gd name="T37" fmla="*/ 14 h 52"/>
                <a:gd name="T38" fmla="*/ 56 w 108"/>
                <a:gd name="T39" fmla="*/ 10 h 52"/>
                <a:gd name="T40" fmla="*/ 60 w 108"/>
                <a:gd name="T41" fmla="*/ 10 h 52"/>
                <a:gd name="T42" fmla="*/ 64 w 108"/>
                <a:gd name="T43" fmla="*/ 6 h 52"/>
                <a:gd name="T44" fmla="*/ 70 w 108"/>
                <a:gd name="T45" fmla="*/ 6 h 52"/>
                <a:gd name="T46" fmla="*/ 74 w 108"/>
                <a:gd name="T47" fmla="*/ 6 h 52"/>
                <a:gd name="T48" fmla="*/ 78 w 108"/>
                <a:gd name="T49" fmla="*/ 4 h 52"/>
                <a:gd name="T50" fmla="*/ 82 w 108"/>
                <a:gd name="T51" fmla="*/ 0 h 52"/>
                <a:gd name="T52" fmla="*/ 86 w 108"/>
                <a:gd name="T53" fmla="*/ 4 h 52"/>
                <a:gd name="T54" fmla="*/ 92 w 108"/>
                <a:gd name="T55" fmla="*/ 4 h 52"/>
                <a:gd name="T56" fmla="*/ 96 w 108"/>
                <a:gd name="T57" fmla="*/ 6 h 52"/>
                <a:gd name="T58" fmla="*/ 100 w 108"/>
                <a:gd name="T59" fmla="*/ 6 h 52"/>
                <a:gd name="T60" fmla="*/ 104 w 108"/>
                <a:gd name="T61" fmla="*/ 6 h 52"/>
                <a:gd name="T62" fmla="*/ 104 w 108"/>
                <a:gd name="T63" fmla="*/ 14 h 52"/>
                <a:gd name="T64" fmla="*/ 108 w 108"/>
                <a:gd name="T65" fmla="*/ 18 h 52"/>
                <a:gd name="T66" fmla="*/ 108 w 108"/>
                <a:gd name="T67" fmla="*/ 22 h 52"/>
                <a:gd name="T68" fmla="*/ 108 w 108"/>
                <a:gd name="T69" fmla="*/ 26 h 52"/>
                <a:gd name="T70" fmla="*/ 100 w 108"/>
                <a:gd name="T71" fmla="*/ 26 h 52"/>
                <a:gd name="T72" fmla="*/ 100 w 108"/>
                <a:gd name="T73" fmla="*/ 30 h 52"/>
                <a:gd name="T74" fmla="*/ 100 w 108"/>
                <a:gd name="T75" fmla="*/ 34 h 52"/>
                <a:gd name="T76" fmla="*/ 100 w 108"/>
                <a:gd name="T77" fmla="*/ 38 h 52"/>
                <a:gd name="T78" fmla="*/ 96 w 108"/>
                <a:gd name="T79" fmla="*/ 40 h 52"/>
                <a:gd name="T80" fmla="*/ 92 w 108"/>
                <a:gd name="T81" fmla="*/ 44 h 52"/>
                <a:gd name="T82" fmla="*/ 90 w 108"/>
                <a:gd name="T83" fmla="*/ 48 h 52"/>
                <a:gd name="T84" fmla="*/ 78 w 108"/>
                <a:gd name="T85" fmla="*/ 48 h 52"/>
                <a:gd name="T86" fmla="*/ 70 w 108"/>
                <a:gd name="T87" fmla="*/ 52 h 52"/>
                <a:gd name="T88" fmla="*/ 64 w 108"/>
                <a:gd name="T89" fmla="*/ 52 h 52"/>
                <a:gd name="T90" fmla="*/ 56 w 108"/>
                <a:gd name="T91" fmla="*/ 52 h 52"/>
                <a:gd name="T92" fmla="*/ 44 w 108"/>
                <a:gd name="T93" fmla="*/ 48 h 52"/>
                <a:gd name="T94" fmla="*/ 40 w 108"/>
                <a:gd name="T95" fmla="*/ 48 h 52"/>
                <a:gd name="T96" fmla="*/ 38 w 108"/>
                <a:gd name="T97" fmla="*/ 40 h 52"/>
                <a:gd name="T98" fmla="*/ 38 w 108"/>
                <a:gd name="T99" fmla="*/ 40 h 52"/>
                <a:gd name="T100" fmla="*/ 30 w 108"/>
                <a:gd name="T101" fmla="*/ 40 h 52"/>
                <a:gd name="T102" fmla="*/ 22 w 108"/>
                <a:gd name="T103" fmla="*/ 44 h 52"/>
                <a:gd name="T104" fmla="*/ 18 w 108"/>
                <a:gd name="T105" fmla="*/ 44 h 52"/>
                <a:gd name="T106" fmla="*/ 14 w 108"/>
                <a:gd name="T107"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 h="52">
                  <a:moveTo>
                    <a:pt x="14" y="44"/>
                  </a:moveTo>
                  <a:lnTo>
                    <a:pt x="14" y="44"/>
                  </a:lnTo>
                  <a:lnTo>
                    <a:pt x="14" y="40"/>
                  </a:lnTo>
                  <a:lnTo>
                    <a:pt x="12" y="40"/>
                  </a:lnTo>
                  <a:lnTo>
                    <a:pt x="12" y="40"/>
                  </a:lnTo>
                  <a:lnTo>
                    <a:pt x="12" y="40"/>
                  </a:lnTo>
                  <a:lnTo>
                    <a:pt x="12" y="44"/>
                  </a:lnTo>
                  <a:lnTo>
                    <a:pt x="12" y="44"/>
                  </a:lnTo>
                  <a:lnTo>
                    <a:pt x="12" y="44"/>
                  </a:lnTo>
                  <a:lnTo>
                    <a:pt x="8" y="44"/>
                  </a:lnTo>
                  <a:lnTo>
                    <a:pt x="8" y="44"/>
                  </a:lnTo>
                  <a:lnTo>
                    <a:pt x="8" y="44"/>
                  </a:lnTo>
                  <a:lnTo>
                    <a:pt x="8" y="44"/>
                  </a:lnTo>
                  <a:lnTo>
                    <a:pt x="8" y="44"/>
                  </a:lnTo>
                  <a:lnTo>
                    <a:pt x="4" y="44"/>
                  </a:lnTo>
                  <a:lnTo>
                    <a:pt x="4" y="40"/>
                  </a:lnTo>
                  <a:lnTo>
                    <a:pt x="8" y="40"/>
                  </a:lnTo>
                  <a:lnTo>
                    <a:pt x="4" y="40"/>
                  </a:lnTo>
                  <a:lnTo>
                    <a:pt x="4" y="40"/>
                  </a:lnTo>
                  <a:lnTo>
                    <a:pt x="4" y="40"/>
                  </a:lnTo>
                  <a:lnTo>
                    <a:pt x="0" y="40"/>
                  </a:lnTo>
                  <a:lnTo>
                    <a:pt x="0" y="40"/>
                  </a:lnTo>
                  <a:lnTo>
                    <a:pt x="4" y="40"/>
                  </a:lnTo>
                  <a:lnTo>
                    <a:pt x="4" y="40"/>
                  </a:lnTo>
                  <a:lnTo>
                    <a:pt x="4" y="38"/>
                  </a:lnTo>
                  <a:lnTo>
                    <a:pt x="0" y="38"/>
                  </a:lnTo>
                  <a:lnTo>
                    <a:pt x="0" y="38"/>
                  </a:lnTo>
                  <a:lnTo>
                    <a:pt x="0" y="38"/>
                  </a:lnTo>
                  <a:lnTo>
                    <a:pt x="0" y="34"/>
                  </a:lnTo>
                  <a:lnTo>
                    <a:pt x="4" y="34"/>
                  </a:lnTo>
                  <a:lnTo>
                    <a:pt x="4" y="34"/>
                  </a:lnTo>
                  <a:lnTo>
                    <a:pt x="4" y="34"/>
                  </a:lnTo>
                  <a:lnTo>
                    <a:pt x="0" y="34"/>
                  </a:lnTo>
                  <a:lnTo>
                    <a:pt x="0" y="34"/>
                  </a:lnTo>
                  <a:lnTo>
                    <a:pt x="0" y="30"/>
                  </a:lnTo>
                  <a:lnTo>
                    <a:pt x="0" y="30"/>
                  </a:lnTo>
                  <a:lnTo>
                    <a:pt x="0" y="30"/>
                  </a:lnTo>
                  <a:lnTo>
                    <a:pt x="4" y="30"/>
                  </a:lnTo>
                  <a:lnTo>
                    <a:pt x="4" y="30"/>
                  </a:lnTo>
                  <a:lnTo>
                    <a:pt x="4" y="30"/>
                  </a:lnTo>
                  <a:lnTo>
                    <a:pt x="4" y="30"/>
                  </a:lnTo>
                  <a:lnTo>
                    <a:pt x="4" y="30"/>
                  </a:lnTo>
                  <a:lnTo>
                    <a:pt x="4" y="30"/>
                  </a:lnTo>
                  <a:lnTo>
                    <a:pt x="8" y="30"/>
                  </a:lnTo>
                  <a:lnTo>
                    <a:pt x="8" y="34"/>
                  </a:lnTo>
                  <a:lnTo>
                    <a:pt x="12" y="34"/>
                  </a:lnTo>
                  <a:lnTo>
                    <a:pt x="12" y="34"/>
                  </a:lnTo>
                  <a:lnTo>
                    <a:pt x="12" y="38"/>
                  </a:lnTo>
                  <a:lnTo>
                    <a:pt x="12" y="38"/>
                  </a:lnTo>
                  <a:lnTo>
                    <a:pt x="12" y="38"/>
                  </a:lnTo>
                  <a:lnTo>
                    <a:pt x="12" y="38"/>
                  </a:lnTo>
                  <a:lnTo>
                    <a:pt x="14" y="34"/>
                  </a:lnTo>
                  <a:lnTo>
                    <a:pt x="14" y="34"/>
                  </a:lnTo>
                  <a:lnTo>
                    <a:pt x="14" y="34"/>
                  </a:lnTo>
                  <a:lnTo>
                    <a:pt x="14" y="30"/>
                  </a:lnTo>
                  <a:lnTo>
                    <a:pt x="14" y="30"/>
                  </a:lnTo>
                  <a:lnTo>
                    <a:pt x="14" y="30"/>
                  </a:lnTo>
                  <a:lnTo>
                    <a:pt x="14" y="30"/>
                  </a:lnTo>
                  <a:lnTo>
                    <a:pt x="18" y="30"/>
                  </a:lnTo>
                  <a:lnTo>
                    <a:pt x="18" y="30"/>
                  </a:lnTo>
                  <a:lnTo>
                    <a:pt x="22" y="34"/>
                  </a:lnTo>
                  <a:lnTo>
                    <a:pt x="22" y="34"/>
                  </a:lnTo>
                  <a:lnTo>
                    <a:pt x="22" y="34"/>
                  </a:lnTo>
                  <a:lnTo>
                    <a:pt x="22" y="34"/>
                  </a:lnTo>
                  <a:lnTo>
                    <a:pt x="26" y="34"/>
                  </a:lnTo>
                  <a:lnTo>
                    <a:pt x="26" y="30"/>
                  </a:lnTo>
                  <a:lnTo>
                    <a:pt x="30" y="30"/>
                  </a:lnTo>
                  <a:lnTo>
                    <a:pt x="30" y="30"/>
                  </a:lnTo>
                  <a:lnTo>
                    <a:pt x="30" y="30"/>
                  </a:lnTo>
                  <a:lnTo>
                    <a:pt x="30" y="30"/>
                  </a:lnTo>
                  <a:lnTo>
                    <a:pt x="34" y="30"/>
                  </a:lnTo>
                  <a:lnTo>
                    <a:pt x="38" y="30"/>
                  </a:lnTo>
                  <a:lnTo>
                    <a:pt x="38" y="30"/>
                  </a:lnTo>
                  <a:lnTo>
                    <a:pt x="38" y="30"/>
                  </a:lnTo>
                  <a:lnTo>
                    <a:pt x="38" y="30"/>
                  </a:lnTo>
                  <a:lnTo>
                    <a:pt x="38" y="30"/>
                  </a:lnTo>
                  <a:lnTo>
                    <a:pt x="38" y="30"/>
                  </a:lnTo>
                  <a:lnTo>
                    <a:pt x="38" y="30"/>
                  </a:lnTo>
                  <a:lnTo>
                    <a:pt x="40" y="30"/>
                  </a:lnTo>
                  <a:lnTo>
                    <a:pt x="40" y="30"/>
                  </a:lnTo>
                  <a:lnTo>
                    <a:pt x="44" y="30"/>
                  </a:lnTo>
                  <a:lnTo>
                    <a:pt x="44" y="30"/>
                  </a:lnTo>
                  <a:lnTo>
                    <a:pt x="44" y="30"/>
                  </a:lnTo>
                  <a:lnTo>
                    <a:pt x="44" y="30"/>
                  </a:lnTo>
                  <a:lnTo>
                    <a:pt x="44" y="30"/>
                  </a:lnTo>
                  <a:lnTo>
                    <a:pt x="48" y="30"/>
                  </a:lnTo>
                  <a:lnTo>
                    <a:pt x="48" y="30"/>
                  </a:lnTo>
                  <a:lnTo>
                    <a:pt x="48" y="30"/>
                  </a:lnTo>
                  <a:lnTo>
                    <a:pt x="48" y="30"/>
                  </a:lnTo>
                  <a:lnTo>
                    <a:pt x="48" y="34"/>
                  </a:lnTo>
                  <a:lnTo>
                    <a:pt x="48" y="34"/>
                  </a:lnTo>
                  <a:lnTo>
                    <a:pt x="52" y="34"/>
                  </a:lnTo>
                  <a:lnTo>
                    <a:pt x="52" y="30"/>
                  </a:lnTo>
                  <a:lnTo>
                    <a:pt x="52" y="30"/>
                  </a:lnTo>
                  <a:lnTo>
                    <a:pt x="52" y="26"/>
                  </a:lnTo>
                  <a:lnTo>
                    <a:pt x="48" y="26"/>
                  </a:lnTo>
                  <a:lnTo>
                    <a:pt x="48" y="26"/>
                  </a:lnTo>
                  <a:lnTo>
                    <a:pt x="48" y="26"/>
                  </a:lnTo>
                  <a:lnTo>
                    <a:pt x="48" y="26"/>
                  </a:lnTo>
                  <a:lnTo>
                    <a:pt x="48" y="26"/>
                  </a:lnTo>
                  <a:lnTo>
                    <a:pt x="48" y="26"/>
                  </a:lnTo>
                  <a:lnTo>
                    <a:pt x="48" y="22"/>
                  </a:lnTo>
                  <a:lnTo>
                    <a:pt x="48" y="22"/>
                  </a:lnTo>
                  <a:lnTo>
                    <a:pt x="48" y="22"/>
                  </a:lnTo>
                  <a:lnTo>
                    <a:pt x="48" y="22"/>
                  </a:lnTo>
                  <a:lnTo>
                    <a:pt x="48" y="22"/>
                  </a:lnTo>
                  <a:lnTo>
                    <a:pt x="48" y="18"/>
                  </a:lnTo>
                  <a:lnTo>
                    <a:pt x="44" y="18"/>
                  </a:lnTo>
                  <a:lnTo>
                    <a:pt x="44" y="18"/>
                  </a:lnTo>
                  <a:lnTo>
                    <a:pt x="48" y="18"/>
                  </a:lnTo>
                  <a:lnTo>
                    <a:pt x="48" y="14"/>
                  </a:lnTo>
                  <a:lnTo>
                    <a:pt x="52" y="14"/>
                  </a:lnTo>
                  <a:lnTo>
                    <a:pt x="52" y="14"/>
                  </a:lnTo>
                  <a:lnTo>
                    <a:pt x="52" y="14"/>
                  </a:lnTo>
                  <a:lnTo>
                    <a:pt x="56" y="14"/>
                  </a:lnTo>
                  <a:lnTo>
                    <a:pt x="56" y="14"/>
                  </a:lnTo>
                  <a:lnTo>
                    <a:pt x="56" y="14"/>
                  </a:lnTo>
                  <a:lnTo>
                    <a:pt x="56" y="14"/>
                  </a:lnTo>
                  <a:lnTo>
                    <a:pt x="56" y="10"/>
                  </a:lnTo>
                  <a:lnTo>
                    <a:pt x="56" y="10"/>
                  </a:lnTo>
                  <a:lnTo>
                    <a:pt x="56" y="10"/>
                  </a:lnTo>
                  <a:lnTo>
                    <a:pt x="56" y="10"/>
                  </a:lnTo>
                  <a:lnTo>
                    <a:pt x="60" y="10"/>
                  </a:lnTo>
                  <a:lnTo>
                    <a:pt x="60" y="10"/>
                  </a:lnTo>
                  <a:lnTo>
                    <a:pt x="60" y="10"/>
                  </a:lnTo>
                  <a:lnTo>
                    <a:pt x="60" y="10"/>
                  </a:lnTo>
                  <a:lnTo>
                    <a:pt x="60" y="10"/>
                  </a:lnTo>
                  <a:lnTo>
                    <a:pt x="60" y="6"/>
                  </a:lnTo>
                  <a:lnTo>
                    <a:pt x="60" y="6"/>
                  </a:lnTo>
                  <a:lnTo>
                    <a:pt x="60" y="6"/>
                  </a:lnTo>
                  <a:lnTo>
                    <a:pt x="64" y="6"/>
                  </a:lnTo>
                  <a:lnTo>
                    <a:pt x="64" y="6"/>
                  </a:lnTo>
                  <a:lnTo>
                    <a:pt x="64" y="6"/>
                  </a:lnTo>
                  <a:lnTo>
                    <a:pt x="64" y="6"/>
                  </a:lnTo>
                  <a:lnTo>
                    <a:pt x="66" y="10"/>
                  </a:lnTo>
                  <a:lnTo>
                    <a:pt x="66" y="10"/>
                  </a:lnTo>
                  <a:lnTo>
                    <a:pt x="70" y="10"/>
                  </a:lnTo>
                  <a:lnTo>
                    <a:pt x="70" y="6"/>
                  </a:lnTo>
                  <a:lnTo>
                    <a:pt x="70" y="6"/>
                  </a:lnTo>
                  <a:lnTo>
                    <a:pt x="70" y="6"/>
                  </a:lnTo>
                  <a:lnTo>
                    <a:pt x="74" y="6"/>
                  </a:lnTo>
                  <a:lnTo>
                    <a:pt x="74" y="10"/>
                  </a:lnTo>
                  <a:lnTo>
                    <a:pt x="74" y="10"/>
                  </a:lnTo>
                  <a:lnTo>
                    <a:pt x="74" y="6"/>
                  </a:lnTo>
                  <a:lnTo>
                    <a:pt x="74" y="6"/>
                  </a:lnTo>
                  <a:lnTo>
                    <a:pt x="74" y="6"/>
                  </a:lnTo>
                  <a:lnTo>
                    <a:pt x="74" y="4"/>
                  </a:lnTo>
                  <a:lnTo>
                    <a:pt x="74" y="4"/>
                  </a:lnTo>
                  <a:lnTo>
                    <a:pt x="74" y="4"/>
                  </a:lnTo>
                  <a:lnTo>
                    <a:pt x="78" y="4"/>
                  </a:lnTo>
                  <a:lnTo>
                    <a:pt x="78" y="4"/>
                  </a:lnTo>
                  <a:lnTo>
                    <a:pt x="78" y="0"/>
                  </a:lnTo>
                  <a:lnTo>
                    <a:pt x="78" y="0"/>
                  </a:lnTo>
                  <a:lnTo>
                    <a:pt x="78" y="0"/>
                  </a:lnTo>
                  <a:lnTo>
                    <a:pt x="78" y="0"/>
                  </a:lnTo>
                  <a:lnTo>
                    <a:pt x="82" y="0"/>
                  </a:lnTo>
                  <a:lnTo>
                    <a:pt x="82" y="0"/>
                  </a:lnTo>
                  <a:lnTo>
                    <a:pt x="82" y="0"/>
                  </a:lnTo>
                  <a:lnTo>
                    <a:pt x="82" y="0"/>
                  </a:lnTo>
                  <a:lnTo>
                    <a:pt x="86" y="4"/>
                  </a:lnTo>
                  <a:lnTo>
                    <a:pt x="86" y="4"/>
                  </a:lnTo>
                  <a:lnTo>
                    <a:pt x="86" y="4"/>
                  </a:lnTo>
                  <a:lnTo>
                    <a:pt x="86" y="4"/>
                  </a:lnTo>
                  <a:lnTo>
                    <a:pt x="86" y="4"/>
                  </a:lnTo>
                  <a:lnTo>
                    <a:pt x="90" y="4"/>
                  </a:lnTo>
                  <a:lnTo>
                    <a:pt x="90" y="4"/>
                  </a:lnTo>
                  <a:lnTo>
                    <a:pt x="90" y="4"/>
                  </a:lnTo>
                  <a:lnTo>
                    <a:pt x="92" y="4"/>
                  </a:lnTo>
                  <a:lnTo>
                    <a:pt x="92" y="6"/>
                  </a:lnTo>
                  <a:lnTo>
                    <a:pt x="92" y="6"/>
                  </a:lnTo>
                  <a:lnTo>
                    <a:pt x="92" y="6"/>
                  </a:lnTo>
                  <a:lnTo>
                    <a:pt x="92" y="6"/>
                  </a:lnTo>
                  <a:lnTo>
                    <a:pt x="96" y="6"/>
                  </a:lnTo>
                  <a:lnTo>
                    <a:pt x="96" y="6"/>
                  </a:lnTo>
                  <a:lnTo>
                    <a:pt x="96" y="6"/>
                  </a:lnTo>
                  <a:lnTo>
                    <a:pt x="96" y="4"/>
                  </a:lnTo>
                  <a:lnTo>
                    <a:pt x="96" y="4"/>
                  </a:lnTo>
                  <a:lnTo>
                    <a:pt x="100" y="4"/>
                  </a:lnTo>
                  <a:lnTo>
                    <a:pt x="100" y="4"/>
                  </a:lnTo>
                  <a:lnTo>
                    <a:pt x="100" y="6"/>
                  </a:lnTo>
                  <a:lnTo>
                    <a:pt x="104" y="6"/>
                  </a:lnTo>
                  <a:lnTo>
                    <a:pt x="104" y="6"/>
                  </a:lnTo>
                  <a:lnTo>
                    <a:pt x="104" y="6"/>
                  </a:lnTo>
                  <a:lnTo>
                    <a:pt x="104" y="6"/>
                  </a:lnTo>
                  <a:lnTo>
                    <a:pt x="104" y="6"/>
                  </a:lnTo>
                  <a:lnTo>
                    <a:pt x="104" y="6"/>
                  </a:lnTo>
                  <a:lnTo>
                    <a:pt x="104" y="10"/>
                  </a:lnTo>
                  <a:lnTo>
                    <a:pt x="104" y="10"/>
                  </a:lnTo>
                  <a:lnTo>
                    <a:pt x="104" y="10"/>
                  </a:lnTo>
                  <a:lnTo>
                    <a:pt x="104" y="10"/>
                  </a:lnTo>
                  <a:lnTo>
                    <a:pt x="104" y="10"/>
                  </a:lnTo>
                  <a:lnTo>
                    <a:pt x="104" y="14"/>
                  </a:lnTo>
                  <a:lnTo>
                    <a:pt x="104" y="14"/>
                  </a:lnTo>
                  <a:lnTo>
                    <a:pt x="104" y="14"/>
                  </a:lnTo>
                  <a:lnTo>
                    <a:pt x="104" y="14"/>
                  </a:lnTo>
                  <a:lnTo>
                    <a:pt x="104" y="18"/>
                  </a:lnTo>
                  <a:lnTo>
                    <a:pt x="108" y="18"/>
                  </a:lnTo>
                  <a:lnTo>
                    <a:pt x="108" y="18"/>
                  </a:lnTo>
                  <a:lnTo>
                    <a:pt x="108" y="18"/>
                  </a:lnTo>
                  <a:lnTo>
                    <a:pt x="108" y="18"/>
                  </a:lnTo>
                  <a:lnTo>
                    <a:pt x="108" y="22"/>
                  </a:lnTo>
                  <a:lnTo>
                    <a:pt x="108" y="22"/>
                  </a:lnTo>
                  <a:lnTo>
                    <a:pt x="108" y="22"/>
                  </a:lnTo>
                  <a:lnTo>
                    <a:pt x="108" y="22"/>
                  </a:lnTo>
                  <a:lnTo>
                    <a:pt x="108" y="22"/>
                  </a:lnTo>
                  <a:lnTo>
                    <a:pt x="108" y="26"/>
                  </a:lnTo>
                  <a:lnTo>
                    <a:pt x="108" y="26"/>
                  </a:lnTo>
                  <a:lnTo>
                    <a:pt x="108" y="26"/>
                  </a:lnTo>
                  <a:lnTo>
                    <a:pt x="108" y="26"/>
                  </a:lnTo>
                  <a:lnTo>
                    <a:pt x="108" y="26"/>
                  </a:lnTo>
                  <a:lnTo>
                    <a:pt x="104" y="26"/>
                  </a:lnTo>
                  <a:lnTo>
                    <a:pt x="104" y="26"/>
                  </a:lnTo>
                  <a:lnTo>
                    <a:pt x="104" y="30"/>
                  </a:lnTo>
                  <a:lnTo>
                    <a:pt x="104" y="30"/>
                  </a:lnTo>
                  <a:lnTo>
                    <a:pt x="104" y="26"/>
                  </a:lnTo>
                  <a:lnTo>
                    <a:pt x="100" y="26"/>
                  </a:lnTo>
                  <a:lnTo>
                    <a:pt x="100" y="26"/>
                  </a:lnTo>
                  <a:lnTo>
                    <a:pt x="100" y="26"/>
                  </a:lnTo>
                  <a:lnTo>
                    <a:pt x="100" y="26"/>
                  </a:lnTo>
                  <a:lnTo>
                    <a:pt x="96" y="26"/>
                  </a:lnTo>
                  <a:lnTo>
                    <a:pt x="96" y="30"/>
                  </a:lnTo>
                  <a:lnTo>
                    <a:pt x="100" y="30"/>
                  </a:lnTo>
                  <a:lnTo>
                    <a:pt x="100" y="30"/>
                  </a:lnTo>
                  <a:lnTo>
                    <a:pt x="100" y="30"/>
                  </a:lnTo>
                  <a:lnTo>
                    <a:pt x="100" y="30"/>
                  </a:lnTo>
                  <a:lnTo>
                    <a:pt x="100" y="30"/>
                  </a:lnTo>
                  <a:lnTo>
                    <a:pt x="100" y="30"/>
                  </a:lnTo>
                  <a:lnTo>
                    <a:pt x="100" y="34"/>
                  </a:lnTo>
                  <a:lnTo>
                    <a:pt x="100" y="34"/>
                  </a:lnTo>
                  <a:lnTo>
                    <a:pt x="100" y="34"/>
                  </a:lnTo>
                  <a:lnTo>
                    <a:pt x="96" y="34"/>
                  </a:lnTo>
                  <a:lnTo>
                    <a:pt x="96" y="34"/>
                  </a:lnTo>
                  <a:lnTo>
                    <a:pt x="100" y="38"/>
                  </a:lnTo>
                  <a:lnTo>
                    <a:pt x="100" y="38"/>
                  </a:lnTo>
                  <a:lnTo>
                    <a:pt x="96" y="38"/>
                  </a:lnTo>
                  <a:lnTo>
                    <a:pt x="96" y="38"/>
                  </a:lnTo>
                  <a:lnTo>
                    <a:pt x="96" y="38"/>
                  </a:lnTo>
                  <a:lnTo>
                    <a:pt x="100" y="40"/>
                  </a:lnTo>
                  <a:lnTo>
                    <a:pt x="100" y="40"/>
                  </a:lnTo>
                  <a:lnTo>
                    <a:pt x="96" y="40"/>
                  </a:lnTo>
                  <a:lnTo>
                    <a:pt x="96" y="40"/>
                  </a:lnTo>
                  <a:lnTo>
                    <a:pt x="96" y="40"/>
                  </a:lnTo>
                  <a:lnTo>
                    <a:pt x="96" y="40"/>
                  </a:lnTo>
                  <a:lnTo>
                    <a:pt x="96" y="40"/>
                  </a:lnTo>
                  <a:lnTo>
                    <a:pt x="96" y="40"/>
                  </a:lnTo>
                  <a:lnTo>
                    <a:pt x="92" y="44"/>
                  </a:lnTo>
                  <a:lnTo>
                    <a:pt x="92" y="44"/>
                  </a:lnTo>
                  <a:lnTo>
                    <a:pt x="92" y="44"/>
                  </a:lnTo>
                  <a:lnTo>
                    <a:pt x="92" y="44"/>
                  </a:lnTo>
                  <a:lnTo>
                    <a:pt x="92" y="48"/>
                  </a:lnTo>
                  <a:lnTo>
                    <a:pt x="90" y="48"/>
                  </a:lnTo>
                  <a:lnTo>
                    <a:pt x="90" y="48"/>
                  </a:lnTo>
                  <a:lnTo>
                    <a:pt x="90" y="48"/>
                  </a:lnTo>
                  <a:lnTo>
                    <a:pt x="86" y="48"/>
                  </a:lnTo>
                  <a:lnTo>
                    <a:pt x="82" y="48"/>
                  </a:lnTo>
                  <a:lnTo>
                    <a:pt x="78" y="48"/>
                  </a:lnTo>
                  <a:lnTo>
                    <a:pt x="78" y="48"/>
                  </a:lnTo>
                  <a:lnTo>
                    <a:pt x="78" y="48"/>
                  </a:lnTo>
                  <a:lnTo>
                    <a:pt x="78" y="48"/>
                  </a:lnTo>
                  <a:lnTo>
                    <a:pt x="74" y="48"/>
                  </a:lnTo>
                  <a:lnTo>
                    <a:pt x="74" y="52"/>
                  </a:lnTo>
                  <a:lnTo>
                    <a:pt x="74" y="52"/>
                  </a:lnTo>
                  <a:lnTo>
                    <a:pt x="74" y="52"/>
                  </a:lnTo>
                  <a:lnTo>
                    <a:pt x="70" y="52"/>
                  </a:lnTo>
                  <a:lnTo>
                    <a:pt x="70" y="52"/>
                  </a:lnTo>
                  <a:lnTo>
                    <a:pt x="66" y="52"/>
                  </a:lnTo>
                  <a:lnTo>
                    <a:pt x="66" y="52"/>
                  </a:lnTo>
                  <a:lnTo>
                    <a:pt x="66" y="52"/>
                  </a:lnTo>
                  <a:lnTo>
                    <a:pt x="64" y="52"/>
                  </a:lnTo>
                  <a:lnTo>
                    <a:pt x="64" y="52"/>
                  </a:lnTo>
                  <a:lnTo>
                    <a:pt x="64" y="52"/>
                  </a:lnTo>
                  <a:lnTo>
                    <a:pt x="60" y="52"/>
                  </a:lnTo>
                  <a:lnTo>
                    <a:pt x="60" y="52"/>
                  </a:lnTo>
                  <a:lnTo>
                    <a:pt x="60" y="52"/>
                  </a:lnTo>
                  <a:lnTo>
                    <a:pt x="56" y="52"/>
                  </a:lnTo>
                  <a:lnTo>
                    <a:pt x="56" y="52"/>
                  </a:lnTo>
                  <a:lnTo>
                    <a:pt x="52" y="52"/>
                  </a:lnTo>
                  <a:lnTo>
                    <a:pt x="48" y="48"/>
                  </a:lnTo>
                  <a:lnTo>
                    <a:pt x="44" y="48"/>
                  </a:lnTo>
                  <a:lnTo>
                    <a:pt x="44" y="48"/>
                  </a:lnTo>
                  <a:lnTo>
                    <a:pt x="44" y="48"/>
                  </a:lnTo>
                  <a:lnTo>
                    <a:pt x="44" y="48"/>
                  </a:lnTo>
                  <a:lnTo>
                    <a:pt x="44" y="48"/>
                  </a:lnTo>
                  <a:lnTo>
                    <a:pt x="44" y="48"/>
                  </a:lnTo>
                  <a:lnTo>
                    <a:pt x="44" y="48"/>
                  </a:lnTo>
                  <a:lnTo>
                    <a:pt x="40" y="48"/>
                  </a:lnTo>
                  <a:lnTo>
                    <a:pt x="40" y="48"/>
                  </a:lnTo>
                  <a:lnTo>
                    <a:pt x="40" y="48"/>
                  </a:lnTo>
                  <a:lnTo>
                    <a:pt x="40" y="48"/>
                  </a:lnTo>
                  <a:lnTo>
                    <a:pt x="40" y="44"/>
                  </a:lnTo>
                  <a:lnTo>
                    <a:pt x="38" y="44"/>
                  </a:lnTo>
                  <a:lnTo>
                    <a:pt x="38" y="44"/>
                  </a:lnTo>
                  <a:lnTo>
                    <a:pt x="38" y="44"/>
                  </a:lnTo>
                  <a:lnTo>
                    <a:pt x="38" y="40"/>
                  </a:lnTo>
                  <a:lnTo>
                    <a:pt x="38" y="40"/>
                  </a:lnTo>
                  <a:lnTo>
                    <a:pt x="38" y="40"/>
                  </a:lnTo>
                  <a:lnTo>
                    <a:pt x="38" y="40"/>
                  </a:lnTo>
                  <a:lnTo>
                    <a:pt x="38" y="40"/>
                  </a:lnTo>
                  <a:lnTo>
                    <a:pt x="38" y="40"/>
                  </a:lnTo>
                  <a:lnTo>
                    <a:pt x="38" y="40"/>
                  </a:lnTo>
                  <a:lnTo>
                    <a:pt x="38" y="40"/>
                  </a:lnTo>
                  <a:lnTo>
                    <a:pt x="38" y="40"/>
                  </a:lnTo>
                  <a:lnTo>
                    <a:pt x="34" y="40"/>
                  </a:lnTo>
                  <a:lnTo>
                    <a:pt x="34" y="40"/>
                  </a:lnTo>
                  <a:lnTo>
                    <a:pt x="30" y="40"/>
                  </a:lnTo>
                  <a:lnTo>
                    <a:pt x="30" y="40"/>
                  </a:lnTo>
                  <a:lnTo>
                    <a:pt x="30" y="40"/>
                  </a:lnTo>
                  <a:lnTo>
                    <a:pt x="22" y="40"/>
                  </a:lnTo>
                  <a:lnTo>
                    <a:pt x="22" y="44"/>
                  </a:lnTo>
                  <a:lnTo>
                    <a:pt x="22" y="44"/>
                  </a:lnTo>
                  <a:lnTo>
                    <a:pt x="22" y="44"/>
                  </a:lnTo>
                  <a:lnTo>
                    <a:pt x="22" y="44"/>
                  </a:lnTo>
                  <a:lnTo>
                    <a:pt x="22" y="44"/>
                  </a:lnTo>
                  <a:lnTo>
                    <a:pt x="18" y="48"/>
                  </a:lnTo>
                  <a:lnTo>
                    <a:pt x="18" y="44"/>
                  </a:lnTo>
                  <a:lnTo>
                    <a:pt x="18" y="44"/>
                  </a:lnTo>
                  <a:lnTo>
                    <a:pt x="18" y="44"/>
                  </a:lnTo>
                  <a:lnTo>
                    <a:pt x="18" y="44"/>
                  </a:lnTo>
                  <a:lnTo>
                    <a:pt x="14" y="44"/>
                  </a:lnTo>
                  <a:lnTo>
                    <a:pt x="14" y="44"/>
                  </a:lnTo>
                  <a:lnTo>
                    <a:pt x="14" y="44"/>
                  </a:lnTo>
                  <a:lnTo>
                    <a:pt x="14" y="44"/>
                  </a:lnTo>
                  <a:lnTo>
                    <a:pt x="14" y="44"/>
                  </a:lnTo>
                  <a:lnTo>
                    <a:pt x="14" y="44"/>
                  </a:lnTo>
                  <a:lnTo>
                    <a:pt x="14" y="44"/>
                  </a:lnTo>
                  <a:lnTo>
                    <a:pt x="14" y="4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97" name="Freeform 90"/>
            <p:cNvSpPr>
              <a:spLocks/>
            </p:cNvSpPr>
            <p:nvPr/>
          </p:nvSpPr>
          <p:spPr bwMode="auto">
            <a:xfrm>
              <a:off x="7246262" y="3476577"/>
              <a:ext cx="84149" cy="70609"/>
            </a:xfrm>
            <a:custGeom>
              <a:avLst/>
              <a:gdLst>
                <a:gd name="T0" fmla="*/ 26 w 134"/>
                <a:gd name="T1" fmla="*/ 94 h 108"/>
                <a:gd name="T2" fmla="*/ 14 w 134"/>
                <a:gd name="T3" fmla="*/ 98 h 108"/>
                <a:gd name="T4" fmla="*/ 12 w 134"/>
                <a:gd name="T5" fmla="*/ 100 h 108"/>
                <a:gd name="T6" fmla="*/ 4 w 134"/>
                <a:gd name="T7" fmla="*/ 100 h 108"/>
                <a:gd name="T8" fmla="*/ 8 w 134"/>
                <a:gd name="T9" fmla="*/ 90 h 108"/>
                <a:gd name="T10" fmla="*/ 0 w 134"/>
                <a:gd name="T11" fmla="*/ 82 h 108"/>
                <a:gd name="T12" fmla="*/ 8 w 134"/>
                <a:gd name="T13" fmla="*/ 78 h 108"/>
                <a:gd name="T14" fmla="*/ 12 w 134"/>
                <a:gd name="T15" fmla="*/ 74 h 108"/>
                <a:gd name="T16" fmla="*/ 8 w 134"/>
                <a:gd name="T17" fmla="*/ 60 h 108"/>
                <a:gd name="T18" fmla="*/ 4 w 134"/>
                <a:gd name="T19" fmla="*/ 52 h 108"/>
                <a:gd name="T20" fmla="*/ 8 w 134"/>
                <a:gd name="T21" fmla="*/ 48 h 108"/>
                <a:gd name="T22" fmla="*/ 14 w 134"/>
                <a:gd name="T23" fmla="*/ 48 h 108"/>
                <a:gd name="T24" fmla="*/ 18 w 134"/>
                <a:gd name="T25" fmla="*/ 48 h 108"/>
                <a:gd name="T26" fmla="*/ 22 w 134"/>
                <a:gd name="T27" fmla="*/ 44 h 108"/>
                <a:gd name="T28" fmla="*/ 30 w 134"/>
                <a:gd name="T29" fmla="*/ 44 h 108"/>
                <a:gd name="T30" fmla="*/ 34 w 134"/>
                <a:gd name="T31" fmla="*/ 44 h 108"/>
                <a:gd name="T32" fmla="*/ 38 w 134"/>
                <a:gd name="T33" fmla="*/ 40 h 108"/>
                <a:gd name="T34" fmla="*/ 38 w 134"/>
                <a:gd name="T35" fmla="*/ 38 h 108"/>
                <a:gd name="T36" fmla="*/ 38 w 134"/>
                <a:gd name="T37" fmla="*/ 30 h 108"/>
                <a:gd name="T38" fmla="*/ 44 w 134"/>
                <a:gd name="T39" fmla="*/ 22 h 108"/>
                <a:gd name="T40" fmla="*/ 48 w 134"/>
                <a:gd name="T41" fmla="*/ 18 h 108"/>
                <a:gd name="T42" fmla="*/ 48 w 134"/>
                <a:gd name="T43" fmla="*/ 10 h 108"/>
                <a:gd name="T44" fmla="*/ 52 w 134"/>
                <a:gd name="T45" fmla="*/ 10 h 108"/>
                <a:gd name="T46" fmla="*/ 64 w 134"/>
                <a:gd name="T47" fmla="*/ 10 h 108"/>
                <a:gd name="T48" fmla="*/ 68 w 134"/>
                <a:gd name="T49" fmla="*/ 4 h 108"/>
                <a:gd name="T50" fmla="*/ 74 w 134"/>
                <a:gd name="T51" fmla="*/ 4 h 108"/>
                <a:gd name="T52" fmla="*/ 78 w 134"/>
                <a:gd name="T53" fmla="*/ 8 h 108"/>
                <a:gd name="T54" fmla="*/ 88 w 134"/>
                <a:gd name="T55" fmla="*/ 8 h 108"/>
                <a:gd name="T56" fmla="*/ 96 w 134"/>
                <a:gd name="T57" fmla="*/ 8 h 108"/>
                <a:gd name="T58" fmla="*/ 108 w 134"/>
                <a:gd name="T59" fmla="*/ 14 h 108"/>
                <a:gd name="T60" fmla="*/ 108 w 134"/>
                <a:gd name="T61" fmla="*/ 18 h 108"/>
                <a:gd name="T62" fmla="*/ 112 w 134"/>
                <a:gd name="T63" fmla="*/ 26 h 108"/>
                <a:gd name="T64" fmla="*/ 108 w 134"/>
                <a:gd name="T65" fmla="*/ 34 h 108"/>
                <a:gd name="T66" fmla="*/ 112 w 134"/>
                <a:gd name="T67" fmla="*/ 38 h 108"/>
                <a:gd name="T68" fmla="*/ 118 w 134"/>
                <a:gd name="T69" fmla="*/ 44 h 108"/>
                <a:gd name="T70" fmla="*/ 122 w 134"/>
                <a:gd name="T71" fmla="*/ 52 h 108"/>
                <a:gd name="T72" fmla="*/ 130 w 134"/>
                <a:gd name="T73" fmla="*/ 56 h 108"/>
                <a:gd name="T74" fmla="*/ 134 w 134"/>
                <a:gd name="T75" fmla="*/ 60 h 108"/>
                <a:gd name="T76" fmla="*/ 130 w 134"/>
                <a:gd name="T77" fmla="*/ 68 h 108"/>
                <a:gd name="T78" fmla="*/ 122 w 134"/>
                <a:gd name="T79" fmla="*/ 68 h 108"/>
                <a:gd name="T80" fmla="*/ 114 w 134"/>
                <a:gd name="T81" fmla="*/ 70 h 108"/>
                <a:gd name="T82" fmla="*/ 118 w 134"/>
                <a:gd name="T83" fmla="*/ 74 h 108"/>
                <a:gd name="T84" fmla="*/ 118 w 134"/>
                <a:gd name="T85" fmla="*/ 86 h 108"/>
                <a:gd name="T86" fmla="*/ 118 w 134"/>
                <a:gd name="T87" fmla="*/ 90 h 108"/>
                <a:gd name="T88" fmla="*/ 112 w 134"/>
                <a:gd name="T89" fmla="*/ 90 h 108"/>
                <a:gd name="T90" fmla="*/ 104 w 134"/>
                <a:gd name="T91" fmla="*/ 94 h 108"/>
                <a:gd name="T92" fmla="*/ 104 w 134"/>
                <a:gd name="T93" fmla="*/ 104 h 108"/>
                <a:gd name="T94" fmla="*/ 96 w 134"/>
                <a:gd name="T95" fmla="*/ 100 h 108"/>
                <a:gd name="T96" fmla="*/ 92 w 134"/>
                <a:gd name="T97" fmla="*/ 104 h 108"/>
                <a:gd name="T98" fmla="*/ 84 w 134"/>
                <a:gd name="T99" fmla="*/ 100 h 108"/>
                <a:gd name="T100" fmla="*/ 78 w 134"/>
                <a:gd name="T101" fmla="*/ 100 h 108"/>
                <a:gd name="T102" fmla="*/ 78 w 134"/>
                <a:gd name="T103" fmla="*/ 100 h 108"/>
                <a:gd name="T104" fmla="*/ 70 w 134"/>
                <a:gd name="T105" fmla="*/ 100 h 108"/>
                <a:gd name="T106" fmla="*/ 68 w 134"/>
                <a:gd name="T107" fmla="*/ 100 h 108"/>
                <a:gd name="T108" fmla="*/ 64 w 134"/>
                <a:gd name="T109" fmla="*/ 100 h 108"/>
                <a:gd name="T110" fmla="*/ 60 w 134"/>
                <a:gd name="T111" fmla="*/ 100 h 108"/>
                <a:gd name="T112" fmla="*/ 52 w 134"/>
                <a:gd name="T113" fmla="*/ 98 h 108"/>
                <a:gd name="T114" fmla="*/ 48 w 134"/>
                <a:gd name="T115" fmla="*/ 94 h 108"/>
                <a:gd name="T116" fmla="*/ 44 w 134"/>
                <a:gd name="T117" fmla="*/ 94 h 108"/>
                <a:gd name="T118" fmla="*/ 38 w 134"/>
                <a:gd name="T119" fmla="*/ 9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08">
                  <a:moveTo>
                    <a:pt x="34" y="94"/>
                  </a:moveTo>
                  <a:lnTo>
                    <a:pt x="34" y="94"/>
                  </a:lnTo>
                  <a:lnTo>
                    <a:pt x="30" y="94"/>
                  </a:lnTo>
                  <a:lnTo>
                    <a:pt x="30" y="94"/>
                  </a:lnTo>
                  <a:lnTo>
                    <a:pt x="30" y="94"/>
                  </a:lnTo>
                  <a:lnTo>
                    <a:pt x="30" y="94"/>
                  </a:lnTo>
                  <a:lnTo>
                    <a:pt x="30" y="94"/>
                  </a:lnTo>
                  <a:lnTo>
                    <a:pt x="26" y="94"/>
                  </a:lnTo>
                  <a:lnTo>
                    <a:pt x="26" y="94"/>
                  </a:lnTo>
                  <a:lnTo>
                    <a:pt x="26" y="94"/>
                  </a:lnTo>
                  <a:lnTo>
                    <a:pt x="22" y="94"/>
                  </a:lnTo>
                  <a:lnTo>
                    <a:pt x="22" y="94"/>
                  </a:lnTo>
                  <a:lnTo>
                    <a:pt x="22" y="94"/>
                  </a:lnTo>
                  <a:lnTo>
                    <a:pt x="18" y="94"/>
                  </a:lnTo>
                  <a:lnTo>
                    <a:pt x="14" y="94"/>
                  </a:lnTo>
                  <a:lnTo>
                    <a:pt x="14" y="98"/>
                  </a:lnTo>
                  <a:lnTo>
                    <a:pt x="14" y="98"/>
                  </a:lnTo>
                  <a:lnTo>
                    <a:pt x="14" y="98"/>
                  </a:lnTo>
                  <a:lnTo>
                    <a:pt x="12" y="100"/>
                  </a:lnTo>
                  <a:lnTo>
                    <a:pt x="12" y="100"/>
                  </a:lnTo>
                  <a:lnTo>
                    <a:pt x="12" y="100"/>
                  </a:lnTo>
                  <a:lnTo>
                    <a:pt x="12" y="100"/>
                  </a:lnTo>
                  <a:lnTo>
                    <a:pt x="12" y="100"/>
                  </a:lnTo>
                  <a:lnTo>
                    <a:pt x="12" y="100"/>
                  </a:lnTo>
                  <a:lnTo>
                    <a:pt x="12" y="100"/>
                  </a:lnTo>
                  <a:lnTo>
                    <a:pt x="8" y="98"/>
                  </a:lnTo>
                  <a:lnTo>
                    <a:pt x="8" y="100"/>
                  </a:lnTo>
                  <a:lnTo>
                    <a:pt x="8" y="100"/>
                  </a:lnTo>
                  <a:lnTo>
                    <a:pt x="8" y="100"/>
                  </a:lnTo>
                  <a:lnTo>
                    <a:pt x="8" y="100"/>
                  </a:lnTo>
                  <a:lnTo>
                    <a:pt x="8" y="100"/>
                  </a:lnTo>
                  <a:lnTo>
                    <a:pt x="4" y="100"/>
                  </a:lnTo>
                  <a:lnTo>
                    <a:pt x="4" y="100"/>
                  </a:lnTo>
                  <a:lnTo>
                    <a:pt x="4" y="98"/>
                  </a:lnTo>
                  <a:lnTo>
                    <a:pt x="4" y="98"/>
                  </a:lnTo>
                  <a:lnTo>
                    <a:pt x="4" y="98"/>
                  </a:lnTo>
                  <a:lnTo>
                    <a:pt x="4" y="98"/>
                  </a:lnTo>
                  <a:lnTo>
                    <a:pt x="8" y="94"/>
                  </a:lnTo>
                  <a:lnTo>
                    <a:pt x="8" y="94"/>
                  </a:lnTo>
                  <a:lnTo>
                    <a:pt x="8" y="90"/>
                  </a:lnTo>
                  <a:lnTo>
                    <a:pt x="8" y="90"/>
                  </a:lnTo>
                  <a:lnTo>
                    <a:pt x="8" y="90"/>
                  </a:lnTo>
                  <a:lnTo>
                    <a:pt x="4" y="86"/>
                  </a:lnTo>
                  <a:lnTo>
                    <a:pt x="0" y="86"/>
                  </a:lnTo>
                  <a:lnTo>
                    <a:pt x="0" y="86"/>
                  </a:lnTo>
                  <a:lnTo>
                    <a:pt x="0" y="86"/>
                  </a:lnTo>
                  <a:lnTo>
                    <a:pt x="0" y="86"/>
                  </a:lnTo>
                  <a:lnTo>
                    <a:pt x="0" y="82"/>
                  </a:lnTo>
                  <a:lnTo>
                    <a:pt x="4" y="82"/>
                  </a:lnTo>
                  <a:lnTo>
                    <a:pt x="4" y="82"/>
                  </a:lnTo>
                  <a:lnTo>
                    <a:pt x="4" y="78"/>
                  </a:lnTo>
                  <a:lnTo>
                    <a:pt x="4" y="78"/>
                  </a:lnTo>
                  <a:lnTo>
                    <a:pt x="4" y="78"/>
                  </a:lnTo>
                  <a:lnTo>
                    <a:pt x="8" y="78"/>
                  </a:lnTo>
                  <a:lnTo>
                    <a:pt x="8" y="78"/>
                  </a:lnTo>
                  <a:lnTo>
                    <a:pt x="8" y="78"/>
                  </a:lnTo>
                  <a:lnTo>
                    <a:pt x="8" y="78"/>
                  </a:lnTo>
                  <a:lnTo>
                    <a:pt x="8" y="78"/>
                  </a:lnTo>
                  <a:lnTo>
                    <a:pt x="8" y="78"/>
                  </a:lnTo>
                  <a:lnTo>
                    <a:pt x="12" y="78"/>
                  </a:lnTo>
                  <a:lnTo>
                    <a:pt x="12" y="78"/>
                  </a:lnTo>
                  <a:lnTo>
                    <a:pt x="12" y="74"/>
                  </a:lnTo>
                  <a:lnTo>
                    <a:pt x="12" y="74"/>
                  </a:lnTo>
                  <a:lnTo>
                    <a:pt x="12" y="74"/>
                  </a:lnTo>
                  <a:lnTo>
                    <a:pt x="12" y="74"/>
                  </a:lnTo>
                  <a:lnTo>
                    <a:pt x="12" y="74"/>
                  </a:lnTo>
                  <a:lnTo>
                    <a:pt x="12" y="70"/>
                  </a:lnTo>
                  <a:lnTo>
                    <a:pt x="12" y="70"/>
                  </a:lnTo>
                  <a:lnTo>
                    <a:pt x="12" y="68"/>
                  </a:lnTo>
                  <a:lnTo>
                    <a:pt x="8" y="64"/>
                  </a:lnTo>
                  <a:lnTo>
                    <a:pt x="8" y="60"/>
                  </a:lnTo>
                  <a:lnTo>
                    <a:pt x="8" y="60"/>
                  </a:lnTo>
                  <a:lnTo>
                    <a:pt x="8" y="60"/>
                  </a:lnTo>
                  <a:lnTo>
                    <a:pt x="8" y="56"/>
                  </a:lnTo>
                  <a:lnTo>
                    <a:pt x="8" y="56"/>
                  </a:lnTo>
                  <a:lnTo>
                    <a:pt x="8" y="56"/>
                  </a:lnTo>
                  <a:lnTo>
                    <a:pt x="8" y="56"/>
                  </a:lnTo>
                  <a:lnTo>
                    <a:pt x="4" y="56"/>
                  </a:lnTo>
                  <a:lnTo>
                    <a:pt x="4" y="52"/>
                  </a:lnTo>
                  <a:lnTo>
                    <a:pt x="4" y="52"/>
                  </a:lnTo>
                  <a:lnTo>
                    <a:pt x="4" y="48"/>
                  </a:lnTo>
                  <a:lnTo>
                    <a:pt x="4" y="48"/>
                  </a:lnTo>
                  <a:lnTo>
                    <a:pt x="4" y="48"/>
                  </a:lnTo>
                  <a:lnTo>
                    <a:pt x="4" y="48"/>
                  </a:lnTo>
                  <a:lnTo>
                    <a:pt x="4" y="48"/>
                  </a:lnTo>
                  <a:lnTo>
                    <a:pt x="4" y="48"/>
                  </a:lnTo>
                  <a:lnTo>
                    <a:pt x="8" y="48"/>
                  </a:lnTo>
                  <a:lnTo>
                    <a:pt x="8" y="48"/>
                  </a:lnTo>
                  <a:lnTo>
                    <a:pt x="8" y="48"/>
                  </a:lnTo>
                  <a:lnTo>
                    <a:pt x="12" y="48"/>
                  </a:lnTo>
                  <a:lnTo>
                    <a:pt x="12" y="48"/>
                  </a:lnTo>
                  <a:lnTo>
                    <a:pt x="12" y="48"/>
                  </a:lnTo>
                  <a:lnTo>
                    <a:pt x="12" y="48"/>
                  </a:lnTo>
                  <a:lnTo>
                    <a:pt x="14" y="48"/>
                  </a:lnTo>
                  <a:lnTo>
                    <a:pt x="14" y="48"/>
                  </a:lnTo>
                  <a:lnTo>
                    <a:pt x="14" y="48"/>
                  </a:lnTo>
                  <a:lnTo>
                    <a:pt x="14" y="48"/>
                  </a:lnTo>
                  <a:lnTo>
                    <a:pt x="14" y="48"/>
                  </a:lnTo>
                  <a:lnTo>
                    <a:pt x="14" y="48"/>
                  </a:lnTo>
                  <a:lnTo>
                    <a:pt x="14" y="52"/>
                  </a:lnTo>
                  <a:lnTo>
                    <a:pt x="18" y="52"/>
                  </a:lnTo>
                  <a:lnTo>
                    <a:pt x="18" y="48"/>
                  </a:lnTo>
                  <a:lnTo>
                    <a:pt x="18" y="48"/>
                  </a:lnTo>
                  <a:lnTo>
                    <a:pt x="18" y="48"/>
                  </a:lnTo>
                  <a:lnTo>
                    <a:pt x="22" y="48"/>
                  </a:lnTo>
                  <a:lnTo>
                    <a:pt x="22" y="48"/>
                  </a:lnTo>
                  <a:lnTo>
                    <a:pt x="22" y="48"/>
                  </a:lnTo>
                  <a:lnTo>
                    <a:pt x="22" y="48"/>
                  </a:lnTo>
                  <a:lnTo>
                    <a:pt x="22" y="48"/>
                  </a:lnTo>
                  <a:lnTo>
                    <a:pt x="22" y="48"/>
                  </a:lnTo>
                  <a:lnTo>
                    <a:pt x="22" y="44"/>
                  </a:lnTo>
                  <a:lnTo>
                    <a:pt x="22" y="44"/>
                  </a:lnTo>
                  <a:lnTo>
                    <a:pt x="26" y="44"/>
                  </a:lnTo>
                  <a:lnTo>
                    <a:pt x="26" y="44"/>
                  </a:lnTo>
                  <a:lnTo>
                    <a:pt x="26" y="44"/>
                  </a:lnTo>
                  <a:lnTo>
                    <a:pt x="26" y="44"/>
                  </a:lnTo>
                  <a:lnTo>
                    <a:pt x="26" y="44"/>
                  </a:lnTo>
                  <a:lnTo>
                    <a:pt x="26" y="44"/>
                  </a:lnTo>
                  <a:lnTo>
                    <a:pt x="30" y="44"/>
                  </a:lnTo>
                  <a:lnTo>
                    <a:pt x="30" y="44"/>
                  </a:lnTo>
                  <a:lnTo>
                    <a:pt x="30" y="44"/>
                  </a:lnTo>
                  <a:lnTo>
                    <a:pt x="30" y="44"/>
                  </a:lnTo>
                  <a:lnTo>
                    <a:pt x="30" y="44"/>
                  </a:lnTo>
                  <a:lnTo>
                    <a:pt x="30" y="40"/>
                  </a:lnTo>
                  <a:lnTo>
                    <a:pt x="34" y="40"/>
                  </a:lnTo>
                  <a:lnTo>
                    <a:pt x="34" y="40"/>
                  </a:lnTo>
                  <a:lnTo>
                    <a:pt x="34" y="40"/>
                  </a:lnTo>
                  <a:lnTo>
                    <a:pt x="34" y="44"/>
                  </a:lnTo>
                  <a:lnTo>
                    <a:pt x="34" y="44"/>
                  </a:lnTo>
                  <a:lnTo>
                    <a:pt x="34" y="44"/>
                  </a:lnTo>
                  <a:lnTo>
                    <a:pt x="34" y="44"/>
                  </a:lnTo>
                  <a:lnTo>
                    <a:pt x="34" y="44"/>
                  </a:lnTo>
                  <a:lnTo>
                    <a:pt x="38" y="44"/>
                  </a:lnTo>
                  <a:lnTo>
                    <a:pt x="38" y="44"/>
                  </a:lnTo>
                  <a:lnTo>
                    <a:pt x="38" y="44"/>
                  </a:lnTo>
                  <a:lnTo>
                    <a:pt x="38" y="40"/>
                  </a:lnTo>
                  <a:lnTo>
                    <a:pt x="34" y="40"/>
                  </a:lnTo>
                  <a:lnTo>
                    <a:pt x="34" y="40"/>
                  </a:lnTo>
                  <a:lnTo>
                    <a:pt x="34" y="40"/>
                  </a:lnTo>
                  <a:lnTo>
                    <a:pt x="34" y="40"/>
                  </a:lnTo>
                  <a:lnTo>
                    <a:pt x="34" y="40"/>
                  </a:lnTo>
                  <a:lnTo>
                    <a:pt x="34" y="40"/>
                  </a:lnTo>
                  <a:lnTo>
                    <a:pt x="34" y="38"/>
                  </a:lnTo>
                  <a:lnTo>
                    <a:pt x="38" y="38"/>
                  </a:lnTo>
                  <a:lnTo>
                    <a:pt x="38" y="38"/>
                  </a:lnTo>
                  <a:lnTo>
                    <a:pt x="38" y="38"/>
                  </a:lnTo>
                  <a:lnTo>
                    <a:pt x="38" y="34"/>
                  </a:lnTo>
                  <a:lnTo>
                    <a:pt x="38" y="34"/>
                  </a:lnTo>
                  <a:lnTo>
                    <a:pt x="38" y="34"/>
                  </a:lnTo>
                  <a:lnTo>
                    <a:pt x="38" y="30"/>
                  </a:lnTo>
                  <a:lnTo>
                    <a:pt x="38" y="30"/>
                  </a:lnTo>
                  <a:lnTo>
                    <a:pt x="38" y="30"/>
                  </a:lnTo>
                  <a:lnTo>
                    <a:pt x="38" y="30"/>
                  </a:lnTo>
                  <a:lnTo>
                    <a:pt x="38" y="30"/>
                  </a:lnTo>
                  <a:lnTo>
                    <a:pt x="42" y="26"/>
                  </a:lnTo>
                  <a:lnTo>
                    <a:pt x="42" y="26"/>
                  </a:lnTo>
                  <a:lnTo>
                    <a:pt x="42" y="26"/>
                  </a:lnTo>
                  <a:lnTo>
                    <a:pt x="44" y="26"/>
                  </a:lnTo>
                  <a:lnTo>
                    <a:pt x="44" y="26"/>
                  </a:lnTo>
                  <a:lnTo>
                    <a:pt x="44" y="22"/>
                  </a:lnTo>
                  <a:lnTo>
                    <a:pt x="44" y="22"/>
                  </a:lnTo>
                  <a:lnTo>
                    <a:pt x="48" y="22"/>
                  </a:lnTo>
                  <a:lnTo>
                    <a:pt x="48" y="22"/>
                  </a:lnTo>
                  <a:lnTo>
                    <a:pt x="52" y="22"/>
                  </a:lnTo>
                  <a:lnTo>
                    <a:pt x="52" y="22"/>
                  </a:lnTo>
                  <a:lnTo>
                    <a:pt x="52" y="22"/>
                  </a:lnTo>
                  <a:lnTo>
                    <a:pt x="52" y="18"/>
                  </a:lnTo>
                  <a:lnTo>
                    <a:pt x="48" y="18"/>
                  </a:lnTo>
                  <a:lnTo>
                    <a:pt x="48" y="18"/>
                  </a:lnTo>
                  <a:lnTo>
                    <a:pt x="48" y="18"/>
                  </a:lnTo>
                  <a:lnTo>
                    <a:pt x="48" y="18"/>
                  </a:lnTo>
                  <a:lnTo>
                    <a:pt x="48" y="18"/>
                  </a:lnTo>
                  <a:lnTo>
                    <a:pt x="44" y="18"/>
                  </a:lnTo>
                  <a:lnTo>
                    <a:pt x="48" y="18"/>
                  </a:lnTo>
                  <a:lnTo>
                    <a:pt x="48" y="14"/>
                  </a:lnTo>
                  <a:lnTo>
                    <a:pt x="48" y="10"/>
                  </a:lnTo>
                  <a:lnTo>
                    <a:pt x="48" y="10"/>
                  </a:lnTo>
                  <a:lnTo>
                    <a:pt x="48" y="10"/>
                  </a:lnTo>
                  <a:lnTo>
                    <a:pt x="48" y="10"/>
                  </a:lnTo>
                  <a:lnTo>
                    <a:pt x="48" y="10"/>
                  </a:lnTo>
                  <a:lnTo>
                    <a:pt x="48" y="10"/>
                  </a:lnTo>
                  <a:lnTo>
                    <a:pt x="48" y="10"/>
                  </a:lnTo>
                  <a:lnTo>
                    <a:pt x="52" y="10"/>
                  </a:lnTo>
                  <a:lnTo>
                    <a:pt x="52" y="10"/>
                  </a:lnTo>
                  <a:lnTo>
                    <a:pt x="52" y="10"/>
                  </a:lnTo>
                  <a:lnTo>
                    <a:pt x="52" y="10"/>
                  </a:lnTo>
                  <a:lnTo>
                    <a:pt x="52" y="8"/>
                  </a:lnTo>
                  <a:lnTo>
                    <a:pt x="56" y="8"/>
                  </a:lnTo>
                  <a:lnTo>
                    <a:pt x="56" y="8"/>
                  </a:lnTo>
                  <a:lnTo>
                    <a:pt x="60" y="10"/>
                  </a:lnTo>
                  <a:lnTo>
                    <a:pt x="60" y="10"/>
                  </a:lnTo>
                  <a:lnTo>
                    <a:pt x="64" y="10"/>
                  </a:lnTo>
                  <a:lnTo>
                    <a:pt x="64" y="10"/>
                  </a:lnTo>
                  <a:lnTo>
                    <a:pt x="64" y="8"/>
                  </a:lnTo>
                  <a:lnTo>
                    <a:pt x="64" y="8"/>
                  </a:lnTo>
                  <a:lnTo>
                    <a:pt x="64" y="8"/>
                  </a:lnTo>
                  <a:lnTo>
                    <a:pt x="64" y="8"/>
                  </a:lnTo>
                  <a:lnTo>
                    <a:pt x="64" y="4"/>
                  </a:lnTo>
                  <a:lnTo>
                    <a:pt x="68" y="4"/>
                  </a:lnTo>
                  <a:lnTo>
                    <a:pt x="68" y="4"/>
                  </a:lnTo>
                  <a:lnTo>
                    <a:pt x="70" y="0"/>
                  </a:lnTo>
                  <a:lnTo>
                    <a:pt x="70" y="0"/>
                  </a:lnTo>
                  <a:lnTo>
                    <a:pt x="70" y="4"/>
                  </a:lnTo>
                  <a:lnTo>
                    <a:pt x="70" y="4"/>
                  </a:lnTo>
                  <a:lnTo>
                    <a:pt x="70" y="4"/>
                  </a:lnTo>
                  <a:lnTo>
                    <a:pt x="70" y="4"/>
                  </a:lnTo>
                  <a:lnTo>
                    <a:pt x="74" y="4"/>
                  </a:lnTo>
                  <a:lnTo>
                    <a:pt x="74" y="4"/>
                  </a:lnTo>
                  <a:lnTo>
                    <a:pt x="74" y="4"/>
                  </a:lnTo>
                  <a:lnTo>
                    <a:pt x="78" y="4"/>
                  </a:lnTo>
                  <a:lnTo>
                    <a:pt x="78" y="4"/>
                  </a:lnTo>
                  <a:lnTo>
                    <a:pt x="78" y="4"/>
                  </a:lnTo>
                  <a:lnTo>
                    <a:pt x="78" y="4"/>
                  </a:lnTo>
                  <a:lnTo>
                    <a:pt x="78" y="8"/>
                  </a:lnTo>
                  <a:lnTo>
                    <a:pt x="78" y="8"/>
                  </a:lnTo>
                  <a:lnTo>
                    <a:pt x="78" y="8"/>
                  </a:lnTo>
                  <a:lnTo>
                    <a:pt x="82" y="8"/>
                  </a:lnTo>
                  <a:lnTo>
                    <a:pt x="82" y="4"/>
                  </a:lnTo>
                  <a:lnTo>
                    <a:pt x="82" y="4"/>
                  </a:lnTo>
                  <a:lnTo>
                    <a:pt x="82" y="4"/>
                  </a:lnTo>
                  <a:lnTo>
                    <a:pt x="84" y="4"/>
                  </a:lnTo>
                  <a:lnTo>
                    <a:pt x="84" y="4"/>
                  </a:lnTo>
                  <a:lnTo>
                    <a:pt x="88" y="8"/>
                  </a:lnTo>
                  <a:lnTo>
                    <a:pt x="88" y="8"/>
                  </a:lnTo>
                  <a:lnTo>
                    <a:pt x="88" y="8"/>
                  </a:lnTo>
                  <a:lnTo>
                    <a:pt x="84" y="10"/>
                  </a:lnTo>
                  <a:lnTo>
                    <a:pt x="88" y="10"/>
                  </a:lnTo>
                  <a:lnTo>
                    <a:pt x="88" y="10"/>
                  </a:lnTo>
                  <a:lnTo>
                    <a:pt x="88" y="10"/>
                  </a:lnTo>
                  <a:lnTo>
                    <a:pt x="92" y="10"/>
                  </a:lnTo>
                  <a:lnTo>
                    <a:pt x="92" y="8"/>
                  </a:lnTo>
                  <a:lnTo>
                    <a:pt x="96" y="8"/>
                  </a:lnTo>
                  <a:lnTo>
                    <a:pt x="96" y="8"/>
                  </a:lnTo>
                  <a:lnTo>
                    <a:pt x="100" y="8"/>
                  </a:lnTo>
                  <a:lnTo>
                    <a:pt x="104" y="10"/>
                  </a:lnTo>
                  <a:lnTo>
                    <a:pt x="104" y="10"/>
                  </a:lnTo>
                  <a:lnTo>
                    <a:pt x="104" y="10"/>
                  </a:lnTo>
                  <a:lnTo>
                    <a:pt x="104" y="10"/>
                  </a:lnTo>
                  <a:lnTo>
                    <a:pt x="108" y="14"/>
                  </a:lnTo>
                  <a:lnTo>
                    <a:pt x="108" y="14"/>
                  </a:lnTo>
                  <a:lnTo>
                    <a:pt x="108" y="14"/>
                  </a:lnTo>
                  <a:lnTo>
                    <a:pt x="108" y="14"/>
                  </a:lnTo>
                  <a:lnTo>
                    <a:pt x="108" y="14"/>
                  </a:lnTo>
                  <a:lnTo>
                    <a:pt x="108" y="14"/>
                  </a:lnTo>
                  <a:lnTo>
                    <a:pt x="108" y="14"/>
                  </a:lnTo>
                  <a:lnTo>
                    <a:pt x="108" y="14"/>
                  </a:lnTo>
                  <a:lnTo>
                    <a:pt x="108" y="18"/>
                  </a:lnTo>
                  <a:lnTo>
                    <a:pt x="108" y="18"/>
                  </a:lnTo>
                  <a:lnTo>
                    <a:pt x="108" y="18"/>
                  </a:lnTo>
                  <a:lnTo>
                    <a:pt x="108" y="18"/>
                  </a:lnTo>
                  <a:lnTo>
                    <a:pt x="108" y="18"/>
                  </a:lnTo>
                  <a:lnTo>
                    <a:pt x="108" y="18"/>
                  </a:lnTo>
                  <a:lnTo>
                    <a:pt x="108" y="22"/>
                  </a:lnTo>
                  <a:lnTo>
                    <a:pt x="108" y="22"/>
                  </a:lnTo>
                  <a:lnTo>
                    <a:pt x="112" y="22"/>
                  </a:lnTo>
                  <a:lnTo>
                    <a:pt x="112" y="26"/>
                  </a:lnTo>
                  <a:lnTo>
                    <a:pt x="108" y="26"/>
                  </a:lnTo>
                  <a:lnTo>
                    <a:pt x="108" y="30"/>
                  </a:lnTo>
                  <a:lnTo>
                    <a:pt x="108" y="30"/>
                  </a:lnTo>
                  <a:lnTo>
                    <a:pt x="108" y="30"/>
                  </a:lnTo>
                  <a:lnTo>
                    <a:pt x="108" y="30"/>
                  </a:lnTo>
                  <a:lnTo>
                    <a:pt x="108" y="30"/>
                  </a:lnTo>
                  <a:lnTo>
                    <a:pt x="108" y="34"/>
                  </a:lnTo>
                  <a:lnTo>
                    <a:pt x="108" y="34"/>
                  </a:lnTo>
                  <a:lnTo>
                    <a:pt x="108" y="34"/>
                  </a:lnTo>
                  <a:lnTo>
                    <a:pt x="112" y="34"/>
                  </a:lnTo>
                  <a:lnTo>
                    <a:pt x="112" y="34"/>
                  </a:lnTo>
                  <a:lnTo>
                    <a:pt x="112" y="38"/>
                  </a:lnTo>
                  <a:lnTo>
                    <a:pt x="112" y="38"/>
                  </a:lnTo>
                  <a:lnTo>
                    <a:pt x="112" y="38"/>
                  </a:lnTo>
                  <a:lnTo>
                    <a:pt x="112" y="38"/>
                  </a:lnTo>
                  <a:lnTo>
                    <a:pt x="112" y="38"/>
                  </a:lnTo>
                  <a:lnTo>
                    <a:pt x="112" y="38"/>
                  </a:lnTo>
                  <a:lnTo>
                    <a:pt x="114" y="38"/>
                  </a:lnTo>
                  <a:lnTo>
                    <a:pt x="114" y="40"/>
                  </a:lnTo>
                  <a:lnTo>
                    <a:pt x="114" y="40"/>
                  </a:lnTo>
                  <a:lnTo>
                    <a:pt x="114" y="44"/>
                  </a:lnTo>
                  <a:lnTo>
                    <a:pt x="118" y="44"/>
                  </a:lnTo>
                  <a:lnTo>
                    <a:pt x="118" y="44"/>
                  </a:lnTo>
                  <a:lnTo>
                    <a:pt x="118" y="44"/>
                  </a:lnTo>
                  <a:lnTo>
                    <a:pt x="118" y="44"/>
                  </a:lnTo>
                  <a:lnTo>
                    <a:pt x="122" y="44"/>
                  </a:lnTo>
                  <a:lnTo>
                    <a:pt x="122" y="48"/>
                  </a:lnTo>
                  <a:lnTo>
                    <a:pt x="122" y="48"/>
                  </a:lnTo>
                  <a:lnTo>
                    <a:pt x="122" y="48"/>
                  </a:lnTo>
                  <a:lnTo>
                    <a:pt x="122" y="52"/>
                  </a:lnTo>
                  <a:lnTo>
                    <a:pt x="122" y="52"/>
                  </a:lnTo>
                  <a:lnTo>
                    <a:pt x="122" y="52"/>
                  </a:lnTo>
                  <a:lnTo>
                    <a:pt x="122" y="52"/>
                  </a:lnTo>
                  <a:lnTo>
                    <a:pt x="122" y="52"/>
                  </a:lnTo>
                  <a:lnTo>
                    <a:pt x="122" y="52"/>
                  </a:lnTo>
                  <a:lnTo>
                    <a:pt x="122" y="52"/>
                  </a:lnTo>
                  <a:lnTo>
                    <a:pt x="122" y="52"/>
                  </a:lnTo>
                  <a:lnTo>
                    <a:pt x="126" y="52"/>
                  </a:lnTo>
                  <a:lnTo>
                    <a:pt x="130" y="52"/>
                  </a:lnTo>
                  <a:lnTo>
                    <a:pt x="130" y="56"/>
                  </a:lnTo>
                  <a:lnTo>
                    <a:pt x="130" y="56"/>
                  </a:lnTo>
                  <a:lnTo>
                    <a:pt x="130" y="56"/>
                  </a:lnTo>
                  <a:lnTo>
                    <a:pt x="130" y="56"/>
                  </a:lnTo>
                  <a:lnTo>
                    <a:pt x="130" y="56"/>
                  </a:lnTo>
                  <a:lnTo>
                    <a:pt x="130" y="56"/>
                  </a:lnTo>
                  <a:lnTo>
                    <a:pt x="130" y="60"/>
                  </a:lnTo>
                  <a:lnTo>
                    <a:pt x="134" y="60"/>
                  </a:lnTo>
                  <a:lnTo>
                    <a:pt x="134" y="60"/>
                  </a:lnTo>
                  <a:lnTo>
                    <a:pt x="134" y="60"/>
                  </a:lnTo>
                  <a:lnTo>
                    <a:pt x="134" y="60"/>
                  </a:lnTo>
                  <a:lnTo>
                    <a:pt x="134" y="60"/>
                  </a:lnTo>
                  <a:lnTo>
                    <a:pt x="134" y="64"/>
                  </a:lnTo>
                  <a:lnTo>
                    <a:pt x="134" y="64"/>
                  </a:lnTo>
                  <a:lnTo>
                    <a:pt x="130" y="68"/>
                  </a:lnTo>
                  <a:lnTo>
                    <a:pt x="130" y="68"/>
                  </a:lnTo>
                  <a:lnTo>
                    <a:pt x="130" y="68"/>
                  </a:lnTo>
                  <a:lnTo>
                    <a:pt x="126" y="68"/>
                  </a:lnTo>
                  <a:lnTo>
                    <a:pt x="126" y="68"/>
                  </a:lnTo>
                  <a:lnTo>
                    <a:pt x="126" y="68"/>
                  </a:lnTo>
                  <a:lnTo>
                    <a:pt x="122" y="68"/>
                  </a:lnTo>
                  <a:lnTo>
                    <a:pt x="122" y="68"/>
                  </a:lnTo>
                  <a:lnTo>
                    <a:pt x="122" y="68"/>
                  </a:lnTo>
                  <a:lnTo>
                    <a:pt x="122" y="68"/>
                  </a:lnTo>
                  <a:lnTo>
                    <a:pt x="122" y="68"/>
                  </a:lnTo>
                  <a:lnTo>
                    <a:pt x="118" y="68"/>
                  </a:lnTo>
                  <a:lnTo>
                    <a:pt x="114" y="68"/>
                  </a:lnTo>
                  <a:lnTo>
                    <a:pt x="114" y="68"/>
                  </a:lnTo>
                  <a:lnTo>
                    <a:pt x="114" y="68"/>
                  </a:lnTo>
                  <a:lnTo>
                    <a:pt x="114" y="68"/>
                  </a:lnTo>
                  <a:lnTo>
                    <a:pt x="114" y="68"/>
                  </a:lnTo>
                  <a:lnTo>
                    <a:pt x="114" y="68"/>
                  </a:lnTo>
                  <a:lnTo>
                    <a:pt x="114" y="70"/>
                  </a:lnTo>
                  <a:lnTo>
                    <a:pt x="114" y="70"/>
                  </a:lnTo>
                  <a:lnTo>
                    <a:pt x="114" y="70"/>
                  </a:lnTo>
                  <a:lnTo>
                    <a:pt x="114" y="70"/>
                  </a:lnTo>
                  <a:lnTo>
                    <a:pt x="114" y="74"/>
                  </a:lnTo>
                  <a:lnTo>
                    <a:pt x="118" y="74"/>
                  </a:lnTo>
                  <a:lnTo>
                    <a:pt x="118" y="74"/>
                  </a:lnTo>
                  <a:lnTo>
                    <a:pt x="118" y="74"/>
                  </a:lnTo>
                  <a:lnTo>
                    <a:pt x="118" y="74"/>
                  </a:lnTo>
                  <a:lnTo>
                    <a:pt x="118" y="74"/>
                  </a:lnTo>
                  <a:lnTo>
                    <a:pt x="118" y="74"/>
                  </a:lnTo>
                  <a:lnTo>
                    <a:pt x="118" y="78"/>
                  </a:lnTo>
                  <a:lnTo>
                    <a:pt x="118" y="78"/>
                  </a:lnTo>
                  <a:lnTo>
                    <a:pt x="118" y="82"/>
                  </a:lnTo>
                  <a:lnTo>
                    <a:pt x="118" y="82"/>
                  </a:lnTo>
                  <a:lnTo>
                    <a:pt x="118" y="86"/>
                  </a:lnTo>
                  <a:lnTo>
                    <a:pt x="118" y="86"/>
                  </a:lnTo>
                  <a:lnTo>
                    <a:pt x="118" y="86"/>
                  </a:lnTo>
                  <a:lnTo>
                    <a:pt x="122" y="86"/>
                  </a:lnTo>
                  <a:lnTo>
                    <a:pt x="122" y="90"/>
                  </a:lnTo>
                  <a:lnTo>
                    <a:pt x="122" y="90"/>
                  </a:lnTo>
                  <a:lnTo>
                    <a:pt x="122" y="90"/>
                  </a:lnTo>
                  <a:lnTo>
                    <a:pt x="118" y="90"/>
                  </a:lnTo>
                  <a:lnTo>
                    <a:pt x="118" y="90"/>
                  </a:lnTo>
                  <a:lnTo>
                    <a:pt x="118" y="90"/>
                  </a:lnTo>
                  <a:lnTo>
                    <a:pt x="118" y="90"/>
                  </a:lnTo>
                  <a:lnTo>
                    <a:pt x="114" y="90"/>
                  </a:lnTo>
                  <a:lnTo>
                    <a:pt x="114" y="90"/>
                  </a:lnTo>
                  <a:lnTo>
                    <a:pt x="114" y="90"/>
                  </a:lnTo>
                  <a:lnTo>
                    <a:pt x="114" y="90"/>
                  </a:lnTo>
                  <a:lnTo>
                    <a:pt x="114" y="90"/>
                  </a:lnTo>
                  <a:lnTo>
                    <a:pt x="112" y="90"/>
                  </a:lnTo>
                  <a:lnTo>
                    <a:pt x="112" y="90"/>
                  </a:lnTo>
                  <a:lnTo>
                    <a:pt x="108" y="90"/>
                  </a:lnTo>
                  <a:lnTo>
                    <a:pt x="108" y="90"/>
                  </a:lnTo>
                  <a:lnTo>
                    <a:pt x="108" y="90"/>
                  </a:lnTo>
                  <a:lnTo>
                    <a:pt x="108" y="90"/>
                  </a:lnTo>
                  <a:lnTo>
                    <a:pt x="108" y="94"/>
                  </a:lnTo>
                  <a:lnTo>
                    <a:pt x="108" y="94"/>
                  </a:lnTo>
                  <a:lnTo>
                    <a:pt x="108" y="94"/>
                  </a:lnTo>
                  <a:lnTo>
                    <a:pt x="104" y="94"/>
                  </a:lnTo>
                  <a:lnTo>
                    <a:pt x="104" y="98"/>
                  </a:lnTo>
                  <a:lnTo>
                    <a:pt x="104" y="98"/>
                  </a:lnTo>
                  <a:lnTo>
                    <a:pt x="104" y="98"/>
                  </a:lnTo>
                  <a:lnTo>
                    <a:pt x="104" y="100"/>
                  </a:lnTo>
                  <a:lnTo>
                    <a:pt x="104" y="100"/>
                  </a:lnTo>
                  <a:lnTo>
                    <a:pt x="104" y="104"/>
                  </a:lnTo>
                  <a:lnTo>
                    <a:pt x="104" y="104"/>
                  </a:lnTo>
                  <a:lnTo>
                    <a:pt x="104" y="104"/>
                  </a:lnTo>
                  <a:lnTo>
                    <a:pt x="104" y="104"/>
                  </a:lnTo>
                  <a:lnTo>
                    <a:pt x="104" y="108"/>
                  </a:lnTo>
                  <a:lnTo>
                    <a:pt x="104" y="104"/>
                  </a:lnTo>
                  <a:lnTo>
                    <a:pt x="100" y="104"/>
                  </a:lnTo>
                  <a:lnTo>
                    <a:pt x="100" y="104"/>
                  </a:lnTo>
                  <a:lnTo>
                    <a:pt x="100" y="100"/>
                  </a:lnTo>
                  <a:lnTo>
                    <a:pt x="100" y="100"/>
                  </a:lnTo>
                  <a:lnTo>
                    <a:pt x="96" y="100"/>
                  </a:lnTo>
                  <a:lnTo>
                    <a:pt x="96" y="100"/>
                  </a:lnTo>
                  <a:lnTo>
                    <a:pt x="96" y="100"/>
                  </a:lnTo>
                  <a:lnTo>
                    <a:pt x="96" y="100"/>
                  </a:lnTo>
                  <a:lnTo>
                    <a:pt x="96" y="100"/>
                  </a:lnTo>
                  <a:lnTo>
                    <a:pt x="92" y="104"/>
                  </a:lnTo>
                  <a:lnTo>
                    <a:pt x="92" y="104"/>
                  </a:lnTo>
                  <a:lnTo>
                    <a:pt x="92" y="104"/>
                  </a:lnTo>
                  <a:lnTo>
                    <a:pt x="92" y="104"/>
                  </a:lnTo>
                  <a:lnTo>
                    <a:pt x="92" y="100"/>
                  </a:lnTo>
                  <a:lnTo>
                    <a:pt x="92" y="100"/>
                  </a:lnTo>
                  <a:lnTo>
                    <a:pt x="88" y="100"/>
                  </a:lnTo>
                  <a:lnTo>
                    <a:pt x="88" y="104"/>
                  </a:lnTo>
                  <a:lnTo>
                    <a:pt x="84" y="104"/>
                  </a:lnTo>
                  <a:lnTo>
                    <a:pt x="84" y="104"/>
                  </a:lnTo>
                  <a:lnTo>
                    <a:pt x="84" y="104"/>
                  </a:lnTo>
                  <a:lnTo>
                    <a:pt x="84" y="100"/>
                  </a:lnTo>
                  <a:lnTo>
                    <a:pt x="84" y="100"/>
                  </a:lnTo>
                  <a:lnTo>
                    <a:pt x="84" y="100"/>
                  </a:lnTo>
                  <a:lnTo>
                    <a:pt x="84" y="100"/>
                  </a:lnTo>
                  <a:lnTo>
                    <a:pt x="84" y="100"/>
                  </a:lnTo>
                  <a:lnTo>
                    <a:pt x="82" y="100"/>
                  </a:lnTo>
                  <a:lnTo>
                    <a:pt x="82" y="100"/>
                  </a:lnTo>
                  <a:lnTo>
                    <a:pt x="78" y="100"/>
                  </a:lnTo>
                  <a:lnTo>
                    <a:pt x="78" y="100"/>
                  </a:lnTo>
                  <a:lnTo>
                    <a:pt x="78" y="100"/>
                  </a:lnTo>
                  <a:lnTo>
                    <a:pt x="78" y="100"/>
                  </a:lnTo>
                  <a:lnTo>
                    <a:pt x="78" y="104"/>
                  </a:lnTo>
                  <a:lnTo>
                    <a:pt x="78" y="104"/>
                  </a:lnTo>
                  <a:lnTo>
                    <a:pt x="78" y="104"/>
                  </a:lnTo>
                  <a:lnTo>
                    <a:pt x="78" y="104"/>
                  </a:lnTo>
                  <a:lnTo>
                    <a:pt x="78" y="100"/>
                  </a:lnTo>
                  <a:lnTo>
                    <a:pt x="78" y="100"/>
                  </a:lnTo>
                  <a:lnTo>
                    <a:pt x="78" y="100"/>
                  </a:lnTo>
                  <a:lnTo>
                    <a:pt x="74" y="100"/>
                  </a:lnTo>
                  <a:lnTo>
                    <a:pt x="74" y="100"/>
                  </a:lnTo>
                  <a:lnTo>
                    <a:pt x="74" y="100"/>
                  </a:lnTo>
                  <a:lnTo>
                    <a:pt x="70" y="100"/>
                  </a:lnTo>
                  <a:lnTo>
                    <a:pt x="70" y="98"/>
                  </a:lnTo>
                  <a:lnTo>
                    <a:pt x="70" y="98"/>
                  </a:lnTo>
                  <a:lnTo>
                    <a:pt x="70" y="100"/>
                  </a:lnTo>
                  <a:lnTo>
                    <a:pt x="70" y="100"/>
                  </a:lnTo>
                  <a:lnTo>
                    <a:pt x="70" y="100"/>
                  </a:lnTo>
                  <a:lnTo>
                    <a:pt x="70" y="100"/>
                  </a:lnTo>
                  <a:lnTo>
                    <a:pt x="70" y="100"/>
                  </a:lnTo>
                  <a:lnTo>
                    <a:pt x="68" y="100"/>
                  </a:lnTo>
                  <a:lnTo>
                    <a:pt x="68" y="100"/>
                  </a:lnTo>
                  <a:lnTo>
                    <a:pt x="68" y="100"/>
                  </a:lnTo>
                  <a:lnTo>
                    <a:pt x="68" y="100"/>
                  </a:lnTo>
                  <a:lnTo>
                    <a:pt x="68" y="100"/>
                  </a:lnTo>
                  <a:lnTo>
                    <a:pt x="68" y="100"/>
                  </a:lnTo>
                  <a:lnTo>
                    <a:pt x="68" y="100"/>
                  </a:lnTo>
                  <a:lnTo>
                    <a:pt x="68" y="100"/>
                  </a:lnTo>
                  <a:lnTo>
                    <a:pt x="68" y="100"/>
                  </a:lnTo>
                  <a:lnTo>
                    <a:pt x="68" y="100"/>
                  </a:lnTo>
                  <a:lnTo>
                    <a:pt x="64" y="100"/>
                  </a:lnTo>
                  <a:lnTo>
                    <a:pt x="64" y="100"/>
                  </a:lnTo>
                  <a:lnTo>
                    <a:pt x="64" y="100"/>
                  </a:lnTo>
                  <a:lnTo>
                    <a:pt x="64" y="100"/>
                  </a:lnTo>
                  <a:lnTo>
                    <a:pt x="64" y="100"/>
                  </a:lnTo>
                  <a:lnTo>
                    <a:pt x="64" y="100"/>
                  </a:lnTo>
                  <a:lnTo>
                    <a:pt x="60" y="100"/>
                  </a:lnTo>
                  <a:lnTo>
                    <a:pt x="60" y="100"/>
                  </a:lnTo>
                  <a:lnTo>
                    <a:pt x="60" y="100"/>
                  </a:lnTo>
                  <a:lnTo>
                    <a:pt x="60" y="100"/>
                  </a:lnTo>
                  <a:lnTo>
                    <a:pt x="56" y="98"/>
                  </a:lnTo>
                  <a:lnTo>
                    <a:pt x="56" y="98"/>
                  </a:lnTo>
                  <a:lnTo>
                    <a:pt x="56" y="98"/>
                  </a:lnTo>
                  <a:lnTo>
                    <a:pt x="56" y="98"/>
                  </a:lnTo>
                  <a:lnTo>
                    <a:pt x="56" y="98"/>
                  </a:lnTo>
                  <a:lnTo>
                    <a:pt x="56" y="98"/>
                  </a:lnTo>
                  <a:lnTo>
                    <a:pt x="52" y="98"/>
                  </a:lnTo>
                  <a:lnTo>
                    <a:pt x="52" y="98"/>
                  </a:lnTo>
                  <a:lnTo>
                    <a:pt x="52" y="98"/>
                  </a:lnTo>
                  <a:lnTo>
                    <a:pt x="52" y="98"/>
                  </a:lnTo>
                  <a:lnTo>
                    <a:pt x="52" y="98"/>
                  </a:lnTo>
                  <a:lnTo>
                    <a:pt x="52" y="98"/>
                  </a:lnTo>
                  <a:lnTo>
                    <a:pt x="48" y="98"/>
                  </a:lnTo>
                  <a:lnTo>
                    <a:pt x="48" y="98"/>
                  </a:lnTo>
                  <a:lnTo>
                    <a:pt x="48" y="94"/>
                  </a:lnTo>
                  <a:lnTo>
                    <a:pt x="48" y="94"/>
                  </a:lnTo>
                  <a:lnTo>
                    <a:pt x="48" y="98"/>
                  </a:lnTo>
                  <a:lnTo>
                    <a:pt x="48" y="98"/>
                  </a:lnTo>
                  <a:lnTo>
                    <a:pt x="48" y="98"/>
                  </a:lnTo>
                  <a:lnTo>
                    <a:pt x="44" y="98"/>
                  </a:lnTo>
                  <a:lnTo>
                    <a:pt x="44" y="94"/>
                  </a:lnTo>
                  <a:lnTo>
                    <a:pt x="44" y="94"/>
                  </a:lnTo>
                  <a:lnTo>
                    <a:pt x="44" y="94"/>
                  </a:lnTo>
                  <a:lnTo>
                    <a:pt x="44" y="94"/>
                  </a:lnTo>
                  <a:lnTo>
                    <a:pt x="44" y="94"/>
                  </a:lnTo>
                  <a:lnTo>
                    <a:pt x="42" y="94"/>
                  </a:lnTo>
                  <a:lnTo>
                    <a:pt x="42" y="94"/>
                  </a:lnTo>
                  <a:lnTo>
                    <a:pt x="42" y="94"/>
                  </a:lnTo>
                  <a:lnTo>
                    <a:pt x="42" y="94"/>
                  </a:lnTo>
                  <a:lnTo>
                    <a:pt x="38" y="94"/>
                  </a:lnTo>
                  <a:lnTo>
                    <a:pt x="38" y="94"/>
                  </a:lnTo>
                  <a:lnTo>
                    <a:pt x="38" y="94"/>
                  </a:lnTo>
                  <a:lnTo>
                    <a:pt x="34" y="94"/>
                  </a:lnTo>
                  <a:lnTo>
                    <a:pt x="34" y="94"/>
                  </a:lnTo>
                  <a:lnTo>
                    <a:pt x="34" y="94"/>
                  </a:lnTo>
                  <a:lnTo>
                    <a:pt x="34" y="94"/>
                  </a:lnTo>
                  <a:lnTo>
                    <a:pt x="34" y="94"/>
                  </a:lnTo>
                  <a:lnTo>
                    <a:pt x="34" y="9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98" name="Freeform 91"/>
            <p:cNvSpPr>
              <a:spLocks/>
            </p:cNvSpPr>
            <p:nvPr/>
          </p:nvSpPr>
          <p:spPr bwMode="auto">
            <a:xfrm>
              <a:off x="7064148" y="3543264"/>
              <a:ext cx="31399" cy="26152"/>
            </a:xfrm>
            <a:custGeom>
              <a:avLst/>
              <a:gdLst>
                <a:gd name="T0" fmla="*/ 22 w 50"/>
                <a:gd name="T1" fmla="*/ 26 h 40"/>
                <a:gd name="T2" fmla="*/ 18 w 50"/>
                <a:gd name="T3" fmla="*/ 26 h 40"/>
                <a:gd name="T4" fmla="*/ 14 w 50"/>
                <a:gd name="T5" fmla="*/ 22 h 40"/>
                <a:gd name="T6" fmla="*/ 10 w 50"/>
                <a:gd name="T7" fmla="*/ 22 h 40"/>
                <a:gd name="T8" fmla="*/ 6 w 50"/>
                <a:gd name="T9" fmla="*/ 18 h 40"/>
                <a:gd name="T10" fmla="*/ 6 w 50"/>
                <a:gd name="T11" fmla="*/ 14 h 40"/>
                <a:gd name="T12" fmla="*/ 2 w 50"/>
                <a:gd name="T13" fmla="*/ 14 h 40"/>
                <a:gd name="T14" fmla="*/ 2 w 50"/>
                <a:gd name="T15" fmla="*/ 14 h 40"/>
                <a:gd name="T16" fmla="*/ 0 w 50"/>
                <a:gd name="T17" fmla="*/ 10 h 40"/>
                <a:gd name="T18" fmla="*/ 2 w 50"/>
                <a:gd name="T19" fmla="*/ 6 h 40"/>
                <a:gd name="T20" fmla="*/ 10 w 50"/>
                <a:gd name="T21" fmla="*/ 4 h 40"/>
                <a:gd name="T22" fmla="*/ 10 w 50"/>
                <a:gd name="T23" fmla="*/ 6 h 40"/>
                <a:gd name="T24" fmla="*/ 14 w 50"/>
                <a:gd name="T25" fmla="*/ 4 h 40"/>
                <a:gd name="T26" fmla="*/ 18 w 50"/>
                <a:gd name="T27" fmla="*/ 6 h 40"/>
                <a:gd name="T28" fmla="*/ 22 w 50"/>
                <a:gd name="T29" fmla="*/ 4 h 40"/>
                <a:gd name="T30" fmla="*/ 22 w 50"/>
                <a:gd name="T31" fmla="*/ 4 h 40"/>
                <a:gd name="T32" fmla="*/ 22 w 50"/>
                <a:gd name="T33" fmla="*/ 6 h 40"/>
                <a:gd name="T34" fmla="*/ 22 w 50"/>
                <a:gd name="T35" fmla="*/ 4 h 40"/>
                <a:gd name="T36" fmla="*/ 26 w 50"/>
                <a:gd name="T37" fmla="*/ 4 h 40"/>
                <a:gd name="T38" fmla="*/ 26 w 50"/>
                <a:gd name="T39" fmla="*/ 4 h 40"/>
                <a:gd name="T40" fmla="*/ 26 w 50"/>
                <a:gd name="T41" fmla="*/ 0 h 40"/>
                <a:gd name="T42" fmla="*/ 30 w 50"/>
                <a:gd name="T43" fmla="*/ 4 h 40"/>
                <a:gd name="T44" fmla="*/ 30 w 50"/>
                <a:gd name="T45" fmla="*/ 0 h 40"/>
                <a:gd name="T46" fmla="*/ 32 w 50"/>
                <a:gd name="T47" fmla="*/ 4 h 40"/>
                <a:gd name="T48" fmla="*/ 32 w 50"/>
                <a:gd name="T49" fmla="*/ 0 h 40"/>
                <a:gd name="T50" fmla="*/ 36 w 50"/>
                <a:gd name="T51" fmla="*/ 4 h 40"/>
                <a:gd name="T52" fmla="*/ 36 w 50"/>
                <a:gd name="T53" fmla="*/ 6 h 40"/>
                <a:gd name="T54" fmla="*/ 40 w 50"/>
                <a:gd name="T55" fmla="*/ 6 h 40"/>
                <a:gd name="T56" fmla="*/ 44 w 50"/>
                <a:gd name="T57" fmla="*/ 6 h 40"/>
                <a:gd name="T58" fmla="*/ 44 w 50"/>
                <a:gd name="T59" fmla="*/ 10 h 40"/>
                <a:gd name="T60" fmla="*/ 44 w 50"/>
                <a:gd name="T61" fmla="*/ 14 h 40"/>
                <a:gd name="T62" fmla="*/ 44 w 50"/>
                <a:gd name="T63" fmla="*/ 14 h 40"/>
                <a:gd name="T64" fmla="*/ 44 w 50"/>
                <a:gd name="T65" fmla="*/ 14 h 40"/>
                <a:gd name="T66" fmla="*/ 48 w 50"/>
                <a:gd name="T67" fmla="*/ 18 h 40"/>
                <a:gd name="T68" fmla="*/ 50 w 50"/>
                <a:gd name="T69" fmla="*/ 22 h 40"/>
                <a:gd name="T70" fmla="*/ 50 w 50"/>
                <a:gd name="T71" fmla="*/ 26 h 40"/>
                <a:gd name="T72" fmla="*/ 48 w 50"/>
                <a:gd name="T73" fmla="*/ 28 h 40"/>
                <a:gd name="T74" fmla="*/ 48 w 50"/>
                <a:gd name="T75" fmla="*/ 28 h 40"/>
                <a:gd name="T76" fmla="*/ 44 w 50"/>
                <a:gd name="T77" fmla="*/ 28 h 40"/>
                <a:gd name="T78" fmla="*/ 44 w 50"/>
                <a:gd name="T79" fmla="*/ 36 h 40"/>
                <a:gd name="T80" fmla="*/ 44 w 50"/>
                <a:gd name="T81" fmla="*/ 36 h 40"/>
                <a:gd name="T82" fmla="*/ 44 w 50"/>
                <a:gd name="T83" fmla="*/ 40 h 40"/>
                <a:gd name="T84" fmla="*/ 40 w 50"/>
                <a:gd name="T85" fmla="*/ 40 h 40"/>
                <a:gd name="T86" fmla="*/ 40 w 50"/>
                <a:gd name="T87" fmla="*/ 40 h 40"/>
                <a:gd name="T88" fmla="*/ 36 w 50"/>
                <a:gd name="T89" fmla="*/ 40 h 40"/>
                <a:gd name="T90" fmla="*/ 32 w 50"/>
                <a:gd name="T91" fmla="*/ 36 h 40"/>
                <a:gd name="T92" fmla="*/ 30 w 50"/>
                <a:gd name="T93" fmla="*/ 28 h 40"/>
                <a:gd name="T94" fmla="*/ 30 w 50"/>
                <a:gd name="T95" fmla="*/ 28 h 40"/>
                <a:gd name="T96" fmla="*/ 26 w 50"/>
                <a:gd name="T97" fmla="*/ 32 h 40"/>
                <a:gd name="T98" fmla="*/ 22 w 50"/>
                <a:gd name="T99" fmla="*/ 32 h 40"/>
                <a:gd name="T100" fmla="*/ 22 w 50"/>
                <a:gd name="T101"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0" h="40">
                  <a:moveTo>
                    <a:pt x="22" y="32"/>
                  </a:moveTo>
                  <a:lnTo>
                    <a:pt x="22" y="32"/>
                  </a:lnTo>
                  <a:lnTo>
                    <a:pt x="22" y="28"/>
                  </a:lnTo>
                  <a:lnTo>
                    <a:pt x="22" y="26"/>
                  </a:lnTo>
                  <a:lnTo>
                    <a:pt x="22" y="26"/>
                  </a:lnTo>
                  <a:lnTo>
                    <a:pt x="18" y="26"/>
                  </a:lnTo>
                  <a:lnTo>
                    <a:pt x="18" y="26"/>
                  </a:lnTo>
                  <a:lnTo>
                    <a:pt x="18" y="26"/>
                  </a:lnTo>
                  <a:lnTo>
                    <a:pt x="14" y="26"/>
                  </a:lnTo>
                  <a:lnTo>
                    <a:pt x="14" y="26"/>
                  </a:lnTo>
                  <a:lnTo>
                    <a:pt x="14" y="22"/>
                  </a:lnTo>
                  <a:lnTo>
                    <a:pt x="14" y="22"/>
                  </a:lnTo>
                  <a:lnTo>
                    <a:pt x="14" y="22"/>
                  </a:lnTo>
                  <a:lnTo>
                    <a:pt x="10" y="22"/>
                  </a:lnTo>
                  <a:lnTo>
                    <a:pt x="10" y="22"/>
                  </a:lnTo>
                  <a:lnTo>
                    <a:pt x="10" y="22"/>
                  </a:lnTo>
                  <a:lnTo>
                    <a:pt x="10" y="22"/>
                  </a:lnTo>
                  <a:lnTo>
                    <a:pt x="6" y="22"/>
                  </a:lnTo>
                  <a:lnTo>
                    <a:pt x="6" y="18"/>
                  </a:lnTo>
                  <a:lnTo>
                    <a:pt x="6" y="18"/>
                  </a:lnTo>
                  <a:lnTo>
                    <a:pt x="6" y="18"/>
                  </a:lnTo>
                  <a:lnTo>
                    <a:pt x="6" y="14"/>
                  </a:lnTo>
                  <a:lnTo>
                    <a:pt x="6" y="14"/>
                  </a:lnTo>
                  <a:lnTo>
                    <a:pt x="6" y="14"/>
                  </a:lnTo>
                  <a:lnTo>
                    <a:pt x="6" y="14"/>
                  </a:lnTo>
                  <a:lnTo>
                    <a:pt x="2" y="14"/>
                  </a:lnTo>
                  <a:lnTo>
                    <a:pt x="2" y="14"/>
                  </a:lnTo>
                  <a:lnTo>
                    <a:pt x="2" y="14"/>
                  </a:lnTo>
                  <a:lnTo>
                    <a:pt x="2" y="18"/>
                  </a:lnTo>
                  <a:lnTo>
                    <a:pt x="2" y="18"/>
                  </a:lnTo>
                  <a:lnTo>
                    <a:pt x="2" y="18"/>
                  </a:lnTo>
                  <a:lnTo>
                    <a:pt x="2" y="14"/>
                  </a:lnTo>
                  <a:lnTo>
                    <a:pt x="0" y="14"/>
                  </a:lnTo>
                  <a:lnTo>
                    <a:pt x="0" y="14"/>
                  </a:lnTo>
                  <a:lnTo>
                    <a:pt x="0" y="10"/>
                  </a:lnTo>
                  <a:lnTo>
                    <a:pt x="0" y="10"/>
                  </a:lnTo>
                  <a:lnTo>
                    <a:pt x="0" y="10"/>
                  </a:lnTo>
                  <a:lnTo>
                    <a:pt x="2" y="6"/>
                  </a:lnTo>
                  <a:lnTo>
                    <a:pt x="2" y="6"/>
                  </a:lnTo>
                  <a:lnTo>
                    <a:pt x="2" y="6"/>
                  </a:lnTo>
                  <a:lnTo>
                    <a:pt x="6" y="4"/>
                  </a:lnTo>
                  <a:lnTo>
                    <a:pt x="6" y="4"/>
                  </a:lnTo>
                  <a:lnTo>
                    <a:pt x="6" y="4"/>
                  </a:lnTo>
                  <a:lnTo>
                    <a:pt x="10" y="4"/>
                  </a:lnTo>
                  <a:lnTo>
                    <a:pt x="10" y="4"/>
                  </a:lnTo>
                  <a:lnTo>
                    <a:pt x="10" y="6"/>
                  </a:lnTo>
                  <a:lnTo>
                    <a:pt x="10" y="6"/>
                  </a:lnTo>
                  <a:lnTo>
                    <a:pt x="10" y="6"/>
                  </a:lnTo>
                  <a:lnTo>
                    <a:pt x="10" y="6"/>
                  </a:lnTo>
                  <a:lnTo>
                    <a:pt x="10" y="6"/>
                  </a:lnTo>
                  <a:lnTo>
                    <a:pt x="10" y="6"/>
                  </a:lnTo>
                  <a:lnTo>
                    <a:pt x="14" y="4"/>
                  </a:lnTo>
                  <a:lnTo>
                    <a:pt x="14" y="4"/>
                  </a:lnTo>
                  <a:lnTo>
                    <a:pt x="14" y="6"/>
                  </a:lnTo>
                  <a:lnTo>
                    <a:pt x="14" y="6"/>
                  </a:lnTo>
                  <a:lnTo>
                    <a:pt x="18" y="6"/>
                  </a:lnTo>
                  <a:lnTo>
                    <a:pt x="18" y="6"/>
                  </a:lnTo>
                  <a:lnTo>
                    <a:pt x="18" y="6"/>
                  </a:lnTo>
                  <a:lnTo>
                    <a:pt x="22" y="6"/>
                  </a:lnTo>
                  <a:lnTo>
                    <a:pt x="22" y="4"/>
                  </a:lnTo>
                  <a:lnTo>
                    <a:pt x="22" y="4"/>
                  </a:lnTo>
                  <a:lnTo>
                    <a:pt x="22" y="4"/>
                  </a:lnTo>
                  <a:lnTo>
                    <a:pt x="22" y="4"/>
                  </a:lnTo>
                  <a:lnTo>
                    <a:pt x="22" y="4"/>
                  </a:lnTo>
                  <a:lnTo>
                    <a:pt x="22" y="4"/>
                  </a:lnTo>
                  <a:lnTo>
                    <a:pt x="22" y="6"/>
                  </a:lnTo>
                  <a:lnTo>
                    <a:pt x="22" y="6"/>
                  </a:lnTo>
                  <a:lnTo>
                    <a:pt x="22" y="6"/>
                  </a:lnTo>
                  <a:lnTo>
                    <a:pt x="22" y="6"/>
                  </a:lnTo>
                  <a:lnTo>
                    <a:pt x="22" y="4"/>
                  </a:lnTo>
                  <a:lnTo>
                    <a:pt x="22" y="4"/>
                  </a:lnTo>
                  <a:lnTo>
                    <a:pt x="22" y="4"/>
                  </a:lnTo>
                  <a:lnTo>
                    <a:pt x="22" y="4"/>
                  </a:lnTo>
                  <a:lnTo>
                    <a:pt x="22" y="4"/>
                  </a:lnTo>
                  <a:lnTo>
                    <a:pt x="22" y="4"/>
                  </a:lnTo>
                  <a:lnTo>
                    <a:pt x="26" y="4"/>
                  </a:lnTo>
                  <a:lnTo>
                    <a:pt x="26" y="4"/>
                  </a:lnTo>
                  <a:lnTo>
                    <a:pt x="26" y="4"/>
                  </a:lnTo>
                  <a:lnTo>
                    <a:pt x="26" y="4"/>
                  </a:lnTo>
                  <a:lnTo>
                    <a:pt x="26" y="4"/>
                  </a:lnTo>
                  <a:lnTo>
                    <a:pt x="26" y="4"/>
                  </a:lnTo>
                  <a:lnTo>
                    <a:pt x="26" y="4"/>
                  </a:lnTo>
                  <a:lnTo>
                    <a:pt x="26" y="0"/>
                  </a:lnTo>
                  <a:lnTo>
                    <a:pt x="26" y="0"/>
                  </a:lnTo>
                  <a:lnTo>
                    <a:pt x="26" y="4"/>
                  </a:lnTo>
                  <a:lnTo>
                    <a:pt x="26" y="4"/>
                  </a:lnTo>
                  <a:lnTo>
                    <a:pt x="30" y="4"/>
                  </a:lnTo>
                  <a:lnTo>
                    <a:pt x="30" y="4"/>
                  </a:lnTo>
                  <a:lnTo>
                    <a:pt x="30" y="0"/>
                  </a:lnTo>
                  <a:lnTo>
                    <a:pt x="30" y="0"/>
                  </a:lnTo>
                  <a:lnTo>
                    <a:pt x="30" y="0"/>
                  </a:lnTo>
                  <a:lnTo>
                    <a:pt x="30" y="0"/>
                  </a:lnTo>
                  <a:lnTo>
                    <a:pt x="30" y="0"/>
                  </a:lnTo>
                  <a:lnTo>
                    <a:pt x="30" y="4"/>
                  </a:lnTo>
                  <a:lnTo>
                    <a:pt x="30" y="4"/>
                  </a:lnTo>
                  <a:lnTo>
                    <a:pt x="32" y="4"/>
                  </a:lnTo>
                  <a:lnTo>
                    <a:pt x="32" y="4"/>
                  </a:lnTo>
                  <a:lnTo>
                    <a:pt x="32" y="0"/>
                  </a:lnTo>
                  <a:lnTo>
                    <a:pt x="32" y="0"/>
                  </a:lnTo>
                  <a:lnTo>
                    <a:pt x="32" y="0"/>
                  </a:lnTo>
                  <a:lnTo>
                    <a:pt x="32" y="4"/>
                  </a:lnTo>
                  <a:lnTo>
                    <a:pt x="32" y="4"/>
                  </a:lnTo>
                  <a:lnTo>
                    <a:pt x="36" y="4"/>
                  </a:lnTo>
                  <a:lnTo>
                    <a:pt x="36" y="4"/>
                  </a:lnTo>
                  <a:lnTo>
                    <a:pt x="36" y="4"/>
                  </a:lnTo>
                  <a:lnTo>
                    <a:pt x="36" y="4"/>
                  </a:lnTo>
                  <a:lnTo>
                    <a:pt x="36" y="6"/>
                  </a:lnTo>
                  <a:lnTo>
                    <a:pt x="36" y="6"/>
                  </a:lnTo>
                  <a:lnTo>
                    <a:pt x="40" y="6"/>
                  </a:lnTo>
                  <a:lnTo>
                    <a:pt x="40" y="6"/>
                  </a:lnTo>
                  <a:lnTo>
                    <a:pt x="40" y="4"/>
                  </a:lnTo>
                  <a:lnTo>
                    <a:pt x="40" y="6"/>
                  </a:lnTo>
                  <a:lnTo>
                    <a:pt x="40" y="6"/>
                  </a:lnTo>
                  <a:lnTo>
                    <a:pt x="40" y="6"/>
                  </a:lnTo>
                  <a:lnTo>
                    <a:pt x="44" y="6"/>
                  </a:lnTo>
                  <a:lnTo>
                    <a:pt x="44" y="6"/>
                  </a:lnTo>
                  <a:lnTo>
                    <a:pt x="44" y="6"/>
                  </a:lnTo>
                  <a:lnTo>
                    <a:pt x="44" y="10"/>
                  </a:lnTo>
                  <a:lnTo>
                    <a:pt x="44" y="10"/>
                  </a:lnTo>
                  <a:lnTo>
                    <a:pt x="44" y="10"/>
                  </a:lnTo>
                  <a:lnTo>
                    <a:pt x="40" y="14"/>
                  </a:lnTo>
                  <a:lnTo>
                    <a:pt x="40" y="14"/>
                  </a:lnTo>
                  <a:lnTo>
                    <a:pt x="40" y="14"/>
                  </a:lnTo>
                  <a:lnTo>
                    <a:pt x="44" y="14"/>
                  </a:lnTo>
                  <a:lnTo>
                    <a:pt x="44" y="14"/>
                  </a:lnTo>
                  <a:lnTo>
                    <a:pt x="44" y="14"/>
                  </a:lnTo>
                  <a:lnTo>
                    <a:pt x="44" y="14"/>
                  </a:lnTo>
                  <a:lnTo>
                    <a:pt x="44" y="14"/>
                  </a:lnTo>
                  <a:lnTo>
                    <a:pt x="44" y="14"/>
                  </a:lnTo>
                  <a:lnTo>
                    <a:pt x="44" y="14"/>
                  </a:lnTo>
                  <a:lnTo>
                    <a:pt x="44" y="14"/>
                  </a:lnTo>
                  <a:lnTo>
                    <a:pt x="44" y="14"/>
                  </a:lnTo>
                  <a:lnTo>
                    <a:pt x="44" y="18"/>
                  </a:lnTo>
                  <a:lnTo>
                    <a:pt x="44" y="14"/>
                  </a:lnTo>
                  <a:lnTo>
                    <a:pt x="48" y="14"/>
                  </a:lnTo>
                  <a:lnTo>
                    <a:pt x="48" y="18"/>
                  </a:lnTo>
                  <a:lnTo>
                    <a:pt x="48" y="18"/>
                  </a:lnTo>
                  <a:lnTo>
                    <a:pt x="50" y="18"/>
                  </a:lnTo>
                  <a:lnTo>
                    <a:pt x="50" y="18"/>
                  </a:lnTo>
                  <a:lnTo>
                    <a:pt x="50" y="22"/>
                  </a:lnTo>
                  <a:lnTo>
                    <a:pt x="50" y="22"/>
                  </a:lnTo>
                  <a:lnTo>
                    <a:pt x="50" y="22"/>
                  </a:lnTo>
                  <a:lnTo>
                    <a:pt x="50" y="22"/>
                  </a:lnTo>
                  <a:lnTo>
                    <a:pt x="50" y="26"/>
                  </a:lnTo>
                  <a:lnTo>
                    <a:pt x="50" y="26"/>
                  </a:lnTo>
                  <a:lnTo>
                    <a:pt x="50" y="26"/>
                  </a:lnTo>
                  <a:lnTo>
                    <a:pt x="48" y="26"/>
                  </a:lnTo>
                  <a:lnTo>
                    <a:pt x="48" y="28"/>
                  </a:lnTo>
                  <a:lnTo>
                    <a:pt x="48" y="28"/>
                  </a:lnTo>
                  <a:lnTo>
                    <a:pt x="48" y="28"/>
                  </a:lnTo>
                  <a:lnTo>
                    <a:pt x="48" y="28"/>
                  </a:lnTo>
                  <a:lnTo>
                    <a:pt x="48" y="28"/>
                  </a:lnTo>
                  <a:lnTo>
                    <a:pt x="48" y="28"/>
                  </a:lnTo>
                  <a:lnTo>
                    <a:pt x="48" y="28"/>
                  </a:lnTo>
                  <a:lnTo>
                    <a:pt x="44" y="28"/>
                  </a:lnTo>
                  <a:lnTo>
                    <a:pt x="44" y="28"/>
                  </a:lnTo>
                  <a:lnTo>
                    <a:pt x="44" y="32"/>
                  </a:lnTo>
                  <a:lnTo>
                    <a:pt x="44" y="32"/>
                  </a:lnTo>
                  <a:lnTo>
                    <a:pt x="44" y="32"/>
                  </a:lnTo>
                  <a:lnTo>
                    <a:pt x="44" y="36"/>
                  </a:lnTo>
                  <a:lnTo>
                    <a:pt x="44" y="36"/>
                  </a:lnTo>
                  <a:lnTo>
                    <a:pt x="44" y="36"/>
                  </a:lnTo>
                  <a:lnTo>
                    <a:pt x="44" y="36"/>
                  </a:lnTo>
                  <a:lnTo>
                    <a:pt x="44" y="36"/>
                  </a:lnTo>
                  <a:lnTo>
                    <a:pt x="44" y="40"/>
                  </a:lnTo>
                  <a:lnTo>
                    <a:pt x="44" y="40"/>
                  </a:lnTo>
                  <a:lnTo>
                    <a:pt x="44" y="40"/>
                  </a:lnTo>
                  <a:lnTo>
                    <a:pt x="44" y="40"/>
                  </a:lnTo>
                  <a:lnTo>
                    <a:pt x="44" y="40"/>
                  </a:lnTo>
                  <a:lnTo>
                    <a:pt x="44" y="40"/>
                  </a:lnTo>
                  <a:lnTo>
                    <a:pt x="44" y="40"/>
                  </a:lnTo>
                  <a:lnTo>
                    <a:pt x="40" y="40"/>
                  </a:lnTo>
                  <a:lnTo>
                    <a:pt x="40" y="40"/>
                  </a:lnTo>
                  <a:lnTo>
                    <a:pt x="40" y="40"/>
                  </a:lnTo>
                  <a:lnTo>
                    <a:pt x="40" y="40"/>
                  </a:lnTo>
                  <a:lnTo>
                    <a:pt x="40" y="40"/>
                  </a:lnTo>
                  <a:lnTo>
                    <a:pt x="40" y="40"/>
                  </a:lnTo>
                  <a:lnTo>
                    <a:pt x="40" y="40"/>
                  </a:lnTo>
                  <a:lnTo>
                    <a:pt x="36" y="40"/>
                  </a:lnTo>
                  <a:lnTo>
                    <a:pt x="36" y="40"/>
                  </a:lnTo>
                  <a:lnTo>
                    <a:pt x="32" y="36"/>
                  </a:lnTo>
                  <a:lnTo>
                    <a:pt x="32" y="36"/>
                  </a:lnTo>
                  <a:lnTo>
                    <a:pt x="32" y="36"/>
                  </a:lnTo>
                  <a:lnTo>
                    <a:pt x="32" y="36"/>
                  </a:lnTo>
                  <a:lnTo>
                    <a:pt x="30" y="36"/>
                  </a:lnTo>
                  <a:lnTo>
                    <a:pt x="30" y="32"/>
                  </a:lnTo>
                  <a:lnTo>
                    <a:pt x="30" y="28"/>
                  </a:lnTo>
                  <a:lnTo>
                    <a:pt x="30" y="28"/>
                  </a:lnTo>
                  <a:lnTo>
                    <a:pt x="32" y="28"/>
                  </a:lnTo>
                  <a:lnTo>
                    <a:pt x="30" y="28"/>
                  </a:lnTo>
                  <a:lnTo>
                    <a:pt x="30" y="28"/>
                  </a:lnTo>
                  <a:lnTo>
                    <a:pt x="30" y="28"/>
                  </a:lnTo>
                  <a:lnTo>
                    <a:pt x="30" y="28"/>
                  </a:lnTo>
                  <a:lnTo>
                    <a:pt x="30" y="32"/>
                  </a:lnTo>
                  <a:lnTo>
                    <a:pt x="26" y="32"/>
                  </a:lnTo>
                  <a:lnTo>
                    <a:pt x="26" y="32"/>
                  </a:lnTo>
                  <a:lnTo>
                    <a:pt x="26" y="32"/>
                  </a:lnTo>
                  <a:lnTo>
                    <a:pt x="26" y="32"/>
                  </a:lnTo>
                  <a:lnTo>
                    <a:pt x="22" y="32"/>
                  </a:lnTo>
                  <a:lnTo>
                    <a:pt x="22" y="32"/>
                  </a:lnTo>
                  <a:lnTo>
                    <a:pt x="22" y="32"/>
                  </a:lnTo>
                  <a:lnTo>
                    <a:pt x="22" y="32"/>
                  </a:lnTo>
                  <a:lnTo>
                    <a:pt x="22" y="32"/>
                  </a:lnTo>
                  <a:lnTo>
                    <a:pt x="22" y="32"/>
                  </a:lnTo>
                  <a:lnTo>
                    <a:pt x="22" y="3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399" name="Freeform 92"/>
            <p:cNvSpPr>
              <a:spLocks/>
            </p:cNvSpPr>
            <p:nvPr/>
          </p:nvSpPr>
          <p:spPr bwMode="auto">
            <a:xfrm>
              <a:off x="7180952" y="3628257"/>
              <a:ext cx="32655" cy="33997"/>
            </a:xfrm>
            <a:custGeom>
              <a:avLst/>
              <a:gdLst>
                <a:gd name="T0" fmla="*/ 26 w 52"/>
                <a:gd name="T1" fmla="*/ 44 h 52"/>
                <a:gd name="T2" fmla="*/ 26 w 52"/>
                <a:gd name="T3" fmla="*/ 40 h 52"/>
                <a:gd name="T4" fmla="*/ 22 w 52"/>
                <a:gd name="T5" fmla="*/ 38 h 52"/>
                <a:gd name="T6" fmla="*/ 18 w 52"/>
                <a:gd name="T7" fmla="*/ 34 h 52"/>
                <a:gd name="T8" fmla="*/ 18 w 52"/>
                <a:gd name="T9" fmla="*/ 34 h 52"/>
                <a:gd name="T10" fmla="*/ 14 w 52"/>
                <a:gd name="T11" fmla="*/ 30 h 52"/>
                <a:gd name="T12" fmla="*/ 10 w 52"/>
                <a:gd name="T13" fmla="*/ 22 h 52"/>
                <a:gd name="T14" fmla="*/ 6 w 52"/>
                <a:gd name="T15" fmla="*/ 22 h 52"/>
                <a:gd name="T16" fmla="*/ 6 w 52"/>
                <a:gd name="T17" fmla="*/ 18 h 52"/>
                <a:gd name="T18" fmla="*/ 4 w 52"/>
                <a:gd name="T19" fmla="*/ 18 h 52"/>
                <a:gd name="T20" fmla="*/ 4 w 52"/>
                <a:gd name="T21" fmla="*/ 14 h 52"/>
                <a:gd name="T22" fmla="*/ 4 w 52"/>
                <a:gd name="T23" fmla="*/ 12 h 52"/>
                <a:gd name="T24" fmla="*/ 0 w 52"/>
                <a:gd name="T25" fmla="*/ 4 h 52"/>
                <a:gd name="T26" fmla="*/ 0 w 52"/>
                <a:gd name="T27" fmla="*/ 0 h 52"/>
                <a:gd name="T28" fmla="*/ 4 w 52"/>
                <a:gd name="T29" fmla="*/ 0 h 52"/>
                <a:gd name="T30" fmla="*/ 6 w 52"/>
                <a:gd name="T31" fmla="*/ 4 h 52"/>
                <a:gd name="T32" fmla="*/ 6 w 52"/>
                <a:gd name="T33" fmla="*/ 0 h 52"/>
                <a:gd name="T34" fmla="*/ 10 w 52"/>
                <a:gd name="T35" fmla="*/ 0 h 52"/>
                <a:gd name="T36" fmla="*/ 14 w 52"/>
                <a:gd name="T37" fmla="*/ 0 h 52"/>
                <a:gd name="T38" fmla="*/ 18 w 52"/>
                <a:gd name="T39" fmla="*/ 0 h 52"/>
                <a:gd name="T40" fmla="*/ 22 w 52"/>
                <a:gd name="T41" fmla="*/ 0 h 52"/>
                <a:gd name="T42" fmla="*/ 26 w 52"/>
                <a:gd name="T43" fmla="*/ 4 h 52"/>
                <a:gd name="T44" fmla="*/ 28 w 52"/>
                <a:gd name="T45" fmla="*/ 4 h 52"/>
                <a:gd name="T46" fmla="*/ 32 w 52"/>
                <a:gd name="T47" fmla="*/ 4 h 52"/>
                <a:gd name="T48" fmla="*/ 36 w 52"/>
                <a:gd name="T49" fmla="*/ 0 h 52"/>
                <a:gd name="T50" fmla="*/ 40 w 52"/>
                <a:gd name="T51" fmla="*/ 4 h 52"/>
                <a:gd name="T52" fmla="*/ 44 w 52"/>
                <a:gd name="T53" fmla="*/ 8 h 52"/>
                <a:gd name="T54" fmla="*/ 48 w 52"/>
                <a:gd name="T55" fmla="*/ 4 h 52"/>
                <a:gd name="T56" fmla="*/ 48 w 52"/>
                <a:gd name="T57" fmla="*/ 8 h 52"/>
                <a:gd name="T58" fmla="*/ 48 w 52"/>
                <a:gd name="T59" fmla="*/ 14 h 52"/>
                <a:gd name="T60" fmla="*/ 48 w 52"/>
                <a:gd name="T61" fmla="*/ 18 h 52"/>
                <a:gd name="T62" fmla="*/ 52 w 52"/>
                <a:gd name="T63" fmla="*/ 22 h 52"/>
                <a:gd name="T64" fmla="*/ 52 w 52"/>
                <a:gd name="T65" fmla="*/ 26 h 52"/>
                <a:gd name="T66" fmla="*/ 48 w 52"/>
                <a:gd name="T67" fmla="*/ 22 h 52"/>
                <a:gd name="T68" fmla="*/ 52 w 52"/>
                <a:gd name="T69" fmla="*/ 30 h 52"/>
                <a:gd name="T70" fmla="*/ 52 w 52"/>
                <a:gd name="T71" fmla="*/ 30 h 52"/>
                <a:gd name="T72" fmla="*/ 48 w 52"/>
                <a:gd name="T73" fmla="*/ 34 h 52"/>
                <a:gd name="T74" fmla="*/ 44 w 52"/>
                <a:gd name="T75" fmla="*/ 34 h 52"/>
                <a:gd name="T76" fmla="*/ 44 w 52"/>
                <a:gd name="T77" fmla="*/ 34 h 52"/>
                <a:gd name="T78" fmla="*/ 44 w 52"/>
                <a:gd name="T79" fmla="*/ 38 h 52"/>
                <a:gd name="T80" fmla="*/ 44 w 52"/>
                <a:gd name="T81" fmla="*/ 38 h 52"/>
                <a:gd name="T82" fmla="*/ 40 w 52"/>
                <a:gd name="T83" fmla="*/ 40 h 52"/>
                <a:gd name="T84" fmla="*/ 36 w 52"/>
                <a:gd name="T85" fmla="*/ 44 h 52"/>
                <a:gd name="T86" fmla="*/ 36 w 52"/>
                <a:gd name="T87" fmla="*/ 48 h 52"/>
                <a:gd name="T88" fmla="*/ 36 w 52"/>
                <a:gd name="T89" fmla="*/ 52 h 52"/>
                <a:gd name="T90" fmla="*/ 36 w 52"/>
                <a:gd name="T91" fmla="*/ 52 h 52"/>
                <a:gd name="T92" fmla="*/ 32 w 52"/>
                <a:gd name="T93" fmla="*/ 52 h 52"/>
                <a:gd name="T94" fmla="*/ 28 w 52"/>
                <a:gd name="T95" fmla="*/ 48 h 52"/>
                <a:gd name="T96" fmla="*/ 28 w 52"/>
                <a:gd name="T97" fmla="*/ 44 h 52"/>
                <a:gd name="T98" fmla="*/ 26 w 52"/>
                <a:gd name="T99" fmla="*/ 4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 h="52">
                  <a:moveTo>
                    <a:pt x="26" y="44"/>
                  </a:moveTo>
                  <a:lnTo>
                    <a:pt x="26" y="44"/>
                  </a:lnTo>
                  <a:lnTo>
                    <a:pt x="26" y="44"/>
                  </a:lnTo>
                  <a:lnTo>
                    <a:pt x="26" y="44"/>
                  </a:lnTo>
                  <a:lnTo>
                    <a:pt x="26" y="40"/>
                  </a:lnTo>
                  <a:lnTo>
                    <a:pt x="26" y="40"/>
                  </a:lnTo>
                  <a:lnTo>
                    <a:pt x="26" y="40"/>
                  </a:lnTo>
                  <a:lnTo>
                    <a:pt x="26" y="40"/>
                  </a:lnTo>
                  <a:lnTo>
                    <a:pt x="22" y="40"/>
                  </a:lnTo>
                  <a:lnTo>
                    <a:pt x="22" y="38"/>
                  </a:lnTo>
                  <a:lnTo>
                    <a:pt x="22" y="38"/>
                  </a:lnTo>
                  <a:lnTo>
                    <a:pt x="22" y="38"/>
                  </a:lnTo>
                  <a:lnTo>
                    <a:pt x="18" y="38"/>
                  </a:lnTo>
                  <a:lnTo>
                    <a:pt x="22" y="34"/>
                  </a:lnTo>
                  <a:lnTo>
                    <a:pt x="18" y="34"/>
                  </a:lnTo>
                  <a:lnTo>
                    <a:pt x="18" y="34"/>
                  </a:lnTo>
                  <a:lnTo>
                    <a:pt x="18" y="34"/>
                  </a:lnTo>
                  <a:lnTo>
                    <a:pt x="18" y="34"/>
                  </a:lnTo>
                  <a:lnTo>
                    <a:pt x="18" y="34"/>
                  </a:lnTo>
                  <a:lnTo>
                    <a:pt x="18" y="34"/>
                  </a:lnTo>
                  <a:lnTo>
                    <a:pt x="14" y="34"/>
                  </a:lnTo>
                  <a:lnTo>
                    <a:pt x="14" y="34"/>
                  </a:lnTo>
                  <a:lnTo>
                    <a:pt x="14" y="30"/>
                  </a:lnTo>
                  <a:lnTo>
                    <a:pt x="14" y="30"/>
                  </a:lnTo>
                  <a:lnTo>
                    <a:pt x="10" y="26"/>
                  </a:lnTo>
                  <a:lnTo>
                    <a:pt x="10" y="26"/>
                  </a:lnTo>
                  <a:lnTo>
                    <a:pt x="10" y="26"/>
                  </a:lnTo>
                  <a:lnTo>
                    <a:pt x="10" y="22"/>
                  </a:lnTo>
                  <a:lnTo>
                    <a:pt x="10" y="22"/>
                  </a:lnTo>
                  <a:lnTo>
                    <a:pt x="6" y="22"/>
                  </a:lnTo>
                  <a:lnTo>
                    <a:pt x="6" y="22"/>
                  </a:lnTo>
                  <a:lnTo>
                    <a:pt x="6" y="22"/>
                  </a:lnTo>
                  <a:lnTo>
                    <a:pt x="6" y="22"/>
                  </a:lnTo>
                  <a:lnTo>
                    <a:pt x="6" y="22"/>
                  </a:lnTo>
                  <a:lnTo>
                    <a:pt x="6" y="18"/>
                  </a:lnTo>
                  <a:lnTo>
                    <a:pt x="6" y="18"/>
                  </a:lnTo>
                  <a:lnTo>
                    <a:pt x="6" y="18"/>
                  </a:lnTo>
                  <a:lnTo>
                    <a:pt x="4" y="18"/>
                  </a:lnTo>
                  <a:lnTo>
                    <a:pt x="4" y="18"/>
                  </a:lnTo>
                  <a:lnTo>
                    <a:pt x="4" y="18"/>
                  </a:lnTo>
                  <a:lnTo>
                    <a:pt x="4" y="18"/>
                  </a:lnTo>
                  <a:lnTo>
                    <a:pt x="4" y="14"/>
                  </a:lnTo>
                  <a:lnTo>
                    <a:pt x="4" y="14"/>
                  </a:lnTo>
                  <a:lnTo>
                    <a:pt x="4" y="14"/>
                  </a:lnTo>
                  <a:lnTo>
                    <a:pt x="4" y="12"/>
                  </a:lnTo>
                  <a:lnTo>
                    <a:pt x="4" y="12"/>
                  </a:lnTo>
                  <a:lnTo>
                    <a:pt x="4" y="12"/>
                  </a:lnTo>
                  <a:lnTo>
                    <a:pt x="4" y="12"/>
                  </a:lnTo>
                  <a:lnTo>
                    <a:pt x="0" y="12"/>
                  </a:lnTo>
                  <a:lnTo>
                    <a:pt x="0" y="8"/>
                  </a:lnTo>
                  <a:lnTo>
                    <a:pt x="0" y="8"/>
                  </a:lnTo>
                  <a:lnTo>
                    <a:pt x="0" y="4"/>
                  </a:lnTo>
                  <a:lnTo>
                    <a:pt x="0" y="4"/>
                  </a:lnTo>
                  <a:lnTo>
                    <a:pt x="0" y="4"/>
                  </a:lnTo>
                  <a:lnTo>
                    <a:pt x="0" y="0"/>
                  </a:lnTo>
                  <a:lnTo>
                    <a:pt x="0" y="0"/>
                  </a:lnTo>
                  <a:lnTo>
                    <a:pt x="0" y="0"/>
                  </a:lnTo>
                  <a:lnTo>
                    <a:pt x="0" y="0"/>
                  </a:lnTo>
                  <a:lnTo>
                    <a:pt x="0" y="0"/>
                  </a:lnTo>
                  <a:lnTo>
                    <a:pt x="4" y="0"/>
                  </a:lnTo>
                  <a:lnTo>
                    <a:pt x="4" y="0"/>
                  </a:lnTo>
                  <a:lnTo>
                    <a:pt x="4" y="4"/>
                  </a:lnTo>
                  <a:lnTo>
                    <a:pt x="6" y="4"/>
                  </a:lnTo>
                  <a:lnTo>
                    <a:pt x="6" y="4"/>
                  </a:lnTo>
                  <a:lnTo>
                    <a:pt x="6" y="4"/>
                  </a:lnTo>
                  <a:lnTo>
                    <a:pt x="6" y="4"/>
                  </a:lnTo>
                  <a:lnTo>
                    <a:pt x="6" y="4"/>
                  </a:lnTo>
                  <a:lnTo>
                    <a:pt x="6" y="0"/>
                  </a:lnTo>
                  <a:lnTo>
                    <a:pt x="10" y="0"/>
                  </a:lnTo>
                  <a:lnTo>
                    <a:pt x="10" y="0"/>
                  </a:lnTo>
                  <a:lnTo>
                    <a:pt x="10" y="0"/>
                  </a:lnTo>
                  <a:lnTo>
                    <a:pt x="10" y="0"/>
                  </a:lnTo>
                  <a:lnTo>
                    <a:pt x="10" y="0"/>
                  </a:lnTo>
                  <a:lnTo>
                    <a:pt x="10" y="0"/>
                  </a:lnTo>
                  <a:lnTo>
                    <a:pt x="10" y="0"/>
                  </a:lnTo>
                  <a:lnTo>
                    <a:pt x="14" y="0"/>
                  </a:lnTo>
                  <a:lnTo>
                    <a:pt x="14" y="0"/>
                  </a:lnTo>
                  <a:lnTo>
                    <a:pt x="14" y="0"/>
                  </a:lnTo>
                  <a:lnTo>
                    <a:pt x="18" y="0"/>
                  </a:lnTo>
                  <a:lnTo>
                    <a:pt x="18" y="0"/>
                  </a:lnTo>
                  <a:lnTo>
                    <a:pt x="18" y="0"/>
                  </a:lnTo>
                  <a:lnTo>
                    <a:pt x="18" y="0"/>
                  </a:lnTo>
                  <a:lnTo>
                    <a:pt x="22" y="0"/>
                  </a:lnTo>
                  <a:lnTo>
                    <a:pt x="22" y="0"/>
                  </a:lnTo>
                  <a:lnTo>
                    <a:pt x="22" y="0"/>
                  </a:lnTo>
                  <a:lnTo>
                    <a:pt x="26" y="0"/>
                  </a:lnTo>
                  <a:lnTo>
                    <a:pt x="26" y="0"/>
                  </a:lnTo>
                  <a:lnTo>
                    <a:pt x="26" y="4"/>
                  </a:lnTo>
                  <a:lnTo>
                    <a:pt x="28" y="4"/>
                  </a:lnTo>
                  <a:lnTo>
                    <a:pt x="28" y="4"/>
                  </a:lnTo>
                  <a:lnTo>
                    <a:pt x="28" y="4"/>
                  </a:lnTo>
                  <a:lnTo>
                    <a:pt x="28" y="4"/>
                  </a:lnTo>
                  <a:lnTo>
                    <a:pt x="32" y="4"/>
                  </a:lnTo>
                  <a:lnTo>
                    <a:pt x="32" y="4"/>
                  </a:lnTo>
                  <a:lnTo>
                    <a:pt x="32" y="4"/>
                  </a:lnTo>
                  <a:lnTo>
                    <a:pt x="32" y="4"/>
                  </a:lnTo>
                  <a:lnTo>
                    <a:pt x="32" y="4"/>
                  </a:lnTo>
                  <a:lnTo>
                    <a:pt x="32" y="0"/>
                  </a:lnTo>
                  <a:lnTo>
                    <a:pt x="32" y="0"/>
                  </a:lnTo>
                  <a:lnTo>
                    <a:pt x="36" y="0"/>
                  </a:lnTo>
                  <a:lnTo>
                    <a:pt x="40" y="4"/>
                  </a:lnTo>
                  <a:lnTo>
                    <a:pt x="40" y="4"/>
                  </a:lnTo>
                  <a:lnTo>
                    <a:pt x="40" y="4"/>
                  </a:lnTo>
                  <a:lnTo>
                    <a:pt x="40" y="4"/>
                  </a:lnTo>
                  <a:lnTo>
                    <a:pt x="40" y="8"/>
                  </a:lnTo>
                  <a:lnTo>
                    <a:pt x="40" y="8"/>
                  </a:lnTo>
                  <a:lnTo>
                    <a:pt x="44" y="8"/>
                  </a:lnTo>
                  <a:lnTo>
                    <a:pt x="44" y="8"/>
                  </a:lnTo>
                  <a:lnTo>
                    <a:pt x="44" y="8"/>
                  </a:lnTo>
                  <a:lnTo>
                    <a:pt x="44" y="8"/>
                  </a:lnTo>
                  <a:lnTo>
                    <a:pt x="48" y="8"/>
                  </a:lnTo>
                  <a:lnTo>
                    <a:pt x="48" y="4"/>
                  </a:lnTo>
                  <a:lnTo>
                    <a:pt x="48" y="8"/>
                  </a:lnTo>
                  <a:lnTo>
                    <a:pt x="52" y="8"/>
                  </a:lnTo>
                  <a:lnTo>
                    <a:pt x="52" y="8"/>
                  </a:lnTo>
                  <a:lnTo>
                    <a:pt x="48" y="8"/>
                  </a:lnTo>
                  <a:lnTo>
                    <a:pt x="48" y="8"/>
                  </a:lnTo>
                  <a:lnTo>
                    <a:pt x="48" y="12"/>
                  </a:lnTo>
                  <a:lnTo>
                    <a:pt x="48" y="12"/>
                  </a:lnTo>
                  <a:lnTo>
                    <a:pt x="48" y="14"/>
                  </a:lnTo>
                  <a:lnTo>
                    <a:pt x="48" y="14"/>
                  </a:lnTo>
                  <a:lnTo>
                    <a:pt x="48" y="18"/>
                  </a:lnTo>
                  <a:lnTo>
                    <a:pt x="48" y="18"/>
                  </a:lnTo>
                  <a:lnTo>
                    <a:pt x="48" y="18"/>
                  </a:lnTo>
                  <a:lnTo>
                    <a:pt x="48" y="18"/>
                  </a:lnTo>
                  <a:lnTo>
                    <a:pt x="48" y="18"/>
                  </a:lnTo>
                  <a:lnTo>
                    <a:pt x="52" y="22"/>
                  </a:lnTo>
                  <a:lnTo>
                    <a:pt x="52" y="22"/>
                  </a:lnTo>
                  <a:lnTo>
                    <a:pt x="52" y="22"/>
                  </a:lnTo>
                  <a:lnTo>
                    <a:pt x="52" y="22"/>
                  </a:lnTo>
                  <a:lnTo>
                    <a:pt x="52" y="26"/>
                  </a:lnTo>
                  <a:lnTo>
                    <a:pt x="52" y="26"/>
                  </a:lnTo>
                  <a:lnTo>
                    <a:pt x="52" y="26"/>
                  </a:lnTo>
                  <a:lnTo>
                    <a:pt x="48" y="26"/>
                  </a:lnTo>
                  <a:lnTo>
                    <a:pt x="48" y="22"/>
                  </a:lnTo>
                  <a:lnTo>
                    <a:pt x="48" y="22"/>
                  </a:lnTo>
                  <a:lnTo>
                    <a:pt x="48" y="26"/>
                  </a:lnTo>
                  <a:lnTo>
                    <a:pt x="48" y="26"/>
                  </a:lnTo>
                  <a:lnTo>
                    <a:pt x="52" y="26"/>
                  </a:lnTo>
                  <a:lnTo>
                    <a:pt x="52" y="30"/>
                  </a:lnTo>
                  <a:lnTo>
                    <a:pt x="52" y="30"/>
                  </a:lnTo>
                  <a:lnTo>
                    <a:pt x="52" y="30"/>
                  </a:lnTo>
                  <a:lnTo>
                    <a:pt x="52" y="30"/>
                  </a:lnTo>
                  <a:lnTo>
                    <a:pt x="52" y="30"/>
                  </a:lnTo>
                  <a:lnTo>
                    <a:pt x="52" y="34"/>
                  </a:lnTo>
                  <a:lnTo>
                    <a:pt x="52" y="34"/>
                  </a:lnTo>
                  <a:lnTo>
                    <a:pt x="52" y="34"/>
                  </a:lnTo>
                  <a:lnTo>
                    <a:pt x="48" y="34"/>
                  </a:lnTo>
                  <a:lnTo>
                    <a:pt x="48" y="34"/>
                  </a:lnTo>
                  <a:lnTo>
                    <a:pt x="48" y="34"/>
                  </a:lnTo>
                  <a:lnTo>
                    <a:pt x="44" y="34"/>
                  </a:lnTo>
                  <a:lnTo>
                    <a:pt x="44" y="34"/>
                  </a:lnTo>
                  <a:lnTo>
                    <a:pt x="44" y="34"/>
                  </a:lnTo>
                  <a:lnTo>
                    <a:pt x="44" y="34"/>
                  </a:lnTo>
                  <a:lnTo>
                    <a:pt x="44" y="34"/>
                  </a:lnTo>
                  <a:lnTo>
                    <a:pt x="44" y="34"/>
                  </a:lnTo>
                  <a:lnTo>
                    <a:pt x="44" y="38"/>
                  </a:lnTo>
                  <a:lnTo>
                    <a:pt x="44" y="38"/>
                  </a:lnTo>
                  <a:lnTo>
                    <a:pt x="44" y="38"/>
                  </a:lnTo>
                  <a:lnTo>
                    <a:pt x="44" y="38"/>
                  </a:lnTo>
                  <a:lnTo>
                    <a:pt x="44" y="38"/>
                  </a:lnTo>
                  <a:lnTo>
                    <a:pt x="44" y="38"/>
                  </a:lnTo>
                  <a:lnTo>
                    <a:pt x="44" y="38"/>
                  </a:lnTo>
                  <a:lnTo>
                    <a:pt x="44" y="38"/>
                  </a:lnTo>
                  <a:lnTo>
                    <a:pt x="40" y="38"/>
                  </a:lnTo>
                  <a:lnTo>
                    <a:pt x="40" y="38"/>
                  </a:lnTo>
                  <a:lnTo>
                    <a:pt x="40" y="40"/>
                  </a:lnTo>
                  <a:lnTo>
                    <a:pt x="40" y="40"/>
                  </a:lnTo>
                  <a:lnTo>
                    <a:pt x="40" y="40"/>
                  </a:lnTo>
                  <a:lnTo>
                    <a:pt x="40" y="40"/>
                  </a:lnTo>
                  <a:lnTo>
                    <a:pt x="40" y="44"/>
                  </a:lnTo>
                  <a:lnTo>
                    <a:pt x="36" y="44"/>
                  </a:lnTo>
                  <a:lnTo>
                    <a:pt x="36" y="44"/>
                  </a:lnTo>
                  <a:lnTo>
                    <a:pt x="36" y="44"/>
                  </a:lnTo>
                  <a:lnTo>
                    <a:pt x="36" y="44"/>
                  </a:lnTo>
                  <a:lnTo>
                    <a:pt x="36" y="48"/>
                  </a:lnTo>
                  <a:lnTo>
                    <a:pt x="36" y="48"/>
                  </a:lnTo>
                  <a:lnTo>
                    <a:pt x="36" y="48"/>
                  </a:lnTo>
                  <a:lnTo>
                    <a:pt x="36" y="48"/>
                  </a:lnTo>
                  <a:lnTo>
                    <a:pt x="36" y="52"/>
                  </a:lnTo>
                  <a:lnTo>
                    <a:pt x="36" y="52"/>
                  </a:lnTo>
                  <a:lnTo>
                    <a:pt x="36" y="52"/>
                  </a:lnTo>
                  <a:lnTo>
                    <a:pt x="36" y="52"/>
                  </a:lnTo>
                  <a:lnTo>
                    <a:pt x="36" y="52"/>
                  </a:lnTo>
                  <a:lnTo>
                    <a:pt x="36" y="52"/>
                  </a:lnTo>
                  <a:lnTo>
                    <a:pt x="36" y="52"/>
                  </a:lnTo>
                  <a:lnTo>
                    <a:pt x="36" y="52"/>
                  </a:lnTo>
                  <a:lnTo>
                    <a:pt x="32" y="52"/>
                  </a:lnTo>
                  <a:lnTo>
                    <a:pt x="32" y="52"/>
                  </a:lnTo>
                  <a:lnTo>
                    <a:pt x="32" y="52"/>
                  </a:lnTo>
                  <a:lnTo>
                    <a:pt x="32" y="48"/>
                  </a:lnTo>
                  <a:lnTo>
                    <a:pt x="28" y="48"/>
                  </a:lnTo>
                  <a:lnTo>
                    <a:pt x="28" y="48"/>
                  </a:lnTo>
                  <a:lnTo>
                    <a:pt x="28" y="48"/>
                  </a:lnTo>
                  <a:lnTo>
                    <a:pt x="28" y="44"/>
                  </a:lnTo>
                  <a:lnTo>
                    <a:pt x="28" y="44"/>
                  </a:lnTo>
                  <a:lnTo>
                    <a:pt x="26" y="44"/>
                  </a:lnTo>
                  <a:lnTo>
                    <a:pt x="26" y="44"/>
                  </a:lnTo>
                  <a:lnTo>
                    <a:pt x="26" y="44"/>
                  </a:lnTo>
                  <a:lnTo>
                    <a:pt x="26" y="44"/>
                  </a:lnTo>
                  <a:lnTo>
                    <a:pt x="26" y="44"/>
                  </a:lnTo>
                  <a:lnTo>
                    <a:pt x="26" y="4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00" name="Freeform 93"/>
            <p:cNvSpPr>
              <a:spLocks/>
            </p:cNvSpPr>
            <p:nvPr/>
          </p:nvSpPr>
          <p:spPr bwMode="auto">
            <a:xfrm>
              <a:off x="7238727" y="3640025"/>
              <a:ext cx="56518" cy="39227"/>
            </a:xfrm>
            <a:custGeom>
              <a:avLst/>
              <a:gdLst>
                <a:gd name="T0" fmla="*/ 8 w 90"/>
                <a:gd name="T1" fmla="*/ 52 h 60"/>
                <a:gd name="T2" fmla="*/ 8 w 90"/>
                <a:gd name="T3" fmla="*/ 48 h 60"/>
                <a:gd name="T4" fmla="*/ 0 w 90"/>
                <a:gd name="T5" fmla="*/ 40 h 60"/>
                <a:gd name="T6" fmla="*/ 4 w 90"/>
                <a:gd name="T7" fmla="*/ 38 h 60"/>
                <a:gd name="T8" fmla="*/ 0 w 90"/>
                <a:gd name="T9" fmla="*/ 30 h 60"/>
                <a:gd name="T10" fmla="*/ 8 w 90"/>
                <a:gd name="T11" fmla="*/ 22 h 60"/>
                <a:gd name="T12" fmla="*/ 8 w 90"/>
                <a:gd name="T13" fmla="*/ 20 h 60"/>
                <a:gd name="T14" fmla="*/ 0 w 90"/>
                <a:gd name="T15" fmla="*/ 12 h 60"/>
                <a:gd name="T16" fmla="*/ 4 w 90"/>
                <a:gd name="T17" fmla="*/ 0 h 60"/>
                <a:gd name="T18" fmla="*/ 8 w 90"/>
                <a:gd name="T19" fmla="*/ 4 h 60"/>
                <a:gd name="T20" fmla="*/ 8 w 90"/>
                <a:gd name="T21" fmla="*/ 4 h 60"/>
                <a:gd name="T22" fmla="*/ 8 w 90"/>
                <a:gd name="T23" fmla="*/ 8 h 60"/>
                <a:gd name="T24" fmla="*/ 12 w 90"/>
                <a:gd name="T25" fmla="*/ 8 h 60"/>
                <a:gd name="T26" fmla="*/ 16 w 90"/>
                <a:gd name="T27" fmla="*/ 8 h 60"/>
                <a:gd name="T28" fmla="*/ 26 w 90"/>
                <a:gd name="T29" fmla="*/ 12 h 60"/>
                <a:gd name="T30" fmla="*/ 26 w 90"/>
                <a:gd name="T31" fmla="*/ 12 h 60"/>
                <a:gd name="T32" fmla="*/ 30 w 90"/>
                <a:gd name="T33" fmla="*/ 12 h 60"/>
                <a:gd name="T34" fmla="*/ 34 w 90"/>
                <a:gd name="T35" fmla="*/ 12 h 60"/>
                <a:gd name="T36" fmla="*/ 42 w 90"/>
                <a:gd name="T37" fmla="*/ 12 h 60"/>
                <a:gd name="T38" fmla="*/ 46 w 90"/>
                <a:gd name="T39" fmla="*/ 12 h 60"/>
                <a:gd name="T40" fmla="*/ 54 w 90"/>
                <a:gd name="T41" fmla="*/ 8 h 60"/>
                <a:gd name="T42" fmla="*/ 56 w 90"/>
                <a:gd name="T43" fmla="*/ 4 h 60"/>
                <a:gd name="T44" fmla="*/ 64 w 90"/>
                <a:gd name="T45" fmla="*/ 4 h 60"/>
                <a:gd name="T46" fmla="*/ 68 w 90"/>
                <a:gd name="T47" fmla="*/ 4 h 60"/>
                <a:gd name="T48" fmla="*/ 76 w 90"/>
                <a:gd name="T49" fmla="*/ 4 h 60"/>
                <a:gd name="T50" fmla="*/ 80 w 90"/>
                <a:gd name="T51" fmla="*/ 8 h 60"/>
                <a:gd name="T52" fmla="*/ 80 w 90"/>
                <a:gd name="T53" fmla="*/ 8 h 60"/>
                <a:gd name="T54" fmla="*/ 86 w 90"/>
                <a:gd name="T55" fmla="*/ 12 h 60"/>
                <a:gd name="T56" fmla="*/ 90 w 90"/>
                <a:gd name="T57" fmla="*/ 16 h 60"/>
                <a:gd name="T58" fmla="*/ 86 w 90"/>
                <a:gd name="T59" fmla="*/ 20 h 60"/>
                <a:gd name="T60" fmla="*/ 82 w 90"/>
                <a:gd name="T61" fmla="*/ 16 h 60"/>
                <a:gd name="T62" fmla="*/ 80 w 90"/>
                <a:gd name="T63" fmla="*/ 22 h 60"/>
                <a:gd name="T64" fmla="*/ 80 w 90"/>
                <a:gd name="T65" fmla="*/ 26 h 60"/>
                <a:gd name="T66" fmla="*/ 76 w 90"/>
                <a:gd name="T67" fmla="*/ 30 h 60"/>
                <a:gd name="T68" fmla="*/ 72 w 90"/>
                <a:gd name="T69" fmla="*/ 38 h 60"/>
                <a:gd name="T70" fmla="*/ 76 w 90"/>
                <a:gd name="T71" fmla="*/ 40 h 60"/>
                <a:gd name="T72" fmla="*/ 80 w 90"/>
                <a:gd name="T73" fmla="*/ 44 h 60"/>
                <a:gd name="T74" fmla="*/ 80 w 90"/>
                <a:gd name="T75" fmla="*/ 44 h 60"/>
                <a:gd name="T76" fmla="*/ 72 w 90"/>
                <a:gd name="T77" fmla="*/ 44 h 60"/>
                <a:gd name="T78" fmla="*/ 68 w 90"/>
                <a:gd name="T79" fmla="*/ 40 h 60"/>
                <a:gd name="T80" fmla="*/ 60 w 90"/>
                <a:gd name="T81" fmla="*/ 44 h 60"/>
                <a:gd name="T82" fmla="*/ 56 w 90"/>
                <a:gd name="T83" fmla="*/ 48 h 60"/>
                <a:gd name="T84" fmla="*/ 56 w 90"/>
                <a:gd name="T85" fmla="*/ 52 h 60"/>
                <a:gd name="T86" fmla="*/ 54 w 90"/>
                <a:gd name="T87" fmla="*/ 52 h 60"/>
                <a:gd name="T88" fmla="*/ 54 w 90"/>
                <a:gd name="T89" fmla="*/ 56 h 60"/>
                <a:gd name="T90" fmla="*/ 46 w 90"/>
                <a:gd name="T91" fmla="*/ 60 h 60"/>
                <a:gd name="T92" fmla="*/ 42 w 90"/>
                <a:gd name="T93" fmla="*/ 60 h 60"/>
                <a:gd name="T94" fmla="*/ 34 w 90"/>
                <a:gd name="T95" fmla="*/ 56 h 60"/>
                <a:gd name="T96" fmla="*/ 26 w 90"/>
                <a:gd name="T97" fmla="*/ 52 h 60"/>
                <a:gd name="T98" fmla="*/ 24 w 90"/>
                <a:gd name="T99" fmla="*/ 56 h 60"/>
                <a:gd name="T100" fmla="*/ 20 w 90"/>
                <a:gd name="T101" fmla="*/ 56 h 60"/>
                <a:gd name="T102" fmla="*/ 12 w 90"/>
                <a:gd name="T103" fmla="*/ 56 h 60"/>
                <a:gd name="T104" fmla="*/ 8 w 90"/>
                <a:gd name="T105"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60">
                  <a:moveTo>
                    <a:pt x="8" y="56"/>
                  </a:moveTo>
                  <a:lnTo>
                    <a:pt x="8" y="56"/>
                  </a:lnTo>
                  <a:lnTo>
                    <a:pt x="8" y="56"/>
                  </a:lnTo>
                  <a:lnTo>
                    <a:pt x="8" y="56"/>
                  </a:lnTo>
                  <a:lnTo>
                    <a:pt x="8" y="52"/>
                  </a:lnTo>
                  <a:lnTo>
                    <a:pt x="8" y="52"/>
                  </a:lnTo>
                  <a:lnTo>
                    <a:pt x="8" y="52"/>
                  </a:lnTo>
                  <a:lnTo>
                    <a:pt x="8" y="52"/>
                  </a:lnTo>
                  <a:lnTo>
                    <a:pt x="8" y="48"/>
                  </a:lnTo>
                  <a:lnTo>
                    <a:pt x="8" y="48"/>
                  </a:lnTo>
                  <a:lnTo>
                    <a:pt x="8" y="48"/>
                  </a:lnTo>
                  <a:lnTo>
                    <a:pt x="8" y="48"/>
                  </a:lnTo>
                  <a:lnTo>
                    <a:pt x="8" y="48"/>
                  </a:lnTo>
                  <a:lnTo>
                    <a:pt x="8" y="44"/>
                  </a:lnTo>
                  <a:lnTo>
                    <a:pt x="8" y="44"/>
                  </a:lnTo>
                  <a:lnTo>
                    <a:pt x="4" y="44"/>
                  </a:lnTo>
                  <a:lnTo>
                    <a:pt x="4" y="40"/>
                  </a:lnTo>
                  <a:lnTo>
                    <a:pt x="0" y="40"/>
                  </a:lnTo>
                  <a:lnTo>
                    <a:pt x="0" y="40"/>
                  </a:lnTo>
                  <a:lnTo>
                    <a:pt x="0" y="38"/>
                  </a:lnTo>
                  <a:lnTo>
                    <a:pt x="0" y="38"/>
                  </a:lnTo>
                  <a:lnTo>
                    <a:pt x="0" y="38"/>
                  </a:lnTo>
                  <a:lnTo>
                    <a:pt x="0" y="38"/>
                  </a:lnTo>
                  <a:lnTo>
                    <a:pt x="4" y="38"/>
                  </a:lnTo>
                  <a:lnTo>
                    <a:pt x="4" y="34"/>
                  </a:lnTo>
                  <a:lnTo>
                    <a:pt x="4" y="34"/>
                  </a:lnTo>
                  <a:lnTo>
                    <a:pt x="0" y="34"/>
                  </a:lnTo>
                  <a:lnTo>
                    <a:pt x="0" y="34"/>
                  </a:lnTo>
                  <a:lnTo>
                    <a:pt x="0" y="34"/>
                  </a:lnTo>
                  <a:lnTo>
                    <a:pt x="0" y="30"/>
                  </a:lnTo>
                  <a:lnTo>
                    <a:pt x="0" y="26"/>
                  </a:lnTo>
                  <a:lnTo>
                    <a:pt x="4" y="26"/>
                  </a:lnTo>
                  <a:lnTo>
                    <a:pt x="4" y="26"/>
                  </a:lnTo>
                  <a:lnTo>
                    <a:pt x="4" y="26"/>
                  </a:lnTo>
                  <a:lnTo>
                    <a:pt x="4" y="26"/>
                  </a:lnTo>
                  <a:lnTo>
                    <a:pt x="8" y="22"/>
                  </a:lnTo>
                  <a:lnTo>
                    <a:pt x="8" y="22"/>
                  </a:lnTo>
                  <a:lnTo>
                    <a:pt x="8" y="22"/>
                  </a:lnTo>
                  <a:lnTo>
                    <a:pt x="8" y="22"/>
                  </a:lnTo>
                  <a:lnTo>
                    <a:pt x="8" y="22"/>
                  </a:lnTo>
                  <a:lnTo>
                    <a:pt x="8" y="20"/>
                  </a:lnTo>
                  <a:lnTo>
                    <a:pt x="8" y="20"/>
                  </a:lnTo>
                  <a:lnTo>
                    <a:pt x="4" y="20"/>
                  </a:lnTo>
                  <a:lnTo>
                    <a:pt x="4" y="20"/>
                  </a:lnTo>
                  <a:lnTo>
                    <a:pt x="4" y="20"/>
                  </a:lnTo>
                  <a:lnTo>
                    <a:pt x="4" y="16"/>
                  </a:lnTo>
                  <a:lnTo>
                    <a:pt x="4" y="16"/>
                  </a:lnTo>
                  <a:lnTo>
                    <a:pt x="0" y="12"/>
                  </a:lnTo>
                  <a:lnTo>
                    <a:pt x="0" y="8"/>
                  </a:lnTo>
                  <a:lnTo>
                    <a:pt x="0" y="4"/>
                  </a:lnTo>
                  <a:lnTo>
                    <a:pt x="4" y="4"/>
                  </a:lnTo>
                  <a:lnTo>
                    <a:pt x="4" y="4"/>
                  </a:lnTo>
                  <a:lnTo>
                    <a:pt x="4" y="4"/>
                  </a:lnTo>
                  <a:lnTo>
                    <a:pt x="4" y="0"/>
                  </a:lnTo>
                  <a:lnTo>
                    <a:pt x="4" y="0"/>
                  </a:lnTo>
                  <a:lnTo>
                    <a:pt x="4" y="0"/>
                  </a:lnTo>
                  <a:lnTo>
                    <a:pt x="4" y="0"/>
                  </a:lnTo>
                  <a:lnTo>
                    <a:pt x="8" y="4"/>
                  </a:lnTo>
                  <a:lnTo>
                    <a:pt x="8" y="4"/>
                  </a:lnTo>
                  <a:lnTo>
                    <a:pt x="8" y="4"/>
                  </a:lnTo>
                  <a:lnTo>
                    <a:pt x="8" y="4"/>
                  </a:lnTo>
                  <a:lnTo>
                    <a:pt x="8" y="4"/>
                  </a:lnTo>
                  <a:lnTo>
                    <a:pt x="8" y="4"/>
                  </a:lnTo>
                  <a:lnTo>
                    <a:pt x="8" y="4"/>
                  </a:lnTo>
                  <a:lnTo>
                    <a:pt x="8" y="4"/>
                  </a:lnTo>
                  <a:lnTo>
                    <a:pt x="8" y="4"/>
                  </a:lnTo>
                  <a:lnTo>
                    <a:pt x="8" y="4"/>
                  </a:lnTo>
                  <a:lnTo>
                    <a:pt x="8" y="8"/>
                  </a:lnTo>
                  <a:lnTo>
                    <a:pt x="8" y="8"/>
                  </a:lnTo>
                  <a:lnTo>
                    <a:pt x="8" y="8"/>
                  </a:lnTo>
                  <a:lnTo>
                    <a:pt x="8" y="8"/>
                  </a:lnTo>
                  <a:lnTo>
                    <a:pt x="8" y="8"/>
                  </a:lnTo>
                  <a:lnTo>
                    <a:pt x="12" y="8"/>
                  </a:lnTo>
                  <a:lnTo>
                    <a:pt x="12" y="8"/>
                  </a:lnTo>
                  <a:lnTo>
                    <a:pt x="12" y="8"/>
                  </a:lnTo>
                  <a:lnTo>
                    <a:pt x="12" y="8"/>
                  </a:lnTo>
                  <a:lnTo>
                    <a:pt x="12" y="8"/>
                  </a:lnTo>
                  <a:lnTo>
                    <a:pt x="12" y="8"/>
                  </a:lnTo>
                  <a:lnTo>
                    <a:pt x="12" y="8"/>
                  </a:lnTo>
                  <a:lnTo>
                    <a:pt x="16" y="8"/>
                  </a:lnTo>
                  <a:lnTo>
                    <a:pt x="16" y="8"/>
                  </a:lnTo>
                  <a:lnTo>
                    <a:pt x="16" y="8"/>
                  </a:lnTo>
                  <a:lnTo>
                    <a:pt x="16" y="8"/>
                  </a:lnTo>
                  <a:lnTo>
                    <a:pt x="16" y="8"/>
                  </a:lnTo>
                  <a:lnTo>
                    <a:pt x="20" y="8"/>
                  </a:lnTo>
                  <a:lnTo>
                    <a:pt x="20" y="12"/>
                  </a:lnTo>
                  <a:lnTo>
                    <a:pt x="20" y="12"/>
                  </a:lnTo>
                  <a:lnTo>
                    <a:pt x="24" y="12"/>
                  </a:lnTo>
                  <a:lnTo>
                    <a:pt x="24" y="12"/>
                  </a:lnTo>
                  <a:lnTo>
                    <a:pt x="26" y="12"/>
                  </a:lnTo>
                  <a:lnTo>
                    <a:pt x="26" y="12"/>
                  </a:lnTo>
                  <a:lnTo>
                    <a:pt x="26" y="12"/>
                  </a:lnTo>
                  <a:lnTo>
                    <a:pt x="26" y="12"/>
                  </a:lnTo>
                  <a:lnTo>
                    <a:pt x="26" y="12"/>
                  </a:lnTo>
                  <a:lnTo>
                    <a:pt x="26" y="12"/>
                  </a:lnTo>
                  <a:lnTo>
                    <a:pt x="26" y="12"/>
                  </a:lnTo>
                  <a:lnTo>
                    <a:pt x="26" y="12"/>
                  </a:lnTo>
                  <a:lnTo>
                    <a:pt x="26" y="12"/>
                  </a:lnTo>
                  <a:lnTo>
                    <a:pt x="30" y="12"/>
                  </a:lnTo>
                  <a:lnTo>
                    <a:pt x="30" y="12"/>
                  </a:lnTo>
                  <a:lnTo>
                    <a:pt x="30" y="12"/>
                  </a:lnTo>
                  <a:lnTo>
                    <a:pt x="30" y="12"/>
                  </a:lnTo>
                  <a:lnTo>
                    <a:pt x="30" y="12"/>
                  </a:lnTo>
                  <a:lnTo>
                    <a:pt x="30" y="12"/>
                  </a:lnTo>
                  <a:lnTo>
                    <a:pt x="30" y="12"/>
                  </a:lnTo>
                  <a:lnTo>
                    <a:pt x="34" y="12"/>
                  </a:lnTo>
                  <a:lnTo>
                    <a:pt x="34" y="12"/>
                  </a:lnTo>
                  <a:lnTo>
                    <a:pt x="34" y="12"/>
                  </a:lnTo>
                  <a:lnTo>
                    <a:pt x="34" y="12"/>
                  </a:lnTo>
                  <a:lnTo>
                    <a:pt x="38" y="12"/>
                  </a:lnTo>
                  <a:lnTo>
                    <a:pt x="42" y="12"/>
                  </a:lnTo>
                  <a:lnTo>
                    <a:pt x="42" y="12"/>
                  </a:lnTo>
                  <a:lnTo>
                    <a:pt x="42" y="12"/>
                  </a:lnTo>
                  <a:lnTo>
                    <a:pt x="42" y="12"/>
                  </a:lnTo>
                  <a:lnTo>
                    <a:pt x="42" y="12"/>
                  </a:lnTo>
                  <a:lnTo>
                    <a:pt x="46" y="12"/>
                  </a:lnTo>
                  <a:lnTo>
                    <a:pt x="46" y="12"/>
                  </a:lnTo>
                  <a:lnTo>
                    <a:pt x="46" y="12"/>
                  </a:lnTo>
                  <a:lnTo>
                    <a:pt x="46" y="12"/>
                  </a:lnTo>
                  <a:lnTo>
                    <a:pt x="46" y="12"/>
                  </a:lnTo>
                  <a:lnTo>
                    <a:pt x="50" y="12"/>
                  </a:lnTo>
                  <a:lnTo>
                    <a:pt x="50" y="12"/>
                  </a:lnTo>
                  <a:lnTo>
                    <a:pt x="50" y="12"/>
                  </a:lnTo>
                  <a:lnTo>
                    <a:pt x="50" y="12"/>
                  </a:lnTo>
                  <a:lnTo>
                    <a:pt x="50" y="8"/>
                  </a:lnTo>
                  <a:lnTo>
                    <a:pt x="54" y="8"/>
                  </a:lnTo>
                  <a:lnTo>
                    <a:pt x="54" y="8"/>
                  </a:lnTo>
                  <a:lnTo>
                    <a:pt x="54" y="8"/>
                  </a:lnTo>
                  <a:lnTo>
                    <a:pt x="56" y="4"/>
                  </a:lnTo>
                  <a:lnTo>
                    <a:pt x="56" y="4"/>
                  </a:lnTo>
                  <a:lnTo>
                    <a:pt x="56" y="4"/>
                  </a:lnTo>
                  <a:lnTo>
                    <a:pt x="56" y="4"/>
                  </a:lnTo>
                  <a:lnTo>
                    <a:pt x="56" y="4"/>
                  </a:lnTo>
                  <a:lnTo>
                    <a:pt x="60" y="4"/>
                  </a:lnTo>
                  <a:lnTo>
                    <a:pt x="64" y="4"/>
                  </a:lnTo>
                  <a:lnTo>
                    <a:pt x="64" y="4"/>
                  </a:lnTo>
                  <a:lnTo>
                    <a:pt x="64" y="4"/>
                  </a:lnTo>
                  <a:lnTo>
                    <a:pt x="64" y="4"/>
                  </a:lnTo>
                  <a:lnTo>
                    <a:pt x="68" y="4"/>
                  </a:lnTo>
                  <a:lnTo>
                    <a:pt x="68" y="4"/>
                  </a:lnTo>
                  <a:lnTo>
                    <a:pt x="68" y="4"/>
                  </a:lnTo>
                  <a:lnTo>
                    <a:pt x="68" y="4"/>
                  </a:lnTo>
                  <a:lnTo>
                    <a:pt x="68" y="4"/>
                  </a:lnTo>
                  <a:lnTo>
                    <a:pt x="68" y="4"/>
                  </a:lnTo>
                  <a:lnTo>
                    <a:pt x="68" y="4"/>
                  </a:lnTo>
                  <a:lnTo>
                    <a:pt x="72" y="4"/>
                  </a:lnTo>
                  <a:lnTo>
                    <a:pt x="72" y="4"/>
                  </a:lnTo>
                  <a:lnTo>
                    <a:pt x="72" y="4"/>
                  </a:lnTo>
                  <a:lnTo>
                    <a:pt x="72" y="4"/>
                  </a:lnTo>
                  <a:lnTo>
                    <a:pt x="76" y="4"/>
                  </a:lnTo>
                  <a:lnTo>
                    <a:pt x="76" y="4"/>
                  </a:lnTo>
                  <a:lnTo>
                    <a:pt x="76" y="4"/>
                  </a:lnTo>
                  <a:lnTo>
                    <a:pt x="76" y="4"/>
                  </a:lnTo>
                  <a:lnTo>
                    <a:pt x="76" y="8"/>
                  </a:lnTo>
                  <a:lnTo>
                    <a:pt x="76" y="8"/>
                  </a:lnTo>
                  <a:lnTo>
                    <a:pt x="80" y="8"/>
                  </a:lnTo>
                  <a:lnTo>
                    <a:pt x="80" y="8"/>
                  </a:lnTo>
                  <a:lnTo>
                    <a:pt x="80" y="8"/>
                  </a:lnTo>
                  <a:lnTo>
                    <a:pt x="80" y="4"/>
                  </a:lnTo>
                  <a:lnTo>
                    <a:pt x="80" y="8"/>
                  </a:lnTo>
                  <a:lnTo>
                    <a:pt x="80" y="8"/>
                  </a:lnTo>
                  <a:lnTo>
                    <a:pt x="80" y="8"/>
                  </a:lnTo>
                  <a:lnTo>
                    <a:pt x="80" y="8"/>
                  </a:lnTo>
                  <a:lnTo>
                    <a:pt x="82" y="8"/>
                  </a:lnTo>
                  <a:lnTo>
                    <a:pt x="82" y="12"/>
                  </a:lnTo>
                  <a:lnTo>
                    <a:pt x="82" y="12"/>
                  </a:lnTo>
                  <a:lnTo>
                    <a:pt x="82" y="12"/>
                  </a:lnTo>
                  <a:lnTo>
                    <a:pt x="86" y="12"/>
                  </a:lnTo>
                  <a:lnTo>
                    <a:pt x="86" y="12"/>
                  </a:lnTo>
                  <a:lnTo>
                    <a:pt x="86" y="12"/>
                  </a:lnTo>
                  <a:lnTo>
                    <a:pt x="86" y="12"/>
                  </a:lnTo>
                  <a:lnTo>
                    <a:pt x="86" y="12"/>
                  </a:lnTo>
                  <a:lnTo>
                    <a:pt x="86" y="16"/>
                  </a:lnTo>
                  <a:lnTo>
                    <a:pt x="90" y="16"/>
                  </a:lnTo>
                  <a:lnTo>
                    <a:pt x="90" y="16"/>
                  </a:lnTo>
                  <a:lnTo>
                    <a:pt x="90" y="16"/>
                  </a:lnTo>
                  <a:lnTo>
                    <a:pt x="86" y="16"/>
                  </a:lnTo>
                  <a:lnTo>
                    <a:pt x="86" y="16"/>
                  </a:lnTo>
                  <a:lnTo>
                    <a:pt x="86" y="16"/>
                  </a:lnTo>
                  <a:lnTo>
                    <a:pt x="86" y="20"/>
                  </a:lnTo>
                  <a:lnTo>
                    <a:pt x="86" y="20"/>
                  </a:lnTo>
                  <a:lnTo>
                    <a:pt x="86" y="20"/>
                  </a:lnTo>
                  <a:lnTo>
                    <a:pt x="86" y="20"/>
                  </a:lnTo>
                  <a:lnTo>
                    <a:pt x="86" y="20"/>
                  </a:lnTo>
                  <a:lnTo>
                    <a:pt x="86" y="16"/>
                  </a:lnTo>
                  <a:lnTo>
                    <a:pt x="82" y="16"/>
                  </a:lnTo>
                  <a:lnTo>
                    <a:pt x="82" y="20"/>
                  </a:lnTo>
                  <a:lnTo>
                    <a:pt x="82" y="20"/>
                  </a:lnTo>
                  <a:lnTo>
                    <a:pt x="82" y="20"/>
                  </a:lnTo>
                  <a:lnTo>
                    <a:pt x="82" y="20"/>
                  </a:lnTo>
                  <a:lnTo>
                    <a:pt x="80" y="20"/>
                  </a:lnTo>
                  <a:lnTo>
                    <a:pt x="80" y="22"/>
                  </a:lnTo>
                  <a:lnTo>
                    <a:pt x="80" y="22"/>
                  </a:lnTo>
                  <a:lnTo>
                    <a:pt x="80" y="26"/>
                  </a:lnTo>
                  <a:lnTo>
                    <a:pt x="80" y="26"/>
                  </a:lnTo>
                  <a:lnTo>
                    <a:pt x="80" y="26"/>
                  </a:lnTo>
                  <a:lnTo>
                    <a:pt x="80" y="26"/>
                  </a:lnTo>
                  <a:lnTo>
                    <a:pt x="80" y="26"/>
                  </a:lnTo>
                  <a:lnTo>
                    <a:pt x="80" y="30"/>
                  </a:lnTo>
                  <a:lnTo>
                    <a:pt x="80" y="30"/>
                  </a:lnTo>
                  <a:lnTo>
                    <a:pt x="80" y="30"/>
                  </a:lnTo>
                  <a:lnTo>
                    <a:pt x="80" y="30"/>
                  </a:lnTo>
                  <a:lnTo>
                    <a:pt x="76" y="30"/>
                  </a:lnTo>
                  <a:lnTo>
                    <a:pt x="76" y="30"/>
                  </a:lnTo>
                  <a:lnTo>
                    <a:pt x="76" y="34"/>
                  </a:lnTo>
                  <a:lnTo>
                    <a:pt x="72" y="34"/>
                  </a:lnTo>
                  <a:lnTo>
                    <a:pt x="72" y="34"/>
                  </a:lnTo>
                  <a:lnTo>
                    <a:pt x="72" y="38"/>
                  </a:lnTo>
                  <a:lnTo>
                    <a:pt x="72" y="38"/>
                  </a:lnTo>
                  <a:lnTo>
                    <a:pt x="72" y="38"/>
                  </a:lnTo>
                  <a:lnTo>
                    <a:pt x="76" y="38"/>
                  </a:lnTo>
                  <a:lnTo>
                    <a:pt x="76" y="38"/>
                  </a:lnTo>
                  <a:lnTo>
                    <a:pt x="76" y="38"/>
                  </a:lnTo>
                  <a:lnTo>
                    <a:pt x="76" y="38"/>
                  </a:lnTo>
                  <a:lnTo>
                    <a:pt x="76" y="38"/>
                  </a:lnTo>
                  <a:lnTo>
                    <a:pt x="76" y="40"/>
                  </a:lnTo>
                  <a:lnTo>
                    <a:pt x="76" y="40"/>
                  </a:lnTo>
                  <a:lnTo>
                    <a:pt x="80" y="40"/>
                  </a:lnTo>
                  <a:lnTo>
                    <a:pt x="80" y="40"/>
                  </a:lnTo>
                  <a:lnTo>
                    <a:pt x="80" y="40"/>
                  </a:lnTo>
                  <a:lnTo>
                    <a:pt x="80" y="44"/>
                  </a:lnTo>
                  <a:lnTo>
                    <a:pt x="80" y="44"/>
                  </a:lnTo>
                  <a:lnTo>
                    <a:pt x="80" y="44"/>
                  </a:lnTo>
                  <a:lnTo>
                    <a:pt x="80" y="44"/>
                  </a:lnTo>
                  <a:lnTo>
                    <a:pt x="80" y="44"/>
                  </a:lnTo>
                  <a:lnTo>
                    <a:pt x="80" y="44"/>
                  </a:lnTo>
                  <a:lnTo>
                    <a:pt x="80" y="44"/>
                  </a:lnTo>
                  <a:lnTo>
                    <a:pt x="80" y="44"/>
                  </a:lnTo>
                  <a:lnTo>
                    <a:pt x="76" y="44"/>
                  </a:lnTo>
                  <a:lnTo>
                    <a:pt x="76" y="44"/>
                  </a:lnTo>
                  <a:lnTo>
                    <a:pt x="76" y="44"/>
                  </a:lnTo>
                  <a:lnTo>
                    <a:pt x="76" y="44"/>
                  </a:lnTo>
                  <a:lnTo>
                    <a:pt x="72" y="44"/>
                  </a:lnTo>
                  <a:lnTo>
                    <a:pt x="72" y="44"/>
                  </a:lnTo>
                  <a:lnTo>
                    <a:pt x="72" y="44"/>
                  </a:lnTo>
                  <a:lnTo>
                    <a:pt x="72" y="44"/>
                  </a:lnTo>
                  <a:lnTo>
                    <a:pt x="72" y="44"/>
                  </a:lnTo>
                  <a:lnTo>
                    <a:pt x="72" y="44"/>
                  </a:lnTo>
                  <a:lnTo>
                    <a:pt x="72" y="40"/>
                  </a:lnTo>
                  <a:lnTo>
                    <a:pt x="68" y="40"/>
                  </a:lnTo>
                  <a:lnTo>
                    <a:pt x="68" y="44"/>
                  </a:lnTo>
                  <a:lnTo>
                    <a:pt x="68" y="44"/>
                  </a:lnTo>
                  <a:lnTo>
                    <a:pt x="64" y="44"/>
                  </a:lnTo>
                  <a:lnTo>
                    <a:pt x="64" y="44"/>
                  </a:lnTo>
                  <a:lnTo>
                    <a:pt x="60" y="44"/>
                  </a:lnTo>
                  <a:lnTo>
                    <a:pt x="60" y="44"/>
                  </a:lnTo>
                  <a:lnTo>
                    <a:pt x="60" y="48"/>
                  </a:lnTo>
                  <a:lnTo>
                    <a:pt x="60" y="48"/>
                  </a:lnTo>
                  <a:lnTo>
                    <a:pt x="60" y="48"/>
                  </a:lnTo>
                  <a:lnTo>
                    <a:pt x="60" y="48"/>
                  </a:lnTo>
                  <a:lnTo>
                    <a:pt x="56" y="48"/>
                  </a:lnTo>
                  <a:lnTo>
                    <a:pt x="56" y="48"/>
                  </a:lnTo>
                  <a:lnTo>
                    <a:pt x="56" y="48"/>
                  </a:lnTo>
                  <a:lnTo>
                    <a:pt x="56" y="48"/>
                  </a:lnTo>
                  <a:lnTo>
                    <a:pt x="56" y="48"/>
                  </a:lnTo>
                  <a:lnTo>
                    <a:pt x="56" y="48"/>
                  </a:lnTo>
                  <a:lnTo>
                    <a:pt x="56" y="52"/>
                  </a:lnTo>
                  <a:lnTo>
                    <a:pt x="56" y="52"/>
                  </a:lnTo>
                  <a:lnTo>
                    <a:pt x="56" y="52"/>
                  </a:lnTo>
                  <a:lnTo>
                    <a:pt x="56" y="48"/>
                  </a:lnTo>
                  <a:lnTo>
                    <a:pt x="54" y="48"/>
                  </a:lnTo>
                  <a:lnTo>
                    <a:pt x="54" y="48"/>
                  </a:lnTo>
                  <a:lnTo>
                    <a:pt x="54" y="52"/>
                  </a:lnTo>
                  <a:lnTo>
                    <a:pt x="54" y="52"/>
                  </a:lnTo>
                  <a:lnTo>
                    <a:pt x="54" y="52"/>
                  </a:lnTo>
                  <a:lnTo>
                    <a:pt x="54" y="52"/>
                  </a:lnTo>
                  <a:lnTo>
                    <a:pt x="54" y="52"/>
                  </a:lnTo>
                  <a:lnTo>
                    <a:pt x="54" y="52"/>
                  </a:lnTo>
                  <a:lnTo>
                    <a:pt x="54" y="56"/>
                  </a:lnTo>
                  <a:lnTo>
                    <a:pt x="54" y="56"/>
                  </a:lnTo>
                  <a:lnTo>
                    <a:pt x="54" y="60"/>
                  </a:lnTo>
                  <a:lnTo>
                    <a:pt x="50" y="60"/>
                  </a:lnTo>
                  <a:lnTo>
                    <a:pt x="50" y="60"/>
                  </a:lnTo>
                  <a:lnTo>
                    <a:pt x="50" y="56"/>
                  </a:lnTo>
                  <a:lnTo>
                    <a:pt x="46" y="60"/>
                  </a:lnTo>
                  <a:lnTo>
                    <a:pt x="46" y="60"/>
                  </a:lnTo>
                  <a:lnTo>
                    <a:pt x="46" y="60"/>
                  </a:lnTo>
                  <a:lnTo>
                    <a:pt x="42" y="60"/>
                  </a:lnTo>
                  <a:lnTo>
                    <a:pt x="42" y="60"/>
                  </a:lnTo>
                  <a:lnTo>
                    <a:pt x="42" y="60"/>
                  </a:lnTo>
                  <a:lnTo>
                    <a:pt x="42" y="60"/>
                  </a:lnTo>
                  <a:lnTo>
                    <a:pt x="42" y="60"/>
                  </a:lnTo>
                  <a:lnTo>
                    <a:pt x="38" y="60"/>
                  </a:lnTo>
                  <a:lnTo>
                    <a:pt x="38" y="56"/>
                  </a:lnTo>
                  <a:lnTo>
                    <a:pt x="38" y="56"/>
                  </a:lnTo>
                  <a:lnTo>
                    <a:pt x="38" y="56"/>
                  </a:lnTo>
                  <a:lnTo>
                    <a:pt x="34" y="56"/>
                  </a:lnTo>
                  <a:lnTo>
                    <a:pt x="34" y="56"/>
                  </a:lnTo>
                  <a:lnTo>
                    <a:pt x="34" y="56"/>
                  </a:lnTo>
                  <a:lnTo>
                    <a:pt x="34" y="56"/>
                  </a:lnTo>
                  <a:lnTo>
                    <a:pt x="30" y="56"/>
                  </a:lnTo>
                  <a:lnTo>
                    <a:pt x="30" y="56"/>
                  </a:lnTo>
                  <a:lnTo>
                    <a:pt x="30" y="52"/>
                  </a:lnTo>
                  <a:lnTo>
                    <a:pt x="26" y="52"/>
                  </a:lnTo>
                  <a:lnTo>
                    <a:pt x="26" y="52"/>
                  </a:lnTo>
                  <a:lnTo>
                    <a:pt x="26" y="52"/>
                  </a:lnTo>
                  <a:lnTo>
                    <a:pt x="26" y="52"/>
                  </a:lnTo>
                  <a:lnTo>
                    <a:pt x="26" y="52"/>
                  </a:lnTo>
                  <a:lnTo>
                    <a:pt x="24" y="52"/>
                  </a:lnTo>
                  <a:lnTo>
                    <a:pt x="24" y="56"/>
                  </a:lnTo>
                  <a:lnTo>
                    <a:pt x="24" y="56"/>
                  </a:lnTo>
                  <a:lnTo>
                    <a:pt x="24" y="56"/>
                  </a:lnTo>
                  <a:lnTo>
                    <a:pt x="24" y="56"/>
                  </a:lnTo>
                  <a:lnTo>
                    <a:pt x="20" y="56"/>
                  </a:lnTo>
                  <a:lnTo>
                    <a:pt x="20" y="56"/>
                  </a:lnTo>
                  <a:lnTo>
                    <a:pt x="20" y="56"/>
                  </a:lnTo>
                  <a:lnTo>
                    <a:pt x="20" y="56"/>
                  </a:lnTo>
                  <a:lnTo>
                    <a:pt x="16" y="56"/>
                  </a:lnTo>
                  <a:lnTo>
                    <a:pt x="16" y="56"/>
                  </a:lnTo>
                  <a:lnTo>
                    <a:pt x="12" y="56"/>
                  </a:lnTo>
                  <a:lnTo>
                    <a:pt x="12" y="56"/>
                  </a:lnTo>
                  <a:lnTo>
                    <a:pt x="12" y="56"/>
                  </a:lnTo>
                  <a:lnTo>
                    <a:pt x="12" y="56"/>
                  </a:lnTo>
                  <a:lnTo>
                    <a:pt x="12" y="60"/>
                  </a:lnTo>
                  <a:lnTo>
                    <a:pt x="12" y="60"/>
                  </a:lnTo>
                  <a:lnTo>
                    <a:pt x="12" y="60"/>
                  </a:lnTo>
                  <a:lnTo>
                    <a:pt x="8" y="56"/>
                  </a:lnTo>
                  <a:lnTo>
                    <a:pt x="8" y="56"/>
                  </a:lnTo>
                  <a:lnTo>
                    <a:pt x="8" y="56"/>
                  </a:lnTo>
                  <a:lnTo>
                    <a:pt x="8" y="5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01" name="Freeform 94"/>
            <p:cNvSpPr>
              <a:spLocks noEditPoints="1"/>
            </p:cNvSpPr>
            <p:nvPr/>
          </p:nvSpPr>
          <p:spPr bwMode="auto">
            <a:xfrm>
              <a:off x="7159601" y="3611258"/>
              <a:ext cx="54006" cy="52303"/>
            </a:xfrm>
            <a:custGeom>
              <a:avLst/>
              <a:gdLst>
                <a:gd name="T0" fmla="*/ 66 w 86"/>
                <a:gd name="T1" fmla="*/ 74 h 80"/>
                <a:gd name="T2" fmla="*/ 70 w 86"/>
                <a:gd name="T3" fmla="*/ 78 h 80"/>
                <a:gd name="T4" fmla="*/ 56 w 86"/>
                <a:gd name="T5" fmla="*/ 70 h 80"/>
                <a:gd name="T6" fmla="*/ 60 w 86"/>
                <a:gd name="T7" fmla="*/ 70 h 80"/>
                <a:gd name="T8" fmla="*/ 14 w 86"/>
                <a:gd name="T9" fmla="*/ 30 h 80"/>
                <a:gd name="T10" fmla="*/ 18 w 86"/>
                <a:gd name="T11" fmla="*/ 30 h 80"/>
                <a:gd name="T12" fmla="*/ 14 w 86"/>
                <a:gd name="T13" fmla="*/ 34 h 80"/>
                <a:gd name="T14" fmla="*/ 14 w 86"/>
                <a:gd name="T15" fmla="*/ 26 h 80"/>
                <a:gd name="T16" fmla="*/ 14 w 86"/>
                <a:gd name="T17" fmla="*/ 34 h 80"/>
                <a:gd name="T18" fmla="*/ 14 w 86"/>
                <a:gd name="T19" fmla="*/ 40 h 80"/>
                <a:gd name="T20" fmla="*/ 14 w 86"/>
                <a:gd name="T21" fmla="*/ 40 h 80"/>
                <a:gd name="T22" fmla="*/ 22 w 86"/>
                <a:gd name="T23" fmla="*/ 38 h 80"/>
                <a:gd name="T24" fmla="*/ 22 w 86"/>
                <a:gd name="T25" fmla="*/ 40 h 80"/>
                <a:gd name="T26" fmla="*/ 26 w 86"/>
                <a:gd name="T27" fmla="*/ 52 h 80"/>
                <a:gd name="T28" fmla="*/ 18 w 86"/>
                <a:gd name="T29" fmla="*/ 44 h 80"/>
                <a:gd name="T30" fmla="*/ 26 w 86"/>
                <a:gd name="T31" fmla="*/ 52 h 80"/>
                <a:gd name="T32" fmla="*/ 44 w 86"/>
                <a:gd name="T33" fmla="*/ 64 h 80"/>
                <a:gd name="T34" fmla="*/ 44 w 86"/>
                <a:gd name="T35" fmla="*/ 64 h 80"/>
                <a:gd name="T36" fmla="*/ 40 w 86"/>
                <a:gd name="T37" fmla="*/ 66 h 80"/>
                <a:gd name="T38" fmla="*/ 52 w 86"/>
                <a:gd name="T39" fmla="*/ 66 h 80"/>
                <a:gd name="T40" fmla="*/ 40 w 86"/>
                <a:gd name="T41" fmla="*/ 66 h 80"/>
                <a:gd name="T42" fmla="*/ 36 w 86"/>
                <a:gd name="T43" fmla="*/ 70 h 80"/>
                <a:gd name="T44" fmla="*/ 52 w 86"/>
                <a:gd name="T45" fmla="*/ 70 h 80"/>
                <a:gd name="T46" fmla="*/ 60 w 86"/>
                <a:gd name="T47" fmla="*/ 74 h 80"/>
                <a:gd name="T48" fmla="*/ 60 w 86"/>
                <a:gd name="T49" fmla="*/ 74 h 80"/>
                <a:gd name="T50" fmla="*/ 52 w 86"/>
                <a:gd name="T51" fmla="*/ 66 h 80"/>
                <a:gd name="T52" fmla="*/ 40 w 86"/>
                <a:gd name="T53" fmla="*/ 60 h 80"/>
                <a:gd name="T54" fmla="*/ 36 w 86"/>
                <a:gd name="T55" fmla="*/ 56 h 80"/>
                <a:gd name="T56" fmla="*/ 26 w 86"/>
                <a:gd name="T57" fmla="*/ 48 h 80"/>
                <a:gd name="T58" fmla="*/ 30 w 86"/>
                <a:gd name="T59" fmla="*/ 44 h 80"/>
                <a:gd name="T60" fmla="*/ 18 w 86"/>
                <a:gd name="T61" fmla="*/ 34 h 80"/>
                <a:gd name="T62" fmla="*/ 14 w 86"/>
                <a:gd name="T63" fmla="*/ 26 h 80"/>
                <a:gd name="T64" fmla="*/ 10 w 86"/>
                <a:gd name="T65" fmla="*/ 30 h 80"/>
                <a:gd name="T66" fmla="*/ 8 w 86"/>
                <a:gd name="T67" fmla="*/ 34 h 80"/>
                <a:gd name="T68" fmla="*/ 0 w 86"/>
                <a:gd name="T69" fmla="*/ 22 h 80"/>
                <a:gd name="T70" fmla="*/ 8 w 86"/>
                <a:gd name="T71" fmla="*/ 22 h 80"/>
                <a:gd name="T72" fmla="*/ 14 w 86"/>
                <a:gd name="T73" fmla="*/ 18 h 80"/>
                <a:gd name="T74" fmla="*/ 22 w 86"/>
                <a:gd name="T75" fmla="*/ 22 h 80"/>
                <a:gd name="T76" fmla="*/ 30 w 86"/>
                <a:gd name="T77" fmla="*/ 14 h 80"/>
                <a:gd name="T78" fmla="*/ 30 w 86"/>
                <a:gd name="T79" fmla="*/ 8 h 80"/>
                <a:gd name="T80" fmla="*/ 36 w 86"/>
                <a:gd name="T81" fmla="*/ 0 h 80"/>
                <a:gd name="T82" fmla="*/ 52 w 86"/>
                <a:gd name="T83" fmla="*/ 8 h 80"/>
                <a:gd name="T84" fmla="*/ 60 w 86"/>
                <a:gd name="T85" fmla="*/ 14 h 80"/>
                <a:gd name="T86" fmla="*/ 74 w 86"/>
                <a:gd name="T87" fmla="*/ 14 h 80"/>
                <a:gd name="T88" fmla="*/ 78 w 86"/>
                <a:gd name="T89" fmla="*/ 22 h 80"/>
                <a:gd name="T90" fmla="*/ 82 w 86"/>
                <a:gd name="T91" fmla="*/ 26 h 80"/>
                <a:gd name="T92" fmla="*/ 74 w 86"/>
                <a:gd name="T93" fmla="*/ 34 h 80"/>
                <a:gd name="T94" fmla="*/ 66 w 86"/>
                <a:gd name="T95" fmla="*/ 30 h 80"/>
                <a:gd name="T96" fmla="*/ 56 w 86"/>
                <a:gd name="T97" fmla="*/ 26 h 80"/>
                <a:gd name="T98" fmla="*/ 40 w 86"/>
                <a:gd name="T99" fmla="*/ 26 h 80"/>
                <a:gd name="T100" fmla="*/ 34 w 86"/>
                <a:gd name="T101" fmla="*/ 26 h 80"/>
                <a:gd name="T102" fmla="*/ 36 w 86"/>
                <a:gd name="T103" fmla="*/ 38 h 80"/>
                <a:gd name="T104" fmla="*/ 40 w 86"/>
                <a:gd name="T105" fmla="*/ 48 h 80"/>
                <a:gd name="T106" fmla="*/ 48 w 86"/>
                <a:gd name="T107" fmla="*/ 60 h 80"/>
                <a:gd name="T108" fmla="*/ 56 w 86"/>
                <a:gd name="T109" fmla="*/ 64 h 80"/>
                <a:gd name="T110" fmla="*/ 60 w 86"/>
                <a:gd name="T111" fmla="*/ 7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80">
                  <a:moveTo>
                    <a:pt x="60" y="70"/>
                  </a:moveTo>
                  <a:lnTo>
                    <a:pt x="62" y="70"/>
                  </a:lnTo>
                  <a:lnTo>
                    <a:pt x="62" y="74"/>
                  </a:lnTo>
                  <a:lnTo>
                    <a:pt x="66" y="74"/>
                  </a:lnTo>
                  <a:lnTo>
                    <a:pt x="66" y="78"/>
                  </a:lnTo>
                  <a:lnTo>
                    <a:pt x="70" y="78"/>
                  </a:lnTo>
                  <a:lnTo>
                    <a:pt x="70" y="80"/>
                  </a:lnTo>
                  <a:lnTo>
                    <a:pt x="70" y="78"/>
                  </a:lnTo>
                  <a:lnTo>
                    <a:pt x="66" y="78"/>
                  </a:lnTo>
                  <a:lnTo>
                    <a:pt x="62" y="74"/>
                  </a:lnTo>
                  <a:lnTo>
                    <a:pt x="60" y="74"/>
                  </a:lnTo>
                  <a:lnTo>
                    <a:pt x="56" y="70"/>
                  </a:lnTo>
                  <a:lnTo>
                    <a:pt x="52" y="70"/>
                  </a:lnTo>
                  <a:lnTo>
                    <a:pt x="52" y="66"/>
                  </a:lnTo>
                  <a:lnTo>
                    <a:pt x="56" y="70"/>
                  </a:lnTo>
                  <a:lnTo>
                    <a:pt x="60" y="70"/>
                  </a:lnTo>
                  <a:lnTo>
                    <a:pt x="60" y="70"/>
                  </a:lnTo>
                  <a:lnTo>
                    <a:pt x="60" y="70"/>
                  </a:lnTo>
                  <a:close/>
                  <a:moveTo>
                    <a:pt x="18" y="30"/>
                  </a:moveTo>
                  <a:lnTo>
                    <a:pt x="14" y="30"/>
                  </a:lnTo>
                  <a:lnTo>
                    <a:pt x="14" y="26"/>
                  </a:lnTo>
                  <a:lnTo>
                    <a:pt x="18" y="26"/>
                  </a:lnTo>
                  <a:lnTo>
                    <a:pt x="18" y="30"/>
                  </a:lnTo>
                  <a:lnTo>
                    <a:pt x="18" y="30"/>
                  </a:lnTo>
                  <a:lnTo>
                    <a:pt x="18" y="30"/>
                  </a:lnTo>
                  <a:close/>
                  <a:moveTo>
                    <a:pt x="14" y="38"/>
                  </a:moveTo>
                  <a:lnTo>
                    <a:pt x="10" y="34"/>
                  </a:lnTo>
                  <a:lnTo>
                    <a:pt x="14" y="34"/>
                  </a:lnTo>
                  <a:lnTo>
                    <a:pt x="14" y="30"/>
                  </a:lnTo>
                  <a:lnTo>
                    <a:pt x="10" y="30"/>
                  </a:lnTo>
                  <a:lnTo>
                    <a:pt x="10" y="26"/>
                  </a:lnTo>
                  <a:lnTo>
                    <a:pt x="14" y="26"/>
                  </a:lnTo>
                  <a:lnTo>
                    <a:pt x="10" y="26"/>
                  </a:lnTo>
                  <a:lnTo>
                    <a:pt x="10" y="30"/>
                  </a:lnTo>
                  <a:lnTo>
                    <a:pt x="14" y="30"/>
                  </a:lnTo>
                  <a:lnTo>
                    <a:pt x="14" y="34"/>
                  </a:lnTo>
                  <a:lnTo>
                    <a:pt x="14" y="38"/>
                  </a:lnTo>
                  <a:lnTo>
                    <a:pt x="14" y="38"/>
                  </a:lnTo>
                  <a:lnTo>
                    <a:pt x="14" y="38"/>
                  </a:lnTo>
                  <a:close/>
                  <a:moveTo>
                    <a:pt x="14" y="40"/>
                  </a:moveTo>
                  <a:lnTo>
                    <a:pt x="14" y="38"/>
                  </a:lnTo>
                  <a:lnTo>
                    <a:pt x="10" y="38"/>
                  </a:lnTo>
                  <a:lnTo>
                    <a:pt x="14" y="38"/>
                  </a:lnTo>
                  <a:lnTo>
                    <a:pt x="14" y="40"/>
                  </a:lnTo>
                  <a:lnTo>
                    <a:pt x="14" y="40"/>
                  </a:lnTo>
                  <a:lnTo>
                    <a:pt x="14" y="40"/>
                  </a:lnTo>
                  <a:close/>
                  <a:moveTo>
                    <a:pt x="18" y="38"/>
                  </a:moveTo>
                  <a:lnTo>
                    <a:pt x="22" y="38"/>
                  </a:lnTo>
                  <a:lnTo>
                    <a:pt x="22" y="40"/>
                  </a:lnTo>
                  <a:lnTo>
                    <a:pt x="26" y="44"/>
                  </a:lnTo>
                  <a:lnTo>
                    <a:pt x="22" y="44"/>
                  </a:lnTo>
                  <a:lnTo>
                    <a:pt x="22" y="40"/>
                  </a:lnTo>
                  <a:lnTo>
                    <a:pt x="18" y="38"/>
                  </a:lnTo>
                  <a:lnTo>
                    <a:pt x="18" y="38"/>
                  </a:lnTo>
                  <a:lnTo>
                    <a:pt x="18" y="38"/>
                  </a:lnTo>
                  <a:close/>
                  <a:moveTo>
                    <a:pt x="26" y="52"/>
                  </a:moveTo>
                  <a:lnTo>
                    <a:pt x="22" y="52"/>
                  </a:lnTo>
                  <a:lnTo>
                    <a:pt x="22" y="48"/>
                  </a:lnTo>
                  <a:lnTo>
                    <a:pt x="18" y="48"/>
                  </a:lnTo>
                  <a:lnTo>
                    <a:pt x="18" y="44"/>
                  </a:lnTo>
                  <a:lnTo>
                    <a:pt x="22" y="48"/>
                  </a:lnTo>
                  <a:lnTo>
                    <a:pt x="22" y="52"/>
                  </a:lnTo>
                  <a:lnTo>
                    <a:pt x="26" y="52"/>
                  </a:lnTo>
                  <a:lnTo>
                    <a:pt x="26" y="52"/>
                  </a:lnTo>
                  <a:lnTo>
                    <a:pt x="26" y="52"/>
                  </a:lnTo>
                  <a:close/>
                  <a:moveTo>
                    <a:pt x="44" y="64"/>
                  </a:moveTo>
                  <a:lnTo>
                    <a:pt x="40" y="64"/>
                  </a:lnTo>
                  <a:lnTo>
                    <a:pt x="44" y="64"/>
                  </a:lnTo>
                  <a:lnTo>
                    <a:pt x="48" y="64"/>
                  </a:lnTo>
                  <a:lnTo>
                    <a:pt x="44" y="64"/>
                  </a:lnTo>
                  <a:lnTo>
                    <a:pt x="44" y="64"/>
                  </a:lnTo>
                  <a:lnTo>
                    <a:pt x="44" y="64"/>
                  </a:lnTo>
                  <a:close/>
                  <a:moveTo>
                    <a:pt x="52" y="66"/>
                  </a:moveTo>
                  <a:lnTo>
                    <a:pt x="48" y="66"/>
                  </a:lnTo>
                  <a:lnTo>
                    <a:pt x="44" y="66"/>
                  </a:lnTo>
                  <a:lnTo>
                    <a:pt x="40" y="66"/>
                  </a:lnTo>
                  <a:lnTo>
                    <a:pt x="44" y="66"/>
                  </a:lnTo>
                  <a:lnTo>
                    <a:pt x="48" y="66"/>
                  </a:lnTo>
                  <a:lnTo>
                    <a:pt x="52" y="66"/>
                  </a:lnTo>
                  <a:lnTo>
                    <a:pt x="52" y="66"/>
                  </a:lnTo>
                  <a:lnTo>
                    <a:pt x="52" y="66"/>
                  </a:lnTo>
                  <a:close/>
                  <a:moveTo>
                    <a:pt x="36" y="70"/>
                  </a:moveTo>
                  <a:lnTo>
                    <a:pt x="36" y="66"/>
                  </a:lnTo>
                  <a:lnTo>
                    <a:pt x="40" y="66"/>
                  </a:lnTo>
                  <a:lnTo>
                    <a:pt x="40" y="70"/>
                  </a:lnTo>
                  <a:lnTo>
                    <a:pt x="36" y="70"/>
                  </a:lnTo>
                  <a:lnTo>
                    <a:pt x="36" y="70"/>
                  </a:lnTo>
                  <a:lnTo>
                    <a:pt x="36" y="70"/>
                  </a:lnTo>
                  <a:close/>
                  <a:moveTo>
                    <a:pt x="48" y="70"/>
                  </a:moveTo>
                  <a:lnTo>
                    <a:pt x="44" y="70"/>
                  </a:lnTo>
                  <a:lnTo>
                    <a:pt x="48" y="70"/>
                  </a:lnTo>
                  <a:lnTo>
                    <a:pt x="52" y="70"/>
                  </a:lnTo>
                  <a:lnTo>
                    <a:pt x="48" y="70"/>
                  </a:lnTo>
                  <a:lnTo>
                    <a:pt x="48" y="70"/>
                  </a:lnTo>
                  <a:lnTo>
                    <a:pt x="48" y="70"/>
                  </a:lnTo>
                  <a:close/>
                  <a:moveTo>
                    <a:pt x="60" y="74"/>
                  </a:moveTo>
                  <a:lnTo>
                    <a:pt x="56" y="74"/>
                  </a:lnTo>
                  <a:lnTo>
                    <a:pt x="60" y="74"/>
                  </a:lnTo>
                  <a:lnTo>
                    <a:pt x="60" y="74"/>
                  </a:lnTo>
                  <a:lnTo>
                    <a:pt x="60" y="74"/>
                  </a:lnTo>
                  <a:close/>
                  <a:moveTo>
                    <a:pt x="60" y="70"/>
                  </a:moveTo>
                  <a:lnTo>
                    <a:pt x="56" y="70"/>
                  </a:lnTo>
                  <a:lnTo>
                    <a:pt x="56" y="66"/>
                  </a:lnTo>
                  <a:lnTo>
                    <a:pt x="52" y="66"/>
                  </a:lnTo>
                  <a:lnTo>
                    <a:pt x="52" y="64"/>
                  </a:lnTo>
                  <a:lnTo>
                    <a:pt x="48" y="64"/>
                  </a:lnTo>
                  <a:lnTo>
                    <a:pt x="44" y="60"/>
                  </a:lnTo>
                  <a:lnTo>
                    <a:pt x="40" y="60"/>
                  </a:lnTo>
                  <a:lnTo>
                    <a:pt x="36" y="60"/>
                  </a:lnTo>
                  <a:lnTo>
                    <a:pt x="34" y="60"/>
                  </a:lnTo>
                  <a:lnTo>
                    <a:pt x="34" y="56"/>
                  </a:lnTo>
                  <a:lnTo>
                    <a:pt x="36" y="56"/>
                  </a:lnTo>
                  <a:lnTo>
                    <a:pt x="34" y="56"/>
                  </a:lnTo>
                  <a:lnTo>
                    <a:pt x="30" y="52"/>
                  </a:lnTo>
                  <a:lnTo>
                    <a:pt x="26" y="52"/>
                  </a:lnTo>
                  <a:lnTo>
                    <a:pt x="26" y="48"/>
                  </a:lnTo>
                  <a:lnTo>
                    <a:pt x="26" y="44"/>
                  </a:lnTo>
                  <a:lnTo>
                    <a:pt x="22" y="44"/>
                  </a:lnTo>
                  <a:lnTo>
                    <a:pt x="26" y="44"/>
                  </a:lnTo>
                  <a:lnTo>
                    <a:pt x="30" y="44"/>
                  </a:lnTo>
                  <a:lnTo>
                    <a:pt x="26" y="40"/>
                  </a:lnTo>
                  <a:lnTo>
                    <a:pt x="22" y="40"/>
                  </a:lnTo>
                  <a:lnTo>
                    <a:pt x="22" y="38"/>
                  </a:lnTo>
                  <a:lnTo>
                    <a:pt x="18" y="34"/>
                  </a:lnTo>
                  <a:lnTo>
                    <a:pt x="22" y="34"/>
                  </a:lnTo>
                  <a:lnTo>
                    <a:pt x="22" y="30"/>
                  </a:lnTo>
                  <a:lnTo>
                    <a:pt x="18" y="26"/>
                  </a:lnTo>
                  <a:lnTo>
                    <a:pt x="14" y="26"/>
                  </a:lnTo>
                  <a:lnTo>
                    <a:pt x="14" y="22"/>
                  </a:lnTo>
                  <a:lnTo>
                    <a:pt x="10" y="22"/>
                  </a:lnTo>
                  <a:lnTo>
                    <a:pt x="10" y="26"/>
                  </a:lnTo>
                  <a:lnTo>
                    <a:pt x="10" y="30"/>
                  </a:lnTo>
                  <a:lnTo>
                    <a:pt x="8" y="30"/>
                  </a:lnTo>
                  <a:lnTo>
                    <a:pt x="8" y="34"/>
                  </a:lnTo>
                  <a:lnTo>
                    <a:pt x="4" y="34"/>
                  </a:lnTo>
                  <a:lnTo>
                    <a:pt x="8" y="34"/>
                  </a:lnTo>
                  <a:lnTo>
                    <a:pt x="4" y="30"/>
                  </a:lnTo>
                  <a:lnTo>
                    <a:pt x="4" y="26"/>
                  </a:lnTo>
                  <a:lnTo>
                    <a:pt x="4" y="22"/>
                  </a:lnTo>
                  <a:lnTo>
                    <a:pt x="0" y="22"/>
                  </a:lnTo>
                  <a:lnTo>
                    <a:pt x="0" y="18"/>
                  </a:lnTo>
                  <a:lnTo>
                    <a:pt x="4" y="18"/>
                  </a:lnTo>
                  <a:lnTo>
                    <a:pt x="4" y="22"/>
                  </a:lnTo>
                  <a:lnTo>
                    <a:pt x="8" y="22"/>
                  </a:lnTo>
                  <a:lnTo>
                    <a:pt x="10" y="22"/>
                  </a:lnTo>
                  <a:lnTo>
                    <a:pt x="14" y="18"/>
                  </a:lnTo>
                  <a:lnTo>
                    <a:pt x="14" y="14"/>
                  </a:lnTo>
                  <a:lnTo>
                    <a:pt x="14" y="18"/>
                  </a:lnTo>
                  <a:lnTo>
                    <a:pt x="18" y="18"/>
                  </a:lnTo>
                  <a:lnTo>
                    <a:pt x="18" y="22"/>
                  </a:lnTo>
                  <a:lnTo>
                    <a:pt x="22" y="18"/>
                  </a:lnTo>
                  <a:lnTo>
                    <a:pt x="22" y="22"/>
                  </a:lnTo>
                  <a:lnTo>
                    <a:pt x="26" y="22"/>
                  </a:lnTo>
                  <a:lnTo>
                    <a:pt x="26" y="18"/>
                  </a:lnTo>
                  <a:lnTo>
                    <a:pt x="26" y="14"/>
                  </a:lnTo>
                  <a:lnTo>
                    <a:pt x="30" y="14"/>
                  </a:lnTo>
                  <a:lnTo>
                    <a:pt x="34" y="14"/>
                  </a:lnTo>
                  <a:lnTo>
                    <a:pt x="34" y="12"/>
                  </a:lnTo>
                  <a:lnTo>
                    <a:pt x="34" y="8"/>
                  </a:lnTo>
                  <a:lnTo>
                    <a:pt x="30" y="8"/>
                  </a:lnTo>
                  <a:lnTo>
                    <a:pt x="30" y="4"/>
                  </a:lnTo>
                  <a:lnTo>
                    <a:pt x="34" y="4"/>
                  </a:lnTo>
                  <a:lnTo>
                    <a:pt x="36" y="4"/>
                  </a:lnTo>
                  <a:lnTo>
                    <a:pt x="36" y="0"/>
                  </a:lnTo>
                  <a:lnTo>
                    <a:pt x="40" y="0"/>
                  </a:lnTo>
                  <a:lnTo>
                    <a:pt x="44" y="0"/>
                  </a:lnTo>
                  <a:lnTo>
                    <a:pt x="48" y="4"/>
                  </a:lnTo>
                  <a:lnTo>
                    <a:pt x="52" y="8"/>
                  </a:lnTo>
                  <a:lnTo>
                    <a:pt x="52" y="12"/>
                  </a:lnTo>
                  <a:lnTo>
                    <a:pt x="56" y="12"/>
                  </a:lnTo>
                  <a:lnTo>
                    <a:pt x="60" y="12"/>
                  </a:lnTo>
                  <a:lnTo>
                    <a:pt x="60" y="14"/>
                  </a:lnTo>
                  <a:lnTo>
                    <a:pt x="62" y="14"/>
                  </a:lnTo>
                  <a:lnTo>
                    <a:pt x="66" y="14"/>
                  </a:lnTo>
                  <a:lnTo>
                    <a:pt x="70" y="14"/>
                  </a:lnTo>
                  <a:lnTo>
                    <a:pt x="74" y="14"/>
                  </a:lnTo>
                  <a:lnTo>
                    <a:pt x="74" y="12"/>
                  </a:lnTo>
                  <a:lnTo>
                    <a:pt x="78" y="14"/>
                  </a:lnTo>
                  <a:lnTo>
                    <a:pt x="78" y="18"/>
                  </a:lnTo>
                  <a:lnTo>
                    <a:pt x="78" y="22"/>
                  </a:lnTo>
                  <a:lnTo>
                    <a:pt x="82" y="22"/>
                  </a:lnTo>
                  <a:lnTo>
                    <a:pt x="82" y="26"/>
                  </a:lnTo>
                  <a:lnTo>
                    <a:pt x="86" y="26"/>
                  </a:lnTo>
                  <a:lnTo>
                    <a:pt x="82" y="26"/>
                  </a:lnTo>
                  <a:lnTo>
                    <a:pt x="82" y="30"/>
                  </a:lnTo>
                  <a:lnTo>
                    <a:pt x="78" y="30"/>
                  </a:lnTo>
                  <a:lnTo>
                    <a:pt x="78" y="34"/>
                  </a:lnTo>
                  <a:lnTo>
                    <a:pt x="74" y="34"/>
                  </a:lnTo>
                  <a:lnTo>
                    <a:pt x="74" y="30"/>
                  </a:lnTo>
                  <a:lnTo>
                    <a:pt x="70" y="26"/>
                  </a:lnTo>
                  <a:lnTo>
                    <a:pt x="66" y="26"/>
                  </a:lnTo>
                  <a:lnTo>
                    <a:pt x="66" y="30"/>
                  </a:lnTo>
                  <a:lnTo>
                    <a:pt x="62" y="30"/>
                  </a:lnTo>
                  <a:lnTo>
                    <a:pt x="60" y="30"/>
                  </a:lnTo>
                  <a:lnTo>
                    <a:pt x="60" y="26"/>
                  </a:lnTo>
                  <a:lnTo>
                    <a:pt x="56" y="26"/>
                  </a:lnTo>
                  <a:lnTo>
                    <a:pt x="52" y="26"/>
                  </a:lnTo>
                  <a:lnTo>
                    <a:pt x="48" y="26"/>
                  </a:lnTo>
                  <a:lnTo>
                    <a:pt x="44" y="26"/>
                  </a:lnTo>
                  <a:lnTo>
                    <a:pt x="40" y="26"/>
                  </a:lnTo>
                  <a:lnTo>
                    <a:pt x="40" y="30"/>
                  </a:lnTo>
                  <a:lnTo>
                    <a:pt x="36" y="30"/>
                  </a:lnTo>
                  <a:lnTo>
                    <a:pt x="36" y="26"/>
                  </a:lnTo>
                  <a:lnTo>
                    <a:pt x="34" y="26"/>
                  </a:lnTo>
                  <a:lnTo>
                    <a:pt x="34" y="30"/>
                  </a:lnTo>
                  <a:lnTo>
                    <a:pt x="34" y="34"/>
                  </a:lnTo>
                  <a:lnTo>
                    <a:pt x="34" y="38"/>
                  </a:lnTo>
                  <a:lnTo>
                    <a:pt x="36" y="38"/>
                  </a:lnTo>
                  <a:lnTo>
                    <a:pt x="36" y="40"/>
                  </a:lnTo>
                  <a:lnTo>
                    <a:pt x="36" y="44"/>
                  </a:lnTo>
                  <a:lnTo>
                    <a:pt x="40" y="44"/>
                  </a:lnTo>
                  <a:lnTo>
                    <a:pt x="40" y="48"/>
                  </a:lnTo>
                  <a:lnTo>
                    <a:pt x="44" y="48"/>
                  </a:lnTo>
                  <a:lnTo>
                    <a:pt x="44" y="52"/>
                  </a:lnTo>
                  <a:lnTo>
                    <a:pt x="48" y="56"/>
                  </a:lnTo>
                  <a:lnTo>
                    <a:pt x="48" y="60"/>
                  </a:lnTo>
                  <a:lnTo>
                    <a:pt x="52" y="60"/>
                  </a:lnTo>
                  <a:lnTo>
                    <a:pt x="56" y="60"/>
                  </a:lnTo>
                  <a:lnTo>
                    <a:pt x="52" y="64"/>
                  </a:lnTo>
                  <a:lnTo>
                    <a:pt x="56" y="64"/>
                  </a:lnTo>
                  <a:lnTo>
                    <a:pt x="56" y="66"/>
                  </a:lnTo>
                  <a:lnTo>
                    <a:pt x="60" y="66"/>
                  </a:lnTo>
                  <a:lnTo>
                    <a:pt x="60" y="70"/>
                  </a:lnTo>
                  <a:lnTo>
                    <a:pt x="60" y="70"/>
                  </a:lnTo>
                  <a:lnTo>
                    <a:pt x="60" y="7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02" name="Freeform 95"/>
            <p:cNvSpPr>
              <a:spLocks/>
            </p:cNvSpPr>
            <p:nvPr/>
          </p:nvSpPr>
          <p:spPr bwMode="auto">
            <a:xfrm>
              <a:off x="7147041" y="3549802"/>
              <a:ext cx="61542" cy="33997"/>
            </a:xfrm>
            <a:custGeom>
              <a:avLst/>
              <a:gdLst>
                <a:gd name="T0" fmla="*/ 84 w 98"/>
                <a:gd name="T1" fmla="*/ 42 h 52"/>
                <a:gd name="T2" fmla="*/ 80 w 98"/>
                <a:gd name="T3" fmla="*/ 46 h 52"/>
                <a:gd name="T4" fmla="*/ 72 w 98"/>
                <a:gd name="T5" fmla="*/ 46 h 52"/>
                <a:gd name="T6" fmla="*/ 68 w 98"/>
                <a:gd name="T7" fmla="*/ 50 h 52"/>
                <a:gd name="T8" fmla="*/ 68 w 98"/>
                <a:gd name="T9" fmla="*/ 50 h 52"/>
                <a:gd name="T10" fmla="*/ 60 w 98"/>
                <a:gd name="T11" fmla="*/ 46 h 52"/>
                <a:gd name="T12" fmla="*/ 58 w 98"/>
                <a:gd name="T13" fmla="*/ 50 h 52"/>
                <a:gd name="T14" fmla="*/ 54 w 98"/>
                <a:gd name="T15" fmla="*/ 46 h 52"/>
                <a:gd name="T16" fmla="*/ 50 w 98"/>
                <a:gd name="T17" fmla="*/ 46 h 52"/>
                <a:gd name="T18" fmla="*/ 46 w 98"/>
                <a:gd name="T19" fmla="*/ 42 h 52"/>
                <a:gd name="T20" fmla="*/ 42 w 98"/>
                <a:gd name="T21" fmla="*/ 42 h 52"/>
                <a:gd name="T22" fmla="*/ 38 w 98"/>
                <a:gd name="T23" fmla="*/ 46 h 52"/>
                <a:gd name="T24" fmla="*/ 38 w 98"/>
                <a:gd name="T25" fmla="*/ 52 h 52"/>
                <a:gd name="T26" fmla="*/ 34 w 98"/>
                <a:gd name="T27" fmla="*/ 52 h 52"/>
                <a:gd name="T28" fmla="*/ 26 w 98"/>
                <a:gd name="T29" fmla="*/ 50 h 52"/>
                <a:gd name="T30" fmla="*/ 24 w 98"/>
                <a:gd name="T31" fmla="*/ 46 h 52"/>
                <a:gd name="T32" fmla="*/ 24 w 98"/>
                <a:gd name="T33" fmla="*/ 46 h 52"/>
                <a:gd name="T34" fmla="*/ 20 w 98"/>
                <a:gd name="T35" fmla="*/ 42 h 52"/>
                <a:gd name="T36" fmla="*/ 12 w 98"/>
                <a:gd name="T37" fmla="*/ 38 h 52"/>
                <a:gd name="T38" fmla="*/ 8 w 98"/>
                <a:gd name="T39" fmla="*/ 30 h 52"/>
                <a:gd name="T40" fmla="*/ 4 w 98"/>
                <a:gd name="T41" fmla="*/ 26 h 52"/>
                <a:gd name="T42" fmla="*/ 4 w 98"/>
                <a:gd name="T43" fmla="*/ 22 h 52"/>
                <a:gd name="T44" fmla="*/ 0 w 98"/>
                <a:gd name="T45" fmla="*/ 18 h 52"/>
                <a:gd name="T46" fmla="*/ 4 w 98"/>
                <a:gd name="T47" fmla="*/ 18 h 52"/>
                <a:gd name="T48" fmla="*/ 8 w 98"/>
                <a:gd name="T49" fmla="*/ 12 h 52"/>
                <a:gd name="T50" fmla="*/ 12 w 98"/>
                <a:gd name="T51" fmla="*/ 12 h 52"/>
                <a:gd name="T52" fmla="*/ 12 w 98"/>
                <a:gd name="T53" fmla="*/ 12 h 52"/>
                <a:gd name="T54" fmla="*/ 16 w 98"/>
                <a:gd name="T55" fmla="*/ 12 h 52"/>
                <a:gd name="T56" fmla="*/ 20 w 98"/>
                <a:gd name="T57" fmla="*/ 8 h 52"/>
                <a:gd name="T58" fmla="*/ 24 w 98"/>
                <a:gd name="T59" fmla="*/ 8 h 52"/>
                <a:gd name="T60" fmla="*/ 26 w 98"/>
                <a:gd name="T61" fmla="*/ 4 h 52"/>
                <a:gd name="T62" fmla="*/ 30 w 98"/>
                <a:gd name="T63" fmla="*/ 0 h 52"/>
                <a:gd name="T64" fmla="*/ 34 w 98"/>
                <a:gd name="T65" fmla="*/ 0 h 52"/>
                <a:gd name="T66" fmla="*/ 38 w 98"/>
                <a:gd name="T67" fmla="*/ 4 h 52"/>
                <a:gd name="T68" fmla="*/ 38 w 98"/>
                <a:gd name="T69" fmla="*/ 4 h 52"/>
                <a:gd name="T70" fmla="*/ 46 w 98"/>
                <a:gd name="T71" fmla="*/ 0 h 52"/>
                <a:gd name="T72" fmla="*/ 46 w 98"/>
                <a:gd name="T73" fmla="*/ 4 h 52"/>
                <a:gd name="T74" fmla="*/ 50 w 98"/>
                <a:gd name="T75" fmla="*/ 4 h 52"/>
                <a:gd name="T76" fmla="*/ 58 w 98"/>
                <a:gd name="T77" fmla="*/ 8 h 52"/>
                <a:gd name="T78" fmla="*/ 60 w 98"/>
                <a:gd name="T79" fmla="*/ 8 h 52"/>
                <a:gd name="T80" fmla="*/ 60 w 98"/>
                <a:gd name="T81" fmla="*/ 12 h 52"/>
                <a:gd name="T82" fmla="*/ 60 w 98"/>
                <a:gd name="T83" fmla="*/ 16 h 52"/>
                <a:gd name="T84" fmla="*/ 64 w 98"/>
                <a:gd name="T85" fmla="*/ 18 h 52"/>
                <a:gd name="T86" fmla="*/ 68 w 98"/>
                <a:gd name="T87" fmla="*/ 18 h 52"/>
                <a:gd name="T88" fmla="*/ 72 w 98"/>
                <a:gd name="T89" fmla="*/ 18 h 52"/>
                <a:gd name="T90" fmla="*/ 68 w 98"/>
                <a:gd name="T91" fmla="*/ 12 h 52"/>
                <a:gd name="T92" fmla="*/ 72 w 98"/>
                <a:gd name="T93" fmla="*/ 16 h 52"/>
                <a:gd name="T94" fmla="*/ 80 w 98"/>
                <a:gd name="T95" fmla="*/ 16 h 52"/>
                <a:gd name="T96" fmla="*/ 80 w 98"/>
                <a:gd name="T97" fmla="*/ 16 h 52"/>
                <a:gd name="T98" fmla="*/ 80 w 98"/>
                <a:gd name="T99" fmla="*/ 18 h 52"/>
                <a:gd name="T100" fmla="*/ 88 w 98"/>
                <a:gd name="T101" fmla="*/ 18 h 52"/>
                <a:gd name="T102" fmla="*/ 94 w 98"/>
                <a:gd name="T103" fmla="*/ 22 h 52"/>
                <a:gd name="T104" fmla="*/ 94 w 98"/>
                <a:gd name="T105" fmla="*/ 30 h 52"/>
                <a:gd name="T106" fmla="*/ 94 w 98"/>
                <a:gd name="T107" fmla="*/ 30 h 52"/>
                <a:gd name="T108" fmla="*/ 88 w 98"/>
                <a:gd name="T109" fmla="*/ 38 h 52"/>
                <a:gd name="T110" fmla="*/ 88 w 98"/>
                <a:gd name="T111"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 h="52">
                  <a:moveTo>
                    <a:pt x="88" y="38"/>
                  </a:moveTo>
                  <a:lnTo>
                    <a:pt x="88" y="42"/>
                  </a:lnTo>
                  <a:lnTo>
                    <a:pt x="88" y="42"/>
                  </a:lnTo>
                  <a:lnTo>
                    <a:pt x="88" y="42"/>
                  </a:lnTo>
                  <a:lnTo>
                    <a:pt x="84" y="42"/>
                  </a:lnTo>
                  <a:lnTo>
                    <a:pt x="84" y="46"/>
                  </a:lnTo>
                  <a:lnTo>
                    <a:pt x="80" y="46"/>
                  </a:lnTo>
                  <a:lnTo>
                    <a:pt x="80" y="46"/>
                  </a:lnTo>
                  <a:lnTo>
                    <a:pt x="80" y="46"/>
                  </a:lnTo>
                  <a:lnTo>
                    <a:pt x="80" y="46"/>
                  </a:lnTo>
                  <a:lnTo>
                    <a:pt x="76" y="46"/>
                  </a:lnTo>
                  <a:lnTo>
                    <a:pt x="76" y="46"/>
                  </a:lnTo>
                  <a:lnTo>
                    <a:pt x="76" y="46"/>
                  </a:lnTo>
                  <a:lnTo>
                    <a:pt x="76" y="46"/>
                  </a:lnTo>
                  <a:lnTo>
                    <a:pt x="72" y="46"/>
                  </a:lnTo>
                  <a:lnTo>
                    <a:pt x="72" y="46"/>
                  </a:lnTo>
                  <a:lnTo>
                    <a:pt x="72" y="46"/>
                  </a:lnTo>
                  <a:lnTo>
                    <a:pt x="72" y="50"/>
                  </a:lnTo>
                  <a:lnTo>
                    <a:pt x="72" y="50"/>
                  </a:lnTo>
                  <a:lnTo>
                    <a:pt x="68" y="50"/>
                  </a:lnTo>
                  <a:lnTo>
                    <a:pt x="68" y="50"/>
                  </a:lnTo>
                  <a:lnTo>
                    <a:pt x="68" y="50"/>
                  </a:lnTo>
                  <a:lnTo>
                    <a:pt x="68" y="50"/>
                  </a:lnTo>
                  <a:lnTo>
                    <a:pt x="68" y="50"/>
                  </a:lnTo>
                  <a:lnTo>
                    <a:pt x="68" y="50"/>
                  </a:lnTo>
                  <a:lnTo>
                    <a:pt x="68" y="50"/>
                  </a:lnTo>
                  <a:lnTo>
                    <a:pt x="64" y="50"/>
                  </a:lnTo>
                  <a:lnTo>
                    <a:pt x="64" y="46"/>
                  </a:lnTo>
                  <a:lnTo>
                    <a:pt x="64" y="46"/>
                  </a:lnTo>
                  <a:lnTo>
                    <a:pt x="60" y="46"/>
                  </a:lnTo>
                  <a:lnTo>
                    <a:pt x="60" y="46"/>
                  </a:lnTo>
                  <a:lnTo>
                    <a:pt x="60" y="50"/>
                  </a:lnTo>
                  <a:lnTo>
                    <a:pt x="60" y="50"/>
                  </a:lnTo>
                  <a:lnTo>
                    <a:pt x="60" y="50"/>
                  </a:lnTo>
                  <a:lnTo>
                    <a:pt x="58" y="50"/>
                  </a:lnTo>
                  <a:lnTo>
                    <a:pt x="58" y="50"/>
                  </a:lnTo>
                  <a:lnTo>
                    <a:pt x="58" y="50"/>
                  </a:lnTo>
                  <a:lnTo>
                    <a:pt x="58" y="50"/>
                  </a:lnTo>
                  <a:lnTo>
                    <a:pt x="58" y="46"/>
                  </a:lnTo>
                  <a:lnTo>
                    <a:pt x="54" y="46"/>
                  </a:lnTo>
                  <a:lnTo>
                    <a:pt x="54" y="46"/>
                  </a:lnTo>
                  <a:lnTo>
                    <a:pt x="54" y="46"/>
                  </a:lnTo>
                  <a:lnTo>
                    <a:pt x="50" y="46"/>
                  </a:lnTo>
                  <a:lnTo>
                    <a:pt x="50" y="46"/>
                  </a:lnTo>
                  <a:lnTo>
                    <a:pt x="50" y="46"/>
                  </a:lnTo>
                  <a:lnTo>
                    <a:pt x="50" y="46"/>
                  </a:lnTo>
                  <a:lnTo>
                    <a:pt x="50" y="46"/>
                  </a:lnTo>
                  <a:lnTo>
                    <a:pt x="46" y="42"/>
                  </a:lnTo>
                  <a:lnTo>
                    <a:pt x="46" y="42"/>
                  </a:lnTo>
                  <a:lnTo>
                    <a:pt x="46" y="42"/>
                  </a:lnTo>
                  <a:lnTo>
                    <a:pt x="46" y="42"/>
                  </a:lnTo>
                  <a:lnTo>
                    <a:pt x="42" y="42"/>
                  </a:lnTo>
                  <a:lnTo>
                    <a:pt x="42" y="42"/>
                  </a:lnTo>
                  <a:lnTo>
                    <a:pt x="42" y="42"/>
                  </a:lnTo>
                  <a:lnTo>
                    <a:pt x="42" y="42"/>
                  </a:lnTo>
                  <a:lnTo>
                    <a:pt x="42" y="46"/>
                  </a:lnTo>
                  <a:lnTo>
                    <a:pt x="42" y="46"/>
                  </a:lnTo>
                  <a:lnTo>
                    <a:pt x="38" y="46"/>
                  </a:lnTo>
                  <a:lnTo>
                    <a:pt x="38" y="46"/>
                  </a:lnTo>
                  <a:lnTo>
                    <a:pt x="38" y="46"/>
                  </a:lnTo>
                  <a:lnTo>
                    <a:pt x="38" y="50"/>
                  </a:lnTo>
                  <a:lnTo>
                    <a:pt x="38" y="50"/>
                  </a:lnTo>
                  <a:lnTo>
                    <a:pt x="38" y="50"/>
                  </a:lnTo>
                  <a:lnTo>
                    <a:pt x="38" y="52"/>
                  </a:lnTo>
                  <a:lnTo>
                    <a:pt x="38" y="52"/>
                  </a:lnTo>
                  <a:lnTo>
                    <a:pt x="38" y="50"/>
                  </a:lnTo>
                  <a:lnTo>
                    <a:pt x="34" y="50"/>
                  </a:lnTo>
                  <a:lnTo>
                    <a:pt x="34" y="50"/>
                  </a:lnTo>
                  <a:lnTo>
                    <a:pt x="34" y="50"/>
                  </a:lnTo>
                  <a:lnTo>
                    <a:pt x="34" y="52"/>
                  </a:lnTo>
                  <a:lnTo>
                    <a:pt x="30" y="52"/>
                  </a:lnTo>
                  <a:lnTo>
                    <a:pt x="30" y="52"/>
                  </a:lnTo>
                  <a:lnTo>
                    <a:pt x="26" y="50"/>
                  </a:lnTo>
                  <a:lnTo>
                    <a:pt x="26" y="50"/>
                  </a:lnTo>
                  <a:lnTo>
                    <a:pt x="26" y="50"/>
                  </a:lnTo>
                  <a:lnTo>
                    <a:pt x="26" y="50"/>
                  </a:lnTo>
                  <a:lnTo>
                    <a:pt x="24" y="50"/>
                  </a:lnTo>
                  <a:lnTo>
                    <a:pt x="24" y="46"/>
                  </a:lnTo>
                  <a:lnTo>
                    <a:pt x="24" y="46"/>
                  </a:lnTo>
                  <a:lnTo>
                    <a:pt x="24" y="46"/>
                  </a:lnTo>
                  <a:lnTo>
                    <a:pt x="24" y="46"/>
                  </a:lnTo>
                  <a:lnTo>
                    <a:pt x="24" y="46"/>
                  </a:lnTo>
                  <a:lnTo>
                    <a:pt x="24" y="46"/>
                  </a:lnTo>
                  <a:lnTo>
                    <a:pt x="24" y="46"/>
                  </a:lnTo>
                  <a:lnTo>
                    <a:pt x="24" y="46"/>
                  </a:lnTo>
                  <a:lnTo>
                    <a:pt x="24" y="46"/>
                  </a:lnTo>
                  <a:lnTo>
                    <a:pt x="24" y="46"/>
                  </a:lnTo>
                  <a:lnTo>
                    <a:pt x="24" y="46"/>
                  </a:lnTo>
                  <a:lnTo>
                    <a:pt x="20" y="42"/>
                  </a:lnTo>
                  <a:lnTo>
                    <a:pt x="20" y="42"/>
                  </a:lnTo>
                  <a:lnTo>
                    <a:pt x="20" y="42"/>
                  </a:lnTo>
                  <a:lnTo>
                    <a:pt x="20" y="42"/>
                  </a:lnTo>
                  <a:lnTo>
                    <a:pt x="20" y="42"/>
                  </a:lnTo>
                  <a:lnTo>
                    <a:pt x="16" y="38"/>
                  </a:lnTo>
                  <a:lnTo>
                    <a:pt x="12" y="38"/>
                  </a:lnTo>
                  <a:lnTo>
                    <a:pt x="12" y="34"/>
                  </a:lnTo>
                  <a:lnTo>
                    <a:pt x="12" y="34"/>
                  </a:lnTo>
                  <a:lnTo>
                    <a:pt x="12" y="34"/>
                  </a:lnTo>
                  <a:lnTo>
                    <a:pt x="8" y="34"/>
                  </a:lnTo>
                  <a:lnTo>
                    <a:pt x="8" y="30"/>
                  </a:lnTo>
                  <a:lnTo>
                    <a:pt x="8" y="30"/>
                  </a:lnTo>
                  <a:lnTo>
                    <a:pt x="8" y="30"/>
                  </a:lnTo>
                  <a:lnTo>
                    <a:pt x="4" y="30"/>
                  </a:lnTo>
                  <a:lnTo>
                    <a:pt x="4" y="26"/>
                  </a:lnTo>
                  <a:lnTo>
                    <a:pt x="4" y="26"/>
                  </a:lnTo>
                  <a:lnTo>
                    <a:pt x="4" y="26"/>
                  </a:lnTo>
                  <a:lnTo>
                    <a:pt x="8" y="22"/>
                  </a:lnTo>
                  <a:lnTo>
                    <a:pt x="4" y="22"/>
                  </a:lnTo>
                  <a:lnTo>
                    <a:pt x="4" y="22"/>
                  </a:lnTo>
                  <a:lnTo>
                    <a:pt x="4" y="22"/>
                  </a:lnTo>
                  <a:lnTo>
                    <a:pt x="4" y="18"/>
                  </a:lnTo>
                  <a:lnTo>
                    <a:pt x="4" y="18"/>
                  </a:lnTo>
                  <a:lnTo>
                    <a:pt x="0" y="18"/>
                  </a:lnTo>
                  <a:lnTo>
                    <a:pt x="0" y="18"/>
                  </a:lnTo>
                  <a:lnTo>
                    <a:pt x="0" y="18"/>
                  </a:lnTo>
                  <a:lnTo>
                    <a:pt x="0" y="16"/>
                  </a:lnTo>
                  <a:lnTo>
                    <a:pt x="0" y="16"/>
                  </a:lnTo>
                  <a:lnTo>
                    <a:pt x="0" y="16"/>
                  </a:lnTo>
                  <a:lnTo>
                    <a:pt x="4" y="18"/>
                  </a:lnTo>
                  <a:lnTo>
                    <a:pt x="4" y="18"/>
                  </a:lnTo>
                  <a:lnTo>
                    <a:pt x="4" y="16"/>
                  </a:lnTo>
                  <a:lnTo>
                    <a:pt x="4" y="16"/>
                  </a:lnTo>
                  <a:lnTo>
                    <a:pt x="4" y="16"/>
                  </a:lnTo>
                  <a:lnTo>
                    <a:pt x="4" y="16"/>
                  </a:lnTo>
                  <a:lnTo>
                    <a:pt x="8" y="12"/>
                  </a:lnTo>
                  <a:lnTo>
                    <a:pt x="8" y="12"/>
                  </a:lnTo>
                  <a:lnTo>
                    <a:pt x="8" y="12"/>
                  </a:lnTo>
                  <a:lnTo>
                    <a:pt x="8" y="12"/>
                  </a:lnTo>
                  <a:lnTo>
                    <a:pt x="12" y="12"/>
                  </a:lnTo>
                  <a:lnTo>
                    <a:pt x="12" y="12"/>
                  </a:lnTo>
                  <a:lnTo>
                    <a:pt x="12" y="12"/>
                  </a:lnTo>
                  <a:lnTo>
                    <a:pt x="12" y="12"/>
                  </a:lnTo>
                  <a:lnTo>
                    <a:pt x="12" y="12"/>
                  </a:lnTo>
                  <a:lnTo>
                    <a:pt x="12" y="12"/>
                  </a:lnTo>
                  <a:lnTo>
                    <a:pt x="12" y="12"/>
                  </a:lnTo>
                  <a:lnTo>
                    <a:pt x="12" y="12"/>
                  </a:lnTo>
                  <a:lnTo>
                    <a:pt x="16" y="12"/>
                  </a:lnTo>
                  <a:lnTo>
                    <a:pt x="16" y="12"/>
                  </a:lnTo>
                  <a:lnTo>
                    <a:pt x="16" y="12"/>
                  </a:lnTo>
                  <a:lnTo>
                    <a:pt x="16" y="12"/>
                  </a:lnTo>
                  <a:lnTo>
                    <a:pt x="16" y="8"/>
                  </a:lnTo>
                  <a:lnTo>
                    <a:pt x="20" y="8"/>
                  </a:lnTo>
                  <a:lnTo>
                    <a:pt x="20" y="8"/>
                  </a:lnTo>
                  <a:lnTo>
                    <a:pt x="20" y="8"/>
                  </a:lnTo>
                  <a:lnTo>
                    <a:pt x="20" y="8"/>
                  </a:lnTo>
                  <a:lnTo>
                    <a:pt x="20" y="8"/>
                  </a:lnTo>
                  <a:lnTo>
                    <a:pt x="20" y="8"/>
                  </a:lnTo>
                  <a:lnTo>
                    <a:pt x="20" y="8"/>
                  </a:lnTo>
                  <a:lnTo>
                    <a:pt x="24" y="8"/>
                  </a:lnTo>
                  <a:lnTo>
                    <a:pt x="24" y="8"/>
                  </a:lnTo>
                  <a:lnTo>
                    <a:pt x="24" y="8"/>
                  </a:lnTo>
                  <a:lnTo>
                    <a:pt x="24" y="8"/>
                  </a:lnTo>
                  <a:lnTo>
                    <a:pt x="26" y="4"/>
                  </a:lnTo>
                  <a:lnTo>
                    <a:pt x="26" y="4"/>
                  </a:lnTo>
                  <a:lnTo>
                    <a:pt x="26" y="4"/>
                  </a:lnTo>
                  <a:lnTo>
                    <a:pt x="30" y="4"/>
                  </a:lnTo>
                  <a:lnTo>
                    <a:pt x="30" y="4"/>
                  </a:lnTo>
                  <a:lnTo>
                    <a:pt x="34" y="0"/>
                  </a:lnTo>
                  <a:lnTo>
                    <a:pt x="30" y="0"/>
                  </a:lnTo>
                  <a:lnTo>
                    <a:pt x="30" y="0"/>
                  </a:lnTo>
                  <a:lnTo>
                    <a:pt x="30" y="0"/>
                  </a:lnTo>
                  <a:lnTo>
                    <a:pt x="30" y="0"/>
                  </a:lnTo>
                  <a:lnTo>
                    <a:pt x="34" y="0"/>
                  </a:lnTo>
                  <a:lnTo>
                    <a:pt x="34" y="0"/>
                  </a:lnTo>
                  <a:lnTo>
                    <a:pt x="34" y="0"/>
                  </a:lnTo>
                  <a:lnTo>
                    <a:pt x="38" y="4"/>
                  </a:lnTo>
                  <a:lnTo>
                    <a:pt x="38" y="4"/>
                  </a:lnTo>
                  <a:lnTo>
                    <a:pt x="34" y="4"/>
                  </a:lnTo>
                  <a:lnTo>
                    <a:pt x="38" y="4"/>
                  </a:lnTo>
                  <a:lnTo>
                    <a:pt x="38" y="4"/>
                  </a:lnTo>
                  <a:lnTo>
                    <a:pt x="38" y="4"/>
                  </a:lnTo>
                  <a:lnTo>
                    <a:pt x="38" y="4"/>
                  </a:lnTo>
                  <a:lnTo>
                    <a:pt x="38" y="4"/>
                  </a:lnTo>
                  <a:lnTo>
                    <a:pt x="38" y="4"/>
                  </a:lnTo>
                  <a:lnTo>
                    <a:pt x="38" y="4"/>
                  </a:lnTo>
                  <a:lnTo>
                    <a:pt x="42" y="4"/>
                  </a:lnTo>
                  <a:lnTo>
                    <a:pt x="42" y="4"/>
                  </a:lnTo>
                  <a:lnTo>
                    <a:pt x="42" y="0"/>
                  </a:lnTo>
                  <a:lnTo>
                    <a:pt x="42" y="0"/>
                  </a:lnTo>
                  <a:lnTo>
                    <a:pt x="46" y="0"/>
                  </a:lnTo>
                  <a:lnTo>
                    <a:pt x="46" y="0"/>
                  </a:lnTo>
                  <a:lnTo>
                    <a:pt x="46" y="0"/>
                  </a:lnTo>
                  <a:lnTo>
                    <a:pt x="46" y="0"/>
                  </a:lnTo>
                  <a:lnTo>
                    <a:pt x="46" y="4"/>
                  </a:lnTo>
                  <a:lnTo>
                    <a:pt x="46" y="4"/>
                  </a:lnTo>
                  <a:lnTo>
                    <a:pt x="46" y="4"/>
                  </a:lnTo>
                  <a:lnTo>
                    <a:pt x="46" y="4"/>
                  </a:lnTo>
                  <a:lnTo>
                    <a:pt x="46" y="4"/>
                  </a:lnTo>
                  <a:lnTo>
                    <a:pt x="50" y="4"/>
                  </a:lnTo>
                  <a:lnTo>
                    <a:pt x="50" y="4"/>
                  </a:lnTo>
                  <a:lnTo>
                    <a:pt x="54" y="8"/>
                  </a:lnTo>
                  <a:lnTo>
                    <a:pt x="58" y="8"/>
                  </a:lnTo>
                  <a:lnTo>
                    <a:pt x="58" y="8"/>
                  </a:lnTo>
                  <a:lnTo>
                    <a:pt x="58" y="8"/>
                  </a:lnTo>
                  <a:lnTo>
                    <a:pt x="58" y="8"/>
                  </a:lnTo>
                  <a:lnTo>
                    <a:pt x="58" y="8"/>
                  </a:lnTo>
                  <a:lnTo>
                    <a:pt x="60" y="8"/>
                  </a:lnTo>
                  <a:lnTo>
                    <a:pt x="60" y="8"/>
                  </a:lnTo>
                  <a:lnTo>
                    <a:pt x="60" y="8"/>
                  </a:lnTo>
                  <a:lnTo>
                    <a:pt x="60" y="8"/>
                  </a:lnTo>
                  <a:lnTo>
                    <a:pt x="60" y="8"/>
                  </a:lnTo>
                  <a:lnTo>
                    <a:pt x="60" y="12"/>
                  </a:lnTo>
                  <a:lnTo>
                    <a:pt x="60" y="12"/>
                  </a:lnTo>
                  <a:lnTo>
                    <a:pt x="60" y="12"/>
                  </a:lnTo>
                  <a:lnTo>
                    <a:pt x="60" y="12"/>
                  </a:lnTo>
                  <a:lnTo>
                    <a:pt x="60" y="12"/>
                  </a:lnTo>
                  <a:lnTo>
                    <a:pt x="60" y="16"/>
                  </a:lnTo>
                  <a:lnTo>
                    <a:pt x="60" y="16"/>
                  </a:lnTo>
                  <a:lnTo>
                    <a:pt x="60" y="16"/>
                  </a:lnTo>
                  <a:lnTo>
                    <a:pt x="60" y="16"/>
                  </a:lnTo>
                  <a:lnTo>
                    <a:pt x="60" y="16"/>
                  </a:lnTo>
                  <a:lnTo>
                    <a:pt x="64" y="16"/>
                  </a:lnTo>
                  <a:lnTo>
                    <a:pt x="64" y="18"/>
                  </a:lnTo>
                  <a:lnTo>
                    <a:pt x="64" y="18"/>
                  </a:lnTo>
                  <a:lnTo>
                    <a:pt x="64" y="18"/>
                  </a:lnTo>
                  <a:lnTo>
                    <a:pt x="64" y="18"/>
                  </a:lnTo>
                  <a:lnTo>
                    <a:pt x="64" y="18"/>
                  </a:lnTo>
                  <a:lnTo>
                    <a:pt x="64" y="18"/>
                  </a:lnTo>
                  <a:lnTo>
                    <a:pt x="68" y="18"/>
                  </a:lnTo>
                  <a:lnTo>
                    <a:pt x="68" y="18"/>
                  </a:lnTo>
                  <a:lnTo>
                    <a:pt x="68" y="18"/>
                  </a:lnTo>
                  <a:lnTo>
                    <a:pt x="68" y="18"/>
                  </a:lnTo>
                  <a:lnTo>
                    <a:pt x="68" y="16"/>
                  </a:lnTo>
                  <a:lnTo>
                    <a:pt x="68" y="16"/>
                  </a:lnTo>
                  <a:lnTo>
                    <a:pt x="72" y="18"/>
                  </a:lnTo>
                  <a:lnTo>
                    <a:pt x="68" y="16"/>
                  </a:lnTo>
                  <a:lnTo>
                    <a:pt x="68" y="16"/>
                  </a:lnTo>
                  <a:lnTo>
                    <a:pt x="68" y="12"/>
                  </a:lnTo>
                  <a:lnTo>
                    <a:pt x="68" y="12"/>
                  </a:lnTo>
                  <a:lnTo>
                    <a:pt x="68" y="12"/>
                  </a:lnTo>
                  <a:lnTo>
                    <a:pt x="68" y="12"/>
                  </a:lnTo>
                  <a:lnTo>
                    <a:pt x="72" y="12"/>
                  </a:lnTo>
                  <a:lnTo>
                    <a:pt x="72" y="16"/>
                  </a:lnTo>
                  <a:lnTo>
                    <a:pt x="72" y="16"/>
                  </a:lnTo>
                  <a:lnTo>
                    <a:pt x="72" y="16"/>
                  </a:lnTo>
                  <a:lnTo>
                    <a:pt x="76" y="16"/>
                  </a:lnTo>
                  <a:lnTo>
                    <a:pt x="76" y="16"/>
                  </a:lnTo>
                  <a:lnTo>
                    <a:pt x="76" y="16"/>
                  </a:lnTo>
                  <a:lnTo>
                    <a:pt x="80" y="16"/>
                  </a:lnTo>
                  <a:lnTo>
                    <a:pt x="80" y="16"/>
                  </a:lnTo>
                  <a:lnTo>
                    <a:pt x="80" y="16"/>
                  </a:lnTo>
                  <a:lnTo>
                    <a:pt x="80" y="16"/>
                  </a:lnTo>
                  <a:lnTo>
                    <a:pt x="80" y="16"/>
                  </a:lnTo>
                  <a:lnTo>
                    <a:pt x="80" y="16"/>
                  </a:lnTo>
                  <a:lnTo>
                    <a:pt x="80" y="16"/>
                  </a:lnTo>
                  <a:lnTo>
                    <a:pt x="80" y="18"/>
                  </a:lnTo>
                  <a:lnTo>
                    <a:pt x="80" y="18"/>
                  </a:lnTo>
                  <a:lnTo>
                    <a:pt x="80" y="18"/>
                  </a:lnTo>
                  <a:lnTo>
                    <a:pt x="80" y="18"/>
                  </a:lnTo>
                  <a:lnTo>
                    <a:pt x="80" y="18"/>
                  </a:lnTo>
                  <a:lnTo>
                    <a:pt x="84" y="22"/>
                  </a:lnTo>
                  <a:lnTo>
                    <a:pt x="84" y="22"/>
                  </a:lnTo>
                  <a:lnTo>
                    <a:pt x="84" y="22"/>
                  </a:lnTo>
                  <a:lnTo>
                    <a:pt x="84" y="22"/>
                  </a:lnTo>
                  <a:lnTo>
                    <a:pt x="88" y="18"/>
                  </a:lnTo>
                  <a:lnTo>
                    <a:pt x="88" y="22"/>
                  </a:lnTo>
                  <a:lnTo>
                    <a:pt x="88" y="22"/>
                  </a:lnTo>
                  <a:lnTo>
                    <a:pt x="90" y="22"/>
                  </a:lnTo>
                  <a:lnTo>
                    <a:pt x="90" y="22"/>
                  </a:lnTo>
                  <a:lnTo>
                    <a:pt x="94" y="22"/>
                  </a:lnTo>
                  <a:lnTo>
                    <a:pt x="94" y="26"/>
                  </a:lnTo>
                  <a:lnTo>
                    <a:pt x="94" y="26"/>
                  </a:lnTo>
                  <a:lnTo>
                    <a:pt x="94" y="26"/>
                  </a:lnTo>
                  <a:lnTo>
                    <a:pt x="94" y="30"/>
                  </a:lnTo>
                  <a:lnTo>
                    <a:pt x="94" y="30"/>
                  </a:lnTo>
                  <a:lnTo>
                    <a:pt x="98" y="30"/>
                  </a:lnTo>
                  <a:lnTo>
                    <a:pt x="98" y="30"/>
                  </a:lnTo>
                  <a:lnTo>
                    <a:pt x="98" y="30"/>
                  </a:lnTo>
                  <a:lnTo>
                    <a:pt x="94" y="30"/>
                  </a:lnTo>
                  <a:lnTo>
                    <a:pt x="94" y="30"/>
                  </a:lnTo>
                  <a:lnTo>
                    <a:pt x="90" y="34"/>
                  </a:lnTo>
                  <a:lnTo>
                    <a:pt x="90" y="34"/>
                  </a:lnTo>
                  <a:lnTo>
                    <a:pt x="90" y="34"/>
                  </a:lnTo>
                  <a:lnTo>
                    <a:pt x="88" y="38"/>
                  </a:lnTo>
                  <a:lnTo>
                    <a:pt x="88" y="38"/>
                  </a:lnTo>
                  <a:lnTo>
                    <a:pt x="88" y="38"/>
                  </a:lnTo>
                  <a:lnTo>
                    <a:pt x="88" y="38"/>
                  </a:lnTo>
                  <a:lnTo>
                    <a:pt x="88" y="38"/>
                  </a:lnTo>
                  <a:lnTo>
                    <a:pt x="88" y="38"/>
                  </a:lnTo>
                  <a:lnTo>
                    <a:pt x="88" y="38"/>
                  </a:lnTo>
                  <a:lnTo>
                    <a:pt x="88" y="38"/>
                  </a:lnTo>
                  <a:lnTo>
                    <a:pt x="88" y="3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03" name="Freeform 96"/>
            <p:cNvSpPr>
              <a:spLocks noEditPoints="1"/>
            </p:cNvSpPr>
            <p:nvPr/>
          </p:nvSpPr>
          <p:spPr bwMode="auto">
            <a:xfrm>
              <a:off x="7111875" y="3454348"/>
              <a:ext cx="61542" cy="47073"/>
            </a:xfrm>
            <a:custGeom>
              <a:avLst/>
              <a:gdLst>
                <a:gd name="T0" fmla="*/ 4 w 98"/>
                <a:gd name="T1" fmla="*/ 22 h 72"/>
                <a:gd name="T2" fmla="*/ 8 w 98"/>
                <a:gd name="T3" fmla="*/ 16 h 72"/>
                <a:gd name="T4" fmla="*/ 24 w 98"/>
                <a:gd name="T5" fmla="*/ 12 h 72"/>
                <a:gd name="T6" fmla="*/ 34 w 98"/>
                <a:gd name="T7" fmla="*/ 4 h 72"/>
                <a:gd name="T8" fmla="*/ 30 w 98"/>
                <a:gd name="T9" fmla="*/ 16 h 72"/>
                <a:gd name="T10" fmla="*/ 16 w 98"/>
                <a:gd name="T11" fmla="*/ 16 h 72"/>
                <a:gd name="T12" fmla="*/ 4 w 98"/>
                <a:gd name="T13" fmla="*/ 22 h 72"/>
                <a:gd name="T14" fmla="*/ 20 w 98"/>
                <a:gd name="T15" fmla="*/ 56 h 72"/>
                <a:gd name="T16" fmla="*/ 24 w 98"/>
                <a:gd name="T17" fmla="*/ 64 h 72"/>
                <a:gd name="T18" fmla="*/ 8 w 98"/>
                <a:gd name="T19" fmla="*/ 60 h 72"/>
                <a:gd name="T20" fmla="*/ 8 w 98"/>
                <a:gd name="T21" fmla="*/ 56 h 72"/>
                <a:gd name="T22" fmla="*/ 0 w 98"/>
                <a:gd name="T23" fmla="*/ 46 h 72"/>
                <a:gd name="T24" fmla="*/ 0 w 98"/>
                <a:gd name="T25" fmla="*/ 42 h 72"/>
                <a:gd name="T26" fmla="*/ 0 w 98"/>
                <a:gd name="T27" fmla="*/ 26 h 72"/>
                <a:gd name="T28" fmla="*/ 8 w 98"/>
                <a:gd name="T29" fmla="*/ 30 h 72"/>
                <a:gd name="T30" fmla="*/ 16 w 98"/>
                <a:gd name="T31" fmla="*/ 26 h 72"/>
                <a:gd name="T32" fmla="*/ 16 w 98"/>
                <a:gd name="T33" fmla="*/ 16 h 72"/>
                <a:gd name="T34" fmla="*/ 30 w 98"/>
                <a:gd name="T35" fmla="*/ 18 h 72"/>
                <a:gd name="T36" fmla="*/ 30 w 98"/>
                <a:gd name="T37" fmla="*/ 22 h 72"/>
                <a:gd name="T38" fmla="*/ 38 w 98"/>
                <a:gd name="T39" fmla="*/ 26 h 72"/>
                <a:gd name="T40" fmla="*/ 34 w 98"/>
                <a:gd name="T41" fmla="*/ 38 h 72"/>
                <a:gd name="T42" fmla="*/ 30 w 98"/>
                <a:gd name="T43" fmla="*/ 42 h 72"/>
                <a:gd name="T44" fmla="*/ 24 w 98"/>
                <a:gd name="T45" fmla="*/ 46 h 72"/>
                <a:gd name="T46" fmla="*/ 20 w 98"/>
                <a:gd name="T47" fmla="*/ 52 h 72"/>
                <a:gd name="T48" fmla="*/ 42 w 98"/>
                <a:gd name="T49" fmla="*/ 12 h 72"/>
                <a:gd name="T50" fmla="*/ 12 w 98"/>
                <a:gd name="T51" fmla="*/ 18 h 72"/>
                <a:gd name="T52" fmla="*/ 60 w 98"/>
                <a:gd name="T53" fmla="*/ 48 h 72"/>
                <a:gd name="T54" fmla="*/ 56 w 98"/>
                <a:gd name="T55" fmla="*/ 56 h 72"/>
                <a:gd name="T56" fmla="*/ 46 w 98"/>
                <a:gd name="T57" fmla="*/ 56 h 72"/>
                <a:gd name="T58" fmla="*/ 38 w 98"/>
                <a:gd name="T59" fmla="*/ 46 h 72"/>
                <a:gd name="T60" fmla="*/ 46 w 98"/>
                <a:gd name="T61" fmla="*/ 38 h 72"/>
                <a:gd name="T62" fmla="*/ 50 w 98"/>
                <a:gd name="T63" fmla="*/ 46 h 72"/>
                <a:gd name="T64" fmla="*/ 54 w 98"/>
                <a:gd name="T65" fmla="*/ 46 h 72"/>
                <a:gd name="T66" fmla="*/ 56 w 98"/>
                <a:gd name="T67" fmla="*/ 38 h 72"/>
                <a:gd name="T68" fmla="*/ 64 w 98"/>
                <a:gd name="T69" fmla="*/ 48 h 72"/>
                <a:gd name="T70" fmla="*/ 34 w 98"/>
                <a:gd name="T71" fmla="*/ 46 h 72"/>
                <a:gd name="T72" fmla="*/ 34 w 98"/>
                <a:gd name="T73" fmla="*/ 42 h 72"/>
                <a:gd name="T74" fmla="*/ 34 w 98"/>
                <a:gd name="T75" fmla="*/ 48 h 72"/>
                <a:gd name="T76" fmla="*/ 34 w 98"/>
                <a:gd name="T77" fmla="*/ 60 h 72"/>
                <a:gd name="T78" fmla="*/ 26 w 98"/>
                <a:gd name="T79" fmla="*/ 52 h 72"/>
                <a:gd name="T80" fmla="*/ 26 w 98"/>
                <a:gd name="T81" fmla="*/ 48 h 72"/>
                <a:gd name="T82" fmla="*/ 94 w 98"/>
                <a:gd name="T83" fmla="*/ 56 h 72"/>
                <a:gd name="T84" fmla="*/ 38 w 98"/>
                <a:gd name="T85" fmla="*/ 68 h 72"/>
                <a:gd name="T86" fmla="*/ 42 w 98"/>
                <a:gd name="T87" fmla="*/ 56 h 72"/>
                <a:gd name="T88" fmla="*/ 38 w 98"/>
                <a:gd name="T89" fmla="*/ 68 h 72"/>
                <a:gd name="T90" fmla="*/ 24 w 98"/>
                <a:gd name="T91" fmla="*/ 60 h 72"/>
                <a:gd name="T92" fmla="*/ 26 w 98"/>
                <a:gd name="T93" fmla="*/ 60 h 72"/>
                <a:gd name="T94" fmla="*/ 34 w 98"/>
                <a:gd name="T95" fmla="*/ 64 h 72"/>
                <a:gd name="T96" fmla="*/ 60 w 98"/>
                <a:gd name="T97" fmla="*/ 60 h 72"/>
                <a:gd name="T98" fmla="*/ 60 w 98"/>
                <a:gd name="T99" fmla="*/ 64 h 72"/>
                <a:gd name="T100" fmla="*/ 30 w 98"/>
                <a:gd name="T101" fmla="*/ 60 h 72"/>
                <a:gd name="T102" fmla="*/ 30 w 98"/>
                <a:gd name="T103" fmla="*/ 64 h 72"/>
                <a:gd name="T104" fmla="*/ 54 w 98"/>
                <a:gd name="T105" fmla="*/ 72 h 72"/>
                <a:gd name="T106" fmla="*/ 54 w 98"/>
                <a:gd name="T107" fmla="*/ 60 h 72"/>
                <a:gd name="T108" fmla="*/ 42 w 98"/>
                <a:gd name="T109" fmla="*/ 60 h 72"/>
                <a:gd name="T110" fmla="*/ 54 w 98"/>
                <a:gd name="T111" fmla="*/ 68 h 72"/>
                <a:gd name="T112" fmla="*/ 42 w 98"/>
                <a:gd name="T113"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8" h="72">
                  <a:moveTo>
                    <a:pt x="4" y="22"/>
                  </a:moveTo>
                  <a:lnTo>
                    <a:pt x="8" y="22"/>
                  </a:lnTo>
                  <a:lnTo>
                    <a:pt x="8" y="26"/>
                  </a:lnTo>
                  <a:lnTo>
                    <a:pt x="4" y="26"/>
                  </a:lnTo>
                  <a:lnTo>
                    <a:pt x="4" y="22"/>
                  </a:lnTo>
                  <a:lnTo>
                    <a:pt x="0" y="22"/>
                  </a:lnTo>
                  <a:lnTo>
                    <a:pt x="0" y="18"/>
                  </a:lnTo>
                  <a:lnTo>
                    <a:pt x="4" y="18"/>
                  </a:lnTo>
                  <a:lnTo>
                    <a:pt x="4" y="16"/>
                  </a:lnTo>
                  <a:lnTo>
                    <a:pt x="8" y="16"/>
                  </a:lnTo>
                  <a:lnTo>
                    <a:pt x="12" y="16"/>
                  </a:lnTo>
                  <a:lnTo>
                    <a:pt x="16" y="16"/>
                  </a:lnTo>
                  <a:lnTo>
                    <a:pt x="20" y="16"/>
                  </a:lnTo>
                  <a:lnTo>
                    <a:pt x="20" y="12"/>
                  </a:lnTo>
                  <a:lnTo>
                    <a:pt x="24" y="12"/>
                  </a:lnTo>
                  <a:lnTo>
                    <a:pt x="24" y="8"/>
                  </a:lnTo>
                  <a:lnTo>
                    <a:pt x="26" y="4"/>
                  </a:lnTo>
                  <a:lnTo>
                    <a:pt x="30" y="4"/>
                  </a:lnTo>
                  <a:lnTo>
                    <a:pt x="34" y="0"/>
                  </a:lnTo>
                  <a:lnTo>
                    <a:pt x="34" y="4"/>
                  </a:lnTo>
                  <a:lnTo>
                    <a:pt x="34" y="8"/>
                  </a:lnTo>
                  <a:lnTo>
                    <a:pt x="34" y="12"/>
                  </a:lnTo>
                  <a:lnTo>
                    <a:pt x="34" y="16"/>
                  </a:lnTo>
                  <a:lnTo>
                    <a:pt x="30" y="18"/>
                  </a:lnTo>
                  <a:lnTo>
                    <a:pt x="30" y="16"/>
                  </a:lnTo>
                  <a:lnTo>
                    <a:pt x="26" y="16"/>
                  </a:lnTo>
                  <a:lnTo>
                    <a:pt x="20" y="16"/>
                  </a:lnTo>
                  <a:lnTo>
                    <a:pt x="16" y="16"/>
                  </a:lnTo>
                  <a:lnTo>
                    <a:pt x="16" y="18"/>
                  </a:lnTo>
                  <a:lnTo>
                    <a:pt x="16" y="16"/>
                  </a:lnTo>
                  <a:lnTo>
                    <a:pt x="12" y="16"/>
                  </a:lnTo>
                  <a:lnTo>
                    <a:pt x="12" y="18"/>
                  </a:lnTo>
                  <a:lnTo>
                    <a:pt x="8" y="18"/>
                  </a:lnTo>
                  <a:lnTo>
                    <a:pt x="8" y="22"/>
                  </a:lnTo>
                  <a:lnTo>
                    <a:pt x="4" y="22"/>
                  </a:lnTo>
                  <a:lnTo>
                    <a:pt x="4" y="22"/>
                  </a:lnTo>
                  <a:lnTo>
                    <a:pt x="4" y="22"/>
                  </a:lnTo>
                  <a:close/>
                  <a:moveTo>
                    <a:pt x="20" y="52"/>
                  </a:moveTo>
                  <a:lnTo>
                    <a:pt x="24" y="56"/>
                  </a:lnTo>
                  <a:lnTo>
                    <a:pt x="20" y="56"/>
                  </a:lnTo>
                  <a:lnTo>
                    <a:pt x="20" y="60"/>
                  </a:lnTo>
                  <a:lnTo>
                    <a:pt x="24" y="60"/>
                  </a:lnTo>
                  <a:lnTo>
                    <a:pt x="24" y="64"/>
                  </a:lnTo>
                  <a:lnTo>
                    <a:pt x="20" y="64"/>
                  </a:lnTo>
                  <a:lnTo>
                    <a:pt x="24" y="64"/>
                  </a:lnTo>
                  <a:lnTo>
                    <a:pt x="20" y="64"/>
                  </a:lnTo>
                  <a:lnTo>
                    <a:pt x="16" y="64"/>
                  </a:lnTo>
                  <a:lnTo>
                    <a:pt x="12" y="64"/>
                  </a:lnTo>
                  <a:lnTo>
                    <a:pt x="8" y="64"/>
                  </a:lnTo>
                  <a:lnTo>
                    <a:pt x="8" y="60"/>
                  </a:lnTo>
                  <a:lnTo>
                    <a:pt x="4" y="60"/>
                  </a:lnTo>
                  <a:lnTo>
                    <a:pt x="4" y="56"/>
                  </a:lnTo>
                  <a:lnTo>
                    <a:pt x="8" y="56"/>
                  </a:lnTo>
                  <a:lnTo>
                    <a:pt x="4" y="56"/>
                  </a:lnTo>
                  <a:lnTo>
                    <a:pt x="8" y="56"/>
                  </a:lnTo>
                  <a:lnTo>
                    <a:pt x="8" y="52"/>
                  </a:lnTo>
                  <a:lnTo>
                    <a:pt x="4" y="52"/>
                  </a:lnTo>
                  <a:lnTo>
                    <a:pt x="4" y="48"/>
                  </a:lnTo>
                  <a:lnTo>
                    <a:pt x="0" y="48"/>
                  </a:lnTo>
                  <a:lnTo>
                    <a:pt x="0" y="46"/>
                  </a:lnTo>
                  <a:lnTo>
                    <a:pt x="0" y="42"/>
                  </a:lnTo>
                  <a:lnTo>
                    <a:pt x="0" y="38"/>
                  </a:lnTo>
                  <a:lnTo>
                    <a:pt x="0" y="42"/>
                  </a:lnTo>
                  <a:lnTo>
                    <a:pt x="0" y="46"/>
                  </a:lnTo>
                  <a:lnTo>
                    <a:pt x="0" y="42"/>
                  </a:lnTo>
                  <a:lnTo>
                    <a:pt x="4" y="42"/>
                  </a:lnTo>
                  <a:lnTo>
                    <a:pt x="4" y="38"/>
                  </a:lnTo>
                  <a:lnTo>
                    <a:pt x="0" y="38"/>
                  </a:lnTo>
                  <a:lnTo>
                    <a:pt x="0" y="30"/>
                  </a:lnTo>
                  <a:lnTo>
                    <a:pt x="0" y="26"/>
                  </a:lnTo>
                  <a:lnTo>
                    <a:pt x="0" y="22"/>
                  </a:lnTo>
                  <a:lnTo>
                    <a:pt x="0" y="26"/>
                  </a:lnTo>
                  <a:lnTo>
                    <a:pt x="4" y="26"/>
                  </a:lnTo>
                  <a:lnTo>
                    <a:pt x="8" y="26"/>
                  </a:lnTo>
                  <a:lnTo>
                    <a:pt x="8" y="30"/>
                  </a:lnTo>
                  <a:lnTo>
                    <a:pt x="8" y="26"/>
                  </a:lnTo>
                  <a:lnTo>
                    <a:pt x="12" y="22"/>
                  </a:lnTo>
                  <a:lnTo>
                    <a:pt x="16" y="22"/>
                  </a:lnTo>
                  <a:lnTo>
                    <a:pt x="12" y="26"/>
                  </a:lnTo>
                  <a:lnTo>
                    <a:pt x="16" y="26"/>
                  </a:lnTo>
                  <a:lnTo>
                    <a:pt x="20" y="26"/>
                  </a:lnTo>
                  <a:lnTo>
                    <a:pt x="16" y="26"/>
                  </a:lnTo>
                  <a:lnTo>
                    <a:pt x="16" y="22"/>
                  </a:lnTo>
                  <a:lnTo>
                    <a:pt x="16" y="18"/>
                  </a:lnTo>
                  <a:lnTo>
                    <a:pt x="16" y="16"/>
                  </a:lnTo>
                  <a:lnTo>
                    <a:pt x="20" y="16"/>
                  </a:lnTo>
                  <a:lnTo>
                    <a:pt x="24" y="16"/>
                  </a:lnTo>
                  <a:lnTo>
                    <a:pt x="26" y="16"/>
                  </a:lnTo>
                  <a:lnTo>
                    <a:pt x="30" y="16"/>
                  </a:lnTo>
                  <a:lnTo>
                    <a:pt x="30" y="18"/>
                  </a:lnTo>
                  <a:lnTo>
                    <a:pt x="30" y="22"/>
                  </a:lnTo>
                  <a:lnTo>
                    <a:pt x="24" y="26"/>
                  </a:lnTo>
                  <a:lnTo>
                    <a:pt x="26" y="26"/>
                  </a:lnTo>
                  <a:lnTo>
                    <a:pt x="26" y="22"/>
                  </a:lnTo>
                  <a:lnTo>
                    <a:pt x="30" y="22"/>
                  </a:lnTo>
                  <a:lnTo>
                    <a:pt x="30" y="26"/>
                  </a:lnTo>
                  <a:lnTo>
                    <a:pt x="30" y="30"/>
                  </a:lnTo>
                  <a:lnTo>
                    <a:pt x="30" y="26"/>
                  </a:lnTo>
                  <a:lnTo>
                    <a:pt x="34" y="26"/>
                  </a:lnTo>
                  <a:lnTo>
                    <a:pt x="38" y="26"/>
                  </a:lnTo>
                  <a:lnTo>
                    <a:pt x="42" y="30"/>
                  </a:lnTo>
                  <a:lnTo>
                    <a:pt x="38" y="30"/>
                  </a:lnTo>
                  <a:lnTo>
                    <a:pt x="38" y="34"/>
                  </a:lnTo>
                  <a:lnTo>
                    <a:pt x="34" y="34"/>
                  </a:lnTo>
                  <a:lnTo>
                    <a:pt x="34" y="38"/>
                  </a:lnTo>
                  <a:lnTo>
                    <a:pt x="30" y="34"/>
                  </a:lnTo>
                  <a:lnTo>
                    <a:pt x="34" y="34"/>
                  </a:lnTo>
                  <a:lnTo>
                    <a:pt x="30" y="34"/>
                  </a:lnTo>
                  <a:lnTo>
                    <a:pt x="30" y="38"/>
                  </a:lnTo>
                  <a:lnTo>
                    <a:pt x="30" y="42"/>
                  </a:lnTo>
                  <a:lnTo>
                    <a:pt x="26" y="42"/>
                  </a:lnTo>
                  <a:lnTo>
                    <a:pt x="24" y="42"/>
                  </a:lnTo>
                  <a:lnTo>
                    <a:pt x="26" y="42"/>
                  </a:lnTo>
                  <a:lnTo>
                    <a:pt x="26" y="46"/>
                  </a:lnTo>
                  <a:lnTo>
                    <a:pt x="24" y="46"/>
                  </a:lnTo>
                  <a:lnTo>
                    <a:pt x="20" y="46"/>
                  </a:lnTo>
                  <a:lnTo>
                    <a:pt x="24" y="46"/>
                  </a:lnTo>
                  <a:lnTo>
                    <a:pt x="24" y="48"/>
                  </a:lnTo>
                  <a:lnTo>
                    <a:pt x="20" y="52"/>
                  </a:lnTo>
                  <a:lnTo>
                    <a:pt x="20" y="52"/>
                  </a:lnTo>
                  <a:lnTo>
                    <a:pt x="20" y="52"/>
                  </a:lnTo>
                  <a:close/>
                  <a:moveTo>
                    <a:pt x="42" y="12"/>
                  </a:moveTo>
                  <a:lnTo>
                    <a:pt x="38" y="12"/>
                  </a:lnTo>
                  <a:lnTo>
                    <a:pt x="42" y="12"/>
                  </a:lnTo>
                  <a:lnTo>
                    <a:pt x="42" y="12"/>
                  </a:lnTo>
                  <a:lnTo>
                    <a:pt x="42" y="12"/>
                  </a:lnTo>
                  <a:close/>
                  <a:moveTo>
                    <a:pt x="8" y="22"/>
                  </a:moveTo>
                  <a:lnTo>
                    <a:pt x="4" y="22"/>
                  </a:lnTo>
                  <a:lnTo>
                    <a:pt x="8" y="18"/>
                  </a:lnTo>
                  <a:lnTo>
                    <a:pt x="12" y="18"/>
                  </a:lnTo>
                  <a:lnTo>
                    <a:pt x="12" y="22"/>
                  </a:lnTo>
                  <a:lnTo>
                    <a:pt x="8" y="22"/>
                  </a:lnTo>
                  <a:lnTo>
                    <a:pt x="8" y="22"/>
                  </a:lnTo>
                  <a:lnTo>
                    <a:pt x="8" y="22"/>
                  </a:lnTo>
                  <a:close/>
                  <a:moveTo>
                    <a:pt x="60" y="48"/>
                  </a:moveTo>
                  <a:lnTo>
                    <a:pt x="56" y="48"/>
                  </a:lnTo>
                  <a:lnTo>
                    <a:pt x="56" y="52"/>
                  </a:lnTo>
                  <a:lnTo>
                    <a:pt x="60" y="52"/>
                  </a:lnTo>
                  <a:lnTo>
                    <a:pt x="60" y="56"/>
                  </a:lnTo>
                  <a:lnTo>
                    <a:pt x="56" y="56"/>
                  </a:lnTo>
                  <a:lnTo>
                    <a:pt x="56" y="60"/>
                  </a:lnTo>
                  <a:lnTo>
                    <a:pt x="54" y="60"/>
                  </a:lnTo>
                  <a:lnTo>
                    <a:pt x="54" y="56"/>
                  </a:lnTo>
                  <a:lnTo>
                    <a:pt x="50" y="56"/>
                  </a:lnTo>
                  <a:lnTo>
                    <a:pt x="46" y="56"/>
                  </a:lnTo>
                  <a:lnTo>
                    <a:pt x="42" y="52"/>
                  </a:lnTo>
                  <a:lnTo>
                    <a:pt x="46" y="52"/>
                  </a:lnTo>
                  <a:lnTo>
                    <a:pt x="42" y="48"/>
                  </a:lnTo>
                  <a:lnTo>
                    <a:pt x="42" y="46"/>
                  </a:lnTo>
                  <a:lnTo>
                    <a:pt x="38" y="46"/>
                  </a:lnTo>
                  <a:lnTo>
                    <a:pt x="42" y="46"/>
                  </a:lnTo>
                  <a:lnTo>
                    <a:pt x="46" y="46"/>
                  </a:lnTo>
                  <a:lnTo>
                    <a:pt x="50" y="42"/>
                  </a:lnTo>
                  <a:lnTo>
                    <a:pt x="46" y="42"/>
                  </a:lnTo>
                  <a:lnTo>
                    <a:pt x="46" y="38"/>
                  </a:lnTo>
                  <a:lnTo>
                    <a:pt x="46" y="42"/>
                  </a:lnTo>
                  <a:lnTo>
                    <a:pt x="50" y="42"/>
                  </a:lnTo>
                  <a:lnTo>
                    <a:pt x="54" y="42"/>
                  </a:lnTo>
                  <a:lnTo>
                    <a:pt x="50" y="42"/>
                  </a:lnTo>
                  <a:lnTo>
                    <a:pt x="50" y="46"/>
                  </a:lnTo>
                  <a:lnTo>
                    <a:pt x="54" y="46"/>
                  </a:lnTo>
                  <a:lnTo>
                    <a:pt x="54" y="42"/>
                  </a:lnTo>
                  <a:lnTo>
                    <a:pt x="56" y="42"/>
                  </a:lnTo>
                  <a:lnTo>
                    <a:pt x="56" y="46"/>
                  </a:lnTo>
                  <a:lnTo>
                    <a:pt x="54" y="46"/>
                  </a:lnTo>
                  <a:lnTo>
                    <a:pt x="56" y="46"/>
                  </a:lnTo>
                  <a:lnTo>
                    <a:pt x="56" y="42"/>
                  </a:lnTo>
                  <a:lnTo>
                    <a:pt x="54" y="42"/>
                  </a:lnTo>
                  <a:lnTo>
                    <a:pt x="54" y="38"/>
                  </a:lnTo>
                  <a:lnTo>
                    <a:pt x="56" y="38"/>
                  </a:lnTo>
                  <a:lnTo>
                    <a:pt x="60" y="38"/>
                  </a:lnTo>
                  <a:lnTo>
                    <a:pt x="64" y="38"/>
                  </a:lnTo>
                  <a:lnTo>
                    <a:pt x="64" y="42"/>
                  </a:lnTo>
                  <a:lnTo>
                    <a:pt x="64" y="46"/>
                  </a:lnTo>
                  <a:lnTo>
                    <a:pt x="64" y="48"/>
                  </a:lnTo>
                  <a:lnTo>
                    <a:pt x="60" y="48"/>
                  </a:lnTo>
                  <a:lnTo>
                    <a:pt x="60" y="48"/>
                  </a:lnTo>
                  <a:lnTo>
                    <a:pt x="60" y="48"/>
                  </a:lnTo>
                  <a:close/>
                  <a:moveTo>
                    <a:pt x="34" y="42"/>
                  </a:moveTo>
                  <a:lnTo>
                    <a:pt x="34" y="46"/>
                  </a:lnTo>
                  <a:lnTo>
                    <a:pt x="34" y="42"/>
                  </a:lnTo>
                  <a:lnTo>
                    <a:pt x="34" y="38"/>
                  </a:lnTo>
                  <a:lnTo>
                    <a:pt x="34" y="42"/>
                  </a:lnTo>
                  <a:lnTo>
                    <a:pt x="34" y="42"/>
                  </a:lnTo>
                  <a:lnTo>
                    <a:pt x="34" y="42"/>
                  </a:lnTo>
                  <a:close/>
                  <a:moveTo>
                    <a:pt x="26" y="48"/>
                  </a:moveTo>
                  <a:lnTo>
                    <a:pt x="30" y="48"/>
                  </a:lnTo>
                  <a:lnTo>
                    <a:pt x="34" y="48"/>
                  </a:lnTo>
                  <a:lnTo>
                    <a:pt x="34" y="52"/>
                  </a:lnTo>
                  <a:lnTo>
                    <a:pt x="34" y="48"/>
                  </a:lnTo>
                  <a:lnTo>
                    <a:pt x="38" y="48"/>
                  </a:lnTo>
                  <a:lnTo>
                    <a:pt x="38" y="52"/>
                  </a:lnTo>
                  <a:lnTo>
                    <a:pt x="38" y="56"/>
                  </a:lnTo>
                  <a:lnTo>
                    <a:pt x="38" y="60"/>
                  </a:lnTo>
                  <a:lnTo>
                    <a:pt x="34" y="60"/>
                  </a:lnTo>
                  <a:lnTo>
                    <a:pt x="30" y="60"/>
                  </a:lnTo>
                  <a:lnTo>
                    <a:pt x="26" y="60"/>
                  </a:lnTo>
                  <a:lnTo>
                    <a:pt x="30" y="56"/>
                  </a:lnTo>
                  <a:lnTo>
                    <a:pt x="26" y="56"/>
                  </a:lnTo>
                  <a:lnTo>
                    <a:pt x="26" y="52"/>
                  </a:lnTo>
                  <a:lnTo>
                    <a:pt x="24" y="52"/>
                  </a:lnTo>
                  <a:lnTo>
                    <a:pt x="24" y="48"/>
                  </a:lnTo>
                  <a:lnTo>
                    <a:pt x="26" y="48"/>
                  </a:lnTo>
                  <a:lnTo>
                    <a:pt x="26" y="48"/>
                  </a:lnTo>
                  <a:lnTo>
                    <a:pt x="26" y="48"/>
                  </a:lnTo>
                  <a:close/>
                  <a:moveTo>
                    <a:pt x="98" y="60"/>
                  </a:moveTo>
                  <a:lnTo>
                    <a:pt x="94" y="60"/>
                  </a:lnTo>
                  <a:lnTo>
                    <a:pt x="94" y="56"/>
                  </a:lnTo>
                  <a:lnTo>
                    <a:pt x="94" y="52"/>
                  </a:lnTo>
                  <a:lnTo>
                    <a:pt x="94" y="56"/>
                  </a:lnTo>
                  <a:lnTo>
                    <a:pt x="98" y="56"/>
                  </a:lnTo>
                  <a:lnTo>
                    <a:pt x="98" y="60"/>
                  </a:lnTo>
                  <a:lnTo>
                    <a:pt x="98" y="60"/>
                  </a:lnTo>
                  <a:lnTo>
                    <a:pt x="98" y="60"/>
                  </a:lnTo>
                  <a:close/>
                  <a:moveTo>
                    <a:pt x="38" y="68"/>
                  </a:moveTo>
                  <a:lnTo>
                    <a:pt x="34" y="64"/>
                  </a:lnTo>
                  <a:lnTo>
                    <a:pt x="38" y="64"/>
                  </a:lnTo>
                  <a:lnTo>
                    <a:pt x="38" y="60"/>
                  </a:lnTo>
                  <a:lnTo>
                    <a:pt x="38" y="56"/>
                  </a:lnTo>
                  <a:lnTo>
                    <a:pt x="42" y="56"/>
                  </a:lnTo>
                  <a:lnTo>
                    <a:pt x="42" y="60"/>
                  </a:lnTo>
                  <a:lnTo>
                    <a:pt x="38" y="60"/>
                  </a:lnTo>
                  <a:lnTo>
                    <a:pt x="38" y="64"/>
                  </a:lnTo>
                  <a:lnTo>
                    <a:pt x="38" y="68"/>
                  </a:lnTo>
                  <a:lnTo>
                    <a:pt x="38" y="68"/>
                  </a:lnTo>
                  <a:lnTo>
                    <a:pt x="38" y="68"/>
                  </a:lnTo>
                  <a:close/>
                  <a:moveTo>
                    <a:pt x="26" y="60"/>
                  </a:moveTo>
                  <a:lnTo>
                    <a:pt x="26" y="64"/>
                  </a:lnTo>
                  <a:lnTo>
                    <a:pt x="24" y="64"/>
                  </a:lnTo>
                  <a:lnTo>
                    <a:pt x="24" y="60"/>
                  </a:lnTo>
                  <a:lnTo>
                    <a:pt x="24" y="64"/>
                  </a:lnTo>
                  <a:lnTo>
                    <a:pt x="24" y="60"/>
                  </a:lnTo>
                  <a:lnTo>
                    <a:pt x="26" y="60"/>
                  </a:lnTo>
                  <a:lnTo>
                    <a:pt x="26" y="60"/>
                  </a:lnTo>
                  <a:lnTo>
                    <a:pt x="26" y="60"/>
                  </a:lnTo>
                  <a:close/>
                  <a:moveTo>
                    <a:pt x="34" y="64"/>
                  </a:moveTo>
                  <a:lnTo>
                    <a:pt x="34" y="60"/>
                  </a:lnTo>
                  <a:lnTo>
                    <a:pt x="38" y="60"/>
                  </a:lnTo>
                  <a:lnTo>
                    <a:pt x="34" y="60"/>
                  </a:lnTo>
                  <a:lnTo>
                    <a:pt x="34" y="64"/>
                  </a:lnTo>
                  <a:lnTo>
                    <a:pt x="34" y="64"/>
                  </a:lnTo>
                  <a:lnTo>
                    <a:pt x="34" y="64"/>
                  </a:lnTo>
                  <a:close/>
                  <a:moveTo>
                    <a:pt x="56" y="64"/>
                  </a:moveTo>
                  <a:lnTo>
                    <a:pt x="56" y="60"/>
                  </a:lnTo>
                  <a:lnTo>
                    <a:pt x="60" y="60"/>
                  </a:lnTo>
                  <a:lnTo>
                    <a:pt x="64" y="60"/>
                  </a:lnTo>
                  <a:lnTo>
                    <a:pt x="64" y="64"/>
                  </a:lnTo>
                  <a:lnTo>
                    <a:pt x="60" y="64"/>
                  </a:lnTo>
                  <a:lnTo>
                    <a:pt x="60" y="60"/>
                  </a:lnTo>
                  <a:lnTo>
                    <a:pt x="60" y="64"/>
                  </a:lnTo>
                  <a:lnTo>
                    <a:pt x="56" y="64"/>
                  </a:lnTo>
                  <a:lnTo>
                    <a:pt x="56" y="64"/>
                  </a:lnTo>
                  <a:lnTo>
                    <a:pt x="56" y="64"/>
                  </a:lnTo>
                  <a:close/>
                  <a:moveTo>
                    <a:pt x="30" y="64"/>
                  </a:moveTo>
                  <a:lnTo>
                    <a:pt x="30" y="60"/>
                  </a:lnTo>
                  <a:lnTo>
                    <a:pt x="30" y="64"/>
                  </a:lnTo>
                  <a:lnTo>
                    <a:pt x="34" y="64"/>
                  </a:lnTo>
                  <a:lnTo>
                    <a:pt x="30" y="64"/>
                  </a:lnTo>
                  <a:lnTo>
                    <a:pt x="30" y="64"/>
                  </a:lnTo>
                  <a:lnTo>
                    <a:pt x="30" y="64"/>
                  </a:lnTo>
                  <a:close/>
                  <a:moveTo>
                    <a:pt x="54" y="64"/>
                  </a:moveTo>
                  <a:lnTo>
                    <a:pt x="56" y="64"/>
                  </a:lnTo>
                  <a:lnTo>
                    <a:pt x="56" y="68"/>
                  </a:lnTo>
                  <a:lnTo>
                    <a:pt x="54" y="68"/>
                  </a:lnTo>
                  <a:lnTo>
                    <a:pt x="54" y="72"/>
                  </a:lnTo>
                  <a:lnTo>
                    <a:pt x="54" y="68"/>
                  </a:lnTo>
                  <a:lnTo>
                    <a:pt x="54" y="64"/>
                  </a:lnTo>
                  <a:lnTo>
                    <a:pt x="50" y="64"/>
                  </a:lnTo>
                  <a:lnTo>
                    <a:pt x="54" y="64"/>
                  </a:lnTo>
                  <a:lnTo>
                    <a:pt x="54" y="60"/>
                  </a:lnTo>
                  <a:lnTo>
                    <a:pt x="54" y="64"/>
                  </a:lnTo>
                  <a:lnTo>
                    <a:pt x="54" y="64"/>
                  </a:lnTo>
                  <a:lnTo>
                    <a:pt x="54" y="64"/>
                  </a:lnTo>
                  <a:close/>
                  <a:moveTo>
                    <a:pt x="42" y="64"/>
                  </a:moveTo>
                  <a:lnTo>
                    <a:pt x="42" y="60"/>
                  </a:lnTo>
                  <a:lnTo>
                    <a:pt x="46" y="60"/>
                  </a:lnTo>
                  <a:lnTo>
                    <a:pt x="46" y="64"/>
                  </a:lnTo>
                  <a:lnTo>
                    <a:pt x="50" y="64"/>
                  </a:lnTo>
                  <a:lnTo>
                    <a:pt x="54" y="64"/>
                  </a:lnTo>
                  <a:lnTo>
                    <a:pt x="54" y="68"/>
                  </a:lnTo>
                  <a:lnTo>
                    <a:pt x="50" y="68"/>
                  </a:lnTo>
                  <a:lnTo>
                    <a:pt x="46" y="68"/>
                  </a:lnTo>
                  <a:lnTo>
                    <a:pt x="42" y="68"/>
                  </a:lnTo>
                  <a:lnTo>
                    <a:pt x="42" y="64"/>
                  </a:lnTo>
                  <a:lnTo>
                    <a:pt x="42" y="64"/>
                  </a:lnTo>
                  <a:lnTo>
                    <a:pt x="42" y="6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04" name="Freeform 97"/>
            <p:cNvSpPr>
              <a:spLocks noEditPoints="1"/>
            </p:cNvSpPr>
            <p:nvPr/>
          </p:nvSpPr>
          <p:spPr bwMode="auto">
            <a:xfrm>
              <a:off x="7233703" y="3425582"/>
              <a:ext cx="56518" cy="31382"/>
            </a:xfrm>
            <a:custGeom>
              <a:avLst/>
              <a:gdLst>
                <a:gd name="T0" fmla="*/ 90 w 90"/>
                <a:gd name="T1" fmla="*/ 12 h 48"/>
                <a:gd name="T2" fmla="*/ 88 w 90"/>
                <a:gd name="T3" fmla="*/ 12 h 48"/>
                <a:gd name="T4" fmla="*/ 84 w 90"/>
                <a:gd name="T5" fmla="*/ 18 h 48"/>
                <a:gd name="T6" fmla="*/ 80 w 90"/>
                <a:gd name="T7" fmla="*/ 22 h 48"/>
                <a:gd name="T8" fmla="*/ 84 w 90"/>
                <a:gd name="T9" fmla="*/ 30 h 48"/>
                <a:gd name="T10" fmla="*/ 84 w 90"/>
                <a:gd name="T11" fmla="*/ 36 h 48"/>
                <a:gd name="T12" fmla="*/ 88 w 90"/>
                <a:gd name="T13" fmla="*/ 40 h 48"/>
                <a:gd name="T14" fmla="*/ 84 w 90"/>
                <a:gd name="T15" fmla="*/ 44 h 48"/>
                <a:gd name="T16" fmla="*/ 76 w 90"/>
                <a:gd name="T17" fmla="*/ 48 h 48"/>
                <a:gd name="T18" fmla="*/ 68 w 90"/>
                <a:gd name="T19" fmla="*/ 48 h 48"/>
                <a:gd name="T20" fmla="*/ 60 w 90"/>
                <a:gd name="T21" fmla="*/ 44 h 48"/>
                <a:gd name="T22" fmla="*/ 54 w 90"/>
                <a:gd name="T23" fmla="*/ 36 h 48"/>
                <a:gd name="T24" fmla="*/ 50 w 90"/>
                <a:gd name="T25" fmla="*/ 36 h 48"/>
                <a:gd name="T26" fmla="*/ 46 w 90"/>
                <a:gd name="T27" fmla="*/ 36 h 48"/>
                <a:gd name="T28" fmla="*/ 34 w 90"/>
                <a:gd name="T29" fmla="*/ 40 h 48"/>
                <a:gd name="T30" fmla="*/ 38 w 90"/>
                <a:gd name="T31" fmla="*/ 36 h 48"/>
                <a:gd name="T32" fmla="*/ 38 w 90"/>
                <a:gd name="T33" fmla="*/ 34 h 48"/>
                <a:gd name="T34" fmla="*/ 34 w 90"/>
                <a:gd name="T35" fmla="*/ 30 h 48"/>
                <a:gd name="T36" fmla="*/ 30 w 90"/>
                <a:gd name="T37" fmla="*/ 34 h 48"/>
                <a:gd name="T38" fmla="*/ 28 w 90"/>
                <a:gd name="T39" fmla="*/ 30 h 48"/>
                <a:gd name="T40" fmla="*/ 28 w 90"/>
                <a:gd name="T41" fmla="*/ 22 h 48"/>
                <a:gd name="T42" fmla="*/ 24 w 90"/>
                <a:gd name="T43" fmla="*/ 18 h 48"/>
                <a:gd name="T44" fmla="*/ 28 w 90"/>
                <a:gd name="T45" fmla="*/ 14 h 48"/>
                <a:gd name="T46" fmla="*/ 24 w 90"/>
                <a:gd name="T47" fmla="*/ 14 h 48"/>
                <a:gd name="T48" fmla="*/ 28 w 90"/>
                <a:gd name="T49" fmla="*/ 12 h 48"/>
                <a:gd name="T50" fmla="*/ 30 w 90"/>
                <a:gd name="T51" fmla="*/ 12 h 48"/>
                <a:gd name="T52" fmla="*/ 34 w 90"/>
                <a:gd name="T53" fmla="*/ 8 h 48"/>
                <a:gd name="T54" fmla="*/ 38 w 90"/>
                <a:gd name="T55" fmla="*/ 8 h 48"/>
                <a:gd name="T56" fmla="*/ 46 w 90"/>
                <a:gd name="T57" fmla="*/ 4 h 48"/>
                <a:gd name="T58" fmla="*/ 50 w 90"/>
                <a:gd name="T59" fmla="*/ 8 h 48"/>
                <a:gd name="T60" fmla="*/ 58 w 90"/>
                <a:gd name="T61" fmla="*/ 4 h 48"/>
                <a:gd name="T62" fmla="*/ 60 w 90"/>
                <a:gd name="T63" fmla="*/ 4 h 48"/>
                <a:gd name="T64" fmla="*/ 68 w 90"/>
                <a:gd name="T65" fmla="*/ 4 h 48"/>
                <a:gd name="T66" fmla="*/ 72 w 90"/>
                <a:gd name="T67" fmla="*/ 8 h 48"/>
                <a:gd name="T68" fmla="*/ 76 w 90"/>
                <a:gd name="T69" fmla="*/ 8 h 48"/>
                <a:gd name="T70" fmla="*/ 88 w 90"/>
                <a:gd name="T71" fmla="*/ 8 h 48"/>
                <a:gd name="T72" fmla="*/ 88 w 90"/>
                <a:gd name="T73" fmla="*/ 8 h 48"/>
                <a:gd name="T74" fmla="*/ 8 w 90"/>
                <a:gd name="T75" fmla="*/ 22 h 48"/>
                <a:gd name="T76" fmla="*/ 8 w 90"/>
                <a:gd name="T77" fmla="*/ 18 h 48"/>
                <a:gd name="T78" fmla="*/ 4 w 90"/>
                <a:gd name="T79" fmla="*/ 18 h 48"/>
                <a:gd name="T80" fmla="*/ 8 w 90"/>
                <a:gd name="T81" fmla="*/ 18 h 48"/>
                <a:gd name="T82" fmla="*/ 12 w 90"/>
                <a:gd name="T83" fmla="*/ 18 h 48"/>
                <a:gd name="T84" fmla="*/ 16 w 90"/>
                <a:gd name="T85" fmla="*/ 18 h 48"/>
                <a:gd name="T86" fmla="*/ 16 w 90"/>
                <a:gd name="T87" fmla="*/ 22 h 48"/>
                <a:gd name="T88" fmla="*/ 12 w 90"/>
                <a:gd name="T89" fmla="*/ 22 h 48"/>
                <a:gd name="T90" fmla="*/ 12 w 90"/>
                <a:gd name="T91" fmla="*/ 22 h 48"/>
                <a:gd name="T92" fmla="*/ 12 w 90"/>
                <a:gd name="T93" fmla="*/ 22 h 48"/>
                <a:gd name="T94" fmla="*/ 24 w 90"/>
                <a:gd name="T95" fmla="*/ 14 h 48"/>
                <a:gd name="T96" fmla="*/ 20 w 90"/>
                <a:gd name="T97" fmla="*/ 18 h 48"/>
                <a:gd name="T98" fmla="*/ 20 w 90"/>
                <a:gd name="T99" fmla="*/ 14 h 48"/>
                <a:gd name="T100" fmla="*/ 20 w 90"/>
                <a:gd name="T101" fmla="*/ 14 h 48"/>
                <a:gd name="T102" fmla="*/ 24 w 90"/>
                <a:gd name="T103" fmla="*/ 26 h 48"/>
                <a:gd name="T104" fmla="*/ 20 w 90"/>
                <a:gd name="T105" fmla="*/ 26 h 48"/>
                <a:gd name="T106" fmla="*/ 20 w 90"/>
                <a:gd name="T107" fmla="*/ 22 h 48"/>
                <a:gd name="T108" fmla="*/ 4 w 90"/>
                <a:gd name="T109" fmla="*/ 36 h 48"/>
                <a:gd name="T110" fmla="*/ 0 w 90"/>
                <a:gd name="T111" fmla="*/ 34 h 48"/>
                <a:gd name="T112" fmla="*/ 0 w 90"/>
                <a:gd name="T113" fmla="*/ 30 h 48"/>
                <a:gd name="T114" fmla="*/ 8 w 90"/>
                <a:gd name="T115" fmla="*/ 26 h 48"/>
                <a:gd name="T116" fmla="*/ 20 w 90"/>
                <a:gd name="T117" fmla="*/ 26 h 48"/>
                <a:gd name="T118" fmla="*/ 20 w 90"/>
                <a:gd name="T119" fmla="*/ 30 h 48"/>
                <a:gd name="T120" fmla="*/ 8 w 90"/>
                <a:gd name="T121" fmla="*/ 34 h 48"/>
                <a:gd name="T122" fmla="*/ 4 w 90"/>
                <a:gd name="T12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 h="48">
                  <a:moveTo>
                    <a:pt x="88" y="8"/>
                  </a:moveTo>
                  <a:lnTo>
                    <a:pt x="88" y="8"/>
                  </a:lnTo>
                  <a:lnTo>
                    <a:pt x="90" y="8"/>
                  </a:lnTo>
                  <a:lnTo>
                    <a:pt x="90" y="8"/>
                  </a:lnTo>
                  <a:lnTo>
                    <a:pt x="90" y="8"/>
                  </a:lnTo>
                  <a:lnTo>
                    <a:pt x="90" y="8"/>
                  </a:lnTo>
                  <a:lnTo>
                    <a:pt x="90" y="12"/>
                  </a:lnTo>
                  <a:lnTo>
                    <a:pt x="90" y="12"/>
                  </a:lnTo>
                  <a:lnTo>
                    <a:pt x="90" y="12"/>
                  </a:lnTo>
                  <a:lnTo>
                    <a:pt x="90" y="12"/>
                  </a:lnTo>
                  <a:lnTo>
                    <a:pt x="88" y="12"/>
                  </a:lnTo>
                  <a:lnTo>
                    <a:pt x="88" y="12"/>
                  </a:lnTo>
                  <a:lnTo>
                    <a:pt x="88" y="12"/>
                  </a:lnTo>
                  <a:lnTo>
                    <a:pt x="88" y="12"/>
                  </a:lnTo>
                  <a:lnTo>
                    <a:pt x="88" y="12"/>
                  </a:lnTo>
                  <a:lnTo>
                    <a:pt x="88" y="12"/>
                  </a:lnTo>
                  <a:lnTo>
                    <a:pt x="88" y="14"/>
                  </a:lnTo>
                  <a:lnTo>
                    <a:pt x="88" y="14"/>
                  </a:lnTo>
                  <a:lnTo>
                    <a:pt x="84" y="14"/>
                  </a:lnTo>
                  <a:lnTo>
                    <a:pt x="84" y="18"/>
                  </a:lnTo>
                  <a:lnTo>
                    <a:pt x="84" y="18"/>
                  </a:lnTo>
                  <a:lnTo>
                    <a:pt x="84" y="18"/>
                  </a:lnTo>
                  <a:lnTo>
                    <a:pt x="84" y="18"/>
                  </a:lnTo>
                  <a:lnTo>
                    <a:pt x="80" y="18"/>
                  </a:lnTo>
                  <a:lnTo>
                    <a:pt x="80" y="18"/>
                  </a:lnTo>
                  <a:lnTo>
                    <a:pt x="80" y="22"/>
                  </a:lnTo>
                  <a:lnTo>
                    <a:pt x="80" y="22"/>
                  </a:lnTo>
                  <a:lnTo>
                    <a:pt x="80" y="22"/>
                  </a:lnTo>
                  <a:lnTo>
                    <a:pt x="80" y="22"/>
                  </a:lnTo>
                  <a:lnTo>
                    <a:pt x="80" y="26"/>
                  </a:lnTo>
                  <a:lnTo>
                    <a:pt x="80" y="26"/>
                  </a:lnTo>
                  <a:lnTo>
                    <a:pt x="80" y="30"/>
                  </a:lnTo>
                  <a:lnTo>
                    <a:pt x="80" y="30"/>
                  </a:lnTo>
                  <a:lnTo>
                    <a:pt x="84" y="30"/>
                  </a:lnTo>
                  <a:lnTo>
                    <a:pt x="84" y="30"/>
                  </a:lnTo>
                  <a:lnTo>
                    <a:pt x="84" y="30"/>
                  </a:lnTo>
                  <a:lnTo>
                    <a:pt x="80" y="30"/>
                  </a:lnTo>
                  <a:lnTo>
                    <a:pt x="80" y="34"/>
                  </a:lnTo>
                  <a:lnTo>
                    <a:pt x="80" y="34"/>
                  </a:lnTo>
                  <a:lnTo>
                    <a:pt x="80" y="34"/>
                  </a:lnTo>
                  <a:lnTo>
                    <a:pt x="84" y="36"/>
                  </a:lnTo>
                  <a:lnTo>
                    <a:pt x="84" y="36"/>
                  </a:lnTo>
                  <a:lnTo>
                    <a:pt x="84" y="36"/>
                  </a:lnTo>
                  <a:lnTo>
                    <a:pt x="84" y="36"/>
                  </a:lnTo>
                  <a:lnTo>
                    <a:pt x="84" y="36"/>
                  </a:lnTo>
                  <a:lnTo>
                    <a:pt x="84" y="40"/>
                  </a:lnTo>
                  <a:lnTo>
                    <a:pt x="84" y="40"/>
                  </a:lnTo>
                  <a:lnTo>
                    <a:pt x="88" y="40"/>
                  </a:lnTo>
                  <a:lnTo>
                    <a:pt x="88" y="40"/>
                  </a:lnTo>
                  <a:lnTo>
                    <a:pt x="84" y="40"/>
                  </a:lnTo>
                  <a:lnTo>
                    <a:pt x="84" y="44"/>
                  </a:lnTo>
                  <a:lnTo>
                    <a:pt x="84" y="44"/>
                  </a:lnTo>
                  <a:lnTo>
                    <a:pt x="84" y="44"/>
                  </a:lnTo>
                  <a:lnTo>
                    <a:pt x="84" y="44"/>
                  </a:lnTo>
                  <a:lnTo>
                    <a:pt x="84" y="44"/>
                  </a:lnTo>
                  <a:lnTo>
                    <a:pt x="84" y="44"/>
                  </a:lnTo>
                  <a:lnTo>
                    <a:pt x="80" y="44"/>
                  </a:lnTo>
                  <a:lnTo>
                    <a:pt x="80" y="48"/>
                  </a:lnTo>
                  <a:lnTo>
                    <a:pt x="80" y="48"/>
                  </a:lnTo>
                  <a:lnTo>
                    <a:pt x="80" y="48"/>
                  </a:lnTo>
                  <a:lnTo>
                    <a:pt x="80" y="48"/>
                  </a:lnTo>
                  <a:lnTo>
                    <a:pt x="76" y="48"/>
                  </a:lnTo>
                  <a:lnTo>
                    <a:pt x="76" y="48"/>
                  </a:lnTo>
                  <a:lnTo>
                    <a:pt x="76" y="48"/>
                  </a:lnTo>
                  <a:lnTo>
                    <a:pt x="72" y="48"/>
                  </a:lnTo>
                  <a:lnTo>
                    <a:pt x="72" y="48"/>
                  </a:lnTo>
                  <a:lnTo>
                    <a:pt x="72" y="48"/>
                  </a:lnTo>
                  <a:lnTo>
                    <a:pt x="72" y="48"/>
                  </a:lnTo>
                  <a:lnTo>
                    <a:pt x="68" y="48"/>
                  </a:lnTo>
                  <a:lnTo>
                    <a:pt x="68" y="48"/>
                  </a:lnTo>
                  <a:lnTo>
                    <a:pt x="68" y="48"/>
                  </a:lnTo>
                  <a:lnTo>
                    <a:pt x="68" y="48"/>
                  </a:lnTo>
                  <a:lnTo>
                    <a:pt x="68" y="48"/>
                  </a:lnTo>
                  <a:lnTo>
                    <a:pt x="64" y="48"/>
                  </a:lnTo>
                  <a:lnTo>
                    <a:pt x="64" y="48"/>
                  </a:lnTo>
                  <a:lnTo>
                    <a:pt x="60" y="44"/>
                  </a:lnTo>
                  <a:lnTo>
                    <a:pt x="60" y="44"/>
                  </a:lnTo>
                  <a:lnTo>
                    <a:pt x="58" y="40"/>
                  </a:lnTo>
                  <a:lnTo>
                    <a:pt x="58" y="40"/>
                  </a:lnTo>
                  <a:lnTo>
                    <a:pt x="58" y="40"/>
                  </a:lnTo>
                  <a:lnTo>
                    <a:pt x="58" y="40"/>
                  </a:lnTo>
                  <a:lnTo>
                    <a:pt x="54" y="40"/>
                  </a:lnTo>
                  <a:lnTo>
                    <a:pt x="54" y="40"/>
                  </a:lnTo>
                  <a:lnTo>
                    <a:pt x="54" y="36"/>
                  </a:lnTo>
                  <a:lnTo>
                    <a:pt x="50" y="36"/>
                  </a:lnTo>
                  <a:lnTo>
                    <a:pt x="50" y="36"/>
                  </a:lnTo>
                  <a:lnTo>
                    <a:pt x="50" y="36"/>
                  </a:lnTo>
                  <a:lnTo>
                    <a:pt x="50" y="36"/>
                  </a:lnTo>
                  <a:lnTo>
                    <a:pt x="50" y="40"/>
                  </a:lnTo>
                  <a:lnTo>
                    <a:pt x="50" y="40"/>
                  </a:lnTo>
                  <a:lnTo>
                    <a:pt x="50" y="36"/>
                  </a:lnTo>
                  <a:lnTo>
                    <a:pt x="50" y="36"/>
                  </a:lnTo>
                  <a:lnTo>
                    <a:pt x="50" y="36"/>
                  </a:lnTo>
                  <a:lnTo>
                    <a:pt x="50" y="36"/>
                  </a:lnTo>
                  <a:lnTo>
                    <a:pt x="46" y="36"/>
                  </a:lnTo>
                  <a:lnTo>
                    <a:pt x="46" y="36"/>
                  </a:lnTo>
                  <a:lnTo>
                    <a:pt x="46" y="36"/>
                  </a:lnTo>
                  <a:lnTo>
                    <a:pt x="46" y="36"/>
                  </a:lnTo>
                  <a:lnTo>
                    <a:pt x="46" y="36"/>
                  </a:lnTo>
                  <a:lnTo>
                    <a:pt x="42" y="40"/>
                  </a:lnTo>
                  <a:lnTo>
                    <a:pt x="38" y="40"/>
                  </a:lnTo>
                  <a:lnTo>
                    <a:pt x="38" y="40"/>
                  </a:lnTo>
                  <a:lnTo>
                    <a:pt x="38" y="40"/>
                  </a:lnTo>
                  <a:lnTo>
                    <a:pt x="38" y="40"/>
                  </a:lnTo>
                  <a:lnTo>
                    <a:pt x="34" y="40"/>
                  </a:lnTo>
                  <a:lnTo>
                    <a:pt x="34" y="40"/>
                  </a:lnTo>
                  <a:lnTo>
                    <a:pt x="34" y="40"/>
                  </a:lnTo>
                  <a:lnTo>
                    <a:pt x="34" y="40"/>
                  </a:lnTo>
                  <a:lnTo>
                    <a:pt x="34" y="40"/>
                  </a:lnTo>
                  <a:lnTo>
                    <a:pt x="38" y="40"/>
                  </a:lnTo>
                  <a:lnTo>
                    <a:pt x="38" y="36"/>
                  </a:lnTo>
                  <a:lnTo>
                    <a:pt x="38" y="36"/>
                  </a:lnTo>
                  <a:lnTo>
                    <a:pt x="38" y="36"/>
                  </a:lnTo>
                  <a:lnTo>
                    <a:pt x="38" y="36"/>
                  </a:lnTo>
                  <a:lnTo>
                    <a:pt x="38" y="36"/>
                  </a:lnTo>
                  <a:lnTo>
                    <a:pt x="38" y="34"/>
                  </a:lnTo>
                  <a:lnTo>
                    <a:pt x="38" y="34"/>
                  </a:lnTo>
                  <a:lnTo>
                    <a:pt x="38" y="34"/>
                  </a:lnTo>
                  <a:lnTo>
                    <a:pt x="38" y="34"/>
                  </a:lnTo>
                  <a:lnTo>
                    <a:pt x="38" y="34"/>
                  </a:lnTo>
                  <a:lnTo>
                    <a:pt x="38" y="34"/>
                  </a:lnTo>
                  <a:lnTo>
                    <a:pt x="38" y="30"/>
                  </a:lnTo>
                  <a:lnTo>
                    <a:pt x="38" y="30"/>
                  </a:lnTo>
                  <a:lnTo>
                    <a:pt x="38" y="30"/>
                  </a:lnTo>
                  <a:lnTo>
                    <a:pt x="38" y="30"/>
                  </a:lnTo>
                  <a:lnTo>
                    <a:pt x="34" y="30"/>
                  </a:lnTo>
                  <a:lnTo>
                    <a:pt x="34" y="30"/>
                  </a:lnTo>
                  <a:lnTo>
                    <a:pt x="34" y="30"/>
                  </a:lnTo>
                  <a:lnTo>
                    <a:pt x="34" y="34"/>
                  </a:lnTo>
                  <a:lnTo>
                    <a:pt x="34" y="34"/>
                  </a:lnTo>
                  <a:lnTo>
                    <a:pt x="30" y="34"/>
                  </a:lnTo>
                  <a:lnTo>
                    <a:pt x="30" y="34"/>
                  </a:lnTo>
                  <a:lnTo>
                    <a:pt x="30" y="34"/>
                  </a:lnTo>
                  <a:lnTo>
                    <a:pt x="30" y="34"/>
                  </a:lnTo>
                  <a:lnTo>
                    <a:pt x="30" y="34"/>
                  </a:lnTo>
                  <a:lnTo>
                    <a:pt x="30" y="34"/>
                  </a:lnTo>
                  <a:lnTo>
                    <a:pt x="28" y="30"/>
                  </a:lnTo>
                  <a:lnTo>
                    <a:pt x="28" y="30"/>
                  </a:lnTo>
                  <a:lnTo>
                    <a:pt x="28" y="30"/>
                  </a:lnTo>
                  <a:lnTo>
                    <a:pt x="28" y="30"/>
                  </a:lnTo>
                  <a:lnTo>
                    <a:pt x="28" y="26"/>
                  </a:lnTo>
                  <a:lnTo>
                    <a:pt x="24" y="26"/>
                  </a:lnTo>
                  <a:lnTo>
                    <a:pt x="24" y="26"/>
                  </a:lnTo>
                  <a:lnTo>
                    <a:pt x="24" y="22"/>
                  </a:lnTo>
                  <a:lnTo>
                    <a:pt x="24" y="22"/>
                  </a:lnTo>
                  <a:lnTo>
                    <a:pt x="24" y="22"/>
                  </a:lnTo>
                  <a:lnTo>
                    <a:pt x="28" y="22"/>
                  </a:lnTo>
                  <a:lnTo>
                    <a:pt x="28" y="22"/>
                  </a:lnTo>
                  <a:lnTo>
                    <a:pt x="30" y="22"/>
                  </a:lnTo>
                  <a:lnTo>
                    <a:pt x="28" y="22"/>
                  </a:lnTo>
                  <a:lnTo>
                    <a:pt x="28" y="22"/>
                  </a:lnTo>
                  <a:lnTo>
                    <a:pt x="28" y="22"/>
                  </a:lnTo>
                  <a:lnTo>
                    <a:pt x="24" y="22"/>
                  </a:lnTo>
                  <a:lnTo>
                    <a:pt x="24" y="18"/>
                  </a:lnTo>
                  <a:lnTo>
                    <a:pt x="24" y="18"/>
                  </a:lnTo>
                  <a:lnTo>
                    <a:pt x="24" y="18"/>
                  </a:lnTo>
                  <a:lnTo>
                    <a:pt x="24" y="18"/>
                  </a:lnTo>
                  <a:lnTo>
                    <a:pt x="24" y="18"/>
                  </a:lnTo>
                  <a:lnTo>
                    <a:pt x="28" y="18"/>
                  </a:lnTo>
                  <a:lnTo>
                    <a:pt x="28" y="14"/>
                  </a:lnTo>
                  <a:lnTo>
                    <a:pt x="28" y="14"/>
                  </a:lnTo>
                  <a:lnTo>
                    <a:pt x="24" y="14"/>
                  </a:lnTo>
                  <a:lnTo>
                    <a:pt x="28" y="14"/>
                  </a:lnTo>
                  <a:lnTo>
                    <a:pt x="24" y="18"/>
                  </a:lnTo>
                  <a:lnTo>
                    <a:pt x="24" y="18"/>
                  </a:lnTo>
                  <a:lnTo>
                    <a:pt x="24" y="18"/>
                  </a:lnTo>
                  <a:lnTo>
                    <a:pt x="24" y="18"/>
                  </a:lnTo>
                  <a:lnTo>
                    <a:pt x="24" y="14"/>
                  </a:lnTo>
                  <a:lnTo>
                    <a:pt x="24" y="14"/>
                  </a:lnTo>
                  <a:lnTo>
                    <a:pt x="24" y="14"/>
                  </a:lnTo>
                  <a:lnTo>
                    <a:pt x="24" y="12"/>
                  </a:lnTo>
                  <a:lnTo>
                    <a:pt x="24" y="12"/>
                  </a:lnTo>
                  <a:lnTo>
                    <a:pt x="28" y="12"/>
                  </a:lnTo>
                  <a:lnTo>
                    <a:pt x="28" y="12"/>
                  </a:lnTo>
                  <a:lnTo>
                    <a:pt x="28" y="12"/>
                  </a:lnTo>
                  <a:lnTo>
                    <a:pt x="28" y="12"/>
                  </a:lnTo>
                  <a:lnTo>
                    <a:pt x="28" y="12"/>
                  </a:lnTo>
                  <a:lnTo>
                    <a:pt x="28" y="12"/>
                  </a:lnTo>
                  <a:lnTo>
                    <a:pt x="28" y="12"/>
                  </a:lnTo>
                  <a:lnTo>
                    <a:pt x="30" y="12"/>
                  </a:lnTo>
                  <a:lnTo>
                    <a:pt x="30" y="12"/>
                  </a:lnTo>
                  <a:lnTo>
                    <a:pt x="30" y="12"/>
                  </a:lnTo>
                  <a:lnTo>
                    <a:pt x="30" y="12"/>
                  </a:lnTo>
                  <a:lnTo>
                    <a:pt x="30" y="8"/>
                  </a:lnTo>
                  <a:lnTo>
                    <a:pt x="30" y="8"/>
                  </a:lnTo>
                  <a:lnTo>
                    <a:pt x="30" y="8"/>
                  </a:lnTo>
                  <a:lnTo>
                    <a:pt x="30" y="8"/>
                  </a:lnTo>
                  <a:lnTo>
                    <a:pt x="34" y="8"/>
                  </a:lnTo>
                  <a:lnTo>
                    <a:pt x="34" y="8"/>
                  </a:lnTo>
                  <a:lnTo>
                    <a:pt x="34" y="8"/>
                  </a:lnTo>
                  <a:lnTo>
                    <a:pt x="34" y="8"/>
                  </a:lnTo>
                  <a:lnTo>
                    <a:pt x="34" y="8"/>
                  </a:lnTo>
                  <a:lnTo>
                    <a:pt x="34" y="8"/>
                  </a:lnTo>
                  <a:lnTo>
                    <a:pt x="34" y="8"/>
                  </a:lnTo>
                  <a:lnTo>
                    <a:pt x="38" y="8"/>
                  </a:lnTo>
                  <a:lnTo>
                    <a:pt x="38" y="8"/>
                  </a:lnTo>
                  <a:lnTo>
                    <a:pt x="42" y="8"/>
                  </a:lnTo>
                  <a:lnTo>
                    <a:pt x="42" y="4"/>
                  </a:lnTo>
                  <a:lnTo>
                    <a:pt x="42" y="4"/>
                  </a:lnTo>
                  <a:lnTo>
                    <a:pt x="42" y="4"/>
                  </a:lnTo>
                  <a:lnTo>
                    <a:pt x="42" y="4"/>
                  </a:lnTo>
                  <a:lnTo>
                    <a:pt x="42" y="4"/>
                  </a:lnTo>
                  <a:lnTo>
                    <a:pt x="46" y="4"/>
                  </a:lnTo>
                  <a:lnTo>
                    <a:pt x="46" y="4"/>
                  </a:lnTo>
                  <a:lnTo>
                    <a:pt x="46" y="4"/>
                  </a:lnTo>
                  <a:lnTo>
                    <a:pt x="46" y="4"/>
                  </a:lnTo>
                  <a:lnTo>
                    <a:pt x="50" y="4"/>
                  </a:lnTo>
                  <a:lnTo>
                    <a:pt x="50" y="4"/>
                  </a:lnTo>
                  <a:lnTo>
                    <a:pt x="50" y="4"/>
                  </a:lnTo>
                  <a:lnTo>
                    <a:pt x="50" y="8"/>
                  </a:lnTo>
                  <a:lnTo>
                    <a:pt x="50" y="8"/>
                  </a:lnTo>
                  <a:lnTo>
                    <a:pt x="54" y="4"/>
                  </a:lnTo>
                  <a:lnTo>
                    <a:pt x="54" y="4"/>
                  </a:lnTo>
                  <a:lnTo>
                    <a:pt x="54" y="4"/>
                  </a:lnTo>
                  <a:lnTo>
                    <a:pt x="54" y="4"/>
                  </a:lnTo>
                  <a:lnTo>
                    <a:pt x="54" y="4"/>
                  </a:lnTo>
                  <a:lnTo>
                    <a:pt x="58" y="4"/>
                  </a:lnTo>
                  <a:lnTo>
                    <a:pt x="58" y="4"/>
                  </a:lnTo>
                  <a:lnTo>
                    <a:pt x="54" y="4"/>
                  </a:lnTo>
                  <a:lnTo>
                    <a:pt x="54" y="0"/>
                  </a:lnTo>
                  <a:lnTo>
                    <a:pt x="58" y="0"/>
                  </a:lnTo>
                  <a:lnTo>
                    <a:pt x="58" y="4"/>
                  </a:lnTo>
                  <a:lnTo>
                    <a:pt x="58" y="4"/>
                  </a:lnTo>
                  <a:lnTo>
                    <a:pt x="60" y="4"/>
                  </a:lnTo>
                  <a:lnTo>
                    <a:pt x="60" y="4"/>
                  </a:lnTo>
                  <a:lnTo>
                    <a:pt x="60" y="4"/>
                  </a:lnTo>
                  <a:lnTo>
                    <a:pt x="64" y="4"/>
                  </a:lnTo>
                  <a:lnTo>
                    <a:pt x="64" y="4"/>
                  </a:lnTo>
                  <a:lnTo>
                    <a:pt x="64" y="4"/>
                  </a:lnTo>
                  <a:lnTo>
                    <a:pt x="68" y="4"/>
                  </a:lnTo>
                  <a:lnTo>
                    <a:pt x="68" y="4"/>
                  </a:lnTo>
                  <a:lnTo>
                    <a:pt x="68" y="4"/>
                  </a:lnTo>
                  <a:lnTo>
                    <a:pt x="68" y="4"/>
                  </a:lnTo>
                  <a:lnTo>
                    <a:pt x="68" y="4"/>
                  </a:lnTo>
                  <a:lnTo>
                    <a:pt x="68" y="4"/>
                  </a:lnTo>
                  <a:lnTo>
                    <a:pt x="68" y="4"/>
                  </a:lnTo>
                  <a:lnTo>
                    <a:pt x="72" y="4"/>
                  </a:lnTo>
                  <a:lnTo>
                    <a:pt x="72" y="8"/>
                  </a:lnTo>
                  <a:lnTo>
                    <a:pt x="72" y="8"/>
                  </a:lnTo>
                  <a:lnTo>
                    <a:pt x="72" y="8"/>
                  </a:lnTo>
                  <a:lnTo>
                    <a:pt x="72" y="8"/>
                  </a:lnTo>
                  <a:lnTo>
                    <a:pt x="72" y="8"/>
                  </a:lnTo>
                  <a:lnTo>
                    <a:pt x="76" y="8"/>
                  </a:lnTo>
                  <a:lnTo>
                    <a:pt x="76" y="8"/>
                  </a:lnTo>
                  <a:lnTo>
                    <a:pt x="76" y="8"/>
                  </a:lnTo>
                  <a:lnTo>
                    <a:pt x="80" y="8"/>
                  </a:lnTo>
                  <a:lnTo>
                    <a:pt x="80" y="8"/>
                  </a:lnTo>
                  <a:lnTo>
                    <a:pt x="80" y="8"/>
                  </a:lnTo>
                  <a:lnTo>
                    <a:pt x="80" y="8"/>
                  </a:lnTo>
                  <a:lnTo>
                    <a:pt x="80" y="8"/>
                  </a:lnTo>
                  <a:lnTo>
                    <a:pt x="84" y="8"/>
                  </a:lnTo>
                  <a:lnTo>
                    <a:pt x="88" y="8"/>
                  </a:lnTo>
                  <a:lnTo>
                    <a:pt x="88" y="8"/>
                  </a:lnTo>
                  <a:lnTo>
                    <a:pt x="88" y="8"/>
                  </a:lnTo>
                  <a:lnTo>
                    <a:pt x="88" y="8"/>
                  </a:lnTo>
                  <a:lnTo>
                    <a:pt x="88" y="8"/>
                  </a:lnTo>
                  <a:lnTo>
                    <a:pt x="88" y="8"/>
                  </a:lnTo>
                  <a:lnTo>
                    <a:pt x="88" y="8"/>
                  </a:lnTo>
                  <a:lnTo>
                    <a:pt x="88" y="8"/>
                  </a:lnTo>
                  <a:lnTo>
                    <a:pt x="88" y="8"/>
                  </a:lnTo>
                  <a:close/>
                  <a:moveTo>
                    <a:pt x="12" y="22"/>
                  </a:moveTo>
                  <a:lnTo>
                    <a:pt x="12" y="22"/>
                  </a:lnTo>
                  <a:lnTo>
                    <a:pt x="12" y="22"/>
                  </a:lnTo>
                  <a:lnTo>
                    <a:pt x="8" y="22"/>
                  </a:lnTo>
                  <a:lnTo>
                    <a:pt x="8" y="22"/>
                  </a:lnTo>
                  <a:lnTo>
                    <a:pt x="8" y="22"/>
                  </a:lnTo>
                  <a:lnTo>
                    <a:pt x="8" y="22"/>
                  </a:lnTo>
                  <a:lnTo>
                    <a:pt x="8" y="22"/>
                  </a:lnTo>
                  <a:lnTo>
                    <a:pt x="8" y="18"/>
                  </a:lnTo>
                  <a:lnTo>
                    <a:pt x="8" y="18"/>
                  </a:lnTo>
                  <a:lnTo>
                    <a:pt x="8" y="18"/>
                  </a:lnTo>
                  <a:lnTo>
                    <a:pt x="8" y="18"/>
                  </a:lnTo>
                  <a:lnTo>
                    <a:pt x="8" y="18"/>
                  </a:lnTo>
                  <a:lnTo>
                    <a:pt x="8" y="18"/>
                  </a:lnTo>
                  <a:lnTo>
                    <a:pt x="4" y="18"/>
                  </a:lnTo>
                  <a:lnTo>
                    <a:pt x="4" y="18"/>
                  </a:lnTo>
                  <a:lnTo>
                    <a:pt x="4" y="18"/>
                  </a:lnTo>
                  <a:lnTo>
                    <a:pt x="4" y="18"/>
                  </a:lnTo>
                  <a:lnTo>
                    <a:pt x="4" y="18"/>
                  </a:lnTo>
                  <a:lnTo>
                    <a:pt x="4" y="18"/>
                  </a:lnTo>
                  <a:lnTo>
                    <a:pt x="4" y="18"/>
                  </a:lnTo>
                  <a:lnTo>
                    <a:pt x="4" y="18"/>
                  </a:lnTo>
                  <a:lnTo>
                    <a:pt x="4" y="18"/>
                  </a:lnTo>
                  <a:lnTo>
                    <a:pt x="4" y="18"/>
                  </a:lnTo>
                  <a:lnTo>
                    <a:pt x="8" y="18"/>
                  </a:lnTo>
                  <a:lnTo>
                    <a:pt x="8" y="18"/>
                  </a:lnTo>
                  <a:lnTo>
                    <a:pt x="8" y="18"/>
                  </a:lnTo>
                  <a:lnTo>
                    <a:pt x="8" y="18"/>
                  </a:lnTo>
                  <a:lnTo>
                    <a:pt x="8" y="14"/>
                  </a:lnTo>
                  <a:lnTo>
                    <a:pt x="12" y="14"/>
                  </a:lnTo>
                  <a:lnTo>
                    <a:pt x="12" y="14"/>
                  </a:lnTo>
                  <a:lnTo>
                    <a:pt x="12" y="14"/>
                  </a:lnTo>
                  <a:lnTo>
                    <a:pt x="12" y="14"/>
                  </a:lnTo>
                  <a:lnTo>
                    <a:pt x="12" y="18"/>
                  </a:lnTo>
                  <a:lnTo>
                    <a:pt x="12" y="18"/>
                  </a:lnTo>
                  <a:lnTo>
                    <a:pt x="16" y="18"/>
                  </a:lnTo>
                  <a:lnTo>
                    <a:pt x="16" y="18"/>
                  </a:lnTo>
                  <a:lnTo>
                    <a:pt x="16" y="18"/>
                  </a:lnTo>
                  <a:lnTo>
                    <a:pt x="16" y="18"/>
                  </a:lnTo>
                  <a:lnTo>
                    <a:pt x="16" y="18"/>
                  </a:lnTo>
                  <a:lnTo>
                    <a:pt x="16" y="18"/>
                  </a:lnTo>
                  <a:lnTo>
                    <a:pt x="16" y="22"/>
                  </a:lnTo>
                  <a:lnTo>
                    <a:pt x="16" y="22"/>
                  </a:lnTo>
                  <a:lnTo>
                    <a:pt x="16" y="22"/>
                  </a:lnTo>
                  <a:lnTo>
                    <a:pt x="16" y="18"/>
                  </a:lnTo>
                  <a:lnTo>
                    <a:pt x="16" y="18"/>
                  </a:lnTo>
                  <a:lnTo>
                    <a:pt x="16" y="22"/>
                  </a:lnTo>
                  <a:lnTo>
                    <a:pt x="16" y="22"/>
                  </a:lnTo>
                  <a:lnTo>
                    <a:pt x="16" y="22"/>
                  </a:lnTo>
                  <a:lnTo>
                    <a:pt x="16" y="22"/>
                  </a:lnTo>
                  <a:lnTo>
                    <a:pt x="16" y="22"/>
                  </a:lnTo>
                  <a:lnTo>
                    <a:pt x="16" y="22"/>
                  </a:lnTo>
                  <a:lnTo>
                    <a:pt x="16" y="22"/>
                  </a:lnTo>
                  <a:lnTo>
                    <a:pt x="12" y="22"/>
                  </a:lnTo>
                  <a:lnTo>
                    <a:pt x="12" y="22"/>
                  </a:lnTo>
                  <a:lnTo>
                    <a:pt x="12" y="22"/>
                  </a:lnTo>
                  <a:lnTo>
                    <a:pt x="16" y="22"/>
                  </a:lnTo>
                  <a:lnTo>
                    <a:pt x="16" y="22"/>
                  </a:lnTo>
                  <a:lnTo>
                    <a:pt x="16" y="22"/>
                  </a:lnTo>
                  <a:lnTo>
                    <a:pt x="16"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lnTo>
                    <a:pt x="12" y="22"/>
                  </a:lnTo>
                  <a:close/>
                  <a:moveTo>
                    <a:pt x="20" y="14"/>
                  </a:moveTo>
                  <a:lnTo>
                    <a:pt x="24" y="14"/>
                  </a:lnTo>
                  <a:lnTo>
                    <a:pt x="24" y="14"/>
                  </a:lnTo>
                  <a:lnTo>
                    <a:pt x="24" y="14"/>
                  </a:lnTo>
                  <a:lnTo>
                    <a:pt x="24" y="14"/>
                  </a:lnTo>
                  <a:lnTo>
                    <a:pt x="24" y="18"/>
                  </a:lnTo>
                  <a:lnTo>
                    <a:pt x="24" y="18"/>
                  </a:lnTo>
                  <a:lnTo>
                    <a:pt x="24" y="18"/>
                  </a:lnTo>
                  <a:lnTo>
                    <a:pt x="24" y="18"/>
                  </a:lnTo>
                  <a:lnTo>
                    <a:pt x="20" y="18"/>
                  </a:lnTo>
                  <a:lnTo>
                    <a:pt x="20" y="18"/>
                  </a:lnTo>
                  <a:lnTo>
                    <a:pt x="20" y="18"/>
                  </a:lnTo>
                  <a:lnTo>
                    <a:pt x="20" y="18"/>
                  </a:lnTo>
                  <a:lnTo>
                    <a:pt x="20" y="18"/>
                  </a:lnTo>
                  <a:lnTo>
                    <a:pt x="20" y="18"/>
                  </a:lnTo>
                  <a:lnTo>
                    <a:pt x="20" y="14"/>
                  </a:lnTo>
                  <a:lnTo>
                    <a:pt x="20" y="14"/>
                  </a:lnTo>
                  <a:lnTo>
                    <a:pt x="20" y="14"/>
                  </a:lnTo>
                  <a:lnTo>
                    <a:pt x="20" y="14"/>
                  </a:lnTo>
                  <a:lnTo>
                    <a:pt x="20" y="14"/>
                  </a:lnTo>
                  <a:lnTo>
                    <a:pt x="20" y="14"/>
                  </a:lnTo>
                  <a:lnTo>
                    <a:pt x="20" y="14"/>
                  </a:lnTo>
                  <a:lnTo>
                    <a:pt x="20" y="14"/>
                  </a:lnTo>
                  <a:lnTo>
                    <a:pt x="20" y="14"/>
                  </a:lnTo>
                  <a:close/>
                  <a:moveTo>
                    <a:pt x="20" y="22"/>
                  </a:moveTo>
                  <a:lnTo>
                    <a:pt x="20" y="26"/>
                  </a:lnTo>
                  <a:lnTo>
                    <a:pt x="20" y="26"/>
                  </a:lnTo>
                  <a:lnTo>
                    <a:pt x="24" y="26"/>
                  </a:lnTo>
                  <a:lnTo>
                    <a:pt x="24" y="26"/>
                  </a:lnTo>
                  <a:lnTo>
                    <a:pt x="24" y="26"/>
                  </a:lnTo>
                  <a:lnTo>
                    <a:pt x="24" y="26"/>
                  </a:lnTo>
                  <a:lnTo>
                    <a:pt x="24" y="26"/>
                  </a:lnTo>
                  <a:lnTo>
                    <a:pt x="20" y="26"/>
                  </a:lnTo>
                  <a:lnTo>
                    <a:pt x="20" y="26"/>
                  </a:lnTo>
                  <a:lnTo>
                    <a:pt x="20" y="26"/>
                  </a:lnTo>
                  <a:lnTo>
                    <a:pt x="20" y="26"/>
                  </a:lnTo>
                  <a:lnTo>
                    <a:pt x="20" y="26"/>
                  </a:lnTo>
                  <a:lnTo>
                    <a:pt x="20" y="26"/>
                  </a:lnTo>
                  <a:lnTo>
                    <a:pt x="20" y="26"/>
                  </a:lnTo>
                  <a:lnTo>
                    <a:pt x="20" y="26"/>
                  </a:lnTo>
                  <a:lnTo>
                    <a:pt x="20" y="22"/>
                  </a:lnTo>
                  <a:lnTo>
                    <a:pt x="20" y="22"/>
                  </a:lnTo>
                  <a:lnTo>
                    <a:pt x="20" y="22"/>
                  </a:lnTo>
                  <a:lnTo>
                    <a:pt x="20" y="22"/>
                  </a:lnTo>
                  <a:lnTo>
                    <a:pt x="20" y="22"/>
                  </a:lnTo>
                  <a:lnTo>
                    <a:pt x="20" y="22"/>
                  </a:lnTo>
                  <a:lnTo>
                    <a:pt x="20" y="22"/>
                  </a:lnTo>
                  <a:close/>
                  <a:moveTo>
                    <a:pt x="4" y="40"/>
                  </a:moveTo>
                  <a:lnTo>
                    <a:pt x="4" y="40"/>
                  </a:lnTo>
                  <a:lnTo>
                    <a:pt x="0" y="40"/>
                  </a:lnTo>
                  <a:lnTo>
                    <a:pt x="0" y="40"/>
                  </a:lnTo>
                  <a:lnTo>
                    <a:pt x="4" y="36"/>
                  </a:lnTo>
                  <a:lnTo>
                    <a:pt x="4" y="36"/>
                  </a:lnTo>
                  <a:lnTo>
                    <a:pt x="4" y="36"/>
                  </a:lnTo>
                  <a:lnTo>
                    <a:pt x="4" y="36"/>
                  </a:lnTo>
                  <a:lnTo>
                    <a:pt x="4" y="36"/>
                  </a:lnTo>
                  <a:lnTo>
                    <a:pt x="4" y="34"/>
                  </a:lnTo>
                  <a:lnTo>
                    <a:pt x="0" y="34"/>
                  </a:lnTo>
                  <a:lnTo>
                    <a:pt x="0" y="34"/>
                  </a:lnTo>
                  <a:lnTo>
                    <a:pt x="0" y="30"/>
                  </a:lnTo>
                  <a:lnTo>
                    <a:pt x="0" y="30"/>
                  </a:lnTo>
                  <a:lnTo>
                    <a:pt x="4" y="30"/>
                  </a:lnTo>
                  <a:lnTo>
                    <a:pt x="0" y="30"/>
                  </a:lnTo>
                  <a:lnTo>
                    <a:pt x="0" y="30"/>
                  </a:lnTo>
                  <a:lnTo>
                    <a:pt x="0" y="30"/>
                  </a:lnTo>
                  <a:lnTo>
                    <a:pt x="0" y="30"/>
                  </a:lnTo>
                  <a:lnTo>
                    <a:pt x="0" y="26"/>
                  </a:lnTo>
                  <a:lnTo>
                    <a:pt x="0" y="26"/>
                  </a:lnTo>
                  <a:lnTo>
                    <a:pt x="0" y="26"/>
                  </a:lnTo>
                  <a:lnTo>
                    <a:pt x="4" y="30"/>
                  </a:lnTo>
                  <a:lnTo>
                    <a:pt x="4" y="26"/>
                  </a:lnTo>
                  <a:lnTo>
                    <a:pt x="8" y="26"/>
                  </a:lnTo>
                  <a:lnTo>
                    <a:pt x="8" y="26"/>
                  </a:lnTo>
                  <a:lnTo>
                    <a:pt x="12" y="26"/>
                  </a:lnTo>
                  <a:lnTo>
                    <a:pt x="12" y="26"/>
                  </a:lnTo>
                  <a:lnTo>
                    <a:pt x="16" y="26"/>
                  </a:lnTo>
                  <a:lnTo>
                    <a:pt x="16" y="26"/>
                  </a:lnTo>
                  <a:lnTo>
                    <a:pt x="16" y="26"/>
                  </a:lnTo>
                  <a:lnTo>
                    <a:pt x="16" y="26"/>
                  </a:lnTo>
                  <a:lnTo>
                    <a:pt x="20" y="26"/>
                  </a:lnTo>
                  <a:lnTo>
                    <a:pt x="20" y="30"/>
                  </a:lnTo>
                  <a:lnTo>
                    <a:pt x="20" y="30"/>
                  </a:lnTo>
                  <a:lnTo>
                    <a:pt x="24" y="30"/>
                  </a:lnTo>
                  <a:lnTo>
                    <a:pt x="20" y="30"/>
                  </a:lnTo>
                  <a:lnTo>
                    <a:pt x="20" y="30"/>
                  </a:lnTo>
                  <a:lnTo>
                    <a:pt x="20" y="30"/>
                  </a:lnTo>
                  <a:lnTo>
                    <a:pt x="20" y="30"/>
                  </a:lnTo>
                  <a:lnTo>
                    <a:pt x="20" y="30"/>
                  </a:lnTo>
                  <a:lnTo>
                    <a:pt x="20" y="30"/>
                  </a:lnTo>
                  <a:lnTo>
                    <a:pt x="16" y="30"/>
                  </a:lnTo>
                  <a:lnTo>
                    <a:pt x="12" y="34"/>
                  </a:lnTo>
                  <a:lnTo>
                    <a:pt x="12" y="34"/>
                  </a:lnTo>
                  <a:lnTo>
                    <a:pt x="12" y="34"/>
                  </a:lnTo>
                  <a:lnTo>
                    <a:pt x="8" y="34"/>
                  </a:lnTo>
                  <a:lnTo>
                    <a:pt x="8" y="34"/>
                  </a:lnTo>
                  <a:lnTo>
                    <a:pt x="8" y="34"/>
                  </a:lnTo>
                  <a:lnTo>
                    <a:pt x="8" y="34"/>
                  </a:lnTo>
                  <a:lnTo>
                    <a:pt x="8" y="36"/>
                  </a:lnTo>
                  <a:lnTo>
                    <a:pt x="4" y="36"/>
                  </a:lnTo>
                  <a:lnTo>
                    <a:pt x="4" y="40"/>
                  </a:lnTo>
                  <a:lnTo>
                    <a:pt x="4" y="40"/>
                  </a:lnTo>
                  <a:lnTo>
                    <a:pt x="4" y="40"/>
                  </a:lnTo>
                  <a:lnTo>
                    <a:pt x="4" y="40"/>
                  </a:lnTo>
                  <a:lnTo>
                    <a:pt x="4" y="40"/>
                  </a:lnTo>
                  <a:lnTo>
                    <a:pt x="4" y="40"/>
                  </a:lnTo>
                  <a:lnTo>
                    <a:pt x="4" y="4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05" name="Freeform 98"/>
            <p:cNvSpPr>
              <a:spLocks noEditPoints="1"/>
            </p:cNvSpPr>
            <p:nvPr/>
          </p:nvSpPr>
          <p:spPr bwMode="auto">
            <a:xfrm>
              <a:off x="6974975" y="3386354"/>
              <a:ext cx="8792" cy="14383"/>
            </a:xfrm>
            <a:custGeom>
              <a:avLst/>
              <a:gdLst>
                <a:gd name="T0" fmla="*/ 10 w 14"/>
                <a:gd name="T1" fmla="*/ 12 h 22"/>
                <a:gd name="T2" fmla="*/ 6 w 14"/>
                <a:gd name="T3" fmla="*/ 12 h 22"/>
                <a:gd name="T4" fmla="*/ 6 w 14"/>
                <a:gd name="T5" fmla="*/ 12 h 22"/>
                <a:gd name="T6" fmla="*/ 10 w 14"/>
                <a:gd name="T7" fmla="*/ 12 h 22"/>
                <a:gd name="T8" fmla="*/ 10 w 14"/>
                <a:gd name="T9" fmla="*/ 12 h 22"/>
                <a:gd name="T10" fmla="*/ 10 w 14"/>
                <a:gd name="T11" fmla="*/ 14 h 22"/>
                <a:gd name="T12" fmla="*/ 10 w 14"/>
                <a:gd name="T13" fmla="*/ 14 h 22"/>
                <a:gd name="T14" fmla="*/ 10 w 14"/>
                <a:gd name="T15" fmla="*/ 4 h 22"/>
                <a:gd name="T16" fmla="*/ 10 w 14"/>
                <a:gd name="T17" fmla="*/ 4 h 22"/>
                <a:gd name="T18" fmla="*/ 10 w 14"/>
                <a:gd name="T19" fmla="*/ 4 h 22"/>
                <a:gd name="T20" fmla="*/ 10 w 14"/>
                <a:gd name="T21" fmla="*/ 4 h 22"/>
                <a:gd name="T22" fmla="*/ 10 w 14"/>
                <a:gd name="T23" fmla="*/ 0 h 22"/>
                <a:gd name="T24" fmla="*/ 10 w 14"/>
                <a:gd name="T25" fmla="*/ 0 h 22"/>
                <a:gd name="T26" fmla="*/ 10 w 14"/>
                <a:gd name="T27" fmla="*/ 0 h 22"/>
                <a:gd name="T28" fmla="*/ 14 w 14"/>
                <a:gd name="T29" fmla="*/ 0 h 22"/>
                <a:gd name="T30" fmla="*/ 14 w 14"/>
                <a:gd name="T31" fmla="*/ 4 h 22"/>
                <a:gd name="T32" fmla="*/ 10 w 14"/>
                <a:gd name="T33" fmla="*/ 4 h 22"/>
                <a:gd name="T34" fmla="*/ 10 w 14"/>
                <a:gd name="T35" fmla="*/ 8 h 22"/>
                <a:gd name="T36" fmla="*/ 6 w 14"/>
                <a:gd name="T37" fmla="*/ 8 h 22"/>
                <a:gd name="T38" fmla="*/ 6 w 14"/>
                <a:gd name="T39" fmla="*/ 4 h 22"/>
                <a:gd name="T40" fmla="*/ 2 w 14"/>
                <a:gd name="T41" fmla="*/ 4 h 22"/>
                <a:gd name="T42" fmla="*/ 2 w 14"/>
                <a:gd name="T43" fmla="*/ 0 h 22"/>
                <a:gd name="T44" fmla="*/ 6 w 14"/>
                <a:gd name="T45" fmla="*/ 0 h 22"/>
                <a:gd name="T46" fmla="*/ 6 w 14"/>
                <a:gd name="T47" fmla="*/ 0 h 22"/>
                <a:gd name="T48" fmla="*/ 10 w 14"/>
                <a:gd name="T49" fmla="*/ 4 h 22"/>
                <a:gd name="T50" fmla="*/ 10 w 14"/>
                <a:gd name="T51" fmla="*/ 4 h 22"/>
                <a:gd name="T52" fmla="*/ 10 w 14"/>
                <a:gd name="T53" fmla="*/ 8 h 22"/>
                <a:gd name="T54" fmla="*/ 10 w 14"/>
                <a:gd name="T55" fmla="*/ 12 h 22"/>
                <a:gd name="T56" fmla="*/ 6 w 14"/>
                <a:gd name="T57" fmla="*/ 8 h 22"/>
                <a:gd name="T58" fmla="*/ 6 w 14"/>
                <a:gd name="T59" fmla="*/ 8 h 22"/>
                <a:gd name="T60" fmla="*/ 2 w 14"/>
                <a:gd name="T61" fmla="*/ 4 h 22"/>
                <a:gd name="T62" fmla="*/ 2 w 14"/>
                <a:gd name="T63" fmla="*/ 4 h 22"/>
                <a:gd name="T64" fmla="*/ 2 w 14"/>
                <a:gd name="T65" fmla="*/ 0 h 22"/>
                <a:gd name="T66" fmla="*/ 2 w 14"/>
                <a:gd name="T67" fmla="*/ 0 h 22"/>
                <a:gd name="T68" fmla="*/ 2 w 14"/>
                <a:gd name="T69" fmla="*/ 0 h 22"/>
                <a:gd name="T70" fmla="*/ 2 w 14"/>
                <a:gd name="T71" fmla="*/ 4 h 22"/>
                <a:gd name="T72" fmla="*/ 2 w 14"/>
                <a:gd name="T73" fmla="*/ 4 h 22"/>
                <a:gd name="T74" fmla="*/ 6 w 14"/>
                <a:gd name="T75" fmla="*/ 4 h 22"/>
                <a:gd name="T76" fmla="*/ 6 w 14"/>
                <a:gd name="T77" fmla="*/ 4 h 22"/>
                <a:gd name="T78" fmla="*/ 6 w 14"/>
                <a:gd name="T79" fmla="*/ 8 h 22"/>
                <a:gd name="T80" fmla="*/ 10 w 14"/>
                <a:gd name="T81" fmla="*/ 8 h 22"/>
                <a:gd name="T82" fmla="*/ 10 w 14"/>
                <a:gd name="T83" fmla="*/ 12 h 22"/>
                <a:gd name="T84" fmla="*/ 2 w 14"/>
                <a:gd name="T85" fmla="*/ 8 h 22"/>
                <a:gd name="T86" fmla="*/ 2 w 14"/>
                <a:gd name="T87" fmla="*/ 8 h 22"/>
                <a:gd name="T88" fmla="*/ 2 w 14"/>
                <a:gd name="T89" fmla="*/ 8 h 22"/>
                <a:gd name="T90" fmla="*/ 0 w 14"/>
                <a:gd name="T91" fmla="*/ 8 h 22"/>
                <a:gd name="T92" fmla="*/ 0 w 14"/>
                <a:gd name="T93" fmla="*/ 4 h 22"/>
                <a:gd name="T94" fmla="*/ 2 w 14"/>
                <a:gd name="T95" fmla="*/ 4 h 22"/>
                <a:gd name="T96" fmla="*/ 2 w 14"/>
                <a:gd name="T97" fmla="*/ 4 h 22"/>
                <a:gd name="T98" fmla="*/ 2 w 14"/>
                <a:gd name="T99" fmla="*/ 8 h 22"/>
                <a:gd name="T100" fmla="*/ 2 w 14"/>
                <a:gd name="T101" fmla="*/ 8 h 22"/>
                <a:gd name="T102" fmla="*/ 2 w 14"/>
                <a:gd name="T103" fmla="*/ 8 h 22"/>
                <a:gd name="T104" fmla="*/ 2 w 14"/>
                <a:gd name="T105" fmla="*/ 8 h 22"/>
                <a:gd name="T106" fmla="*/ 10 w 14"/>
                <a:gd name="T107" fmla="*/ 22 h 22"/>
                <a:gd name="T108" fmla="*/ 6 w 14"/>
                <a:gd name="T109" fmla="*/ 18 h 22"/>
                <a:gd name="T110" fmla="*/ 6 w 14"/>
                <a:gd name="T111" fmla="*/ 14 h 22"/>
                <a:gd name="T112" fmla="*/ 6 w 14"/>
                <a:gd name="T113" fmla="*/ 14 h 22"/>
                <a:gd name="T114" fmla="*/ 6 w 14"/>
                <a:gd name="T115" fmla="*/ 14 h 22"/>
                <a:gd name="T116" fmla="*/ 10 w 14"/>
                <a:gd name="T117" fmla="*/ 18 h 22"/>
                <a:gd name="T118" fmla="*/ 10 w 14"/>
                <a:gd name="T119" fmla="*/ 22 h 22"/>
                <a:gd name="T120" fmla="*/ 10 w 14"/>
                <a:gd name="T121" fmla="*/ 22 h 22"/>
                <a:gd name="T122" fmla="*/ 10 w 14"/>
                <a:gd name="T1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 h="22">
                  <a:moveTo>
                    <a:pt x="10" y="14"/>
                  </a:moveTo>
                  <a:lnTo>
                    <a:pt x="10" y="12"/>
                  </a:lnTo>
                  <a:lnTo>
                    <a:pt x="6" y="12"/>
                  </a:lnTo>
                  <a:lnTo>
                    <a:pt x="6" y="12"/>
                  </a:lnTo>
                  <a:lnTo>
                    <a:pt x="6" y="12"/>
                  </a:lnTo>
                  <a:lnTo>
                    <a:pt x="6" y="12"/>
                  </a:lnTo>
                  <a:lnTo>
                    <a:pt x="6" y="12"/>
                  </a:lnTo>
                  <a:lnTo>
                    <a:pt x="10" y="12"/>
                  </a:lnTo>
                  <a:lnTo>
                    <a:pt x="10" y="12"/>
                  </a:lnTo>
                  <a:lnTo>
                    <a:pt x="10" y="12"/>
                  </a:lnTo>
                  <a:lnTo>
                    <a:pt x="10" y="14"/>
                  </a:lnTo>
                  <a:lnTo>
                    <a:pt x="10" y="14"/>
                  </a:lnTo>
                  <a:lnTo>
                    <a:pt x="10" y="14"/>
                  </a:lnTo>
                  <a:lnTo>
                    <a:pt x="10" y="14"/>
                  </a:lnTo>
                  <a:lnTo>
                    <a:pt x="10" y="14"/>
                  </a:lnTo>
                  <a:close/>
                  <a:moveTo>
                    <a:pt x="10" y="4"/>
                  </a:moveTo>
                  <a:lnTo>
                    <a:pt x="10" y="4"/>
                  </a:lnTo>
                  <a:lnTo>
                    <a:pt x="10" y="4"/>
                  </a:lnTo>
                  <a:lnTo>
                    <a:pt x="10" y="4"/>
                  </a:lnTo>
                  <a:lnTo>
                    <a:pt x="10" y="4"/>
                  </a:lnTo>
                  <a:lnTo>
                    <a:pt x="10" y="4"/>
                  </a:lnTo>
                  <a:lnTo>
                    <a:pt x="10" y="4"/>
                  </a:lnTo>
                  <a:lnTo>
                    <a:pt x="10" y="0"/>
                  </a:lnTo>
                  <a:lnTo>
                    <a:pt x="10" y="0"/>
                  </a:lnTo>
                  <a:lnTo>
                    <a:pt x="10" y="0"/>
                  </a:lnTo>
                  <a:lnTo>
                    <a:pt x="10" y="0"/>
                  </a:lnTo>
                  <a:lnTo>
                    <a:pt x="10" y="0"/>
                  </a:lnTo>
                  <a:lnTo>
                    <a:pt x="10" y="0"/>
                  </a:lnTo>
                  <a:lnTo>
                    <a:pt x="14" y="0"/>
                  </a:lnTo>
                  <a:lnTo>
                    <a:pt x="14" y="0"/>
                  </a:lnTo>
                  <a:lnTo>
                    <a:pt x="14" y="4"/>
                  </a:lnTo>
                  <a:lnTo>
                    <a:pt x="14" y="4"/>
                  </a:lnTo>
                  <a:lnTo>
                    <a:pt x="10" y="4"/>
                  </a:lnTo>
                  <a:lnTo>
                    <a:pt x="10" y="4"/>
                  </a:lnTo>
                  <a:lnTo>
                    <a:pt x="10" y="4"/>
                  </a:lnTo>
                  <a:close/>
                  <a:moveTo>
                    <a:pt x="10" y="8"/>
                  </a:moveTo>
                  <a:lnTo>
                    <a:pt x="10" y="8"/>
                  </a:lnTo>
                  <a:lnTo>
                    <a:pt x="6" y="8"/>
                  </a:lnTo>
                  <a:lnTo>
                    <a:pt x="6" y="4"/>
                  </a:lnTo>
                  <a:lnTo>
                    <a:pt x="6" y="4"/>
                  </a:lnTo>
                  <a:lnTo>
                    <a:pt x="6" y="4"/>
                  </a:lnTo>
                  <a:lnTo>
                    <a:pt x="2" y="4"/>
                  </a:lnTo>
                  <a:lnTo>
                    <a:pt x="2" y="4"/>
                  </a:lnTo>
                  <a:lnTo>
                    <a:pt x="2" y="0"/>
                  </a:lnTo>
                  <a:lnTo>
                    <a:pt x="2" y="0"/>
                  </a:lnTo>
                  <a:lnTo>
                    <a:pt x="6" y="0"/>
                  </a:lnTo>
                  <a:lnTo>
                    <a:pt x="6" y="0"/>
                  </a:lnTo>
                  <a:lnTo>
                    <a:pt x="6" y="0"/>
                  </a:lnTo>
                  <a:lnTo>
                    <a:pt x="6" y="0"/>
                  </a:lnTo>
                  <a:lnTo>
                    <a:pt x="10" y="4"/>
                  </a:lnTo>
                  <a:lnTo>
                    <a:pt x="10" y="4"/>
                  </a:lnTo>
                  <a:lnTo>
                    <a:pt x="10" y="4"/>
                  </a:lnTo>
                  <a:lnTo>
                    <a:pt x="10" y="8"/>
                  </a:lnTo>
                  <a:lnTo>
                    <a:pt x="10" y="8"/>
                  </a:lnTo>
                  <a:lnTo>
                    <a:pt x="10" y="8"/>
                  </a:lnTo>
                  <a:close/>
                  <a:moveTo>
                    <a:pt x="10" y="12"/>
                  </a:moveTo>
                  <a:lnTo>
                    <a:pt x="6" y="12"/>
                  </a:lnTo>
                  <a:lnTo>
                    <a:pt x="6" y="8"/>
                  </a:lnTo>
                  <a:lnTo>
                    <a:pt x="6" y="8"/>
                  </a:lnTo>
                  <a:lnTo>
                    <a:pt x="6" y="8"/>
                  </a:lnTo>
                  <a:lnTo>
                    <a:pt x="2" y="4"/>
                  </a:lnTo>
                  <a:lnTo>
                    <a:pt x="2" y="4"/>
                  </a:lnTo>
                  <a:lnTo>
                    <a:pt x="2" y="4"/>
                  </a:lnTo>
                  <a:lnTo>
                    <a:pt x="2" y="4"/>
                  </a:lnTo>
                  <a:lnTo>
                    <a:pt x="2" y="0"/>
                  </a:lnTo>
                  <a:lnTo>
                    <a:pt x="2" y="0"/>
                  </a:lnTo>
                  <a:lnTo>
                    <a:pt x="2" y="0"/>
                  </a:lnTo>
                  <a:lnTo>
                    <a:pt x="2" y="0"/>
                  </a:lnTo>
                  <a:lnTo>
                    <a:pt x="2" y="0"/>
                  </a:lnTo>
                  <a:lnTo>
                    <a:pt x="2" y="0"/>
                  </a:lnTo>
                  <a:lnTo>
                    <a:pt x="2" y="0"/>
                  </a:lnTo>
                  <a:lnTo>
                    <a:pt x="2" y="4"/>
                  </a:lnTo>
                  <a:lnTo>
                    <a:pt x="2" y="4"/>
                  </a:lnTo>
                  <a:lnTo>
                    <a:pt x="2" y="4"/>
                  </a:lnTo>
                  <a:lnTo>
                    <a:pt x="6" y="4"/>
                  </a:lnTo>
                  <a:lnTo>
                    <a:pt x="6" y="4"/>
                  </a:lnTo>
                  <a:lnTo>
                    <a:pt x="6" y="4"/>
                  </a:lnTo>
                  <a:lnTo>
                    <a:pt x="6" y="4"/>
                  </a:lnTo>
                  <a:lnTo>
                    <a:pt x="6" y="8"/>
                  </a:lnTo>
                  <a:lnTo>
                    <a:pt x="6" y="8"/>
                  </a:lnTo>
                  <a:lnTo>
                    <a:pt x="10" y="8"/>
                  </a:lnTo>
                  <a:lnTo>
                    <a:pt x="10" y="8"/>
                  </a:lnTo>
                  <a:lnTo>
                    <a:pt x="10" y="12"/>
                  </a:lnTo>
                  <a:lnTo>
                    <a:pt x="10" y="12"/>
                  </a:lnTo>
                  <a:lnTo>
                    <a:pt x="10" y="12"/>
                  </a:lnTo>
                  <a:close/>
                  <a:moveTo>
                    <a:pt x="2" y="8"/>
                  </a:moveTo>
                  <a:lnTo>
                    <a:pt x="2" y="8"/>
                  </a:lnTo>
                  <a:lnTo>
                    <a:pt x="2" y="8"/>
                  </a:lnTo>
                  <a:lnTo>
                    <a:pt x="2" y="8"/>
                  </a:lnTo>
                  <a:lnTo>
                    <a:pt x="2" y="8"/>
                  </a:lnTo>
                  <a:lnTo>
                    <a:pt x="0" y="8"/>
                  </a:lnTo>
                  <a:lnTo>
                    <a:pt x="0" y="8"/>
                  </a:lnTo>
                  <a:lnTo>
                    <a:pt x="0" y="8"/>
                  </a:lnTo>
                  <a:lnTo>
                    <a:pt x="0" y="4"/>
                  </a:lnTo>
                  <a:lnTo>
                    <a:pt x="0" y="4"/>
                  </a:lnTo>
                  <a:lnTo>
                    <a:pt x="2" y="4"/>
                  </a:lnTo>
                  <a:lnTo>
                    <a:pt x="2" y="4"/>
                  </a:lnTo>
                  <a:lnTo>
                    <a:pt x="2" y="4"/>
                  </a:lnTo>
                  <a:lnTo>
                    <a:pt x="2" y="8"/>
                  </a:lnTo>
                  <a:lnTo>
                    <a:pt x="2" y="8"/>
                  </a:lnTo>
                  <a:lnTo>
                    <a:pt x="2" y="8"/>
                  </a:lnTo>
                  <a:lnTo>
                    <a:pt x="2" y="8"/>
                  </a:lnTo>
                  <a:lnTo>
                    <a:pt x="2" y="8"/>
                  </a:lnTo>
                  <a:lnTo>
                    <a:pt x="2" y="8"/>
                  </a:lnTo>
                  <a:lnTo>
                    <a:pt x="2" y="8"/>
                  </a:lnTo>
                  <a:lnTo>
                    <a:pt x="2" y="8"/>
                  </a:lnTo>
                  <a:close/>
                  <a:moveTo>
                    <a:pt x="10" y="22"/>
                  </a:moveTo>
                  <a:lnTo>
                    <a:pt x="10" y="22"/>
                  </a:lnTo>
                  <a:lnTo>
                    <a:pt x="10" y="22"/>
                  </a:lnTo>
                  <a:lnTo>
                    <a:pt x="6" y="18"/>
                  </a:lnTo>
                  <a:lnTo>
                    <a:pt x="6" y="18"/>
                  </a:lnTo>
                  <a:lnTo>
                    <a:pt x="6" y="14"/>
                  </a:lnTo>
                  <a:lnTo>
                    <a:pt x="6" y="14"/>
                  </a:lnTo>
                  <a:lnTo>
                    <a:pt x="6" y="14"/>
                  </a:lnTo>
                  <a:lnTo>
                    <a:pt x="6" y="14"/>
                  </a:lnTo>
                  <a:lnTo>
                    <a:pt x="6" y="14"/>
                  </a:lnTo>
                  <a:lnTo>
                    <a:pt x="6" y="18"/>
                  </a:lnTo>
                  <a:lnTo>
                    <a:pt x="10" y="18"/>
                  </a:lnTo>
                  <a:lnTo>
                    <a:pt x="10" y="22"/>
                  </a:lnTo>
                  <a:lnTo>
                    <a:pt x="10" y="22"/>
                  </a:lnTo>
                  <a:lnTo>
                    <a:pt x="10" y="22"/>
                  </a:lnTo>
                  <a:lnTo>
                    <a:pt x="10" y="22"/>
                  </a:lnTo>
                  <a:lnTo>
                    <a:pt x="10" y="22"/>
                  </a:lnTo>
                  <a:lnTo>
                    <a:pt x="10" y="2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06" name="Freeform 99"/>
            <p:cNvSpPr>
              <a:spLocks noEditPoints="1"/>
            </p:cNvSpPr>
            <p:nvPr/>
          </p:nvSpPr>
          <p:spPr bwMode="auto">
            <a:xfrm>
              <a:off x="7213607" y="3262134"/>
              <a:ext cx="108013" cy="163448"/>
            </a:xfrm>
            <a:custGeom>
              <a:avLst/>
              <a:gdLst>
                <a:gd name="T0" fmla="*/ 44 w 172"/>
                <a:gd name="T1" fmla="*/ 238 h 250"/>
                <a:gd name="T2" fmla="*/ 30 w 172"/>
                <a:gd name="T3" fmla="*/ 232 h 250"/>
                <a:gd name="T4" fmla="*/ 30 w 172"/>
                <a:gd name="T5" fmla="*/ 212 h 250"/>
                <a:gd name="T6" fmla="*/ 26 w 172"/>
                <a:gd name="T7" fmla="*/ 202 h 250"/>
                <a:gd name="T8" fmla="*/ 22 w 172"/>
                <a:gd name="T9" fmla="*/ 180 h 250"/>
                <a:gd name="T10" fmla="*/ 30 w 172"/>
                <a:gd name="T11" fmla="*/ 172 h 250"/>
                <a:gd name="T12" fmla="*/ 40 w 172"/>
                <a:gd name="T13" fmla="*/ 164 h 250"/>
                <a:gd name="T14" fmla="*/ 56 w 172"/>
                <a:gd name="T15" fmla="*/ 154 h 250"/>
                <a:gd name="T16" fmla="*/ 66 w 172"/>
                <a:gd name="T17" fmla="*/ 138 h 250"/>
                <a:gd name="T18" fmla="*/ 86 w 172"/>
                <a:gd name="T19" fmla="*/ 128 h 250"/>
                <a:gd name="T20" fmla="*/ 78 w 172"/>
                <a:gd name="T21" fmla="*/ 116 h 250"/>
                <a:gd name="T22" fmla="*/ 66 w 172"/>
                <a:gd name="T23" fmla="*/ 108 h 250"/>
                <a:gd name="T24" fmla="*/ 64 w 172"/>
                <a:gd name="T25" fmla="*/ 86 h 250"/>
                <a:gd name="T26" fmla="*/ 56 w 172"/>
                <a:gd name="T27" fmla="*/ 64 h 250"/>
                <a:gd name="T28" fmla="*/ 40 w 172"/>
                <a:gd name="T29" fmla="*/ 42 h 250"/>
                <a:gd name="T30" fmla="*/ 22 w 172"/>
                <a:gd name="T31" fmla="*/ 34 h 250"/>
                <a:gd name="T32" fmla="*/ 22 w 172"/>
                <a:gd name="T33" fmla="*/ 22 h 250"/>
                <a:gd name="T34" fmla="*/ 40 w 172"/>
                <a:gd name="T35" fmla="*/ 38 h 250"/>
                <a:gd name="T36" fmla="*/ 64 w 172"/>
                <a:gd name="T37" fmla="*/ 34 h 250"/>
                <a:gd name="T38" fmla="*/ 78 w 172"/>
                <a:gd name="T39" fmla="*/ 34 h 250"/>
                <a:gd name="T40" fmla="*/ 90 w 172"/>
                <a:gd name="T41" fmla="*/ 26 h 250"/>
                <a:gd name="T42" fmla="*/ 94 w 172"/>
                <a:gd name="T43" fmla="*/ 12 h 250"/>
                <a:gd name="T44" fmla="*/ 112 w 172"/>
                <a:gd name="T45" fmla="*/ 4 h 250"/>
                <a:gd name="T46" fmla="*/ 130 w 172"/>
                <a:gd name="T47" fmla="*/ 12 h 250"/>
                <a:gd name="T48" fmla="*/ 130 w 172"/>
                <a:gd name="T49" fmla="*/ 22 h 250"/>
                <a:gd name="T50" fmla="*/ 130 w 172"/>
                <a:gd name="T51" fmla="*/ 34 h 250"/>
                <a:gd name="T52" fmla="*/ 142 w 172"/>
                <a:gd name="T53" fmla="*/ 56 h 250"/>
                <a:gd name="T54" fmla="*/ 138 w 172"/>
                <a:gd name="T55" fmla="*/ 78 h 250"/>
                <a:gd name="T56" fmla="*/ 144 w 172"/>
                <a:gd name="T57" fmla="*/ 98 h 250"/>
                <a:gd name="T58" fmla="*/ 144 w 172"/>
                <a:gd name="T59" fmla="*/ 116 h 250"/>
                <a:gd name="T60" fmla="*/ 142 w 172"/>
                <a:gd name="T61" fmla="*/ 132 h 250"/>
                <a:gd name="T62" fmla="*/ 152 w 172"/>
                <a:gd name="T63" fmla="*/ 142 h 250"/>
                <a:gd name="T64" fmla="*/ 148 w 172"/>
                <a:gd name="T65" fmla="*/ 158 h 250"/>
                <a:gd name="T66" fmla="*/ 172 w 172"/>
                <a:gd name="T67" fmla="*/ 176 h 250"/>
                <a:gd name="T68" fmla="*/ 160 w 172"/>
                <a:gd name="T69" fmla="*/ 194 h 250"/>
                <a:gd name="T70" fmla="*/ 142 w 172"/>
                <a:gd name="T71" fmla="*/ 212 h 250"/>
                <a:gd name="T72" fmla="*/ 122 w 172"/>
                <a:gd name="T73" fmla="*/ 224 h 250"/>
                <a:gd name="T74" fmla="*/ 108 w 172"/>
                <a:gd name="T75" fmla="*/ 232 h 250"/>
                <a:gd name="T76" fmla="*/ 100 w 172"/>
                <a:gd name="T77" fmla="*/ 228 h 250"/>
                <a:gd name="T78" fmla="*/ 90 w 172"/>
                <a:gd name="T79" fmla="*/ 236 h 250"/>
                <a:gd name="T80" fmla="*/ 82 w 172"/>
                <a:gd name="T81" fmla="*/ 238 h 250"/>
                <a:gd name="T82" fmla="*/ 66 w 172"/>
                <a:gd name="T83" fmla="*/ 242 h 250"/>
                <a:gd name="T84" fmla="*/ 48 w 172"/>
                <a:gd name="T85" fmla="*/ 250 h 250"/>
                <a:gd name="T86" fmla="*/ 48 w 172"/>
                <a:gd name="T87" fmla="*/ 242 h 250"/>
                <a:gd name="T88" fmla="*/ 78 w 172"/>
                <a:gd name="T89" fmla="*/ 128 h 250"/>
                <a:gd name="T90" fmla="*/ 48 w 172"/>
                <a:gd name="T91" fmla="*/ 158 h 250"/>
                <a:gd name="T92" fmla="*/ 26 w 172"/>
                <a:gd name="T93" fmla="*/ 172 h 250"/>
                <a:gd name="T94" fmla="*/ 2 w 172"/>
                <a:gd name="T95" fmla="*/ 236 h 250"/>
                <a:gd name="T96" fmla="*/ 6 w 172"/>
                <a:gd name="T97" fmla="*/ 242 h 250"/>
                <a:gd name="T98" fmla="*/ 0 w 172"/>
                <a:gd name="T99" fmla="*/ 242 h 250"/>
                <a:gd name="T100" fmla="*/ 44 w 172"/>
                <a:gd name="T101" fmla="*/ 242 h 250"/>
                <a:gd name="T102" fmla="*/ 44 w 172"/>
                <a:gd name="T103" fmla="*/ 246 h 250"/>
                <a:gd name="T104" fmla="*/ 34 w 172"/>
                <a:gd name="T105" fmla="*/ 242 h 250"/>
                <a:gd name="T106" fmla="*/ 6 w 172"/>
                <a:gd name="T107" fmla="*/ 242 h 250"/>
                <a:gd name="T108" fmla="*/ 56 w 172"/>
                <a:gd name="T109" fmla="*/ 24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50">
                  <a:moveTo>
                    <a:pt x="48" y="242"/>
                  </a:moveTo>
                  <a:lnTo>
                    <a:pt x="48" y="238"/>
                  </a:lnTo>
                  <a:lnTo>
                    <a:pt x="52" y="236"/>
                  </a:lnTo>
                  <a:lnTo>
                    <a:pt x="48" y="238"/>
                  </a:lnTo>
                  <a:lnTo>
                    <a:pt x="44" y="238"/>
                  </a:lnTo>
                  <a:lnTo>
                    <a:pt x="40" y="238"/>
                  </a:lnTo>
                  <a:lnTo>
                    <a:pt x="44" y="238"/>
                  </a:lnTo>
                  <a:lnTo>
                    <a:pt x="44" y="236"/>
                  </a:lnTo>
                  <a:lnTo>
                    <a:pt x="40" y="236"/>
                  </a:lnTo>
                  <a:lnTo>
                    <a:pt x="36" y="236"/>
                  </a:lnTo>
                  <a:lnTo>
                    <a:pt x="34" y="232"/>
                  </a:lnTo>
                  <a:lnTo>
                    <a:pt x="34" y="236"/>
                  </a:lnTo>
                  <a:lnTo>
                    <a:pt x="34" y="232"/>
                  </a:lnTo>
                  <a:lnTo>
                    <a:pt x="30" y="232"/>
                  </a:lnTo>
                  <a:lnTo>
                    <a:pt x="26" y="232"/>
                  </a:lnTo>
                  <a:lnTo>
                    <a:pt x="26" y="228"/>
                  </a:lnTo>
                  <a:lnTo>
                    <a:pt x="26" y="224"/>
                  </a:lnTo>
                  <a:lnTo>
                    <a:pt x="26" y="220"/>
                  </a:lnTo>
                  <a:lnTo>
                    <a:pt x="26" y="216"/>
                  </a:lnTo>
                  <a:lnTo>
                    <a:pt x="30" y="216"/>
                  </a:lnTo>
                  <a:lnTo>
                    <a:pt x="30" y="212"/>
                  </a:lnTo>
                  <a:lnTo>
                    <a:pt x="30" y="208"/>
                  </a:lnTo>
                  <a:lnTo>
                    <a:pt x="26" y="208"/>
                  </a:lnTo>
                  <a:lnTo>
                    <a:pt x="30" y="208"/>
                  </a:lnTo>
                  <a:lnTo>
                    <a:pt x="30" y="206"/>
                  </a:lnTo>
                  <a:lnTo>
                    <a:pt x="26" y="206"/>
                  </a:lnTo>
                  <a:lnTo>
                    <a:pt x="30" y="202"/>
                  </a:lnTo>
                  <a:lnTo>
                    <a:pt x="26" y="202"/>
                  </a:lnTo>
                  <a:lnTo>
                    <a:pt x="26" y="198"/>
                  </a:lnTo>
                  <a:lnTo>
                    <a:pt x="26" y="194"/>
                  </a:lnTo>
                  <a:lnTo>
                    <a:pt x="26" y="192"/>
                  </a:lnTo>
                  <a:lnTo>
                    <a:pt x="22" y="192"/>
                  </a:lnTo>
                  <a:lnTo>
                    <a:pt x="22" y="188"/>
                  </a:lnTo>
                  <a:lnTo>
                    <a:pt x="22" y="184"/>
                  </a:lnTo>
                  <a:lnTo>
                    <a:pt x="22" y="180"/>
                  </a:lnTo>
                  <a:lnTo>
                    <a:pt x="26" y="180"/>
                  </a:lnTo>
                  <a:lnTo>
                    <a:pt x="26" y="176"/>
                  </a:lnTo>
                  <a:lnTo>
                    <a:pt x="30" y="172"/>
                  </a:lnTo>
                  <a:lnTo>
                    <a:pt x="30" y="176"/>
                  </a:lnTo>
                  <a:lnTo>
                    <a:pt x="30" y="172"/>
                  </a:lnTo>
                  <a:lnTo>
                    <a:pt x="30" y="168"/>
                  </a:lnTo>
                  <a:lnTo>
                    <a:pt x="30" y="172"/>
                  </a:lnTo>
                  <a:lnTo>
                    <a:pt x="34" y="168"/>
                  </a:lnTo>
                  <a:lnTo>
                    <a:pt x="34" y="172"/>
                  </a:lnTo>
                  <a:lnTo>
                    <a:pt x="36" y="168"/>
                  </a:lnTo>
                  <a:lnTo>
                    <a:pt x="40" y="168"/>
                  </a:lnTo>
                  <a:lnTo>
                    <a:pt x="40" y="164"/>
                  </a:lnTo>
                  <a:lnTo>
                    <a:pt x="36" y="164"/>
                  </a:lnTo>
                  <a:lnTo>
                    <a:pt x="40" y="164"/>
                  </a:lnTo>
                  <a:lnTo>
                    <a:pt x="40" y="162"/>
                  </a:lnTo>
                  <a:lnTo>
                    <a:pt x="44" y="158"/>
                  </a:lnTo>
                  <a:lnTo>
                    <a:pt x="44" y="162"/>
                  </a:lnTo>
                  <a:lnTo>
                    <a:pt x="48" y="162"/>
                  </a:lnTo>
                  <a:lnTo>
                    <a:pt x="48" y="158"/>
                  </a:lnTo>
                  <a:lnTo>
                    <a:pt x="52" y="154"/>
                  </a:lnTo>
                  <a:lnTo>
                    <a:pt x="56" y="154"/>
                  </a:lnTo>
                  <a:lnTo>
                    <a:pt x="56" y="150"/>
                  </a:lnTo>
                  <a:lnTo>
                    <a:pt x="60" y="150"/>
                  </a:lnTo>
                  <a:lnTo>
                    <a:pt x="60" y="146"/>
                  </a:lnTo>
                  <a:lnTo>
                    <a:pt x="64" y="146"/>
                  </a:lnTo>
                  <a:lnTo>
                    <a:pt x="64" y="142"/>
                  </a:lnTo>
                  <a:lnTo>
                    <a:pt x="66" y="142"/>
                  </a:lnTo>
                  <a:lnTo>
                    <a:pt x="66" y="138"/>
                  </a:lnTo>
                  <a:lnTo>
                    <a:pt x="70" y="136"/>
                  </a:lnTo>
                  <a:lnTo>
                    <a:pt x="70" y="132"/>
                  </a:lnTo>
                  <a:lnTo>
                    <a:pt x="74" y="132"/>
                  </a:lnTo>
                  <a:lnTo>
                    <a:pt x="78" y="132"/>
                  </a:lnTo>
                  <a:lnTo>
                    <a:pt x="82" y="132"/>
                  </a:lnTo>
                  <a:lnTo>
                    <a:pt x="82" y="128"/>
                  </a:lnTo>
                  <a:lnTo>
                    <a:pt x="86" y="128"/>
                  </a:lnTo>
                  <a:lnTo>
                    <a:pt x="82" y="128"/>
                  </a:lnTo>
                  <a:lnTo>
                    <a:pt x="82" y="124"/>
                  </a:lnTo>
                  <a:lnTo>
                    <a:pt x="82" y="120"/>
                  </a:lnTo>
                  <a:lnTo>
                    <a:pt x="82" y="116"/>
                  </a:lnTo>
                  <a:lnTo>
                    <a:pt x="82" y="112"/>
                  </a:lnTo>
                  <a:lnTo>
                    <a:pt x="78" y="112"/>
                  </a:lnTo>
                  <a:lnTo>
                    <a:pt x="78" y="116"/>
                  </a:lnTo>
                  <a:lnTo>
                    <a:pt x="78" y="112"/>
                  </a:lnTo>
                  <a:lnTo>
                    <a:pt x="74" y="112"/>
                  </a:lnTo>
                  <a:lnTo>
                    <a:pt x="70" y="108"/>
                  </a:lnTo>
                  <a:lnTo>
                    <a:pt x="74" y="106"/>
                  </a:lnTo>
                  <a:lnTo>
                    <a:pt x="70" y="106"/>
                  </a:lnTo>
                  <a:lnTo>
                    <a:pt x="70" y="108"/>
                  </a:lnTo>
                  <a:lnTo>
                    <a:pt x="66" y="108"/>
                  </a:lnTo>
                  <a:lnTo>
                    <a:pt x="64" y="102"/>
                  </a:lnTo>
                  <a:lnTo>
                    <a:pt x="60" y="102"/>
                  </a:lnTo>
                  <a:lnTo>
                    <a:pt x="60" y="98"/>
                  </a:lnTo>
                  <a:lnTo>
                    <a:pt x="60" y="94"/>
                  </a:lnTo>
                  <a:lnTo>
                    <a:pt x="60" y="90"/>
                  </a:lnTo>
                  <a:lnTo>
                    <a:pt x="64" y="90"/>
                  </a:lnTo>
                  <a:lnTo>
                    <a:pt x="64" y="86"/>
                  </a:lnTo>
                  <a:lnTo>
                    <a:pt x="64" y="82"/>
                  </a:lnTo>
                  <a:lnTo>
                    <a:pt x="60" y="78"/>
                  </a:lnTo>
                  <a:lnTo>
                    <a:pt x="56" y="76"/>
                  </a:lnTo>
                  <a:lnTo>
                    <a:pt x="60" y="72"/>
                  </a:lnTo>
                  <a:lnTo>
                    <a:pt x="60" y="68"/>
                  </a:lnTo>
                  <a:lnTo>
                    <a:pt x="56" y="68"/>
                  </a:lnTo>
                  <a:lnTo>
                    <a:pt x="56" y="64"/>
                  </a:lnTo>
                  <a:lnTo>
                    <a:pt x="56" y="60"/>
                  </a:lnTo>
                  <a:lnTo>
                    <a:pt x="56" y="56"/>
                  </a:lnTo>
                  <a:lnTo>
                    <a:pt x="60" y="56"/>
                  </a:lnTo>
                  <a:lnTo>
                    <a:pt x="56" y="52"/>
                  </a:lnTo>
                  <a:lnTo>
                    <a:pt x="48" y="46"/>
                  </a:lnTo>
                  <a:lnTo>
                    <a:pt x="44" y="46"/>
                  </a:lnTo>
                  <a:lnTo>
                    <a:pt x="40" y="42"/>
                  </a:lnTo>
                  <a:lnTo>
                    <a:pt x="36" y="42"/>
                  </a:lnTo>
                  <a:lnTo>
                    <a:pt x="34" y="42"/>
                  </a:lnTo>
                  <a:lnTo>
                    <a:pt x="30" y="42"/>
                  </a:lnTo>
                  <a:lnTo>
                    <a:pt x="30" y="38"/>
                  </a:lnTo>
                  <a:lnTo>
                    <a:pt x="26" y="38"/>
                  </a:lnTo>
                  <a:lnTo>
                    <a:pt x="26" y="34"/>
                  </a:lnTo>
                  <a:lnTo>
                    <a:pt x="22" y="34"/>
                  </a:lnTo>
                  <a:lnTo>
                    <a:pt x="18" y="30"/>
                  </a:lnTo>
                  <a:lnTo>
                    <a:pt x="14" y="26"/>
                  </a:lnTo>
                  <a:lnTo>
                    <a:pt x="18" y="26"/>
                  </a:lnTo>
                  <a:lnTo>
                    <a:pt x="22" y="26"/>
                  </a:lnTo>
                  <a:lnTo>
                    <a:pt x="22" y="30"/>
                  </a:lnTo>
                  <a:lnTo>
                    <a:pt x="22" y="26"/>
                  </a:lnTo>
                  <a:lnTo>
                    <a:pt x="22" y="22"/>
                  </a:lnTo>
                  <a:lnTo>
                    <a:pt x="26" y="22"/>
                  </a:lnTo>
                  <a:lnTo>
                    <a:pt x="30" y="22"/>
                  </a:lnTo>
                  <a:lnTo>
                    <a:pt x="34" y="26"/>
                  </a:lnTo>
                  <a:lnTo>
                    <a:pt x="36" y="26"/>
                  </a:lnTo>
                  <a:lnTo>
                    <a:pt x="36" y="30"/>
                  </a:lnTo>
                  <a:lnTo>
                    <a:pt x="40" y="34"/>
                  </a:lnTo>
                  <a:lnTo>
                    <a:pt x="40" y="38"/>
                  </a:lnTo>
                  <a:lnTo>
                    <a:pt x="44" y="34"/>
                  </a:lnTo>
                  <a:lnTo>
                    <a:pt x="48" y="38"/>
                  </a:lnTo>
                  <a:lnTo>
                    <a:pt x="52" y="38"/>
                  </a:lnTo>
                  <a:lnTo>
                    <a:pt x="56" y="38"/>
                  </a:lnTo>
                  <a:lnTo>
                    <a:pt x="60" y="38"/>
                  </a:lnTo>
                  <a:lnTo>
                    <a:pt x="60" y="34"/>
                  </a:lnTo>
                  <a:lnTo>
                    <a:pt x="64" y="34"/>
                  </a:lnTo>
                  <a:lnTo>
                    <a:pt x="66" y="34"/>
                  </a:lnTo>
                  <a:lnTo>
                    <a:pt x="66" y="38"/>
                  </a:lnTo>
                  <a:lnTo>
                    <a:pt x="70" y="38"/>
                  </a:lnTo>
                  <a:lnTo>
                    <a:pt x="74" y="38"/>
                  </a:lnTo>
                  <a:lnTo>
                    <a:pt x="78" y="42"/>
                  </a:lnTo>
                  <a:lnTo>
                    <a:pt x="78" y="38"/>
                  </a:lnTo>
                  <a:lnTo>
                    <a:pt x="78" y="34"/>
                  </a:lnTo>
                  <a:lnTo>
                    <a:pt x="82" y="34"/>
                  </a:lnTo>
                  <a:lnTo>
                    <a:pt x="82" y="30"/>
                  </a:lnTo>
                  <a:lnTo>
                    <a:pt x="86" y="30"/>
                  </a:lnTo>
                  <a:lnTo>
                    <a:pt x="86" y="34"/>
                  </a:lnTo>
                  <a:lnTo>
                    <a:pt x="86" y="30"/>
                  </a:lnTo>
                  <a:lnTo>
                    <a:pt x="90" y="30"/>
                  </a:lnTo>
                  <a:lnTo>
                    <a:pt x="90" y="26"/>
                  </a:lnTo>
                  <a:lnTo>
                    <a:pt x="90" y="22"/>
                  </a:lnTo>
                  <a:lnTo>
                    <a:pt x="90" y="20"/>
                  </a:lnTo>
                  <a:lnTo>
                    <a:pt x="90" y="16"/>
                  </a:lnTo>
                  <a:lnTo>
                    <a:pt x="94" y="16"/>
                  </a:lnTo>
                  <a:lnTo>
                    <a:pt x="94" y="12"/>
                  </a:lnTo>
                  <a:lnTo>
                    <a:pt x="90" y="12"/>
                  </a:lnTo>
                  <a:lnTo>
                    <a:pt x="94" y="12"/>
                  </a:lnTo>
                  <a:lnTo>
                    <a:pt x="96" y="8"/>
                  </a:lnTo>
                  <a:lnTo>
                    <a:pt x="96" y="4"/>
                  </a:lnTo>
                  <a:lnTo>
                    <a:pt x="100" y="4"/>
                  </a:lnTo>
                  <a:lnTo>
                    <a:pt x="104" y="4"/>
                  </a:lnTo>
                  <a:lnTo>
                    <a:pt x="108" y="8"/>
                  </a:lnTo>
                  <a:lnTo>
                    <a:pt x="108" y="4"/>
                  </a:lnTo>
                  <a:lnTo>
                    <a:pt x="112" y="4"/>
                  </a:lnTo>
                  <a:lnTo>
                    <a:pt x="116" y="0"/>
                  </a:lnTo>
                  <a:lnTo>
                    <a:pt x="120" y="0"/>
                  </a:lnTo>
                  <a:lnTo>
                    <a:pt x="120" y="4"/>
                  </a:lnTo>
                  <a:lnTo>
                    <a:pt x="122" y="4"/>
                  </a:lnTo>
                  <a:lnTo>
                    <a:pt x="122" y="8"/>
                  </a:lnTo>
                  <a:lnTo>
                    <a:pt x="126" y="8"/>
                  </a:lnTo>
                  <a:lnTo>
                    <a:pt x="130" y="12"/>
                  </a:lnTo>
                  <a:lnTo>
                    <a:pt x="134" y="12"/>
                  </a:lnTo>
                  <a:lnTo>
                    <a:pt x="138" y="12"/>
                  </a:lnTo>
                  <a:lnTo>
                    <a:pt x="138" y="16"/>
                  </a:lnTo>
                  <a:lnTo>
                    <a:pt x="138" y="20"/>
                  </a:lnTo>
                  <a:lnTo>
                    <a:pt x="134" y="20"/>
                  </a:lnTo>
                  <a:lnTo>
                    <a:pt x="134" y="22"/>
                  </a:lnTo>
                  <a:lnTo>
                    <a:pt x="130" y="22"/>
                  </a:lnTo>
                  <a:lnTo>
                    <a:pt x="130" y="26"/>
                  </a:lnTo>
                  <a:lnTo>
                    <a:pt x="134" y="26"/>
                  </a:lnTo>
                  <a:lnTo>
                    <a:pt x="134" y="30"/>
                  </a:lnTo>
                  <a:lnTo>
                    <a:pt x="130" y="30"/>
                  </a:lnTo>
                  <a:lnTo>
                    <a:pt x="126" y="30"/>
                  </a:lnTo>
                  <a:lnTo>
                    <a:pt x="126" y="34"/>
                  </a:lnTo>
                  <a:lnTo>
                    <a:pt x="130" y="34"/>
                  </a:lnTo>
                  <a:lnTo>
                    <a:pt x="130" y="38"/>
                  </a:lnTo>
                  <a:lnTo>
                    <a:pt x="126" y="42"/>
                  </a:lnTo>
                  <a:lnTo>
                    <a:pt x="126" y="46"/>
                  </a:lnTo>
                  <a:lnTo>
                    <a:pt x="130" y="50"/>
                  </a:lnTo>
                  <a:lnTo>
                    <a:pt x="138" y="52"/>
                  </a:lnTo>
                  <a:lnTo>
                    <a:pt x="142" y="52"/>
                  </a:lnTo>
                  <a:lnTo>
                    <a:pt x="142" y="56"/>
                  </a:lnTo>
                  <a:lnTo>
                    <a:pt x="144" y="60"/>
                  </a:lnTo>
                  <a:lnTo>
                    <a:pt x="148" y="60"/>
                  </a:lnTo>
                  <a:lnTo>
                    <a:pt x="148" y="64"/>
                  </a:lnTo>
                  <a:lnTo>
                    <a:pt x="148" y="68"/>
                  </a:lnTo>
                  <a:lnTo>
                    <a:pt x="144" y="68"/>
                  </a:lnTo>
                  <a:lnTo>
                    <a:pt x="142" y="72"/>
                  </a:lnTo>
                  <a:lnTo>
                    <a:pt x="138" y="78"/>
                  </a:lnTo>
                  <a:lnTo>
                    <a:pt x="134" y="78"/>
                  </a:lnTo>
                  <a:lnTo>
                    <a:pt x="134" y="82"/>
                  </a:lnTo>
                  <a:lnTo>
                    <a:pt x="138" y="82"/>
                  </a:lnTo>
                  <a:lnTo>
                    <a:pt x="138" y="86"/>
                  </a:lnTo>
                  <a:lnTo>
                    <a:pt x="142" y="90"/>
                  </a:lnTo>
                  <a:lnTo>
                    <a:pt x="142" y="94"/>
                  </a:lnTo>
                  <a:lnTo>
                    <a:pt x="144" y="98"/>
                  </a:lnTo>
                  <a:lnTo>
                    <a:pt x="144" y="102"/>
                  </a:lnTo>
                  <a:lnTo>
                    <a:pt x="148" y="102"/>
                  </a:lnTo>
                  <a:lnTo>
                    <a:pt x="148" y="106"/>
                  </a:lnTo>
                  <a:lnTo>
                    <a:pt x="148" y="108"/>
                  </a:lnTo>
                  <a:lnTo>
                    <a:pt x="148" y="112"/>
                  </a:lnTo>
                  <a:lnTo>
                    <a:pt x="144" y="112"/>
                  </a:lnTo>
                  <a:lnTo>
                    <a:pt x="144" y="116"/>
                  </a:lnTo>
                  <a:lnTo>
                    <a:pt x="144" y="120"/>
                  </a:lnTo>
                  <a:lnTo>
                    <a:pt x="142" y="120"/>
                  </a:lnTo>
                  <a:lnTo>
                    <a:pt x="142" y="124"/>
                  </a:lnTo>
                  <a:lnTo>
                    <a:pt x="144" y="124"/>
                  </a:lnTo>
                  <a:lnTo>
                    <a:pt x="144" y="128"/>
                  </a:lnTo>
                  <a:lnTo>
                    <a:pt x="142" y="128"/>
                  </a:lnTo>
                  <a:lnTo>
                    <a:pt x="142" y="132"/>
                  </a:lnTo>
                  <a:lnTo>
                    <a:pt x="144" y="132"/>
                  </a:lnTo>
                  <a:lnTo>
                    <a:pt x="148" y="132"/>
                  </a:lnTo>
                  <a:lnTo>
                    <a:pt x="148" y="136"/>
                  </a:lnTo>
                  <a:lnTo>
                    <a:pt x="152" y="136"/>
                  </a:lnTo>
                  <a:lnTo>
                    <a:pt x="148" y="138"/>
                  </a:lnTo>
                  <a:lnTo>
                    <a:pt x="148" y="142"/>
                  </a:lnTo>
                  <a:lnTo>
                    <a:pt x="152" y="142"/>
                  </a:lnTo>
                  <a:lnTo>
                    <a:pt x="152" y="146"/>
                  </a:lnTo>
                  <a:lnTo>
                    <a:pt x="156" y="146"/>
                  </a:lnTo>
                  <a:lnTo>
                    <a:pt x="156" y="150"/>
                  </a:lnTo>
                  <a:lnTo>
                    <a:pt x="156" y="154"/>
                  </a:lnTo>
                  <a:lnTo>
                    <a:pt x="152" y="154"/>
                  </a:lnTo>
                  <a:lnTo>
                    <a:pt x="152" y="158"/>
                  </a:lnTo>
                  <a:lnTo>
                    <a:pt x="148" y="158"/>
                  </a:lnTo>
                  <a:lnTo>
                    <a:pt x="152" y="162"/>
                  </a:lnTo>
                  <a:lnTo>
                    <a:pt x="156" y="164"/>
                  </a:lnTo>
                  <a:lnTo>
                    <a:pt x="160" y="164"/>
                  </a:lnTo>
                  <a:lnTo>
                    <a:pt x="160" y="168"/>
                  </a:lnTo>
                  <a:lnTo>
                    <a:pt x="164" y="168"/>
                  </a:lnTo>
                  <a:lnTo>
                    <a:pt x="168" y="172"/>
                  </a:lnTo>
                  <a:lnTo>
                    <a:pt x="172" y="176"/>
                  </a:lnTo>
                  <a:lnTo>
                    <a:pt x="172" y="180"/>
                  </a:lnTo>
                  <a:lnTo>
                    <a:pt x="168" y="180"/>
                  </a:lnTo>
                  <a:lnTo>
                    <a:pt x="168" y="184"/>
                  </a:lnTo>
                  <a:lnTo>
                    <a:pt x="168" y="188"/>
                  </a:lnTo>
                  <a:lnTo>
                    <a:pt x="164" y="192"/>
                  </a:lnTo>
                  <a:lnTo>
                    <a:pt x="160" y="192"/>
                  </a:lnTo>
                  <a:lnTo>
                    <a:pt x="160" y="194"/>
                  </a:lnTo>
                  <a:lnTo>
                    <a:pt x="156" y="194"/>
                  </a:lnTo>
                  <a:lnTo>
                    <a:pt x="152" y="198"/>
                  </a:lnTo>
                  <a:lnTo>
                    <a:pt x="152" y="202"/>
                  </a:lnTo>
                  <a:lnTo>
                    <a:pt x="148" y="202"/>
                  </a:lnTo>
                  <a:lnTo>
                    <a:pt x="148" y="206"/>
                  </a:lnTo>
                  <a:lnTo>
                    <a:pt x="144" y="208"/>
                  </a:lnTo>
                  <a:lnTo>
                    <a:pt x="142" y="212"/>
                  </a:lnTo>
                  <a:lnTo>
                    <a:pt x="138" y="212"/>
                  </a:lnTo>
                  <a:lnTo>
                    <a:pt x="138" y="216"/>
                  </a:lnTo>
                  <a:lnTo>
                    <a:pt x="134" y="216"/>
                  </a:lnTo>
                  <a:lnTo>
                    <a:pt x="130" y="220"/>
                  </a:lnTo>
                  <a:lnTo>
                    <a:pt x="130" y="224"/>
                  </a:lnTo>
                  <a:lnTo>
                    <a:pt x="126" y="224"/>
                  </a:lnTo>
                  <a:lnTo>
                    <a:pt x="122" y="224"/>
                  </a:lnTo>
                  <a:lnTo>
                    <a:pt x="122" y="228"/>
                  </a:lnTo>
                  <a:lnTo>
                    <a:pt x="120" y="232"/>
                  </a:lnTo>
                  <a:lnTo>
                    <a:pt x="116" y="232"/>
                  </a:lnTo>
                  <a:lnTo>
                    <a:pt x="112" y="232"/>
                  </a:lnTo>
                  <a:lnTo>
                    <a:pt x="112" y="236"/>
                  </a:lnTo>
                  <a:lnTo>
                    <a:pt x="112" y="232"/>
                  </a:lnTo>
                  <a:lnTo>
                    <a:pt x="108" y="232"/>
                  </a:lnTo>
                  <a:lnTo>
                    <a:pt x="104" y="236"/>
                  </a:lnTo>
                  <a:lnTo>
                    <a:pt x="100" y="236"/>
                  </a:lnTo>
                  <a:lnTo>
                    <a:pt x="96" y="236"/>
                  </a:lnTo>
                  <a:lnTo>
                    <a:pt x="100" y="232"/>
                  </a:lnTo>
                  <a:lnTo>
                    <a:pt x="104" y="232"/>
                  </a:lnTo>
                  <a:lnTo>
                    <a:pt x="100" y="232"/>
                  </a:lnTo>
                  <a:lnTo>
                    <a:pt x="100" y="228"/>
                  </a:lnTo>
                  <a:lnTo>
                    <a:pt x="100" y="232"/>
                  </a:lnTo>
                  <a:lnTo>
                    <a:pt x="96" y="232"/>
                  </a:lnTo>
                  <a:lnTo>
                    <a:pt x="96" y="236"/>
                  </a:lnTo>
                  <a:lnTo>
                    <a:pt x="94" y="236"/>
                  </a:lnTo>
                  <a:lnTo>
                    <a:pt x="94" y="238"/>
                  </a:lnTo>
                  <a:lnTo>
                    <a:pt x="94" y="236"/>
                  </a:lnTo>
                  <a:lnTo>
                    <a:pt x="90" y="236"/>
                  </a:lnTo>
                  <a:lnTo>
                    <a:pt x="90" y="238"/>
                  </a:lnTo>
                  <a:lnTo>
                    <a:pt x="86" y="238"/>
                  </a:lnTo>
                  <a:lnTo>
                    <a:pt x="86" y="236"/>
                  </a:lnTo>
                  <a:lnTo>
                    <a:pt x="86" y="238"/>
                  </a:lnTo>
                  <a:lnTo>
                    <a:pt x="82" y="238"/>
                  </a:lnTo>
                  <a:lnTo>
                    <a:pt x="78" y="238"/>
                  </a:lnTo>
                  <a:lnTo>
                    <a:pt x="82" y="238"/>
                  </a:lnTo>
                  <a:lnTo>
                    <a:pt x="78" y="238"/>
                  </a:lnTo>
                  <a:lnTo>
                    <a:pt x="78" y="242"/>
                  </a:lnTo>
                  <a:lnTo>
                    <a:pt x="74" y="242"/>
                  </a:lnTo>
                  <a:lnTo>
                    <a:pt x="70" y="242"/>
                  </a:lnTo>
                  <a:lnTo>
                    <a:pt x="70" y="246"/>
                  </a:lnTo>
                  <a:lnTo>
                    <a:pt x="70" y="242"/>
                  </a:lnTo>
                  <a:lnTo>
                    <a:pt x="66" y="242"/>
                  </a:lnTo>
                  <a:lnTo>
                    <a:pt x="64" y="242"/>
                  </a:lnTo>
                  <a:lnTo>
                    <a:pt x="60" y="246"/>
                  </a:lnTo>
                  <a:lnTo>
                    <a:pt x="56" y="246"/>
                  </a:lnTo>
                  <a:lnTo>
                    <a:pt x="56" y="242"/>
                  </a:lnTo>
                  <a:lnTo>
                    <a:pt x="56" y="246"/>
                  </a:lnTo>
                  <a:lnTo>
                    <a:pt x="52" y="246"/>
                  </a:lnTo>
                  <a:lnTo>
                    <a:pt x="48" y="250"/>
                  </a:lnTo>
                  <a:lnTo>
                    <a:pt x="48" y="246"/>
                  </a:lnTo>
                  <a:lnTo>
                    <a:pt x="52" y="246"/>
                  </a:lnTo>
                  <a:lnTo>
                    <a:pt x="56" y="242"/>
                  </a:lnTo>
                  <a:lnTo>
                    <a:pt x="52" y="242"/>
                  </a:lnTo>
                  <a:lnTo>
                    <a:pt x="52" y="246"/>
                  </a:lnTo>
                  <a:lnTo>
                    <a:pt x="52" y="242"/>
                  </a:lnTo>
                  <a:lnTo>
                    <a:pt x="48" y="242"/>
                  </a:lnTo>
                  <a:lnTo>
                    <a:pt x="48" y="242"/>
                  </a:lnTo>
                  <a:lnTo>
                    <a:pt x="48" y="242"/>
                  </a:lnTo>
                  <a:close/>
                  <a:moveTo>
                    <a:pt x="78" y="128"/>
                  </a:moveTo>
                  <a:lnTo>
                    <a:pt x="74" y="128"/>
                  </a:lnTo>
                  <a:lnTo>
                    <a:pt x="70" y="128"/>
                  </a:lnTo>
                  <a:lnTo>
                    <a:pt x="74" y="128"/>
                  </a:lnTo>
                  <a:lnTo>
                    <a:pt x="78" y="128"/>
                  </a:lnTo>
                  <a:lnTo>
                    <a:pt x="78" y="128"/>
                  </a:lnTo>
                  <a:lnTo>
                    <a:pt x="78" y="128"/>
                  </a:lnTo>
                  <a:close/>
                  <a:moveTo>
                    <a:pt x="48" y="158"/>
                  </a:moveTo>
                  <a:lnTo>
                    <a:pt x="44" y="158"/>
                  </a:lnTo>
                  <a:lnTo>
                    <a:pt x="48" y="154"/>
                  </a:lnTo>
                  <a:lnTo>
                    <a:pt x="48" y="158"/>
                  </a:lnTo>
                  <a:lnTo>
                    <a:pt x="48" y="158"/>
                  </a:lnTo>
                  <a:lnTo>
                    <a:pt x="48" y="158"/>
                  </a:lnTo>
                  <a:close/>
                  <a:moveTo>
                    <a:pt x="26" y="172"/>
                  </a:moveTo>
                  <a:lnTo>
                    <a:pt x="22" y="172"/>
                  </a:lnTo>
                  <a:lnTo>
                    <a:pt x="22" y="168"/>
                  </a:lnTo>
                  <a:lnTo>
                    <a:pt x="26" y="168"/>
                  </a:lnTo>
                  <a:lnTo>
                    <a:pt x="26" y="172"/>
                  </a:lnTo>
                  <a:lnTo>
                    <a:pt x="26" y="172"/>
                  </a:lnTo>
                  <a:lnTo>
                    <a:pt x="26" y="172"/>
                  </a:lnTo>
                  <a:close/>
                  <a:moveTo>
                    <a:pt x="6" y="242"/>
                  </a:moveTo>
                  <a:lnTo>
                    <a:pt x="2" y="242"/>
                  </a:lnTo>
                  <a:lnTo>
                    <a:pt x="2" y="238"/>
                  </a:lnTo>
                  <a:lnTo>
                    <a:pt x="6" y="238"/>
                  </a:lnTo>
                  <a:lnTo>
                    <a:pt x="6" y="236"/>
                  </a:lnTo>
                  <a:lnTo>
                    <a:pt x="2" y="236"/>
                  </a:lnTo>
                  <a:lnTo>
                    <a:pt x="2" y="238"/>
                  </a:lnTo>
                  <a:lnTo>
                    <a:pt x="2" y="236"/>
                  </a:lnTo>
                  <a:lnTo>
                    <a:pt x="6" y="236"/>
                  </a:lnTo>
                  <a:lnTo>
                    <a:pt x="10" y="238"/>
                  </a:lnTo>
                  <a:lnTo>
                    <a:pt x="6" y="238"/>
                  </a:lnTo>
                  <a:lnTo>
                    <a:pt x="6" y="242"/>
                  </a:lnTo>
                  <a:lnTo>
                    <a:pt x="6" y="242"/>
                  </a:lnTo>
                  <a:lnTo>
                    <a:pt x="6" y="242"/>
                  </a:lnTo>
                  <a:close/>
                  <a:moveTo>
                    <a:pt x="36" y="238"/>
                  </a:moveTo>
                  <a:lnTo>
                    <a:pt x="40" y="238"/>
                  </a:lnTo>
                  <a:lnTo>
                    <a:pt x="36" y="238"/>
                  </a:lnTo>
                  <a:lnTo>
                    <a:pt x="36" y="238"/>
                  </a:lnTo>
                  <a:lnTo>
                    <a:pt x="36" y="238"/>
                  </a:lnTo>
                  <a:close/>
                  <a:moveTo>
                    <a:pt x="0" y="242"/>
                  </a:moveTo>
                  <a:lnTo>
                    <a:pt x="0" y="238"/>
                  </a:lnTo>
                  <a:lnTo>
                    <a:pt x="2" y="238"/>
                  </a:lnTo>
                  <a:lnTo>
                    <a:pt x="0" y="242"/>
                  </a:lnTo>
                  <a:lnTo>
                    <a:pt x="0" y="242"/>
                  </a:lnTo>
                  <a:lnTo>
                    <a:pt x="0" y="242"/>
                  </a:lnTo>
                  <a:close/>
                  <a:moveTo>
                    <a:pt x="44" y="246"/>
                  </a:moveTo>
                  <a:lnTo>
                    <a:pt x="44" y="242"/>
                  </a:lnTo>
                  <a:lnTo>
                    <a:pt x="40" y="242"/>
                  </a:lnTo>
                  <a:lnTo>
                    <a:pt x="40" y="238"/>
                  </a:lnTo>
                  <a:lnTo>
                    <a:pt x="44" y="238"/>
                  </a:lnTo>
                  <a:lnTo>
                    <a:pt x="48" y="238"/>
                  </a:lnTo>
                  <a:lnTo>
                    <a:pt x="48" y="242"/>
                  </a:lnTo>
                  <a:lnTo>
                    <a:pt x="44" y="242"/>
                  </a:lnTo>
                  <a:lnTo>
                    <a:pt x="44" y="246"/>
                  </a:lnTo>
                  <a:lnTo>
                    <a:pt x="44" y="246"/>
                  </a:lnTo>
                  <a:lnTo>
                    <a:pt x="44" y="246"/>
                  </a:lnTo>
                  <a:close/>
                  <a:moveTo>
                    <a:pt x="34" y="242"/>
                  </a:moveTo>
                  <a:lnTo>
                    <a:pt x="30" y="242"/>
                  </a:lnTo>
                  <a:lnTo>
                    <a:pt x="30" y="238"/>
                  </a:lnTo>
                  <a:lnTo>
                    <a:pt x="34" y="238"/>
                  </a:lnTo>
                  <a:lnTo>
                    <a:pt x="34" y="242"/>
                  </a:lnTo>
                  <a:lnTo>
                    <a:pt x="34" y="242"/>
                  </a:lnTo>
                  <a:lnTo>
                    <a:pt x="34" y="242"/>
                  </a:lnTo>
                  <a:close/>
                  <a:moveTo>
                    <a:pt x="6" y="242"/>
                  </a:moveTo>
                  <a:lnTo>
                    <a:pt x="10" y="242"/>
                  </a:lnTo>
                  <a:lnTo>
                    <a:pt x="10" y="246"/>
                  </a:lnTo>
                  <a:lnTo>
                    <a:pt x="6" y="242"/>
                  </a:lnTo>
                  <a:lnTo>
                    <a:pt x="6" y="242"/>
                  </a:lnTo>
                  <a:lnTo>
                    <a:pt x="6" y="242"/>
                  </a:lnTo>
                  <a:close/>
                  <a:moveTo>
                    <a:pt x="48" y="246"/>
                  </a:moveTo>
                  <a:lnTo>
                    <a:pt x="52" y="246"/>
                  </a:lnTo>
                  <a:lnTo>
                    <a:pt x="48" y="246"/>
                  </a:lnTo>
                  <a:lnTo>
                    <a:pt x="48" y="246"/>
                  </a:lnTo>
                  <a:lnTo>
                    <a:pt x="48" y="246"/>
                  </a:lnTo>
                  <a:close/>
                  <a:moveTo>
                    <a:pt x="56" y="246"/>
                  </a:moveTo>
                  <a:lnTo>
                    <a:pt x="60" y="246"/>
                  </a:lnTo>
                  <a:lnTo>
                    <a:pt x="56" y="246"/>
                  </a:lnTo>
                  <a:lnTo>
                    <a:pt x="56" y="246"/>
                  </a:lnTo>
                  <a:lnTo>
                    <a:pt x="56" y="24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07" name="Freeform 100"/>
            <p:cNvSpPr>
              <a:spLocks noEditPoints="1"/>
            </p:cNvSpPr>
            <p:nvPr/>
          </p:nvSpPr>
          <p:spPr bwMode="auto">
            <a:xfrm>
              <a:off x="6997582" y="3549802"/>
              <a:ext cx="126852" cy="126836"/>
            </a:xfrm>
            <a:custGeom>
              <a:avLst/>
              <a:gdLst>
                <a:gd name="T0" fmla="*/ 80 w 202"/>
                <a:gd name="T1" fmla="*/ 168 h 194"/>
                <a:gd name="T2" fmla="*/ 72 w 202"/>
                <a:gd name="T3" fmla="*/ 168 h 194"/>
                <a:gd name="T4" fmla="*/ 50 w 202"/>
                <a:gd name="T5" fmla="*/ 162 h 194"/>
                <a:gd name="T6" fmla="*/ 46 w 202"/>
                <a:gd name="T7" fmla="*/ 158 h 194"/>
                <a:gd name="T8" fmla="*/ 50 w 202"/>
                <a:gd name="T9" fmla="*/ 138 h 194"/>
                <a:gd name="T10" fmla="*/ 50 w 202"/>
                <a:gd name="T11" fmla="*/ 128 h 194"/>
                <a:gd name="T12" fmla="*/ 56 w 202"/>
                <a:gd name="T13" fmla="*/ 116 h 194"/>
                <a:gd name="T14" fmla="*/ 56 w 202"/>
                <a:gd name="T15" fmla="*/ 116 h 194"/>
                <a:gd name="T16" fmla="*/ 54 w 202"/>
                <a:gd name="T17" fmla="*/ 106 h 194"/>
                <a:gd name="T18" fmla="*/ 42 w 202"/>
                <a:gd name="T19" fmla="*/ 94 h 194"/>
                <a:gd name="T20" fmla="*/ 42 w 202"/>
                <a:gd name="T21" fmla="*/ 78 h 194"/>
                <a:gd name="T22" fmla="*/ 34 w 202"/>
                <a:gd name="T23" fmla="*/ 72 h 194"/>
                <a:gd name="T24" fmla="*/ 22 w 202"/>
                <a:gd name="T25" fmla="*/ 72 h 194"/>
                <a:gd name="T26" fmla="*/ 12 w 202"/>
                <a:gd name="T27" fmla="*/ 64 h 194"/>
                <a:gd name="T28" fmla="*/ 0 w 202"/>
                <a:gd name="T29" fmla="*/ 64 h 194"/>
                <a:gd name="T30" fmla="*/ 0 w 202"/>
                <a:gd name="T31" fmla="*/ 56 h 194"/>
                <a:gd name="T32" fmla="*/ 4 w 202"/>
                <a:gd name="T33" fmla="*/ 52 h 194"/>
                <a:gd name="T34" fmla="*/ 16 w 202"/>
                <a:gd name="T35" fmla="*/ 48 h 194"/>
                <a:gd name="T36" fmla="*/ 34 w 202"/>
                <a:gd name="T37" fmla="*/ 48 h 194"/>
                <a:gd name="T38" fmla="*/ 46 w 202"/>
                <a:gd name="T39" fmla="*/ 48 h 194"/>
                <a:gd name="T40" fmla="*/ 42 w 202"/>
                <a:gd name="T41" fmla="*/ 34 h 194"/>
                <a:gd name="T42" fmla="*/ 50 w 202"/>
                <a:gd name="T43" fmla="*/ 26 h 194"/>
                <a:gd name="T44" fmla="*/ 64 w 202"/>
                <a:gd name="T45" fmla="*/ 34 h 194"/>
                <a:gd name="T46" fmla="*/ 72 w 202"/>
                <a:gd name="T47" fmla="*/ 34 h 194"/>
                <a:gd name="T48" fmla="*/ 80 w 202"/>
                <a:gd name="T49" fmla="*/ 22 h 194"/>
                <a:gd name="T50" fmla="*/ 90 w 202"/>
                <a:gd name="T51" fmla="*/ 12 h 194"/>
                <a:gd name="T52" fmla="*/ 106 w 202"/>
                <a:gd name="T53" fmla="*/ 0 h 194"/>
                <a:gd name="T54" fmla="*/ 114 w 202"/>
                <a:gd name="T55" fmla="*/ 8 h 194"/>
                <a:gd name="T56" fmla="*/ 128 w 202"/>
                <a:gd name="T57" fmla="*/ 16 h 194"/>
                <a:gd name="T58" fmla="*/ 138 w 202"/>
                <a:gd name="T59" fmla="*/ 18 h 194"/>
                <a:gd name="T60" fmla="*/ 146 w 202"/>
                <a:gd name="T61" fmla="*/ 30 h 194"/>
                <a:gd name="T62" fmla="*/ 158 w 202"/>
                <a:gd name="T63" fmla="*/ 34 h 194"/>
                <a:gd name="T64" fmla="*/ 172 w 202"/>
                <a:gd name="T65" fmla="*/ 42 h 194"/>
                <a:gd name="T66" fmla="*/ 180 w 202"/>
                <a:gd name="T67" fmla="*/ 48 h 194"/>
                <a:gd name="T68" fmla="*/ 176 w 202"/>
                <a:gd name="T69" fmla="*/ 68 h 194"/>
                <a:gd name="T70" fmla="*/ 168 w 202"/>
                <a:gd name="T71" fmla="*/ 76 h 194"/>
                <a:gd name="T72" fmla="*/ 160 w 202"/>
                <a:gd name="T73" fmla="*/ 86 h 194"/>
                <a:gd name="T74" fmla="*/ 154 w 202"/>
                <a:gd name="T75" fmla="*/ 98 h 194"/>
                <a:gd name="T76" fmla="*/ 164 w 202"/>
                <a:gd name="T77" fmla="*/ 94 h 194"/>
                <a:gd name="T78" fmla="*/ 164 w 202"/>
                <a:gd name="T79" fmla="*/ 112 h 194"/>
                <a:gd name="T80" fmla="*/ 160 w 202"/>
                <a:gd name="T81" fmla="*/ 124 h 194"/>
                <a:gd name="T82" fmla="*/ 168 w 202"/>
                <a:gd name="T83" fmla="*/ 138 h 194"/>
                <a:gd name="T84" fmla="*/ 172 w 202"/>
                <a:gd name="T85" fmla="*/ 146 h 194"/>
                <a:gd name="T86" fmla="*/ 164 w 202"/>
                <a:gd name="T87" fmla="*/ 154 h 194"/>
                <a:gd name="T88" fmla="*/ 146 w 202"/>
                <a:gd name="T89" fmla="*/ 162 h 194"/>
                <a:gd name="T90" fmla="*/ 138 w 202"/>
                <a:gd name="T91" fmla="*/ 154 h 194"/>
                <a:gd name="T92" fmla="*/ 128 w 202"/>
                <a:gd name="T93" fmla="*/ 154 h 194"/>
                <a:gd name="T94" fmla="*/ 110 w 202"/>
                <a:gd name="T95" fmla="*/ 164 h 194"/>
                <a:gd name="T96" fmla="*/ 106 w 202"/>
                <a:gd name="T97" fmla="*/ 176 h 194"/>
                <a:gd name="T98" fmla="*/ 94 w 202"/>
                <a:gd name="T99" fmla="*/ 172 h 194"/>
                <a:gd name="T100" fmla="*/ 54 w 202"/>
                <a:gd name="T101" fmla="*/ 108 h 194"/>
                <a:gd name="T102" fmla="*/ 22 w 202"/>
                <a:gd name="T103" fmla="*/ 78 h 194"/>
                <a:gd name="T104" fmla="*/ 50 w 202"/>
                <a:gd name="T105" fmla="*/ 102 h 194"/>
                <a:gd name="T106" fmla="*/ 190 w 202"/>
                <a:gd name="T107" fmla="*/ 172 h 194"/>
                <a:gd name="T108" fmla="*/ 202 w 202"/>
                <a:gd name="T109" fmla="*/ 168 h 194"/>
                <a:gd name="T110" fmla="*/ 198 w 202"/>
                <a:gd name="T111" fmla="*/ 190 h 194"/>
                <a:gd name="T112" fmla="*/ 190 w 202"/>
                <a:gd name="T113" fmla="*/ 186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2" h="194">
                  <a:moveTo>
                    <a:pt x="94" y="172"/>
                  </a:moveTo>
                  <a:lnTo>
                    <a:pt x="90" y="172"/>
                  </a:lnTo>
                  <a:lnTo>
                    <a:pt x="86" y="172"/>
                  </a:lnTo>
                  <a:lnTo>
                    <a:pt x="86" y="168"/>
                  </a:lnTo>
                  <a:lnTo>
                    <a:pt x="84" y="168"/>
                  </a:lnTo>
                  <a:lnTo>
                    <a:pt x="80" y="168"/>
                  </a:lnTo>
                  <a:lnTo>
                    <a:pt x="80" y="164"/>
                  </a:lnTo>
                  <a:lnTo>
                    <a:pt x="80" y="168"/>
                  </a:lnTo>
                  <a:lnTo>
                    <a:pt x="76" y="168"/>
                  </a:lnTo>
                  <a:lnTo>
                    <a:pt x="80" y="168"/>
                  </a:lnTo>
                  <a:lnTo>
                    <a:pt x="76" y="168"/>
                  </a:lnTo>
                  <a:lnTo>
                    <a:pt x="72" y="168"/>
                  </a:lnTo>
                  <a:lnTo>
                    <a:pt x="68" y="168"/>
                  </a:lnTo>
                  <a:lnTo>
                    <a:pt x="64" y="168"/>
                  </a:lnTo>
                  <a:lnTo>
                    <a:pt x="60" y="168"/>
                  </a:lnTo>
                  <a:lnTo>
                    <a:pt x="56" y="164"/>
                  </a:lnTo>
                  <a:lnTo>
                    <a:pt x="54" y="164"/>
                  </a:lnTo>
                  <a:lnTo>
                    <a:pt x="50" y="162"/>
                  </a:lnTo>
                  <a:lnTo>
                    <a:pt x="50" y="164"/>
                  </a:lnTo>
                  <a:lnTo>
                    <a:pt x="50" y="162"/>
                  </a:lnTo>
                  <a:lnTo>
                    <a:pt x="46" y="162"/>
                  </a:lnTo>
                  <a:lnTo>
                    <a:pt x="50" y="162"/>
                  </a:lnTo>
                  <a:lnTo>
                    <a:pt x="50" y="158"/>
                  </a:lnTo>
                  <a:lnTo>
                    <a:pt x="46" y="158"/>
                  </a:lnTo>
                  <a:lnTo>
                    <a:pt x="42" y="158"/>
                  </a:lnTo>
                  <a:lnTo>
                    <a:pt x="46" y="158"/>
                  </a:lnTo>
                  <a:lnTo>
                    <a:pt x="46" y="154"/>
                  </a:lnTo>
                  <a:lnTo>
                    <a:pt x="50" y="150"/>
                  </a:lnTo>
                  <a:lnTo>
                    <a:pt x="50" y="142"/>
                  </a:lnTo>
                  <a:lnTo>
                    <a:pt x="50" y="138"/>
                  </a:lnTo>
                  <a:lnTo>
                    <a:pt x="50" y="134"/>
                  </a:lnTo>
                  <a:lnTo>
                    <a:pt x="50" y="132"/>
                  </a:lnTo>
                  <a:lnTo>
                    <a:pt x="54" y="132"/>
                  </a:lnTo>
                  <a:lnTo>
                    <a:pt x="54" y="128"/>
                  </a:lnTo>
                  <a:lnTo>
                    <a:pt x="50" y="132"/>
                  </a:lnTo>
                  <a:lnTo>
                    <a:pt x="50" y="128"/>
                  </a:lnTo>
                  <a:lnTo>
                    <a:pt x="50" y="124"/>
                  </a:lnTo>
                  <a:lnTo>
                    <a:pt x="54" y="120"/>
                  </a:lnTo>
                  <a:lnTo>
                    <a:pt x="54" y="116"/>
                  </a:lnTo>
                  <a:lnTo>
                    <a:pt x="54" y="112"/>
                  </a:lnTo>
                  <a:lnTo>
                    <a:pt x="54" y="116"/>
                  </a:lnTo>
                  <a:lnTo>
                    <a:pt x="56" y="116"/>
                  </a:lnTo>
                  <a:lnTo>
                    <a:pt x="56" y="120"/>
                  </a:lnTo>
                  <a:lnTo>
                    <a:pt x="56" y="124"/>
                  </a:lnTo>
                  <a:lnTo>
                    <a:pt x="60" y="128"/>
                  </a:lnTo>
                  <a:lnTo>
                    <a:pt x="60" y="124"/>
                  </a:lnTo>
                  <a:lnTo>
                    <a:pt x="56" y="120"/>
                  </a:lnTo>
                  <a:lnTo>
                    <a:pt x="56" y="116"/>
                  </a:lnTo>
                  <a:lnTo>
                    <a:pt x="56" y="112"/>
                  </a:lnTo>
                  <a:lnTo>
                    <a:pt x="54" y="112"/>
                  </a:lnTo>
                  <a:lnTo>
                    <a:pt x="54" y="108"/>
                  </a:lnTo>
                  <a:lnTo>
                    <a:pt x="50" y="108"/>
                  </a:lnTo>
                  <a:lnTo>
                    <a:pt x="54" y="108"/>
                  </a:lnTo>
                  <a:lnTo>
                    <a:pt x="54" y="106"/>
                  </a:lnTo>
                  <a:lnTo>
                    <a:pt x="54" y="102"/>
                  </a:lnTo>
                  <a:lnTo>
                    <a:pt x="54" y="98"/>
                  </a:lnTo>
                  <a:lnTo>
                    <a:pt x="50" y="98"/>
                  </a:lnTo>
                  <a:lnTo>
                    <a:pt x="46" y="98"/>
                  </a:lnTo>
                  <a:lnTo>
                    <a:pt x="46" y="94"/>
                  </a:lnTo>
                  <a:lnTo>
                    <a:pt x="42" y="94"/>
                  </a:lnTo>
                  <a:lnTo>
                    <a:pt x="42" y="90"/>
                  </a:lnTo>
                  <a:lnTo>
                    <a:pt x="38" y="90"/>
                  </a:lnTo>
                  <a:lnTo>
                    <a:pt x="38" y="86"/>
                  </a:lnTo>
                  <a:lnTo>
                    <a:pt x="38" y="82"/>
                  </a:lnTo>
                  <a:lnTo>
                    <a:pt x="38" y="78"/>
                  </a:lnTo>
                  <a:lnTo>
                    <a:pt x="42" y="78"/>
                  </a:lnTo>
                  <a:lnTo>
                    <a:pt x="38" y="78"/>
                  </a:lnTo>
                  <a:lnTo>
                    <a:pt x="34" y="78"/>
                  </a:lnTo>
                  <a:lnTo>
                    <a:pt x="30" y="78"/>
                  </a:lnTo>
                  <a:lnTo>
                    <a:pt x="30" y="76"/>
                  </a:lnTo>
                  <a:lnTo>
                    <a:pt x="34" y="76"/>
                  </a:lnTo>
                  <a:lnTo>
                    <a:pt x="34" y="72"/>
                  </a:lnTo>
                  <a:lnTo>
                    <a:pt x="30" y="72"/>
                  </a:lnTo>
                  <a:lnTo>
                    <a:pt x="26" y="76"/>
                  </a:lnTo>
                  <a:lnTo>
                    <a:pt x="26" y="72"/>
                  </a:lnTo>
                  <a:lnTo>
                    <a:pt x="30" y="72"/>
                  </a:lnTo>
                  <a:lnTo>
                    <a:pt x="26" y="72"/>
                  </a:lnTo>
                  <a:lnTo>
                    <a:pt x="22" y="72"/>
                  </a:lnTo>
                  <a:lnTo>
                    <a:pt x="22" y="76"/>
                  </a:lnTo>
                  <a:lnTo>
                    <a:pt x="22" y="72"/>
                  </a:lnTo>
                  <a:lnTo>
                    <a:pt x="20" y="68"/>
                  </a:lnTo>
                  <a:lnTo>
                    <a:pt x="16" y="68"/>
                  </a:lnTo>
                  <a:lnTo>
                    <a:pt x="12" y="68"/>
                  </a:lnTo>
                  <a:lnTo>
                    <a:pt x="12" y="64"/>
                  </a:lnTo>
                  <a:lnTo>
                    <a:pt x="8" y="64"/>
                  </a:lnTo>
                  <a:lnTo>
                    <a:pt x="8" y="68"/>
                  </a:lnTo>
                  <a:lnTo>
                    <a:pt x="4" y="68"/>
                  </a:lnTo>
                  <a:lnTo>
                    <a:pt x="8" y="68"/>
                  </a:lnTo>
                  <a:lnTo>
                    <a:pt x="4" y="64"/>
                  </a:lnTo>
                  <a:lnTo>
                    <a:pt x="0" y="64"/>
                  </a:lnTo>
                  <a:lnTo>
                    <a:pt x="0" y="60"/>
                  </a:lnTo>
                  <a:lnTo>
                    <a:pt x="4" y="60"/>
                  </a:lnTo>
                  <a:lnTo>
                    <a:pt x="8" y="60"/>
                  </a:lnTo>
                  <a:lnTo>
                    <a:pt x="4" y="56"/>
                  </a:lnTo>
                  <a:lnTo>
                    <a:pt x="4" y="60"/>
                  </a:lnTo>
                  <a:lnTo>
                    <a:pt x="0" y="56"/>
                  </a:lnTo>
                  <a:lnTo>
                    <a:pt x="4" y="56"/>
                  </a:lnTo>
                  <a:lnTo>
                    <a:pt x="8" y="56"/>
                  </a:lnTo>
                  <a:lnTo>
                    <a:pt x="4" y="56"/>
                  </a:lnTo>
                  <a:lnTo>
                    <a:pt x="0" y="56"/>
                  </a:lnTo>
                  <a:lnTo>
                    <a:pt x="0" y="52"/>
                  </a:lnTo>
                  <a:lnTo>
                    <a:pt x="4" y="52"/>
                  </a:lnTo>
                  <a:lnTo>
                    <a:pt x="4" y="48"/>
                  </a:lnTo>
                  <a:lnTo>
                    <a:pt x="8" y="48"/>
                  </a:lnTo>
                  <a:lnTo>
                    <a:pt x="12" y="48"/>
                  </a:lnTo>
                  <a:lnTo>
                    <a:pt x="16" y="48"/>
                  </a:lnTo>
                  <a:lnTo>
                    <a:pt x="20" y="48"/>
                  </a:lnTo>
                  <a:lnTo>
                    <a:pt x="16" y="48"/>
                  </a:lnTo>
                  <a:lnTo>
                    <a:pt x="16" y="46"/>
                  </a:lnTo>
                  <a:lnTo>
                    <a:pt x="20" y="46"/>
                  </a:lnTo>
                  <a:lnTo>
                    <a:pt x="22" y="46"/>
                  </a:lnTo>
                  <a:lnTo>
                    <a:pt x="26" y="48"/>
                  </a:lnTo>
                  <a:lnTo>
                    <a:pt x="30" y="52"/>
                  </a:lnTo>
                  <a:lnTo>
                    <a:pt x="34" y="48"/>
                  </a:lnTo>
                  <a:lnTo>
                    <a:pt x="38" y="48"/>
                  </a:lnTo>
                  <a:lnTo>
                    <a:pt x="42" y="52"/>
                  </a:lnTo>
                  <a:lnTo>
                    <a:pt x="38" y="52"/>
                  </a:lnTo>
                  <a:lnTo>
                    <a:pt x="38" y="48"/>
                  </a:lnTo>
                  <a:lnTo>
                    <a:pt x="42" y="48"/>
                  </a:lnTo>
                  <a:lnTo>
                    <a:pt x="46" y="48"/>
                  </a:lnTo>
                  <a:lnTo>
                    <a:pt x="50" y="48"/>
                  </a:lnTo>
                  <a:lnTo>
                    <a:pt x="46" y="48"/>
                  </a:lnTo>
                  <a:lnTo>
                    <a:pt x="46" y="46"/>
                  </a:lnTo>
                  <a:lnTo>
                    <a:pt x="46" y="42"/>
                  </a:lnTo>
                  <a:lnTo>
                    <a:pt x="46" y="38"/>
                  </a:lnTo>
                  <a:lnTo>
                    <a:pt x="42" y="34"/>
                  </a:lnTo>
                  <a:lnTo>
                    <a:pt x="42" y="30"/>
                  </a:lnTo>
                  <a:lnTo>
                    <a:pt x="42" y="26"/>
                  </a:lnTo>
                  <a:lnTo>
                    <a:pt x="42" y="30"/>
                  </a:lnTo>
                  <a:lnTo>
                    <a:pt x="46" y="30"/>
                  </a:lnTo>
                  <a:lnTo>
                    <a:pt x="46" y="26"/>
                  </a:lnTo>
                  <a:lnTo>
                    <a:pt x="50" y="26"/>
                  </a:lnTo>
                  <a:lnTo>
                    <a:pt x="50" y="30"/>
                  </a:lnTo>
                  <a:lnTo>
                    <a:pt x="50" y="34"/>
                  </a:lnTo>
                  <a:lnTo>
                    <a:pt x="54" y="34"/>
                  </a:lnTo>
                  <a:lnTo>
                    <a:pt x="56" y="34"/>
                  </a:lnTo>
                  <a:lnTo>
                    <a:pt x="60" y="34"/>
                  </a:lnTo>
                  <a:lnTo>
                    <a:pt x="64" y="34"/>
                  </a:lnTo>
                  <a:lnTo>
                    <a:pt x="64" y="38"/>
                  </a:lnTo>
                  <a:lnTo>
                    <a:pt x="68" y="38"/>
                  </a:lnTo>
                  <a:lnTo>
                    <a:pt x="68" y="34"/>
                  </a:lnTo>
                  <a:lnTo>
                    <a:pt x="72" y="34"/>
                  </a:lnTo>
                  <a:lnTo>
                    <a:pt x="76" y="34"/>
                  </a:lnTo>
                  <a:lnTo>
                    <a:pt x="72" y="34"/>
                  </a:lnTo>
                  <a:lnTo>
                    <a:pt x="68" y="34"/>
                  </a:lnTo>
                  <a:lnTo>
                    <a:pt x="68" y="30"/>
                  </a:lnTo>
                  <a:lnTo>
                    <a:pt x="72" y="26"/>
                  </a:lnTo>
                  <a:lnTo>
                    <a:pt x="76" y="26"/>
                  </a:lnTo>
                  <a:lnTo>
                    <a:pt x="76" y="22"/>
                  </a:lnTo>
                  <a:lnTo>
                    <a:pt x="80" y="22"/>
                  </a:lnTo>
                  <a:lnTo>
                    <a:pt x="84" y="22"/>
                  </a:lnTo>
                  <a:lnTo>
                    <a:pt x="86" y="22"/>
                  </a:lnTo>
                  <a:lnTo>
                    <a:pt x="86" y="18"/>
                  </a:lnTo>
                  <a:lnTo>
                    <a:pt x="90" y="18"/>
                  </a:lnTo>
                  <a:lnTo>
                    <a:pt x="90" y="16"/>
                  </a:lnTo>
                  <a:lnTo>
                    <a:pt x="90" y="12"/>
                  </a:lnTo>
                  <a:lnTo>
                    <a:pt x="90" y="8"/>
                  </a:lnTo>
                  <a:lnTo>
                    <a:pt x="90" y="4"/>
                  </a:lnTo>
                  <a:lnTo>
                    <a:pt x="94" y="0"/>
                  </a:lnTo>
                  <a:lnTo>
                    <a:pt x="98" y="0"/>
                  </a:lnTo>
                  <a:lnTo>
                    <a:pt x="102" y="0"/>
                  </a:lnTo>
                  <a:lnTo>
                    <a:pt x="106" y="0"/>
                  </a:lnTo>
                  <a:lnTo>
                    <a:pt x="106" y="4"/>
                  </a:lnTo>
                  <a:lnTo>
                    <a:pt x="110" y="4"/>
                  </a:lnTo>
                  <a:lnTo>
                    <a:pt x="110" y="8"/>
                  </a:lnTo>
                  <a:lnTo>
                    <a:pt x="110" y="4"/>
                  </a:lnTo>
                  <a:lnTo>
                    <a:pt x="114" y="4"/>
                  </a:lnTo>
                  <a:lnTo>
                    <a:pt x="114" y="8"/>
                  </a:lnTo>
                  <a:lnTo>
                    <a:pt x="114" y="12"/>
                  </a:lnTo>
                  <a:lnTo>
                    <a:pt x="116" y="12"/>
                  </a:lnTo>
                  <a:lnTo>
                    <a:pt x="120" y="12"/>
                  </a:lnTo>
                  <a:lnTo>
                    <a:pt x="120" y="16"/>
                  </a:lnTo>
                  <a:lnTo>
                    <a:pt x="124" y="16"/>
                  </a:lnTo>
                  <a:lnTo>
                    <a:pt x="128" y="16"/>
                  </a:lnTo>
                  <a:lnTo>
                    <a:pt x="128" y="18"/>
                  </a:lnTo>
                  <a:lnTo>
                    <a:pt x="128" y="22"/>
                  </a:lnTo>
                  <a:lnTo>
                    <a:pt x="132" y="22"/>
                  </a:lnTo>
                  <a:lnTo>
                    <a:pt x="136" y="22"/>
                  </a:lnTo>
                  <a:lnTo>
                    <a:pt x="136" y="18"/>
                  </a:lnTo>
                  <a:lnTo>
                    <a:pt x="138" y="18"/>
                  </a:lnTo>
                  <a:lnTo>
                    <a:pt x="136" y="18"/>
                  </a:lnTo>
                  <a:lnTo>
                    <a:pt x="136" y="22"/>
                  </a:lnTo>
                  <a:lnTo>
                    <a:pt x="136" y="26"/>
                  </a:lnTo>
                  <a:lnTo>
                    <a:pt x="138" y="26"/>
                  </a:lnTo>
                  <a:lnTo>
                    <a:pt x="142" y="30"/>
                  </a:lnTo>
                  <a:lnTo>
                    <a:pt x="146" y="30"/>
                  </a:lnTo>
                  <a:lnTo>
                    <a:pt x="150" y="30"/>
                  </a:lnTo>
                  <a:lnTo>
                    <a:pt x="150" y="34"/>
                  </a:lnTo>
                  <a:lnTo>
                    <a:pt x="154" y="34"/>
                  </a:lnTo>
                  <a:lnTo>
                    <a:pt x="154" y="30"/>
                  </a:lnTo>
                  <a:lnTo>
                    <a:pt x="158" y="30"/>
                  </a:lnTo>
                  <a:lnTo>
                    <a:pt x="158" y="34"/>
                  </a:lnTo>
                  <a:lnTo>
                    <a:pt x="160" y="34"/>
                  </a:lnTo>
                  <a:lnTo>
                    <a:pt x="160" y="38"/>
                  </a:lnTo>
                  <a:lnTo>
                    <a:pt x="164" y="38"/>
                  </a:lnTo>
                  <a:lnTo>
                    <a:pt x="168" y="38"/>
                  </a:lnTo>
                  <a:lnTo>
                    <a:pt x="168" y="42"/>
                  </a:lnTo>
                  <a:lnTo>
                    <a:pt x="172" y="42"/>
                  </a:lnTo>
                  <a:lnTo>
                    <a:pt x="172" y="38"/>
                  </a:lnTo>
                  <a:lnTo>
                    <a:pt x="176" y="42"/>
                  </a:lnTo>
                  <a:lnTo>
                    <a:pt x="180" y="42"/>
                  </a:lnTo>
                  <a:lnTo>
                    <a:pt x="184" y="42"/>
                  </a:lnTo>
                  <a:lnTo>
                    <a:pt x="184" y="46"/>
                  </a:lnTo>
                  <a:lnTo>
                    <a:pt x="180" y="48"/>
                  </a:lnTo>
                  <a:lnTo>
                    <a:pt x="180" y="52"/>
                  </a:lnTo>
                  <a:lnTo>
                    <a:pt x="176" y="52"/>
                  </a:lnTo>
                  <a:lnTo>
                    <a:pt x="176" y="56"/>
                  </a:lnTo>
                  <a:lnTo>
                    <a:pt x="176" y="60"/>
                  </a:lnTo>
                  <a:lnTo>
                    <a:pt x="176" y="64"/>
                  </a:lnTo>
                  <a:lnTo>
                    <a:pt x="176" y="68"/>
                  </a:lnTo>
                  <a:lnTo>
                    <a:pt x="176" y="72"/>
                  </a:lnTo>
                  <a:lnTo>
                    <a:pt x="172" y="72"/>
                  </a:lnTo>
                  <a:lnTo>
                    <a:pt x="172" y="76"/>
                  </a:lnTo>
                  <a:lnTo>
                    <a:pt x="168" y="76"/>
                  </a:lnTo>
                  <a:lnTo>
                    <a:pt x="168" y="72"/>
                  </a:lnTo>
                  <a:lnTo>
                    <a:pt x="168" y="76"/>
                  </a:lnTo>
                  <a:lnTo>
                    <a:pt x="164" y="76"/>
                  </a:lnTo>
                  <a:lnTo>
                    <a:pt x="168" y="76"/>
                  </a:lnTo>
                  <a:lnTo>
                    <a:pt x="164" y="78"/>
                  </a:lnTo>
                  <a:lnTo>
                    <a:pt x="164" y="82"/>
                  </a:lnTo>
                  <a:lnTo>
                    <a:pt x="160" y="82"/>
                  </a:lnTo>
                  <a:lnTo>
                    <a:pt x="160" y="86"/>
                  </a:lnTo>
                  <a:lnTo>
                    <a:pt x="158" y="86"/>
                  </a:lnTo>
                  <a:lnTo>
                    <a:pt x="160" y="86"/>
                  </a:lnTo>
                  <a:lnTo>
                    <a:pt x="158" y="90"/>
                  </a:lnTo>
                  <a:lnTo>
                    <a:pt x="154" y="90"/>
                  </a:lnTo>
                  <a:lnTo>
                    <a:pt x="154" y="94"/>
                  </a:lnTo>
                  <a:lnTo>
                    <a:pt x="154" y="98"/>
                  </a:lnTo>
                  <a:lnTo>
                    <a:pt x="154" y="102"/>
                  </a:lnTo>
                  <a:lnTo>
                    <a:pt x="158" y="102"/>
                  </a:lnTo>
                  <a:lnTo>
                    <a:pt x="158" y="98"/>
                  </a:lnTo>
                  <a:lnTo>
                    <a:pt x="158" y="94"/>
                  </a:lnTo>
                  <a:lnTo>
                    <a:pt x="160" y="94"/>
                  </a:lnTo>
                  <a:lnTo>
                    <a:pt x="164" y="94"/>
                  </a:lnTo>
                  <a:lnTo>
                    <a:pt x="164" y="98"/>
                  </a:lnTo>
                  <a:lnTo>
                    <a:pt x="164" y="102"/>
                  </a:lnTo>
                  <a:lnTo>
                    <a:pt x="168" y="106"/>
                  </a:lnTo>
                  <a:lnTo>
                    <a:pt x="164" y="106"/>
                  </a:lnTo>
                  <a:lnTo>
                    <a:pt x="164" y="108"/>
                  </a:lnTo>
                  <a:lnTo>
                    <a:pt x="164" y="112"/>
                  </a:lnTo>
                  <a:lnTo>
                    <a:pt x="168" y="112"/>
                  </a:lnTo>
                  <a:lnTo>
                    <a:pt x="168" y="116"/>
                  </a:lnTo>
                  <a:lnTo>
                    <a:pt x="168" y="120"/>
                  </a:lnTo>
                  <a:lnTo>
                    <a:pt x="164" y="120"/>
                  </a:lnTo>
                  <a:lnTo>
                    <a:pt x="160" y="120"/>
                  </a:lnTo>
                  <a:lnTo>
                    <a:pt x="160" y="124"/>
                  </a:lnTo>
                  <a:lnTo>
                    <a:pt x="164" y="128"/>
                  </a:lnTo>
                  <a:lnTo>
                    <a:pt x="168" y="128"/>
                  </a:lnTo>
                  <a:lnTo>
                    <a:pt x="164" y="132"/>
                  </a:lnTo>
                  <a:lnTo>
                    <a:pt x="164" y="134"/>
                  </a:lnTo>
                  <a:lnTo>
                    <a:pt x="164" y="138"/>
                  </a:lnTo>
                  <a:lnTo>
                    <a:pt x="168" y="138"/>
                  </a:lnTo>
                  <a:lnTo>
                    <a:pt x="172" y="142"/>
                  </a:lnTo>
                  <a:lnTo>
                    <a:pt x="176" y="142"/>
                  </a:lnTo>
                  <a:lnTo>
                    <a:pt x="176" y="138"/>
                  </a:lnTo>
                  <a:lnTo>
                    <a:pt x="176" y="142"/>
                  </a:lnTo>
                  <a:lnTo>
                    <a:pt x="176" y="146"/>
                  </a:lnTo>
                  <a:lnTo>
                    <a:pt x="172" y="146"/>
                  </a:lnTo>
                  <a:lnTo>
                    <a:pt x="176" y="146"/>
                  </a:lnTo>
                  <a:lnTo>
                    <a:pt x="176" y="150"/>
                  </a:lnTo>
                  <a:lnTo>
                    <a:pt x="172" y="150"/>
                  </a:lnTo>
                  <a:lnTo>
                    <a:pt x="168" y="150"/>
                  </a:lnTo>
                  <a:lnTo>
                    <a:pt x="168" y="154"/>
                  </a:lnTo>
                  <a:lnTo>
                    <a:pt x="164" y="154"/>
                  </a:lnTo>
                  <a:lnTo>
                    <a:pt x="160" y="158"/>
                  </a:lnTo>
                  <a:lnTo>
                    <a:pt x="160" y="162"/>
                  </a:lnTo>
                  <a:lnTo>
                    <a:pt x="158" y="162"/>
                  </a:lnTo>
                  <a:lnTo>
                    <a:pt x="154" y="162"/>
                  </a:lnTo>
                  <a:lnTo>
                    <a:pt x="150" y="162"/>
                  </a:lnTo>
                  <a:lnTo>
                    <a:pt x="146" y="162"/>
                  </a:lnTo>
                  <a:lnTo>
                    <a:pt x="142" y="162"/>
                  </a:lnTo>
                  <a:lnTo>
                    <a:pt x="142" y="158"/>
                  </a:lnTo>
                  <a:lnTo>
                    <a:pt x="138" y="158"/>
                  </a:lnTo>
                  <a:lnTo>
                    <a:pt x="142" y="158"/>
                  </a:lnTo>
                  <a:lnTo>
                    <a:pt x="142" y="154"/>
                  </a:lnTo>
                  <a:lnTo>
                    <a:pt x="138" y="154"/>
                  </a:lnTo>
                  <a:lnTo>
                    <a:pt x="136" y="158"/>
                  </a:lnTo>
                  <a:lnTo>
                    <a:pt x="136" y="154"/>
                  </a:lnTo>
                  <a:lnTo>
                    <a:pt x="136" y="158"/>
                  </a:lnTo>
                  <a:lnTo>
                    <a:pt x="132" y="158"/>
                  </a:lnTo>
                  <a:lnTo>
                    <a:pt x="132" y="154"/>
                  </a:lnTo>
                  <a:lnTo>
                    <a:pt x="128" y="154"/>
                  </a:lnTo>
                  <a:lnTo>
                    <a:pt x="124" y="154"/>
                  </a:lnTo>
                  <a:lnTo>
                    <a:pt x="120" y="158"/>
                  </a:lnTo>
                  <a:lnTo>
                    <a:pt x="116" y="158"/>
                  </a:lnTo>
                  <a:lnTo>
                    <a:pt x="114" y="162"/>
                  </a:lnTo>
                  <a:lnTo>
                    <a:pt x="114" y="164"/>
                  </a:lnTo>
                  <a:lnTo>
                    <a:pt x="110" y="164"/>
                  </a:lnTo>
                  <a:lnTo>
                    <a:pt x="110" y="168"/>
                  </a:lnTo>
                  <a:lnTo>
                    <a:pt x="114" y="168"/>
                  </a:lnTo>
                  <a:lnTo>
                    <a:pt x="114" y="172"/>
                  </a:lnTo>
                  <a:lnTo>
                    <a:pt x="114" y="176"/>
                  </a:lnTo>
                  <a:lnTo>
                    <a:pt x="110" y="172"/>
                  </a:lnTo>
                  <a:lnTo>
                    <a:pt x="106" y="176"/>
                  </a:lnTo>
                  <a:lnTo>
                    <a:pt x="102" y="176"/>
                  </a:lnTo>
                  <a:lnTo>
                    <a:pt x="98" y="176"/>
                  </a:lnTo>
                  <a:lnTo>
                    <a:pt x="94" y="176"/>
                  </a:lnTo>
                  <a:lnTo>
                    <a:pt x="94" y="172"/>
                  </a:lnTo>
                  <a:lnTo>
                    <a:pt x="94" y="172"/>
                  </a:lnTo>
                  <a:lnTo>
                    <a:pt x="94" y="172"/>
                  </a:lnTo>
                  <a:close/>
                  <a:moveTo>
                    <a:pt x="50" y="108"/>
                  </a:moveTo>
                  <a:lnTo>
                    <a:pt x="50" y="106"/>
                  </a:lnTo>
                  <a:lnTo>
                    <a:pt x="50" y="102"/>
                  </a:lnTo>
                  <a:lnTo>
                    <a:pt x="50" y="106"/>
                  </a:lnTo>
                  <a:lnTo>
                    <a:pt x="54" y="106"/>
                  </a:lnTo>
                  <a:lnTo>
                    <a:pt x="54" y="108"/>
                  </a:lnTo>
                  <a:lnTo>
                    <a:pt x="50" y="108"/>
                  </a:lnTo>
                  <a:lnTo>
                    <a:pt x="50" y="108"/>
                  </a:lnTo>
                  <a:lnTo>
                    <a:pt x="50" y="108"/>
                  </a:lnTo>
                  <a:close/>
                  <a:moveTo>
                    <a:pt x="22" y="78"/>
                  </a:moveTo>
                  <a:lnTo>
                    <a:pt x="22" y="76"/>
                  </a:lnTo>
                  <a:lnTo>
                    <a:pt x="22" y="78"/>
                  </a:lnTo>
                  <a:lnTo>
                    <a:pt x="22" y="78"/>
                  </a:lnTo>
                  <a:lnTo>
                    <a:pt x="22" y="78"/>
                  </a:lnTo>
                  <a:close/>
                  <a:moveTo>
                    <a:pt x="50" y="102"/>
                  </a:moveTo>
                  <a:lnTo>
                    <a:pt x="46" y="102"/>
                  </a:lnTo>
                  <a:lnTo>
                    <a:pt x="46" y="98"/>
                  </a:lnTo>
                  <a:lnTo>
                    <a:pt x="50" y="102"/>
                  </a:lnTo>
                  <a:lnTo>
                    <a:pt x="50" y="102"/>
                  </a:lnTo>
                  <a:lnTo>
                    <a:pt x="50" y="102"/>
                  </a:lnTo>
                  <a:close/>
                  <a:moveTo>
                    <a:pt x="190" y="182"/>
                  </a:moveTo>
                  <a:lnTo>
                    <a:pt x="190" y="180"/>
                  </a:lnTo>
                  <a:lnTo>
                    <a:pt x="190" y="176"/>
                  </a:lnTo>
                  <a:lnTo>
                    <a:pt x="190" y="172"/>
                  </a:lnTo>
                  <a:lnTo>
                    <a:pt x="194" y="172"/>
                  </a:lnTo>
                  <a:lnTo>
                    <a:pt x="194" y="168"/>
                  </a:lnTo>
                  <a:lnTo>
                    <a:pt x="198" y="168"/>
                  </a:lnTo>
                  <a:lnTo>
                    <a:pt x="198" y="164"/>
                  </a:lnTo>
                  <a:lnTo>
                    <a:pt x="202" y="164"/>
                  </a:lnTo>
                  <a:lnTo>
                    <a:pt x="202" y="168"/>
                  </a:lnTo>
                  <a:lnTo>
                    <a:pt x="202" y="172"/>
                  </a:lnTo>
                  <a:lnTo>
                    <a:pt x="202" y="180"/>
                  </a:lnTo>
                  <a:lnTo>
                    <a:pt x="202" y="182"/>
                  </a:lnTo>
                  <a:lnTo>
                    <a:pt x="202" y="186"/>
                  </a:lnTo>
                  <a:lnTo>
                    <a:pt x="202" y="190"/>
                  </a:lnTo>
                  <a:lnTo>
                    <a:pt x="198" y="190"/>
                  </a:lnTo>
                  <a:lnTo>
                    <a:pt x="198" y="194"/>
                  </a:lnTo>
                  <a:lnTo>
                    <a:pt x="194" y="194"/>
                  </a:lnTo>
                  <a:lnTo>
                    <a:pt x="190" y="190"/>
                  </a:lnTo>
                  <a:lnTo>
                    <a:pt x="194" y="190"/>
                  </a:lnTo>
                  <a:lnTo>
                    <a:pt x="190" y="190"/>
                  </a:lnTo>
                  <a:lnTo>
                    <a:pt x="190" y="186"/>
                  </a:lnTo>
                  <a:lnTo>
                    <a:pt x="190" y="182"/>
                  </a:lnTo>
                  <a:lnTo>
                    <a:pt x="190" y="182"/>
                  </a:lnTo>
                  <a:lnTo>
                    <a:pt x="190" y="18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08" name="Freeform 101"/>
            <p:cNvSpPr>
              <a:spLocks noEditPoints="1"/>
            </p:cNvSpPr>
            <p:nvPr/>
          </p:nvSpPr>
          <p:spPr bwMode="auto">
            <a:xfrm>
              <a:off x="7091779" y="3493576"/>
              <a:ext cx="81638" cy="107222"/>
            </a:xfrm>
            <a:custGeom>
              <a:avLst/>
              <a:gdLst>
                <a:gd name="T0" fmla="*/ 26 w 130"/>
                <a:gd name="T1" fmla="*/ 142 h 164"/>
                <a:gd name="T2" fmla="*/ 32 w 130"/>
                <a:gd name="T3" fmla="*/ 128 h 164"/>
                <a:gd name="T4" fmla="*/ 18 w 130"/>
                <a:gd name="T5" fmla="*/ 128 h 164"/>
                <a:gd name="T6" fmla="*/ 6 w 130"/>
                <a:gd name="T7" fmla="*/ 120 h 164"/>
                <a:gd name="T8" fmla="*/ 4 w 130"/>
                <a:gd name="T9" fmla="*/ 108 h 164"/>
                <a:gd name="T10" fmla="*/ 6 w 130"/>
                <a:gd name="T11" fmla="*/ 94 h 164"/>
                <a:gd name="T12" fmla="*/ 4 w 130"/>
                <a:gd name="T13" fmla="*/ 86 h 164"/>
                <a:gd name="T14" fmla="*/ 4 w 130"/>
                <a:gd name="T15" fmla="*/ 76 h 164"/>
                <a:gd name="T16" fmla="*/ 14 w 130"/>
                <a:gd name="T17" fmla="*/ 68 h 164"/>
                <a:gd name="T18" fmla="*/ 14 w 130"/>
                <a:gd name="T19" fmla="*/ 56 h 164"/>
                <a:gd name="T20" fmla="*/ 18 w 130"/>
                <a:gd name="T21" fmla="*/ 50 h 164"/>
                <a:gd name="T22" fmla="*/ 18 w 130"/>
                <a:gd name="T23" fmla="*/ 38 h 164"/>
                <a:gd name="T24" fmla="*/ 30 w 130"/>
                <a:gd name="T25" fmla="*/ 30 h 164"/>
                <a:gd name="T26" fmla="*/ 32 w 130"/>
                <a:gd name="T27" fmla="*/ 30 h 164"/>
                <a:gd name="T28" fmla="*/ 40 w 130"/>
                <a:gd name="T29" fmla="*/ 34 h 164"/>
                <a:gd name="T30" fmla="*/ 48 w 130"/>
                <a:gd name="T31" fmla="*/ 26 h 164"/>
                <a:gd name="T32" fmla="*/ 52 w 130"/>
                <a:gd name="T33" fmla="*/ 30 h 164"/>
                <a:gd name="T34" fmla="*/ 44 w 130"/>
                <a:gd name="T35" fmla="*/ 20 h 164"/>
                <a:gd name="T36" fmla="*/ 44 w 130"/>
                <a:gd name="T37" fmla="*/ 16 h 164"/>
                <a:gd name="T38" fmla="*/ 36 w 130"/>
                <a:gd name="T39" fmla="*/ 4 h 164"/>
                <a:gd name="T40" fmla="*/ 36 w 130"/>
                <a:gd name="T41" fmla="*/ 0 h 164"/>
                <a:gd name="T42" fmla="*/ 52 w 130"/>
                <a:gd name="T43" fmla="*/ 4 h 164"/>
                <a:gd name="T44" fmla="*/ 56 w 130"/>
                <a:gd name="T45" fmla="*/ 12 h 164"/>
                <a:gd name="T46" fmla="*/ 74 w 130"/>
                <a:gd name="T47" fmla="*/ 16 h 164"/>
                <a:gd name="T48" fmla="*/ 74 w 130"/>
                <a:gd name="T49" fmla="*/ 24 h 164"/>
                <a:gd name="T50" fmla="*/ 86 w 130"/>
                <a:gd name="T51" fmla="*/ 20 h 164"/>
                <a:gd name="T52" fmla="*/ 100 w 130"/>
                <a:gd name="T53" fmla="*/ 12 h 164"/>
                <a:gd name="T54" fmla="*/ 92 w 130"/>
                <a:gd name="T55" fmla="*/ 16 h 164"/>
                <a:gd name="T56" fmla="*/ 108 w 130"/>
                <a:gd name="T57" fmla="*/ 20 h 164"/>
                <a:gd name="T58" fmla="*/ 114 w 130"/>
                <a:gd name="T59" fmla="*/ 26 h 164"/>
                <a:gd name="T60" fmla="*/ 122 w 130"/>
                <a:gd name="T61" fmla="*/ 38 h 164"/>
                <a:gd name="T62" fmla="*/ 122 w 130"/>
                <a:gd name="T63" fmla="*/ 52 h 164"/>
                <a:gd name="T64" fmla="*/ 126 w 130"/>
                <a:gd name="T65" fmla="*/ 60 h 164"/>
                <a:gd name="T66" fmla="*/ 126 w 130"/>
                <a:gd name="T67" fmla="*/ 76 h 164"/>
                <a:gd name="T68" fmla="*/ 126 w 130"/>
                <a:gd name="T69" fmla="*/ 90 h 164"/>
                <a:gd name="T70" fmla="*/ 122 w 130"/>
                <a:gd name="T71" fmla="*/ 86 h 164"/>
                <a:gd name="T72" fmla="*/ 104 w 130"/>
                <a:gd name="T73" fmla="*/ 94 h 164"/>
                <a:gd name="T74" fmla="*/ 92 w 130"/>
                <a:gd name="T75" fmla="*/ 106 h 164"/>
                <a:gd name="T76" fmla="*/ 96 w 130"/>
                <a:gd name="T77" fmla="*/ 108 h 164"/>
                <a:gd name="T78" fmla="*/ 100 w 130"/>
                <a:gd name="T79" fmla="*/ 120 h 164"/>
                <a:gd name="T80" fmla="*/ 112 w 130"/>
                <a:gd name="T81" fmla="*/ 134 h 164"/>
                <a:gd name="T82" fmla="*/ 100 w 130"/>
                <a:gd name="T83" fmla="*/ 142 h 164"/>
                <a:gd name="T84" fmla="*/ 100 w 130"/>
                <a:gd name="T85" fmla="*/ 154 h 164"/>
                <a:gd name="T86" fmla="*/ 100 w 130"/>
                <a:gd name="T87" fmla="*/ 158 h 164"/>
                <a:gd name="T88" fmla="*/ 82 w 130"/>
                <a:gd name="T89" fmla="*/ 158 h 164"/>
                <a:gd name="T90" fmla="*/ 66 w 130"/>
                <a:gd name="T91" fmla="*/ 158 h 164"/>
                <a:gd name="T92" fmla="*/ 58 w 130"/>
                <a:gd name="T93" fmla="*/ 158 h 164"/>
                <a:gd name="T94" fmla="*/ 44 w 130"/>
                <a:gd name="T95" fmla="*/ 154 h 164"/>
                <a:gd name="T96" fmla="*/ 40 w 130"/>
                <a:gd name="T97" fmla="*/ 154 h 164"/>
                <a:gd name="T98" fmla="*/ 32 w 130"/>
                <a:gd name="T99" fmla="*/ 158 h 164"/>
                <a:gd name="T100" fmla="*/ 118 w 130"/>
                <a:gd name="T101" fmla="*/ 26 h 164"/>
                <a:gd name="T102" fmla="*/ 112 w 130"/>
                <a:gd name="T103" fmla="*/ 24 h 164"/>
                <a:gd name="T104" fmla="*/ 118 w 130"/>
                <a:gd name="T105" fmla="*/ 26 h 164"/>
                <a:gd name="T106" fmla="*/ 74 w 130"/>
                <a:gd name="T107" fmla="*/ 16 h 164"/>
                <a:gd name="T108" fmla="*/ 40 w 130"/>
                <a:gd name="T109" fmla="*/ 8 h 164"/>
                <a:gd name="T110" fmla="*/ 104 w 130"/>
                <a:gd name="T111" fmla="*/ 20 h 164"/>
                <a:gd name="T112" fmla="*/ 104 w 130"/>
                <a:gd name="T113" fmla="*/ 8 h 164"/>
                <a:gd name="T114" fmla="*/ 108 w 130"/>
                <a:gd name="T115" fmla="*/ 1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164">
                  <a:moveTo>
                    <a:pt x="26" y="158"/>
                  </a:moveTo>
                  <a:lnTo>
                    <a:pt x="26" y="154"/>
                  </a:lnTo>
                  <a:lnTo>
                    <a:pt x="26" y="150"/>
                  </a:lnTo>
                  <a:lnTo>
                    <a:pt x="26" y="146"/>
                  </a:lnTo>
                  <a:lnTo>
                    <a:pt x="26" y="142"/>
                  </a:lnTo>
                  <a:lnTo>
                    <a:pt x="26" y="138"/>
                  </a:lnTo>
                  <a:lnTo>
                    <a:pt x="30" y="138"/>
                  </a:lnTo>
                  <a:lnTo>
                    <a:pt x="30" y="134"/>
                  </a:lnTo>
                  <a:lnTo>
                    <a:pt x="32" y="132"/>
                  </a:lnTo>
                  <a:lnTo>
                    <a:pt x="32" y="128"/>
                  </a:lnTo>
                  <a:lnTo>
                    <a:pt x="30" y="128"/>
                  </a:lnTo>
                  <a:lnTo>
                    <a:pt x="26" y="128"/>
                  </a:lnTo>
                  <a:lnTo>
                    <a:pt x="22" y="124"/>
                  </a:lnTo>
                  <a:lnTo>
                    <a:pt x="22" y="128"/>
                  </a:lnTo>
                  <a:lnTo>
                    <a:pt x="18" y="128"/>
                  </a:lnTo>
                  <a:lnTo>
                    <a:pt x="18" y="124"/>
                  </a:lnTo>
                  <a:lnTo>
                    <a:pt x="14" y="124"/>
                  </a:lnTo>
                  <a:lnTo>
                    <a:pt x="10" y="124"/>
                  </a:lnTo>
                  <a:lnTo>
                    <a:pt x="10" y="120"/>
                  </a:lnTo>
                  <a:lnTo>
                    <a:pt x="6" y="120"/>
                  </a:lnTo>
                  <a:lnTo>
                    <a:pt x="6" y="116"/>
                  </a:lnTo>
                  <a:lnTo>
                    <a:pt x="10" y="112"/>
                  </a:lnTo>
                  <a:lnTo>
                    <a:pt x="6" y="112"/>
                  </a:lnTo>
                  <a:lnTo>
                    <a:pt x="6" y="108"/>
                  </a:lnTo>
                  <a:lnTo>
                    <a:pt x="4" y="108"/>
                  </a:lnTo>
                  <a:lnTo>
                    <a:pt x="4" y="106"/>
                  </a:lnTo>
                  <a:lnTo>
                    <a:pt x="4" y="102"/>
                  </a:lnTo>
                  <a:lnTo>
                    <a:pt x="6" y="102"/>
                  </a:lnTo>
                  <a:lnTo>
                    <a:pt x="6" y="98"/>
                  </a:lnTo>
                  <a:lnTo>
                    <a:pt x="6" y="94"/>
                  </a:lnTo>
                  <a:lnTo>
                    <a:pt x="4" y="94"/>
                  </a:lnTo>
                  <a:lnTo>
                    <a:pt x="4" y="90"/>
                  </a:lnTo>
                  <a:lnTo>
                    <a:pt x="4" y="86"/>
                  </a:lnTo>
                  <a:lnTo>
                    <a:pt x="0" y="86"/>
                  </a:lnTo>
                  <a:lnTo>
                    <a:pt x="4" y="86"/>
                  </a:lnTo>
                  <a:lnTo>
                    <a:pt x="4" y="82"/>
                  </a:lnTo>
                  <a:lnTo>
                    <a:pt x="4" y="78"/>
                  </a:lnTo>
                  <a:lnTo>
                    <a:pt x="6" y="78"/>
                  </a:lnTo>
                  <a:lnTo>
                    <a:pt x="6" y="76"/>
                  </a:lnTo>
                  <a:lnTo>
                    <a:pt x="4" y="76"/>
                  </a:lnTo>
                  <a:lnTo>
                    <a:pt x="4" y="72"/>
                  </a:lnTo>
                  <a:lnTo>
                    <a:pt x="4" y="68"/>
                  </a:lnTo>
                  <a:lnTo>
                    <a:pt x="6" y="68"/>
                  </a:lnTo>
                  <a:lnTo>
                    <a:pt x="10" y="68"/>
                  </a:lnTo>
                  <a:lnTo>
                    <a:pt x="14" y="68"/>
                  </a:lnTo>
                  <a:lnTo>
                    <a:pt x="14" y="64"/>
                  </a:lnTo>
                  <a:lnTo>
                    <a:pt x="14" y="60"/>
                  </a:lnTo>
                  <a:lnTo>
                    <a:pt x="18" y="60"/>
                  </a:lnTo>
                  <a:lnTo>
                    <a:pt x="18" y="56"/>
                  </a:lnTo>
                  <a:lnTo>
                    <a:pt x="14" y="56"/>
                  </a:lnTo>
                  <a:lnTo>
                    <a:pt x="10" y="56"/>
                  </a:lnTo>
                  <a:lnTo>
                    <a:pt x="10" y="52"/>
                  </a:lnTo>
                  <a:lnTo>
                    <a:pt x="14" y="52"/>
                  </a:lnTo>
                  <a:lnTo>
                    <a:pt x="18" y="52"/>
                  </a:lnTo>
                  <a:lnTo>
                    <a:pt x="18" y="50"/>
                  </a:lnTo>
                  <a:lnTo>
                    <a:pt x="18" y="46"/>
                  </a:lnTo>
                  <a:lnTo>
                    <a:pt x="18" y="42"/>
                  </a:lnTo>
                  <a:lnTo>
                    <a:pt x="18" y="38"/>
                  </a:lnTo>
                  <a:lnTo>
                    <a:pt x="22" y="38"/>
                  </a:lnTo>
                  <a:lnTo>
                    <a:pt x="18" y="38"/>
                  </a:lnTo>
                  <a:lnTo>
                    <a:pt x="18" y="34"/>
                  </a:lnTo>
                  <a:lnTo>
                    <a:pt x="18" y="30"/>
                  </a:lnTo>
                  <a:lnTo>
                    <a:pt x="22" y="30"/>
                  </a:lnTo>
                  <a:lnTo>
                    <a:pt x="26" y="30"/>
                  </a:lnTo>
                  <a:lnTo>
                    <a:pt x="30" y="30"/>
                  </a:lnTo>
                  <a:lnTo>
                    <a:pt x="32" y="30"/>
                  </a:lnTo>
                  <a:lnTo>
                    <a:pt x="32" y="34"/>
                  </a:lnTo>
                  <a:lnTo>
                    <a:pt x="36" y="34"/>
                  </a:lnTo>
                  <a:lnTo>
                    <a:pt x="32" y="34"/>
                  </a:lnTo>
                  <a:lnTo>
                    <a:pt x="32" y="30"/>
                  </a:lnTo>
                  <a:lnTo>
                    <a:pt x="36" y="30"/>
                  </a:lnTo>
                  <a:lnTo>
                    <a:pt x="36" y="34"/>
                  </a:lnTo>
                  <a:lnTo>
                    <a:pt x="36" y="38"/>
                  </a:lnTo>
                  <a:lnTo>
                    <a:pt x="36" y="34"/>
                  </a:lnTo>
                  <a:lnTo>
                    <a:pt x="40" y="34"/>
                  </a:lnTo>
                  <a:lnTo>
                    <a:pt x="36" y="30"/>
                  </a:lnTo>
                  <a:lnTo>
                    <a:pt x="36" y="26"/>
                  </a:lnTo>
                  <a:lnTo>
                    <a:pt x="40" y="26"/>
                  </a:lnTo>
                  <a:lnTo>
                    <a:pt x="44" y="26"/>
                  </a:lnTo>
                  <a:lnTo>
                    <a:pt x="48" y="26"/>
                  </a:lnTo>
                  <a:lnTo>
                    <a:pt x="52" y="26"/>
                  </a:lnTo>
                  <a:lnTo>
                    <a:pt x="52" y="30"/>
                  </a:lnTo>
                  <a:lnTo>
                    <a:pt x="56" y="34"/>
                  </a:lnTo>
                  <a:lnTo>
                    <a:pt x="56" y="30"/>
                  </a:lnTo>
                  <a:lnTo>
                    <a:pt x="52" y="30"/>
                  </a:lnTo>
                  <a:lnTo>
                    <a:pt x="52" y="26"/>
                  </a:lnTo>
                  <a:lnTo>
                    <a:pt x="48" y="26"/>
                  </a:lnTo>
                  <a:lnTo>
                    <a:pt x="44" y="26"/>
                  </a:lnTo>
                  <a:lnTo>
                    <a:pt x="44" y="24"/>
                  </a:lnTo>
                  <a:lnTo>
                    <a:pt x="44" y="20"/>
                  </a:lnTo>
                  <a:lnTo>
                    <a:pt x="40" y="20"/>
                  </a:lnTo>
                  <a:lnTo>
                    <a:pt x="44" y="20"/>
                  </a:lnTo>
                  <a:lnTo>
                    <a:pt x="44" y="16"/>
                  </a:lnTo>
                  <a:lnTo>
                    <a:pt x="40" y="16"/>
                  </a:lnTo>
                  <a:lnTo>
                    <a:pt x="44" y="16"/>
                  </a:lnTo>
                  <a:lnTo>
                    <a:pt x="44" y="12"/>
                  </a:lnTo>
                  <a:lnTo>
                    <a:pt x="44" y="8"/>
                  </a:lnTo>
                  <a:lnTo>
                    <a:pt x="40" y="8"/>
                  </a:lnTo>
                  <a:lnTo>
                    <a:pt x="40" y="4"/>
                  </a:lnTo>
                  <a:lnTo>
                    <a:pt x="36" y="4"/>
                  </a:lnTo>
                  <a:lnTo>
                    <a:pt x="32" y="4"/>
                  </a:lnTo>
                  <a:lnTo>
                    <a:pt x="32" y="8"/>
                  </a:lnTo>
                  <a:lnTo>
                    <a:pt x="32" y="4"/>
                  </a:lnTo>
                  <a:lnTo>
                    <a:pt x="36" y="4"/>
                  </a:lnTo>
                  <a:lnTo>
                    <a:pt x="36" y="0"/>
                  </a:lnTo>
                  <a:lnTo>
                    <a:pt x="36" y="4"/>
                  </a:lnTo>
                  <a:lnTo>
                    <a:pt x="40" y="4"/>
                  </a:lnTo>
                  <a:lnTo>
                    <a:pt x="44" y="4"/>
                  </a:lnTo>
                  <a:lnTo>
                    <a:pt x="48" y="4"/>
                  </a:lnTo>
                  <a:lnTo>
                    <a:pt x="52" y="4"/>
                  </a:lnTo>
                  <a:lnTo>
                    <a:pt x="56" y="4"/>
                  </a:lnTo>
                  <a:lnTo>
                    <a:pt x="58" y="4"/>
                  </a:lnTo>
                  <a:lnTo>
                    <a:pt x="58" y="8"/>
                  </a:lnTo>
                  <a:lnTo>
                    <a:pt x="58" y="12"/>
                  </a:lnTo>
                  <a:lnTo>
                    <a:pt x="56" y="12"/>
                  </a:lnTo>
                  <a:lnTo>
                    <a:pt x="58" y="12"/>
                  </a:lnTo>
                  <a:lnTo>
                    <a:pt x="62" y="16"/>
                  </a:lnTo>
                  <a:lnTo>
                    <a:pt x="66" y="16"/>
                  </a:lnTo>
                  <a:lnTo>
                    <a:pt x="70" y="16"/>
                  </a:lnTo>
                  <a:lnTo>
                    <a:pt x="74" y="16"/>
                  </a:lnTo>
                  <a:lnTo>
                    <a:pt x="74" y="20"/>
                  </a:lnTo>
                  <a:lnTo>
                    <a:pt x="70" y="24"/>
                  </a:lnTo>
                  <a:lnTo>
                    <a:pt x="70" y="26"/>
                  </a:lnTo>
                  <a:lnTo>
                    <a:pt x="70" y="24"/>
                  </a:lnTo>
                  <a:lnTo>
                    <a:pt x="74" y="24"/>
                  </a:lnTo>
                  <a:lnTo>
                    <a:pt x="78" y="24"/>
                  </a:lnTo>
                  <a:lnTo>
                    <a:pt x="78" y="26"/>
                  </a:lnTo>
                  <a:lnTo>
                    <a:pt x="82" y="24"/>
                  </a:lnTo>
                  <a:lnTo>
                    <a:pt x="82" y="20"/>
                  </a:lnTo>
                  <a:lnTo>
                    <a:pt x="86" y="20"/>
                  </a:lnTo>
                  <a:lnTo>
                    <a:pt x="88" y="20"/>
                  </a:lnTo>
                  <a:lnTo>
                    <a:pt x="92" y="16"/>
                  </a:lnTo>
                  <a:lnTo>
                    <a:pt x="92" y="12"/>
                  </a:lnTo>
                  <a:lnTo>
                    <a:pt x="96" y="12"/>
                  </a:lnTo>
                  <a:lnTo>
                    <a:pt x="100" y="12"/>
                  </a:lnTo>
                  <a:lnTo>
                    <a:pt x="100" y="16"/>
                  </a:lnTo>
                  <a:lnTo>
                    <a:pt x="96" y="16"/>
                  </a:lnTo>
                  <a:lnTo>
                    <a:pt x="92" y="16"/>
                  </a:lnTo>
                  <a:lnTo>
                    <a:pt x="92" y="20"/>
                  </a:lnTo>
                  <a:lnTo>
                    <a:pt x="92" y="16"/>
                  </a:lnTo>
                  <a:lnTo>
                    <a:pt x="96" y="16"/>
                  </a:lnTo>
                  <a:lnTo>
                    <a:pt x="100" y="16"/>
                  </a:lnTo>
                  <a:lnTo>
                    <a:pt x="104" y="16"/>
                  </a:lnTo>
                  <a:lnTo>
                    <a:pt x="104" y="20"/>
                  </a:lnTo>
                  <a:lnTo>
                    <a:pt x="108" y="20"/>
                  </a:lnTo>
                  <a:lnTo>
                    <a:pt x="108" y="24"/>
                  </a:lnTo>
                  <a:lnTo>
                    <a:pt x="108" y="20"/>
                  </a:lnTo>
                  <a:lnTo>
                    <a:pt x="112" y="20"/>
                  </a:lnTo>
                  <a:lnTo>
                    <a:pt x="112" y="24"/>
                  </a:lnTo>
                  <a:lnTo>
                    <a:pt x="114" y="26"/>
                  </a:lnTo>
                  <a:lnTo>
                    <a:pt x="112" y="26"/>
                  </a:lnTo>
                  <a:lnTo>
                    <a:pt x="114" y="26"/>
                  </a:lnTo>
                  <a:lnTo>
                    <a:pt x="118" y="30"/>
                  </a:lnTo>
                  <a:lnTo>
                    <a:pt x="118" y="34"/>
                  </a:lnTo>
                  <a:lnTo>
                    <a:pt x="122" y="38"/>
                  </a:lnTo>
                  <a:lnTo>
                    <a:pt x="122" y="42"/>
                  </a:lnTo>
                  <a:lnTo>
                    <a:pt x="118" y="46"/>
                  </a:lnTo>
                  <a:lnTo>
                    <a:pt x="118" y="50"/>
                  </a:lnTo>
                  <a:lnTo>
                    <a:pt x="122" y="50"/>
                  </a:lnTo>
                  <a:lnTo>
                    <a:pt x="122" y="52"/>
                  </a:lnTo>
                  <a:lnTo>
                    <a:pt x="126" y="52"/>
                  </a:lnTo>
                  <a:lnTo>
                    <a:pt x="126" y="56"/>
                  </a:lnTo>
                  <a:lnTo>
                    <a:pt x="122" y="56"/>
                  </a:lnTo>
                  <a:lnTo>
                    <a:pt x="122" y="60"/>
                  </a:lnTo>
                  <a:lnTo>
                    <a:pt x="126" y="60"/>
                  </a:lnTo>
                  <a:lnTo>
                    <a:pt x="126" y="64"/>
                  </a:lnTo>
                  <a:lnTo>
                    <a:pt x="126" y="68"/>
                  </a:lnTo>
                  <a:lnTo>
                    <a:pt x="122" y="68"/>
                  </a:lnTo>
                  <a:lnTo>
                    <a:pt x="126" y="72"/>
                  </a:lnTo>
                  <a:lnTo>
                    <a:pt x="126" y="76"/>
                  </a:lnTo>
                  <a:lnTo>
                    <a:pt x="130" y="76"/>
                  </a:lnTo>
                  <a:lnTo>
                    <a:pt x="130" y="78"/>
                  </a:lnTo>
                  <a:lnTo>
                    <a:pt x="130" y="82"/>
                  </a:lnTo>
                  <a:lnTo>
                    <a:pt x="130" y="86"/>
                  </a:lnTo>
                  <a:lnTo>
                    <a:pt x="126" y="90"/>
                  </a:lnTo>
                  <a:lnTo>
                    <a:pt x="122" y="90"/>
                  </a:lnTo>
                  <a:lnTo>
                    <a:pt x="126" y="90"/>
                  </a:lnTo>
                  <a:lnTo>
                    <a:pt x="122" y="86"/>
                  </a:lnTo>
                  <a:lnTo>
                    <a:pt x="118" y="86"/>
                  </a:lnTo>
                  <a:lnTo>
                    <a:pt x="122" y="86"/>
                  </a:lnTo>
                  <a:lnTo>
                    <a:pt x="118" y="90"/>
                  </a:lnTo>
                  <a:lnTo>
                    <a:pt x="114" y="90"/>
                  </a:lnTo>
                  <a:lnTo>
                    <a:pt x="112" y="94"/>
                  </a:lnTo>
                  <a:lnTo>
                    <a:pt x="108" y="94"/>
                  </a:lnTo>
                  <a:lnTo>
                    <a:pt x="104" y="94"/>
                  </a:lnTo>
                  <a:lnTo>
                    <a:pt x="104" y="98"/>
                  </a:lnTo>
                  <a:lnTo>
                    <a:pt x="100" y="98"/>
                  </a:lnTo>
                  <a:lnTo>
                    <a:pt x="96" y="98"/>
                  </a:lnTo>
                  <a:lnTo>
                    <a:pt x="92" y="102"/>
                  </a:lnTo>
                  <a:lnTo>
                    <a:pt x="92" y="106"/>
                  </a:lnTo>
                  <a:lnTo>
                    <a:pt x="88" y="102"/>
                  </a:lnTo>
                  <a:lnTo>
                    <a:pt x="88" y="106"/>
                  </a:lnTo>
                  <a:lnTo>
                    <a:pt x="92" y="106"/>
                  </a:lnTo>
                  <a:lnTo>
                    <a:pt x="92" y="108"/>
                  </a:lnTo>
                  <a:lnTo>
                    <a:pt x="96" y="108"/>
                  </a:lnTo>
                  <a:lnTo>
                    <a:pt x="92" y="112"/>
                  </a:lnTo>
                  <a:lnTo>
                    <a:pt x="92" y="116"/>
                  </a:lnTo>
                  <a:lnTo>
                    <a:pt x="96" y="116"/>
                  </a:lnTo>
                  <a:lnTo>
                    <a:pt x="96" y="120"/>
                  </a:lnTo>
                  <a:lnTo>
                    <a:pt x="100" y="120"/>
                  </a:lnTo>
                  <a:lnTo>
                    <a:pt x="100" y="124"/>
                  </a:lnTo>
                  <a:lnTo>
                    <a:pt x="104" y="124"/>
                  </a:lnTo>
                  <a:lnTo>
                    <a:pt x="108" y="128"/>
                  </a:lnTo>
                  <a:lnTo>
                    <a:pt x="112" y="132"/>
                  </a:lnTo>
                  <a:lnTo>
                    <a:pt x="112" y="134"/>
                  </a:lnTo>
                  <a:lnTo>
                    <a:pt x="112" y="138"/>
                  </a:lnTo>
                  <a:lnTo>
                    <a:pt x="108" y="138"/>
                  </a:lnTo>
                  <a:lnTo>
                    <a:pt x="108" y="142"/>
                  </a:lnTo>
                  <a:lnTo>
                    <a:pt x="104" y="142"/>
                  </a:lnTo>
                  <a:lnTo>
                    <a:pt x="100" y="142"/>
                  </a:lnTo>
                  <a:lnTo>
                    <a:pt x="100" y="146"/>
                  </a:lnTo>
                  <a:lnTo>
                    <a:pt x="96" y="146"/>
                  </a:lnTo>
                  <a:lnTo>
                    <a:pt x="100" y="146"/>
                  </a:lnTo>
                  <a:lnTo>
                    <a:pt x="100" y="150"/>
                  </a:lnTo>
                  <a:lnTo>
                    <a:pt x="100" y="154"/>
                  </a:lnTo>
                  <a:lnTo>
                    <a:pt x="104" y="154"/>
                  </a:lnTo>
                  <a:lnTo>
                    <a:pt x="104" y="158"/>
                  </a:lnTo>
                  <a:lnTo>
                    <a:pt x="104" y="162"/>
                  </a:lnTo>
                  <a:lnTo>
                    <a:pt x="100" y="162"/>
                  </a:lnTo>
                  <a:lnTo>
                    <a:pt x="100" y="158"/>
                  </a:lnTo>
                  <a:lnTo>
                    <a:pt x="96" y="158"/>
                  </a:lnTo>
                  <a:lnTo>
                    <a:pt x="92" y="158"/>
                  </a:lnTo>
                  <a:lnTo>
                    <a:pt x="88" y="158"/>
                  </a:lnTo>
                  <a:lnTo>
                    <a:pt x="86" y="158"/>
                  </a:lnTo>
                  <a:lnTo>
                    <a:pt x="82" y="158"/>
                  </a:lnTo>
                  <a:lnTo>
                    <a:pt x="78" y="158"/>
                  </a:lnTo>
                  <a:lnTo>
                    <a:pt x="78" y="162"/>
                  </a:lnTo>
                  <a:lnTo>
                    <a:pt x="74" y="162"/>
                  </a:lnTo>
                  <a:lnTo>
                    <a:pt x="70" y="158"/>
                  </a:lnTo>
                  <a:lnTo>
                    <a:pt x="66" y="158"/>
                  </a:lnTo>
                  <a:lnTo>
                    <a:pt x="66" y="162"/>
                  </a:lnTo>
                  <a:lnTo>
                    <a:pt x="62" y="164"/>
                  </a:lnTo>
                  <a:lnTo>
                    <a:pt x="62" y="162"/>
                  </a:lnTo>
                  <a:lnTo>
                    <a:pt x="58" y="162"/>
                  </a:lnTo>
                  <a:lnTo>
                    <a:pt x="58" y="158"/>
                  </a:lnTo>
                  <a:lnTo>
                    <a:pt x="56" y="158"/>
                  </a:lnTo>
                  <a:lnTo>
                    <a:pt x="52" y="158"/>
                  </a:lnTo>
                  <a:lnTo>
                    <a:pt x="48" y="158"/>
                  </a:lnTo>
                  <a:lnTo>
                    <a:pt x="44" y="158"/>
                  </a:lnTo>
                  <a:lnTo>
                    <a:pt x="44" y="154"/>
                  </a:lnTo>
                  <a:lnTo>
                    <a:pt x="44" y="158"/>
                  </a:lnTo>
                  <a:lnTo>
                    <a:pt x="44" y="154"/>
                  </a:lnTo>
                  <a:lnTo>
                    <a:pt x="40" y="154"/>
                  </a:lnTo>
                  <a:lnTo>
                    <a:pt x="40" y="158"/>
                  </a:lnTo>
                  <a:lnTo>
                    <a:pt x="40" y="154"/>
                  </a:lnTo>
                  <a:lnTo>
                    <a:pt x="36" y="154"/>
                  </a:lnTo>
                  <a:lnTo>
                    <a:pt x="36" y="158"/>
                  </a:lnTo>
                  <a:lnTo>
                    <a:pt x="40" y="158"/>
                  </a:lnTo>
                  <a:lnTo>
                    <a:pt x="36" y="158"/>
                  </a:lnTo>
                  <a:lnTo>
                    <a:pt x="32" y="158"/>
                  </a:lnTo>
                  <a:lnTo>
                    <a:pt x="30" y="158"/>
                  </a:lnTo>
                  <a:lnTo>
                    <a:pt x="26" y="158"/>
                  </a:lnTo>
                  <a:lnTo>
                    <a:pt x="26" y="158"/>
                  </a:lnTo>
                  <a:lnTo>
                    <a:pt x="26" y="158"/>
                  </a:lnTo>
                  <a:close/>
                  <a:moveTo>
                    <a:pt x="118" y="26"/>
                  </a:moveTo>
                  <a:lnTo>
                    <a:pt x="114" y="26"/>
                  </a:lnTo>
                  <a:lnTo>
                    <a:pt x="112" y="26"/>
                  </a:lnTo>
                  <a:lnTo>
                    <a:pt x="114" y="26"/>
                  </a:lnTo>
                  <a:lnTo>
                    <a:pt x="114" y="24"/>
                  </a:lnTo>
                  <a:lnTo>
                    <a:pt x="112" y="24"/>
                  </a:lnTo>
                  <a:lnTo>
                    <a:pt x="112" y="20"/>
                  </a:lnTo>
                  <a:lnTo>
                    <a:pt x="114" y="20"/>
                  </a:lnTo>
                  <a:lnTo>
                    <a:pt x="114" y="24"/>
                  </a:lnTo>
                  <a:lnTo>
                    <a:pt x="118" y="24"/>
                  </a:lnTo>
                  <a:lnTo>
                    <a:pt x="118" y="26"/>
                  </a:lnTo>
                  <a:lnTo>
                    <a:pt x="118" y="26"/>
                  </a:lnTo>
                  <a:lnTo>
                    <a:pt x="118" y="26"/>
                  </a:lnTo>
                  <a:close/>
                  <a:moveTo>
                    <a:pt x="78" y="12"/>
                  </a:moveTo>
                  <a:lnTo>
                    <a:pt x="78" y="16"/>
                  </a:lnTo>
                  <a:lnTo>
                    <a:pt x="74" y="16"/>
                  </a:lnTo>
                  <a:lnTo>
                    <a:pt x="74" y="12"/>
                  </a:lnTo>
                  <a:lnTo>
                    <a:pt x="78" y="12"/>
                  </a:lnTo>
                  <a:lnTo>
                    <a:pt x="78" y="12"/>
                  </a:lnTo>
                  <a:lnTo>
                    <a:pt x="78" y="12"/>
                  </a:lnTo>
                  <a:close/>
                  <a:moveTo>
                    <a:pt x="40" y="8"/>
                  </a:moveTo>
                  <a:lnTo>
                    <a:pt x="36" y="8"/>
                  </a:lnTo>
                  <a:lnTo>
                    <a:pt x="40" y="8"/>
                  </a:lnTo>
                  <a:lnTo>
                    <a:pt x="40" y="8"/>
                  </a:lnTo>
                  <a:lnTo>
                    <a:pt x="40" y="8"/>
                  </a:lnTo>
                  <a:close/>
                  <a:moveTo>
                    <a:pt x="104" y="20"/>
                  </a:moveTo>
                  <a:lnTo>
                    <a:pt x="104" y="16"/>
                  </a:lnTo>
                  <a:lnTo>
                    <a:pt x="104" y="12"/>
                  </a:lnTo>
                  <a:lnTo>
                    <a:pt x="108" y="12"/>
                  </a:lnTo>
                  <a:lnTo>
                    <a:pt x="104" y="12"/>
                  </a:lnTo>
                  <a:lnTo>
                    <a:pt x="104" y="8"/>
                  </a:lnTo>
                  <a:lnTo>
                    <a:pt x="108" y="8"/>
                  </a:lnTo>
                  <a:lnTo>
                    <a:pt x="108" y="12"/>
                  </a:lnTo>
                  <a:lnTo>
                    <a:pt x="112" y="12"/>
                  </a:lnTo>
                  <a:lnTo>
                    <a:pt x="112" y="16"/>
                  </a:lnTo>
                  <a:lnTo>
                    <a:pt x="108" y="16"/>
                  </a:lnTo>
                  <a:lnTo>
                    <a:pt x="108" y="20"/>
                  </a:lnTo>
                  <a:lnTo>
                    <a:pt x="104" y="20"/>
                  </a:lnTo>
                  <a:lnTo>
                    <a:pt x="104" y="20"/>
                  </a:lnTo>
                  <a:lnTo>
                    <a:pt x="104" y="2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09" name="Freeform 102"/>
            <p:cNvSpPr>
              <a:spLocks noEditPoints="1"/>
            </p:cNvSpPr>
            <p:nvPr/>
          </p:nvSpPr>
          <p:spPr bwMode="auto">
            <a:xfrm>
              <a:off x="7216119" y="3671407"/>
              <a:ext cx="74102" cy="84993"/>
            </a:xfrm>
            <a:custGeom>
              <a:avLst/>
              <a:gdLst>
                <a:gd name="T0" fmla="*/ 6 w 118"/>
                <a:gd name="T1" fmla="*/ 48 h 130"/>
                <a:gd name="T2" fmla="*/ 6 w 118"/>
                <a:gd name="T3" fmla="*/ 34 h 130"/>
                <a:gd name="T4" fmla="*/ 26 w 118"/>
                <a:gd name="T5" fmla="*/ 18 h 130"/>
                <a:gd name="T6" fmla="*/ 44 w 118"/>
                <a:gd name="T7" fmla="*/ 8 h 130"/>
                <a:gd name="T8" fmla="*/ 66 w 118"/>
                <a:gd name="T9" fmla="*/ 4 h 130"/>
                <a:gd name="T10" fmla="*/ 86 w 118"/>
                <a:gd name="T11" fmla="*/ 12 h 130"/>
                <a:gd name="T12" fmla="*/ 96 w 118"/>
                <a:gd name="T13" fmla="*/ 8 h 130"/>
                <a:gd name="T14" fmla="*/ 86 w 118"/>
                <a:gd name="T15" fmla="*/ 18 h 130"/>
                <a:gd name="T16" fmla="*/ 62 w 118"/>
                <a:gd name="T17" fmla="*/ 18 h 130"/>
                <a:gd name="T18" fmla="*/ 62 w 118"/>
                <a:gd name="T19" fmla="*/ 30 h 130"/>
                <a:gd name="T20" fmla="*/ 60 w 118"/>
                <a:gd name="T21" fmla="*/ 38 h 130"/>
                <a:gd name="T22" fmla="*/ 52 w 118"/>
                <a:gd name="T23" fmla="*/ 34 h 130"/>
                <a:gd name="T24" fmla="*/ 40 w 118"/>
                <a:gd name="T25" fmla="*/ 38 h 130"/>
                <a:gd name="T26" fmla="*/ 44 w 118"/>
                <a:gd name="T27" fmla="*/ 52 h 130"/>
                <a:gd name="T28" fmla="*/ 36 w 118"/>
                <a:gd name="T29" fmla="*/ 56 h 130"/>
                <a:gd name="T30" fmla="*/ 48 w 118"/>
                <a:gd name="T31" fmla="*/ 60 h 130"/>
                <a:gd name="T32" fmla="*/ 60 w 118"/>
                <a:gd name="T33" fmla="*/ 74 h 130"/>
                <a:gd name="T34" fmla="*/ 48 w 118"/>
                <a:gd name="T35" fmla="*/ 74 h 130"/>
                <a:gd name="T36" fmla="*/ 44 w 118"/>
                <a:gd name="T37" fmla="*/ 82 h 130"/>
                <a:gd name="T38" fmla="*/ 44 w 118"/>
                <a:gd name="T39" fmla="*/ 98 h 130"/>
                <a:gd name="T40" fmla="*/ 36 w 118"/>
                <a:gd name="T41" fmla="*/ 102 h 130"/>
                <a:gd name="T42" fmla="*/ 26 w 118"/>
                <a:gd name="T43" fmla="*/ 90 h 130"/>
                <a:gd name="T44" fmla="*/ 22 w 118"/>
                <a:gd name="T45" fmla="*/ 72 h 130"/>
                <a:gd name="T46" fmla="*/ 40 w 118"/>
                <a:gd name="T47" fmla="*/ 74 h 130"/>
                <a:gd name="T48" fmla="*/ 36 w 118"/>
                <a:gd name="T49" fmla="*/ 64 h 130"/>
                <a:gd name="T50" fmla="*/ 18 w 118"/>
                <a:gd name="T51" fmla="*/ 60 h 130"/>
                <a:gd name="T52" fmla="*/ 66 w 118"/>
                <a:gd name="T53" fmla="*/ 22 h 130"/>
                <a:gd name="T54" fmla="*/ 82 w 118"/>
                <a:gd name="T55" fmla="*/ 26 h 130"/>
                <a:gd name="T56" fmla="*/ 74 w 118"/>
                <a:gd name="T57" fmla="*/ 34 h 130"/>
                <a:gd name="T58" fmla="*/ 2 w 118"/>
                <a:gd name="T59" fmla="*/ 42 h 130"/>
                <a:gd name="T60" fmla="*/ 0 w 118"/>
                <a:gd name="T61" fmla="*/ 38 h 130"/>
                <a:gd name="T62" fmla="*/ 92 w 118"/>
                <a:gd name="T63" fmla="*/ 52 h 130"/>
                <a:gd name="T64" fmla="*/ 60 w 118"/>
                <a:gd name="T65" fmla="*/ 68 h 130"/>
                <a:gd name="T66" fmla="*/ 48 w 118"/>
                <a:gd name="T67" fmla="*/ 52 h 130"/>
                <a:gd name="T68" fmla="*/ 62 w 118"/>
                <a:gd name="T69" fmla="*/ 72 h 130"/>
                <a:gd name="T70" fmla="*/ 60 w 118"/>
                <a:gd name="T71" fmla="*/ 68 h 130"/>
                <a:gd name="T72" fmla="*/ 14 w 118"/>
                <a:gd name="T73" fmla="*/ 60 h 130"/>
                <a:gd name="T74" fmla="*/ 90 w 118"/>
                <a:gd name="T75" fmla="*/ 72 h 130"/>
                <a:gd name="T76" fmla="*/ 90 w 118"/>
                <a:gd name="T77" fmla="*/ 72 h 130"/>
                <a:gd name="T78" fmla="*/ 14 w 118"/>
                <a:gd name="T79" fmla="*/ 68 h 130"/>
                <a:gd name="T80" fmla="*/ 10 w 118"/>
                <a:gd name="T81" fmla="*/ 64 h 130"/>
                <a:gd name="T82" fmla="*/ 74 w 118"/>
                <a:gd name="T83" fmla="*/ 78 h 130"/>
                <a:gd name="T84" fmla="*/ 18 w 118"/>
                <a:gd name="T85" fmla="*/ 78 h 130"/>
                <a:gd name="T86" fmla="*/ 100 w 118"/>
                <a:gd name="T87" fmla="*/ 78 h 130"/>
                <a:gd name="T88" fmla="*/ 92 w 118"/>
                <a:gd name="T89" fmla="*/ 82 h 130"/>
                <a:gd name="T90" fmla="*/ 62 w 118"/>
                <a:gd name="T91" fmla="*/ 82 h 130"/>
                <a:gd name="T92" fmla="*/ 74 w 118"/>
                <a:gd name="T93" fmla="*/ 78 h 130"/>
                <a:gd name="T94" fmla="*/ 66 w 118"/>
                <a:gd name="T95" fmla="*/ 82 h 130"/>
                <a:gd name="T96" fmla="*/ 74 w 118"/>
                <a:gd name="T97" fmla="*/ 94 h 130"/>
                <a:gd name="T98" fmla="*/ 100 w 118"/>
                <a:gd name="T99" fmla="*/ 94 h 130"/>
                <a:gd name="T100" fmla="*/ 104 w 118"/>
                <a:gd name="T101" fmla="*/ 94 h 130"/>
                <a:gd name="T102" fmla="*/ 78 w 118"/>
                <a:gd name="T103" fmla="*/ 102 h 130"/>
                <a:gd name="T104" fmla="*/ 66 w 118"/>
                <a:gd name="T105" fmla="*/ 102 h 130"/>
                <a:gd name="T106" fmla="*/ 112 w 118"/>
                <a:gd name="T107" fmla="*/ 108 h 130"/>
                <a:gd name="T108" fmla="*/ 44 w 118"/>
                <a:gd name="T109" fmla="*/ 108 h 130"/>
                <a:gd name="T110" fmla="*/ 104 w 118"/>
                <a:gd name="T111" fmla="*/ 124 h 130"/>
                <a:gd name="T112" fmla="*/ 62 w 118"/>
                <a:gd name="T113" fmla="*/ 120 h 130"/>
                <a:gd name="T114" fmla="*/ 82 w 118"/>
                <a:gd name="T115" fmla="*/ 124 h 130"/>
                <a:gd name="T116" fmla="*/ 78 w 118"/>
                <a:gd name="T117" fmla="*/ 130 h 130"/>
                <a:gd name="T118" fmla="*/ 56 w 118"/>
                <a:gd name="T119" fmla="*/ 12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8" h="130">
                  <a:moveTo>
                    <a:pt x="18" y="52"/>
                  </a:moveTo>
                  <a:lnTo>
                    <a:pt x="18" y="56"/>
                  </a:lnTo>
                  <a:lnTo>
                    <a:pt x="14" y="52"/>
                  </a:lnTo>
                  <a:lnTo>
                    <a:pt x="14" y="56"/>
                  </a:lnTo>
                  <a:lnTo>
                    <a:pt x="14" y="52"/>
                  </a:lnTo>
                  <a:lnTo>
                    <a:pt x="10" y="52"/>
                  </a:lnTo>
                  <a:lnTo>
                    <a:pt x="10" y="48"/>
                  </a:lnTo>
                  <a:lnTo>
                    <a:pt x="6" y="48"/>
                  </a:lnTo>
                  <a:lnTo>
                    <a:pt x="6" y="46"/>
                  </a:lnTo>
                  <a:lnTo>
                    <a:pt x="6" y="42"/>
                  </a:lnTo>
                  <a:lnTo>
                    <a:pt x="2" y="42"/>
                  </a:lnTo>
                  <a:lnTo>
                    <a:pt x="6" y="42"/>
                  </a:lnTo>
                  <a:lnTo>
                    <a:pt x="6" y="38"/>
                  </a:lnTo>
                  <a:lnTo>
                    <a:pt x="6" y="42"/>
                  </a:lnTo>
                  <a:lnTo>
                    <a:pt x="6" y="38"/>
                  </a:lnTo>
                  <a:lnTo>
                    <a:pt x="6" y="34"/>
                  </a:lnTo>
                  <a:lnTo>
                    <a:pt x="10" y="34"/>
                  </a:lnTo>
                  <a:lnTo>
                    <a:pt x="14" y="30"/>
                  </a:lnTo>
                  <a:lnTo>
                    <a:pt x="14" y="26"/>
                  </a:lnTo>
                  <a:lnTo>
                    <a:pt x="18" y="26"/>
                  </a:lnTo>
                  <a:lnTo>
                    <a:pt x="18" y="22"/>
                  </a:lnTo>
                  <a:lnTo>
                    <a:pt x="18" y="18"/>
                  </a:lnTo>
                  <a:lnTo>
                    <a:pt x="22" y="18"/>
                  </a:lnTo>
                  <a:lnTo>
                    <a:pt x="26" y="18"/>
                  </a:lnTo>
                  <a:lnTo>
                    <a:pt x="30" y="18"/>
                  </a:lnTo>
                  <a:lnTo>
                    <a:pt x="30" y="16"/>
                  </a:lnTo>
                  <a:lnTo>
                    <a:pt x="32" y="12"/>
                  </a:lnTo>
                  <a:lnTo>
                    <a:pt x="36" y="12"/>
                  </a:lnTo>
                  <a:lnTo>
                    <a:pt x="36" y="16"/>
                  </a:lnTo>
                  <a:lnTo>
                    <a:pt x="40" y="16"/>
                  </a:lnTo>
                  <a:lnTo>
                    <a:pt x="40" y="12"/>
                  </a:lnTo>
                  <a:lnTo>
                    <a:pt x="44" y="8"/>
                  </a:lnTo>
                  <a:lnTo>
                    <a:pt x="48" y="12"/>
                  </a:lnTo>
                  <a:lnTo>
                    <a:pt x="48" y="8"/>
                  </a:lnTo>
                  <a:lnTo>
                    <a:pt x="52" y="8"/>
                  </a:lnTo>
                  <a:lnTo>
                    <a:pt x="56" y="8"/>
                  </a:lnTo>
                  <a:lnTo>
                    <a:pt x="60" y="8"/>
                  </a:lnTo>
                  <a:lnTo>
                    <a:pt x="60" y="4"/>
                  </a:lnTo>
                  <a:lnTo>
                    <a:pt x="62" y="4"/>
                  </a:lnTo>
                  <a:lnTo>
                    <a:pt x="66" y="4"/>
                  </a:lnTo>
                  <a:lnTo>
                    <a:pt x="66" y="8"/>
                  </a:lnTo>
                  <a:lnTo>
                    <a:pt x="70" y="8"/>
                  </a:lnTo>
                  <a:lnTo>
                    <a:pt x="74" y="8"/>
                  </a:lnTo>
                  <a:lnTo>
                    <a:pt x="74" y="12"/>
                  </a:lnTo>
                  <a:lnTo>
                    <a:pt x="78" y="12"/>
                  </a:lnTo>
                  <a:lnTo>
                    <a:pt x="82" y="12"/>
                  </a:lnTo>
                  <a:lnTo>
                    <a:pt x="86" y="8"/>
                  </a:lnTo>
                  <a:lnTo>
                    <a:pt x="86" y="12"/>
                  </a:lnTo>
                  <a:lnTo>
                    <a:pt x="90" y="12"/>
                  </a:lnTo>
                  <a:lnTo>
                    <a:pt x="90" y="8"/>
                  </a:lnTo>
                  <a:lnTo>
                    <a:pt x="90" y="4"/>
                  </a:lnTo>
                  <a:lnTo>
                    <a:pt x="90" y="0"/>
                  </a:lnTo>
                  <a:lnTo>
                    <a:pt x="92" y="0"/>
                  </a:lnTo>
                  <a:lnTo>
                    <a:pt x="92" y="4"/>
                  </a:lnTo>
                  <a:lnTo>
                    <a:pt x="96" y="4"/>
                  </a:lnTo>
                  <a:lnTo>
                    <a:pt x="96" y="8"/>
                  </a:lnTo>
                  <a:lnTo>
                    <a:pt x="96" y="12"/>
                  </a:lnTo>
                  <a:lnTo>
                    <a:pt x="92" y="12"/>
                  </a:lnTo>
                  <a:lnTo>
                    <a:pt x="92" y="16"/>
                  </a:lnTo>
                  <a:lnTo>
                    <a:pt x="92" y="18"/>
                  </a:lnTo>
                  <a:lnTo>
                    <a:pt x="90" y="18"/>
                  </a:lnTo>
                  <a:lnTo>
                    <a:pt x="90" y="22"/>
                  </a:lnTo>
                  <a:lnTo>
                    <a:pt x="90" y="18"/>
                  </a:lnTo>
                  <a:lnTo>
                    <a:pt x="86" y="18"/>
                  </a:lnTo>
                  <a:lnTo>
                    <a:pt x="82" y="18"/>
                  </a:lnTo>
                  <a:lnTo>
                    <a:pt x="78" y="18"/>
                  </a:lnTo>
                  <a:lnTo>
                    <a:pt x="74" y="16"/>
                  </a:lnTo>
                  <a:lnTo>
                    <a:pt x="70" y="18"/>
                  </a:lnTo>
                  <a:lnTo>
                    <a:pt x="66" y="18"/>
                  </a:lnTo>
                  <a:lnTo>
                    <a:pt x="66" y="16"/>
                  </a:lnTo>
                  <a:lnTo>
                    <a:pt x="66" y="18"/>
                  </a:lnTo>
                  <a:lnTo>
                    <a:pt x="62" y="18"/>
                  </a:lnTo>
                  <a:lnTo>
                    <a:pt x="62" y="22"/>
                  </a:lnTo>
                  <a:lnTo>
                    <a:pt x="60" y="22"/>
                  </a:lnTo>
                  <a:lnTo>
                    <a:pt x="60" y="18"/>
                  </a:lnTo>
                  <a:lnTo>
                    <a:pt x="56" y="18"/>
                  </a:lnTo>
                  <a:lnTo>
                    <a:pt x="56" y="22"/>
                  </a:lnTo>
                  <a:lnTo>
                    <a:pt x="56" y="26"/>
                  </a:lnTo>
                  <a:lnTo>
                    <a:pt x="60" y="26"/>
                  </a:lnTo>
                  <a:lnTo>
                    <a:pt x="62" y="30"/>
                  </a:lnTo>
                  <a:lnTo>
                    <a:pt x="66" y="30"/>
                  </a:lnTo>
                  <a:lnTo>
                    <a:pt x="66" y="34"/>
                  </a:lnTo>
                  <a:lnTo>
                    <a:pt x="62" y="34"/>
                  </a:lnTo>
                  <a:lnTo>
                    <a:pt x="62" y="30"/>
                  </a:lnTo>
                  <a:lnTo>
                    <a:pt x="60" y="30"/>
                  </a:lnTo>
                  <a:lnTo>
                    <a:pt x="56" y="30"/>
                  </a:lnTo>
                  <a:lnTo>
                    <a:pt x="60" y="34"/>
                  </a:lnTo>
                  <a:lnTo>
                    <a:pt x="60" y="38"/>
                  </a:lnTo>
                  <a:lnTo>
                    <a:pt x="56" y="34"/>
                  </a:lnTo>
                  <a:lnTo>
                    <a:pt x="56" y="30"/>
                  </a:lnTo>
                  <a:lnTo>
                    <a:pt x="52" y="30"/>
                  </a:lnTo>
                  <a:lnTo>
                    <a:pt x="52" y="34"/>
                  </a:lnTo>
                  <a:lnTo>
                    <a:pt x="56" y="34"/>
                  </a:lnTo>
                  <a:lnTo>
                    <a:pt x="56" y="38"/>
                  </a:lnTo>
                  <a:lnTo>
                    <a:pt x="52" y="38"/>
                  </a:lnTo>
                  <a:lnTo>
                    <a:pt x="52" y="34"/>
                  </a:lnTo>
                  <a:lnTo>
                    <a:pt x="52" y="30"/>
                  </a:lnTo>
                  <a:lnTo>
                    <a:pt x="48" y="30"/>
                  </a:lnTo>
                  <a:lnTo>
                    <a:pt x="44" y="26"/>
                  </a:lnTo>
                  <a:lnTo>
                    <a:pt x="44" y="22"/>
                  </a:lnTo>
                  <a:lnTo>
                    <a:pt x="40" y="26"/>
                  </a:lnTo>
                  <a:lnTo>
                    <a:pt x="40" y="30"/>
                  </a:lnTo>
                  <a:lnTo>
                    <a:pt x="40" y="34"/>
                  </a:lnTo>
                  <a:lnTo>
                    <a:pt x="40" y="38"/>
                  </a:lnTo>
                  <a:lnTo>
                    <a:pt x="44" y="42"/>
                  </a:lnTo>
                  <a:lnTo>
                    <a:pt x="44" y="46"/>
                  </a:lnTo>
                  <a:lnTo>
                    <a:pt x="48" y="46"/>
                  </a:lnTo>
                  <a:lnTo>
                    <a:pt x="48" y="48"/>
                  </a:lnTo>
                  <a:lnTo>
                    <a:pt x="52" y="48"/>
                  </a:lnTo>
                  <a:lnTo>
                    <a:pt x="52" y="52"/>
                  </a:lnTo>
                  <a:lnTo>
                    <a:pt x="48" y="52"/>
                  </a:lnTo>
                  <a:lnTo>
                    <a:pt x="44" y="52"/>
                  </a:lnTo>
                  <a:lnTo>
                    <a:pt x="48" y="52"/>
                  </a:lnTo>
                  <a:lnTo>
                    <a:pt x="48" y="48"/>
                  </a:lnTo>
                  <a:lnTo>
                    <a:pt x="44" y="48"/>
                  </a:lnTo>
                  <a:lnTo>
                    <a:pt x="44" y="52"/>
                  </a:lnTo>
                  <a:lnTo>
                    <a:pt x="48" y="52"/>
                  </a:lnTo>
                  <a:lnTo>
                    <a:pt x="44" y="56"/>
                  </a:lnTo>
                  <a:lnTo>
                    <a:pt x="40" y="56"/>
                  </a:lnTo>
                  <a:lnTo>
                    <a:pt x="36" y="56"/>
                  </a:lnTo>
                  <a:lnTo>
                    <a:pt x="40" y="56"/>
                  </a:lnTo>
                  <a:lnTo>
                    <a:pt x="40" y="60"/>
                  </a:lnTo>
                  <a:lnTo>
                    <a:pt x="40" y="56"/>
                  </a:lnTo>
                  <a:lnTo>
                    <a:pt x="40" y="60"/>
                  </a:lnTo>
                  <a:lnTo>
                    <a:pt x="44" y="60"/>
                  </a:lnTo>
                  <a:lnTo>
                    <a:pt x="48" y="60"/>
                  </a:lnTo>
                  <a:lnTo>
                    <a:pt x="48" y="64"/>
                  </a:lnTo>
                  <a:lnTo>
                    <a:pt x="48" y="60"/>
                  </a:lnTo>
                  <a:lnTo>
                    <a:pt x="52" y="64"/>
                  </a:lnTo>
                  <a:lnTo>
                    <a:pt x="48" y="64"/>
                  </a:lnTo>
                  <a:lnTo>
                    <a:pt x="52" y="64"/>
                  </a:lnTo>
                  <a:lnTo>
                    <a:pt x="56" y="64"/>
                  </a:lnTo>
                  <a:lnTo>
                    <a:pt x="56" y="68"/>
                  </a:lnTo>
                  <a:lnTo>
                    <a:pt x="60" y="68"/>
                  </a:lnTo>
                  <a:lnTo>
                    <a:pt x="60" y="72"/>
                  </a:lnTo>
                  <a:lnTo>
                    <a:pt x="60" y="74"/>
                  </a:lnTo>
                  <a:lnTo>
                    <a:pt x="60" y="78"/>
                  </a:lnTo>
                  <a:lnTo>
                    <a:pt x="60" y="82"/>
                  </a:lnTo>
                  <a:lnTo>
                    <a:pt x="60" y="78"/>
                  </a:lnTo>
                  <a:lnTo>
                    <a:pt x="56" y="78"/>
                  </a:lnTo>
                  <a:lnTo>
                    <a:pt x="52" y="74"/>
                  </a:lnTo>
                  <a:lnTo>
                    <a:pt x="56" y="74"/>
                  </a:lnTo>
                  <a:lnTo>
                    <a:pt x="52" y="74"/>
                  </a:lnTo>
                  <a:lnTo>
                    <a:pt x="48" y="74"/>
                  </a:lnTo>
                  <a:lnTo>
                    <a:pt x="44" y="74"/>
                  </a:lnTo>
                  <a:lnTo>
                    <a:pt x="44" y="78"/>
                  </a:lnTo>
                  <a:lnTo>
                    <a:pt x="48" y="78"/>
                  </a:lnTo>
                  <a:lnTo>
                    <a:pt x="48" y="82"/>
                  </a:lnTo>
                  <a:lnTo>
                    <a:pt x="52" y="82"/>
                  </a:lnTo>
                  <a:lnTo>
                    <a:pt x="52" y="86"/>
                  </a:lnTo>
                  <a:lnTo>
                    <a:pt x="48" y="86"/>
                  </a:lnTo>
                  <a:lnTo>
                    <a:pt x="44" y="82"/>
                  </a:lnTo>
                  <a:lnTo>
                    <a:pt x="40" y="82"/>
                  </a:lnTo>
                  <a:lnTo>
                    <a:pt x="40" y="86"/>
                  </a:lnTo>
                  <a:lnTo>
                    <a:pt x="44" y="86"/>
                  </a:lnTo>
                  <a:lnTo>
                    <a:pt x="44" y="90"/>
                  </a:lnTo>
                  <a:lnTo>
                    <a:pt x="44" y="94"/>
                  </a:lnTo>
                  <a:lnTo>
                    <a:pt x="44" y="98"/>
                  </a:lnTo>
                  <a:lnTo>
                    <a:pt x="48" y="98"/>
                  </a:lnTo>
                  <a:lnTo>
                    <a:pt x="44" y="98"/>
                  </a:lnTo>
                  <a:lnTo>
                    <a:pt x="44" y="102"/>
                  </a:lnTo>
                  <a:lnTo>
                    <a:pt x="48" y="102"/>
                  </a:lnTo>
                  <a:lnTo>
                    <a:pt x="48" y="104"/>
                  </a:lnTo>
                  <a:lnTo>
                    <a:pt x="44" y="102"/>
                  </a:lnTo>
                  <a:lnTo>
                    <a:pt x="40" y="98"/>
                  </a:lnTo>
                  <a:lnTo>
                    <a:pt x="36" y="102"/>
                  </a:lnTo>
                  <a:lnTo>
                    <a:pt x="36" y="104"/>
                  </a:lnTo>
                  <a:lnTo>
                    <a:pt x="36" y="102"/>
                  </a:lnTo>
                  <a:lnTo>
                    <a:pt x="36" y="98"/>
                  </a:lnTo>
                  <a:lnTo>
                    <a:pt x="32" y="98"/>
                  </a:lnTo>
                  <a:lnTo>
                    <a:pt x="32" y="94"/>
                  </a:lnTo>
                  <a:lnTo>
                    <a:pt x="30" y="94"/>
                  </a:lnTo>
                  <a:lnTo>
                    <a:pt x="30" y="98"/>
                  </a:lnTo>
                  <a:lnTo>
                    <a:pt x="26" y="98"/>
                  </a:lnTo>
                  <a:lnTo>
                    <a:pt x="26" y="94"/>
                  </a:lnTo>
                  <a:lnTo>
                    <a:pt x="26" y="90"/>
                  </a:lnTo>
                  <a:lnTo>
                    <a:pt x="26" y="86"/>
                  </a:lnTo>
                  <a:lnTo>
                    <a:pt x="26" y="82"/>
                  </a:lnTo>
                  <a:lnTo>
                    <a:pt x="22" y="82"/>
                  </a:lnTo>
                  <a:lnTo>
                    <a:pt x="22" y="78"/>
                  </a:lnTo>
                  <a:lnTo>
                    <a:pt x="18" y="78"/>
                  </a:lnTo>
                  <a:lnTo>
                    <a:pt x="18" y="74"/>
                  </a:lnTo>
                  <a:lnTo>
                    <a:pt x="22" y="74"/>
                  </a:lnTo>
                  <a:lnTo>
                    <a:pt x="22" y="72"/>
                  </a:lnTo>
                  <a:lnTo>
                    <a:pt x="26" y="72"/>
                  </a:lnTo>
                  <a:lnTo>
                    <a:pt x="26" y="68"/>
                  </a:lnTo>
                  <a:lnTo>
                    <a:pt x="30" y="68"/>
                  </a:lnTo>
                  <a:lnTo>
                    <a:pt x="32" y="68"/>
                  </a:lnTo>
                  <a:lnTo>
                    <a:pt x="32" y="72"/>
                  </a:lnTo>
                  <a:lnTo>
                    <a:pt x="36" y="72"/>
                  </a:lnTo>
                  <a:lnTo>
                    <a:pt x="40" y="72"/>
                  </a:lnTo>
                  <a:lnTo>
                    <a:pt x="40" y="74"/>
                  </a:lnTo>
                  <a:lnTo>
                    <a:pt x="44" y="74"/>
                  </a:lnTo>
                  <a:lnTo>
                    <a:pt x="44" y="72"/>
                  </a:lnTo>
                  <a:lnTo>
                    <a:pt x="48" y="72"/>
                  </a:lnTo>
                  <a:lnTo>
                    <a:pt x="44" y="72"/>
                  </a:lnTo>
                  <a:lnTo>
                    <a:pt x="40" y="72"/>
                  </a:lnTo>
                  <a:lnTo>
                    <a:pt x="40" y="68"/>
                  </a:lnTo>
                  <a:lnTo>
                    <a:pt x="36" y="68"/>
                  </a:lnTo>
                  <a:lnTo>
                    <a:pt x="36" y="64"/>
                  </a:lnTo>
                  <a:lnTo>
                    <a:pt x="36" y="68"/>
                  </a:lnTo>
                  <a:lnTo>
                    <a:pt x="32" y="68"/>
                  </a:lnTo>
                  <a:lnTo>
                    <a:pt x="30" y="68"/>
                  </a:lnTo>
                  <a:lnTo>
                    <a:pt x="26" y="68"/>
                  </a:lnTo>
                  <a:lnTo>
                    <a:pt x="22" y="68"/>
                  </a:lnTo>
                  <a:lnTo>
                    <a:pt x="18" y="68"/>
                  </a:lnTo>
                  <a:lnTo>
                    <a:pt x="18" y="64"/>
                  </a:lnTo>
                  <a:lnTo>
                    <a:pt x="18" y="60"/>
                  </a:lnTo>
                  <a:lnTo>
                    <a:pt x="14" y="60"/>
                  </a:lnTo>
                  <a:lnTo>
                    <a:pt x="14" y="56"/>
                  </a:lnTo>
                  <a:lnTo>
                    <a:pt x="18" y="56"/>
                  </a:lnTo>
                  <a:lnTo>
                    <a:pt x="18" y="52"/>
                  </a:lnTo>
                  <a:lnTo>
                    <a:pt x="18" y="52"/>
                  </a:lnTo>
                  <a:lnTo>
                    <a:pt x="18" y="52"/>
                  </a:lnTo>
                  <a:close/>
                  <a:moveTo>
                    <a:pt x="70" y="22"/>
                  </a:moveTo>
                  <a:lnTo>
                    <a:pt x="66" y="22"/>
                  </a:lnTo>
                  <a:lnTo>
                    <a:pt x="66" y="18"/>
                  </a:lnTo>
                  <a:lnTo>
                    <a:pt x="70" y="18"/>
                  </a:lnTo>
                  <a:lnTo>
                    <a:pt x="70" y="22"/>
                  </a:lnTo>
                  <a:lnTo>
                    <a:pt x="70" y="22"/>
                  </a:lnTo>
                  <a:lnTo>
                    <a:pt x="70" y="22"/>
                  </a:lnTo>
                  <a:close/>
                  <a:moveTo>
                    <a:pt x="82" y="26"/>
                  </a:moveTo>
                  <a:lnTo>
                    <a:pt x="86" y="26"/>
                  </a:lnTo>
                  <a:lnTo>
                    <a:pt x="82" y="26"/>
                  </a:lnTo>
                  <a:lnTo>
                    <a:pt x="82" y="26"/>
                  </a:lnTo>
                  <a:lnTo>
                    <a:pt x="82" y="26"/>
                  </a:lnTo>
                  <a:close/>
                  <a:moveTo>
                    <a:pt x="82" y="34"/>
                  </a:moveTo>
                  <a:lnTo>
                    <a:pt x="78" y="38"/>
                  </a:lnTo>
                  <a:lnTo>
                    <a:pt x="78" y="42"/>
                  </a:lnTo>
                  <a:lnTo>
                    <a:pt x="78" y="38"/>
                  </a:lnTo>
                  <a:lnTo>
                    <a:pt x="74" y="38"/>
                  </a:lnTo>
                  <a:lnTo>
                    <a:pt x="74" y="34"/>
                  </a:lnTo>
                  <a:lnTo>
                    <a:pt x="78" y="34"/>
                  </a:lnTo>
                  <a:lnTo>
                    <a:pt x="78" y="38"/>
                  </a:lnTo>
                  <a:lnTo>
                    <a:pt x="78" y="34"/>
                  </a:lnTo>
                  <a:lnTo>
                    <a:pt x="82" y="34"/>
                  </a:lnTo>
                  <a:lnTo>
                    <a:pt x="82" y="34"/>
                  </a:lnTo>
                  <a:lnTo>
                    <a:pt x="82" y="34"/>
                  </a:lnTo>
                  <a:close/>
                  <a:moveTo>
                    <a:pt x="0" y="38"/>
                  </a:moveTo>
                  <a:lnTo>
                    <a:pt x="2" y="42"/>
                  </a:lnTo>
                  <a:lnTo>
                    <a:pt x="0" y="42"/>
                  </a:lnTo>
                  <a:lnTo>
                    <a:pt x="2" y="42"/>
                  </a:lnTo>
                  <a:lnTo>
                    <a:pt x="2" y="46"/>
                  </a:lnTo>
                  <a:lnTo>
                    <a:pt x="2" y="48"/>
                  </a:lnTo>
                  <a:lnTo>
                    <a:pt x="0" y="46"/>
                  </a:lnTo>
                  <a:lnTo>
                    <a:pt x="0" y="42"/>
                  </a:lnTo>
                  <a:lnTo>
                    <a:pt x="0" y="38"/>
                  </a:lnTo>
                  <a:lnTo>
                    <a:pt x="0" y="38"/>
                  </a:lnTo>
                  <a:lnTo>
                    <a:pt x="0" y="38"/>
                  </a:lnTo>
                  <a:close/>
                  <a:moveTo>
                    <a:pt x="92" y="48"/>
                  </a:moveTo>
                  <a:lnTo>
                    <a:pt x="96" y="52"/>
                  </a:lnTo>
                  <a:lnTo>
                    <a:pt x="96" y="56"/>
                  </a:lnTo>
                  <a:lnTo>
                    <a:pt x="92" y="56"/>
                  </a:lnTo>
                  <a:lnTo>
                    <a:pt x="90" y="56"/>
                  </a:lnTo>
                  <a:lnTo>
                    <a:pt x="90" y="52"/>
                  </a:lnTo>
                  <a:lnTo>
                    <a:pt x="92" y="52"/>
                  </a:lnTo>
                  <a:lnTo>
                    <a:pt x="90" y="52"/>
                  </a:lnTo>
                  <a:lnTo>
                    <a:pt x="86" y="52"/>
                  </a:lnTo>
                  <a:lnTo>
                    <a:pt x="86" y="48"/>
                  </a:lnTo>
                  <a:lnTo>
                    <a:pt x="90" y="48"/>
                  </a:lnTo>
                  <a:lnTo>
                    <a:pt x="92" y="48"/>
                  </a:lnTo>
                  <a:lnTo>
                    <a:pt x="92" y="48"/>
                  </a:lnTo>
                  <a:lnTo>
                    <a:pt x="92" y="48"/>
                  </a:lnTo>
                  <a:close/>
                  <a:moveTo>
                    <a:pt x="60" y="68"/>
                  </a:moveTo>
                  <a:lnTo>
                    <a:pt x="56" y="68"/>
                  </a:lnTo>
                  <a:lnTo>
                    <a:pt x="56" y="64"/>
                  </a:lnTo>
                  <a:lnTo>
                    <a:pt x="52" y="64"/>
                  </a:lnTo>
                  <a:lnTo>
                    <a:pt x="52" y="60"/>
                  </a:lnTo>
                  <a:lnTo>
                    <a:pt x="48" y="56"/>
                  </a:lnTo>
                  <a:lnTo>
                    <a:pt x="44" y="56"/>
                  </a:lnTo>
                  <a:lnTo>
                    <a:pt x="48" y="56"/>
                  </a:lnTo>
                  <a:lnTo>
                    <a:pt x="48" y="52"/>
                  </a:lnTo>
                  <a:lnTo>
                    <a:pt x="52" y="56"/>
                  </a:lnTo>
                  <a:lnTo>
                    <a:pt x="52" y="60"/>
                  </a:lnTo>
                  <a:lnTo>
                    <a:pt x="56" y="60"/>
                  </a:lnTo>
                  <a:lnTo>
                    <a:pt x="60" y="60"/>
                  </a:lnTo>
                  <a:lnTo>
                    <a:pt x="62" y="60"/>
                  </a:lnTo>
                  <a:lnTo>
                    <a:pt x="62" y="64"/>
                  </a:lnTo>
                  <a:lnTo>
                    <a:pt x="62" y="68"/>
                  </a:lnTo>
                  <a:lnTo>
                    <a:pt x="62" y="72"/>
                  </a:lnTo>
                  <a:lnTo>
                    <a:pt x="66" y="72"/>
                  </a:lnTo>
                  <a:lnTo>
                    <a:pt x="66" y="74"/>
                  </a:lnTo>
                  <a:lnTo>
                    <a:pt x="62" y="74"/>
                  </a:lnTo>
                  <a:lnTo>
                    <a:pt x="62" y="72"/>
                  </a:lnTo>
                  <a:lnTo>
                    <a:pt x="62" y="68"/>
                  </a:lnTo>
                  <a:lnTo>
                    <a:pt x="60" y="68"/>
                  </a:lnTo>
                  <a:lnTo>
                    <a:pt x="60" y="68"/>
                  </a:lnTo>
                  <a:lnTo>
                    <a:pt x="60" y="68"/>
                  </a:lnTo>
                  <a:close/>
                  <a:moveTo>
                    <a:pt x="66" y="60"/>
                  </a:moveTo>
                  <a:lnTo>
                    <a:pt x="66" y="56"/>
                  </a:lnTo>
                  <a:lnTo>
                    <a:pt x="70" y="60"/>
                  </a:lnTo>
                  <a:lnTo>
                    <a:pt x="66" y="60"/>
                  </a:lnTo>
                  <a:lnTo>
                    <a:pt x="66" y="60"/>
                  </a:lnTo>
                  <a:lnTo>
                    <a:pt x="66" y="60"/>
                  </a:lnTo>
                  <a:close/>
                  <a:moveTo>
                    <a:pt x="14" y="56"/>
                  </a:moveTo>
                  <a:lnTo>
                    <a:pt x="14" y="60"/>
                  </a:lnTo>
                  <a:lnTo>
                    <a:pt x="14" y="64"/>
                  </a:lnTo>
                  <a:lnTo>
                    <a:pt x="10" y="64"/>
                  </a:lnTo>
                  <a:lnTo>
                    <a:pt x="10" y="60"/>
                  </a:lnTo>
                  <a:lnTo>
                    <a:pt x="10" y="56"/>
                  </a:lnTo>
                  <a:lnTo>
                    <a:pt x="14" y="56"/>
                  </a:lnTo>
                  <a:lnTo>
                    <a:pt x="14" y="56"/>
                  </a:lnTo>
                  <a:lnTo>
                    <a:pt x="14" y="56"/>
                  </a:lnTo>
                  <a:close/>
                  <a:moveTo>
                    <a:pt x="90" y="72"/>
                  </a:moveTo>
                  <a:lnTo>
                    <a:pt x="86" y="72"/>
                  </a:lnTo>
                  <a:lnTo>
                    <a:pt x="86" y="68"/>
                  </a:lnTo>
                  <a:lnTo>
                    <a:pt x="90" y="68"/>
                  </a:lnTo>
                  <a:lnTo>
                    <a:pt x="86" y="64"/>
                  </a:lnTo>
                  <a:lnTo>
                    <a:pt x="90" y="64"/>
                  </a:lnTo>
                  <a:lnTo>
                    <a:pt x="90" y="68"/>
                  </a:lnTo>
                  <a:lnTo>
                    <a:pt x="90" y="72"/>
                  </a:lnTo>
                  <a:lnTo>
                    <a:pt x="90" y="72"/>
                  </a:lnTo>
                  <a:lnTo>
                    <a:pt x="90" y="72"/>
                  </a:lnTo>
                  <a:close/>
                  <a:moveTo>
                    <a:pt x="14" y="68"/>
                  </a:moveTo>
                  <a:lnTo>
                    <a:pt x="10" y="68"/>
                  </a:lnTo>
                  <a:lnTo>
                    <a:pt x="10" y="64"/>
                  </a:lnTo>
                  <a:lnTo>
                    <a:pt x="14" y="64"/>
                  </a:lnTo>
                  <a:lnTo>
                    <a:pt x="14" y="68"/>
                  </a:lnTo>
                  <a:lnTo>
                    <a:pt x="14" y="68"/>
                  </a:lnTo>
                  <a:lnTo>
                    <a:pt x="14" y="68"/>
                  </a:lnTo>
                  <a:close/>
                  <a:moveTo>
                    <a:pt x="10" y="64"/>
                  </a:moveTo>
                  <a:lnTo>
                    <a:pt x="10" y="68"/>
                  </a:lnTo>
                  <a:lnTo>
                    <a:pt x="14" y="72"/>
                  </a:lnTo>
                  <a:lnTo>
                    <a:pt x="10" y="72"/>
                  </a:lnTo>
                  <a:lnTo>
                    <a:pt x="6" y="72"/>
                  </a:lnTo>
                  <a:lnTo>
                    <a:pt x="6" y="68"/>
                  </a:lnTo>
                  <a:lnTo>
                    <a:pt x="10" y="68"/>
                  </a:lnTo>
                  <a:lnTo>
                    <a:pt x="10" y="64"/>
                  </a:lnTo>
                  <a:lnTo>
                    <a:pt x="10" y="64"/>
                  </a:lnTo>
                  <a:lnTo>
                    <a:pt x="10" y="64"/>
                  </a:lnTo>
                  <a:close/>
                  <a:moveTo>
                    <a:pt x="74" y="78"/>
                  </a:moveTo>
                  <a:lnTo>
                    <a:pt x="70" y="78"/>
                  </a:lnTo>
                  <a:lnTo>
                    <a:pt x="70" y="74"/>
                  </a:lnTo>
                  <a:lnTo>
                    <a:pt x="74" y="74"/>
                  </a:lnTo>
                  <a:lnTo>
                    <a:pt x="74" y="78"/>
                  </a:lnTo>
                  <a:lnTo>
                    <a:pt x="74" y="78"/>
                  </a:lnTo>
                  <a:lnTo>
                    <a:pt x="74" y="78"/>
                  </a:lnTo>
                  <a:close/>
                  <a:moveTo>
                    <a:pt x="14" y="82"/>
                  </a:moveTo>
                  <a:lnTo>
                    <a:pt x="14" y="78"/>
                  </a:lnTo>
                  <a:lnTo>
                    <a:pt x="10" y="78"/>
                  </a:lnTo>
                  <a:lnTo>
                    <a:pt x="10" y="74"/>
                  </a:lnTo>
                  <a:lnTo>
                    <a:pt x="14" y="74"/>
                  </a:lnTo>
                  <a:lnTo>
                    <a:pt x="14" y="78"/>
                  </a:lnTo>
                  <a:lnTo>
                    <a:pt x="18" y="78"/>
                  </a:lnTo>
                  <a:lnTo>
                    <a:pt x="14" y="78"/>
                  </a:lnTo>
                  <a:lnTo>
                    <a:pt x="14" y="82"/>
                  </a:lnTo>
                  <a:lnTo>
                    <a:pt x="14" y="82"/>
                  </a:lnTo>
                  <a:lnTo>
                    <a:pt x="14" y="82"/>
                  </a:lnTo>
                  <a:close/>
                  <a:moveTo>
                    <a:pt x="100" y="82"/>
                  </a:moveTo>
                  <a:lnTo>
                    <a:pt x="100" y="78"/>
                  </a:lnTo>
                  <a:lnTo>
                    <a:pt x="96" y="78"/>
                  </a:lnTo>
                  <a:lnTo>
                    <a:pt x="100" y="78"/>
                  </a:lnTo>
                  <a:lnTo>
                    <a:pt x="104" y="78"/>
                  </a:lnTo>
                  <a:lnTo>
                    <a:pt x="100" y="78"/>
                  </a:lnTo>
                  <a:lnTo>
                    <a:pt x="100" y="82"/>
                  </a:lnTo>
                  <a:lnTo>
                    <a:pt x="100" y="82"/>
                  </a:lnTo>
                  <a:lnTo>
                    <a:pt x="100" y="82"/>
                  </a:lnTo>
                  <a:close/>
                  <a:moveTo>
                    <a:pt x="90" y="82"/>
                  </a:moveTo>
                  <a:lnTo>
                    <a:pt x="92" y="78"/>
                  </a:lnTo>
                  <a:lnTo>
                    <a:pt x="92" y="82"/>
                  </a:lnTo>
                  <a:lnTo>
                    <a:pt x="90" y="82"/>
                  </a:lnTo>
                  <a:lnTo>
                    <a:pt x="90" y="82"/>
                  </a:lnTo>
                  <a:lnTo>
                    <a:pt x="90" y="82"/>
                  </a:lnTo>
                  <a:close/>
                  <a:moveTo>
                    <a:pt x="62" y="82"/>
                  </a:moveTo>
                  <a:lnTo>
                    <a:pt x="62" y="78"/>
                  </a:lnTo>
                  <a:lnTo>
                    <a:pt x="66" y="78"/>
                  </a:lnTo>
                  <a:lnTo>
                    <a:pt x="66" y="82"/>
                  </a:lnTo>
                  <a:lnTo>
                    <a:pt x="62" y="82"/>
                  </a:lnTo>
                  <a:lnTo>
                    <a:pt x="62" y="82"/>
                  </a:lnTo>
                  <a:lnTo>
                    <a:pt x="62" y="82"/>
                  </a:lnTo>
                  <a:close/>
                  <a:moveTo>
                    <a:pt x="74" y="78"/>
                  </a:moveTo>
                  <a:lnTo>
                    <a:pt x="74" y="82"/>
                  </a:lnTo>
                  <a:lnTo>
                    <a:pt x="78" y="82"/>
                  </a:lnTo>
                  <a:lnTo>
                    <a:pt x="74" y="82"/>
                  </a:lnTo>
                  <a:lnTo>
                    <a:pt x="74" y="78"/>
                  </a:lnTo>
                  <a:lnTo>
                    <a:pt x="74" y="78"/>
                  </a:lnTo>
                  <a:lnTo>
                    <a:pt x="74" y="78"/>
                  </a:lnTo>
                  <a:close/>
                  <a:moveTo>
                    <a:pt x="66" y="82"/>
                  </a:moveTo>
                  <a:lnTo>
                    <a:pt x="66" y="86"/>
                  </a:lnTo>
                  <a:lnTo>
                    <a:pt x="62" y="86"/>
                  </a:lnTo>
                  <a:lnTo>
                    <a:pt x="66" y="86"/>
                  </a:lnTo>
                  <a:lnTo>
                    <a:pt x="66" y="82"/>
                  </a:lnTo>
                  <a:lnTo>
                    <a:pt x="66" y="82"/>
                  </a:lnTo>
                  <a:lnTo>
                    <a:pt x="66" y="82"/>
                  </a:lnTo>
                  <a:close/>
                  <a:moveTo>
                    <a:pt x="82" y="94"/>
                  </a:moveTo>
                  <a:lnTo>
                    <a:pt x="78" y="90"/>
                  </a:lnTo>
                  <a:lnTo>
                    <a:pt x="82" y="90"/>
                  </a:lnTo>
                  <a:lnTo>
                    <a:pt x="82" y="94"/>
                  </a:lnTo>
                  <a:lnTo>
                    <a:pt x="82" y="94"/>
                  </a:lnTo>
                  <a:lnTo>
                    <a:pt x="82" y="94"/>
                  </a:lnTo>
                  <a:close/>
                  <a:moveTo>
                    <a:pt x="78" y="94"/>
                  </a:moveTo>
                  <a:lnTo>
                    <a:pt x="74" y="94"/>
                  </a:lnTo>
                  <a:lnTo>
                    <a:pt x="74" y="90"/>
                  </a:lnTo>
                  <a:lnTo>
                    <a:pt x="78" y="90"/>
                  </a:lnTo>
                  <a:lnTo>
                    <a:pt x="78" y="94"/>
                  </a:lnTo>
                  <a:lnTo>
                    <a:pt x="78" y="94"/>
                  </a:lnTo>
                  <a:lnTo>
                    <a:pt x="78" y="94"/>
                  </a:lnTo>
                  <a:close/>
                  <a:moveTo>
                    <a:pt x="100" y="94"/>
                  </a:moveTo>
                  <a:lnTo>
                    <a:pt x="100" y="90"/>
                  </a:lnTo>
                  <a:lnTo>
                    <a:pt x="100" y="94"/>
                  </a:lnTo>
                  <a:lnTo>
                    <a:pt x="104" y="94"/>
                  </a:lnTo>
                  <a:lnTo>
                    <a:pt x="100" y="94"/>
                  </a:lnTo>
                  <a:lnTo>
                    <a:pt x="100" y="94"/>
                  </a:lnTo>
                  <a:lnTo>
                    <a:pt x="100" y="94"/>
                  </a:lnTo>
                  <a:close/>
                  <a:moveTo>
                    <a:pt x="100" y="102"/>
                  </a:moveTo>
                  <a:lnTo>
                    <a:pt x="100" y="98"/>
                  </a:lnTo>
                  <a:lnTo>
                    <a:pt x="104" y="98"/>
                  </a:lnTo>
                  <a:lnTo>
                    <a:pt x="104" y="94"/>
                  </a:lnTo>
                  <a:lnTo>
                    <a:pt x="108" y="94"/>
                  </a:lnTo>
                  <a:lnTo>
                    <a:pt x="108" y="98"/>
                  </a:lnTo>
                  <a:lnTo>
                    <a:pt x="104" y="98"/>
                  </a:lnTo>
                  <a:lnTo>
                    <a:pt x="100" y="98"/>
                  </a:lnTo>
                  <a:lnTo>
                    <a:pt x="100" y="102"/>
                  </a:lnTo>
                  <a:lnTo>
                    <a:pt x="100" y="102"/>
                  </a:lnTo>
                  <a:lnTo>
                    <a:pt x="100" y="102"/>
                  </a:lnTo>
                  <a:close/>
                  <a:moveTo>
                    <a:pt x="78" y="102"/>
                  </a:moveTo>
                  <a:lnTo>
                    <a:pt x="78" y="98"/>
                  </a:lnTo>
                  <a:lnTo>
                    <a:pt x="78" y="102"/>
                  </a:lnTo>
                  <a:lnTo>
                    <a:pt x="78" y="102"/>
                  </a:lnTo>
                  <a:lnTo>
                    <a:pt x="78" y="102"/>
                  </a:lnTo>
                  <a:close/>
                  <a:moveTo>
                    <a:pt x="62" y="102"/>
                  </a:moveTo>
                  <a:lnTo>
                    <a:pt x="62" y="98"/>
                  </a:lnTo>
                  <a:lnTo>
                    <a:pt x="66" y="98"/>
                  </a:lnTo>
                  <a:lnTo>
                    <a:pt x="66" y="102"/>
                  </a:lnTo>
                  <a:lnTo>
                    <a:pt x="62" y="102"/>
                  </a:lnTo>
                  <a:lnTo>
                    <a:pt x="62" y="102"/>
                  </a:lnTo>
                  <a:lnTo>
                    <a:pt x="62" y="102"/>
                  </a:lnTo>
                  <a:close/>
                  <a:moveTo>
                    <a:pt x="118" y="104"/>
                  </a:moveTo>
                  <a:lnTo>
                    <a:pt x="118" y="108"/>
                  </a:lnTo>
                  <a:lnTo>
                    <a:pt x="116" y="112"/>
                  </a:lnTo>
                  <a:lnTo>
                    <a:pt x="112" y="112"/>
                  </a:lnTo>
                  <a:lnTo>
                    <a:pt x="112" y="108"/>
                  </a:lnTo>
                  <a:lnTo>
                    <a:pt x="116" y="108"/>
                  </a:lnTo>
                  <a:lnTo>
                    <a:pt x="116" y="104"/>
                  </a:lnTo>
                  <a:lnTo>
                    <a:pt x="118" y="104"/>
                  </a:lnTo>
                  <a:lnTo>
                    <a:pt x="118" y="104"/>
                  </a:lnTo>
                  <a:lnTo>
                    <a:pt x="118" y="104"/>
                  </a:lnTo>
                  <a:close/>
                  <a:moveTo>
                    <a:pt x="44" y="104"/>
                  </a:moveTo>
                  <a:lnTo>
                    <a:pt x="48" y="108"/>
                  </a:lnTo>
                  <a:lnTo>
                    <a:pt x="44" y="108"/>
                  </a:lnTo>
                  <a:lnTo>
                    <a:pt x="44" y="104"/>
                  </a:lnTo>
                  <a:lnTo>
                    <a:pt x="44" y="104"/>
                  </a:lnTo>
                  <a:lnTo>
                    <a:pt x="44" y="104"/>
                  </a:lnTo>
                  <a:close/>
                  <a:moveTo>
                    <a:pt x="104" y="124"/>
                  </a:moveTo>
                  <a:lnTo>
                    <a:pt x="104" y="120"/>
                  </a:lnTo>
                  <a:lnTo>
                    <a:pt x="104" y="116"/>
                  </a:lnTo>
                  <a:lnTo>
                    <a:pt x="104" y="120"/>
                  </a:lnTo>
                  <a:lnTo>
                    <a:pt x="104" y="124"/>
                  </a:lnTo>
                  <a:lnTo>
                    <a:pt x="104" y="124"/>
                  </a:lnTo>
                  <a:lnTo>
                    <a:pt x="104" y="124"/>
                  </a:lnTo>
                  <a:close/>
                  <a:moveTo>
                    <a:pt x="56" y="128"/>
                  </a:moveTo>
                  <a:lnTo>
                    <a:pt x="52" y="128"/>
                  </a:lnTo>
                  <a:lnTo>
                    <a:pt x="52" y="120"/>
                  </a:lnTo>
                  <a:lnTo>
                    <a:pt x="56" y="120"/>
                  </a:lnTo>
                  <a:lnTo>
                    <a:pt x="60" y="120"/>
                  </a:lnTo>
                  <a:lnTo>
                    <a:pt x="62" y="120"/>
                  </a:lnTo>
                  <a:lnTo>
                    <a:pt x="60" y="124"/>
                  </a:lnTo>
                  <a:lnTo>
                    <a:pt x="62" y="124"/>
                  </a:lnTo>
                  <a:lnTo>
                    <a:pt x="66" y="124"/>
                  </a:lnTo>
                  <a:lnTo>
                    <a:pt x="70" y="124"/>
                  </a:lnTo>
                  <a:lnTo>
                    <a:pt x="74" y="124"/>
                  </a:lnTo>
                  <a:lnTo>
                    <a:pt x="78" y="124"/>
                  </a:lnTo>
                  <a:lnTo>
                    <a:pt x="82" y="128"/>
                  </a:lnTo>
                  <a:lnTo>
                    <a:pt x="82" y="124"/>
                  </a:lnTo>
                  <a:lnTo>
                    <a:pt x="86" y="124"/>
                  </a:lnTo>
                  <a:lnTo>
                    <a:pt x="86" y="128"/>
                  </a:lnTo>
                  <a:lnTo>
                    <a:pt x="90" y="128"/>
                  </a:lnTo>
                  <a:lnTo>
                    <a:pt x="92" y="128"/>
                  </a:lnTo>
                  <a:lnTo>
                    <a:pt x="92" y="130"/>
                  </a:lnTo>
                  <a:lnTo>
                    <a:pt x="90" y="130"/>
                  </a:lnTo>
                  <a:lnTo>
                    <a:pt x="82" y="130"/>
                  </a:lnTo>
                  <a:lnTo>
                    <a:pt x="78" y="130"/>
                  </a:lnTo>
                  <a:lnTo>
                    <a:pt x="74" y="130"/>
                  </a:lnTo>
                  <a:lnTo>
                    <a:pt x="70" y="130"/>
                  </a:lnTo>
                  <a:lnTo>
                    <a:pt x="66" y="130"/>
                  </a:lnTo>
                  <a:lnTo>
                    <a:pt x="66" y="128"/>
                  </a:lnTo>
                  <a:lnTo>
                    <a:pt x="62" y="128"/>
                  </a:lnTo>
                  <a:lnTo>
                    <a:pt x="60" y="128"/>
                  </a:lnTo>
                  <a:lnTo>
                    <a:pt x="56" y="128"/>
                  </a:lnTo>
                  <a:lnTo>
                    <a:pt x="56" y="128"/>
                  </a:lnTo>
                  <a:lnTo>
                    <a:pt x="56" y="12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10" name="Freeform 103"/>
            <p:cNvSpPr>
              <a:spLocks/>
            </p:cNvSpPr>
            <p:nvPr/>
          </p:nvSpPr>
          <p:spPr bwMode="auto">
            <a:xfrm>
              <a:off x="7017677" y="3569416"/>
              <a:ext cx="1256" cy="2615"/>
            </a:xfrm>
            <a:custGeom>
              <a:avLst/>
              <a:gdLst>
                <a:gd name="T0" fmla="*/ 0 w 2"/>
                <a:gd name="T1" fmla="*/ 4 h 4"/>
                <a:gd name="T2" fmla="*/ 0 w 2"/>
                <a:gd name="T3" fmla="*/ 4 h 4"/>
                <a:gd name="T4" fmla="*/ 0 w 2"/>
                <a:gd name="T5" fmla="*/ 4 h 4"/>
                <a:gd name="T6" fmla="*/ 0 w 2"/>
                <a:gd name="T7" fmla="*/ 4 h 4"/>
                <a:gd name="T8" fmla="*/ 0 w 2"/>
                <a:gd name="T9" fmla="*/ 4 h 4"/>
                <a:gd name="T10" fmla="*/ 0 w 2"/>
                <a:gd name="T11" fmla="*/ 4 h 4"/>
                <a:gd name="T12" fmla="*/ 0 w 2"/>
                <a:gd name="T13" fmla="*/ 0 h 4"/>
                <a:gd name="T14" fmla="*/ 2 w 2"/>
                <a:gd name="T15" fmla="*/ 0 h 4"/>
                <a:gd name="T16" fmla="*/ 0 w 2"/>
                <a:gd name="T17" fmla="*/ 4 h 4"/>
                <a:gd name="T18" fmla="*/ 0 w 2"/>
                <a:gd name="T19" fmla="*/ 4 h 4"/>
                <a:gd name="T20" fmla="*/ 0 w 2"/>
                <a:gd name="T21" fmla="*/ 4 h 4"/>
                <a:gd name="T22" fmla="*/ 0 w 2"/>
                <a:gd name="T23" fmla="*/ 4 h 4"/>
                <a:gd name="T24" fmla="*/ 0 w 2"/>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4">
                  <a:moveTo>
                    <a:pt x="0" y="4"/>
                  </a:moveTo>
                  <a:lnTo>
                    <a:pt x="0" y="4"/>
                  </a:lnTo>
                  <a:lnTo>
                    <a:pt x="0" y="4"/>
                  </a:lnTo>
                  <a:lnTo>
                    <a:pt x="0" y="4"/>
                  </a:lnTo>
                  <a:lnTo>
                    <a:pt x="0" y="4"/>
                  </a:lnTo>
                  <a:lnTo>
                    <a:pt x="0" y="4"/>
                  </a:lnTo>
                  <a:lnTo>
                    <a:pt x="0" y="0"/>
                  </a:lnTo>
                  <a:lnTo>
                    <a:pt x="2" y="0"/>
                  </a:lnTo>
                  <a:lnTo>
                    <a:pt x="0" y="4"/>
                  </a:lnTo>
                  <a:lnTo>
                    <a:pt x="0" y="4"/>
                  </a:lnTo>
                  <a:lnTo>
                    <a:pt x="0" y="4"/>
                  </a:lnTo>
                  <a:lnTo>
                    <a:pt x="0" y="4"/>
                  </a:lnTo>
                  <a:lnTo>
                    <a:pt x="0" y="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11" name="Freeform 104"/>
            <p:cNvSpPr>
              <a:spLocks/>
            </p:cNvSpPr>
            <p:nvPr/>
          </p:nvSpPr>
          <p:spPr bwMode="auto">
            <a:xfrm>
              <a:off x="7183464" y="3583799"/>
              <a:ext cx="60286" cy="36612"/>
            </a:xfrm>
            <a:custGeom>
              <a:avLst/>
              <a:gdLst>
                <a:gd name="T0" fmla="*/ 74 w 96"/>
                <a:gd name="T1" fmla="*/ 42 h 56"/>
                <a:gd name="T2" fmla="*/ 70 w 96"/>
                <a:gd name="T3" fmla="*/ 46 h 56"/>
                <a:gd name="T4" fmla="*/ 66 w 96"/>
                <a:gd name="T5" fmla="*/ 46 h 56"/>
                <a:gd name="T6" fmla="*/ 66 w 96"/>
                <a:gd name="T7" fmla="*/ 46 h 56"/>
                <a:gd name="T8" fmla="*/ 62 w 96"/>
                <a:gd name="T9" fmla="*/ 50 h 56"/>
                <a:gd name="T10" fmla="*/ 58 w 96"/>
                <a:gd name="T11" fmla="*/ 50 h 56"/>
                <a:gd name="T12" fmla="*/ 56 w 96"/>
                <a:gd name="T13" fmla="*/ 50 h 56"/>
                <a:gd name="T14" fmla="*/ 52 w 96"/>
                <a:gd name="T15" fmla="*/ 50 h 56"/>
                <a:gd name="T16" fmla="*/ 44 w 96"/>
                <a:gd name="T17" fmla="*/ 52 h 56"/>
                <a:gd name="T18" fmla="*/ 40 w 96"/>
                <a:gd name="T19" fmla="*/ 52 h 56"/>
                <a:gd name="T20" fmla="*/ 36 w 96"/>
                <a:gd name="T21" fmla="*/ 52 h 56"/>
                <a:gd name="T22" fmla="*/ 32 w 96"/>
                <a:gd name="T23" fmla="*/ 56 h 56"/>
                <a:gd name="T24" fmla="*/ 30 w 96"/>
                <a:gd name="T25" fmla="*/ 56 h 56"/>
                <a:gd name="T26" fmla="*/ 22 w 96"/>
                <a:gd name="T27" fmla="*/ 52 h 56"/>
                <a:gd name="T28" fmla="*/ 18 w 96"/>
                <a:gd name="T29" fmla="*/ 52 h 56"/>
                <a:gd name="T30" fmla="*/ 14 w 96"/>
                <a:gd name="T31" fmla="*/ 50 h 56"/>
                <a:gd name="T32" fmla="*/ 10 w 96"/>
                <a:gd name="T33" fmla="*/ 46 h 56"/>
                <a:gd name="T34" fmla="*/ 10 w 96"/>
                <a:gd name="T35" fmla="*/ 46 h 56"/>
                <a:gd name="T36" fmla="*/ 6 w 96"/>
                <a:gd name="T37" fmla="*/ 42 h 56"/>
                <a:gd name="T38" fmla="*/ 2 w 96"/>
                <a:gd name="T39" fmla="*/ 38 h 56"/>
                <a:gd name="T40" fmla="*/ 2 w 96"/>
                <a:gd name="T41" fmla="*/ 34 h 56"/>
                <a:gd name="T42" fmla="*/ 0 w 96"/>
                <a:gd name="T43" fmla="*/ 34 h 56"/>
                <a:gd name="T44" fmla="*/ 2 w 96"/>
                <a:gd name="T45" fmla="*/ 30 h 56"/>
                <a:gd name="T46" fmla="*/ 2 w 96"/>
                <a:gd name="T47" fmla="*/ 26 h 56"/>
                <a:gd name="T48" fmla="*/ 2 w 96"/>
                <a:gd name="T49" fmla="*/ 24 h 56"/>
                <a:gd name="T50" fmla="*/ 6 w 96"/>
                <a:gd name="T51" fmla="*/ 20 h 56"/>
                <a:gd name="T52" fmla="*/ 6 w 96"/>
                <a:gd name="T53" fmla="*/ 20 h 56"/>
                <a:gd name="T54" fmla="*/ 6 w 96"/>
                <a:gd name="T55" fmla="*/ 16 h 56"/>
                <a:gd name="T56" fmla="*/ 10 w 96"/>
                <a:gd name="T57" fmla="*/ 16 h 56"/>
                <a:gd name="T58" fmla="*/ 14 w 96"/>
                <a:gd name="T59" fmla="*/ 16 h 56"/>
                <a:gd name="T60" fmla="*/ 14 w 96"/>
                <a:gd name="T61" fmla="*/ 12 h 56"/>
                <a:gd name="T62" fmla="*/ 18 w 96"/>
                <a:gd name="T63" fmla="*/ 12 h 56"/>
                <a:gd name="T64" fmla="*/ 18 w 96"/>
                <a:gd name="T65" fmla="*/ 12 h 56"/>
                <a:gd name="T66" fmla="*/ 26 w 96"/>
                <a:gd name="T67" fmla="*/ 16 h 56"/>
                <a:gd name="T68" fmla="*/ 32 w 96"/>
                <a:gd name="T69" fmla="*/ 16 h 56"/>
                <a:gd name="T70" fmla="*/ 36 w 96"/>
                <a:gd name="T71" fmla="*/ 16 h 56"/>
                <a:gd name="T72" fmla="*/ 36 w 96"/>
                <a:gd name="T73" fmla="*/ 16 h 56"/>
                <a:gd name="T74" fmla="*/ 36 w 96"/>
                <a:gd name="T75" fmla="*/ 12 h 56"/>
                <a:gd name="T76" fmla="*/ 40 w 96"/>
                <a:gd name="T77" fmla="*/ 8 h 56"/>
                <a:gd name="T78" fmla="*/ 44 w 96"/>
                <a:gd name="T79" fmla="*/ 8 h 56"/>
                <a:gd name="T80" fmla="*/ 48 w 96"/>
                <a:gd name="T81" fmla="*/ 8 h 56"/>
                <a:gd name="T82" fmla="*/ 56 w 96"/>
                <a:gd name="T83" fmla="*/ 8 h 56"/>
                <a:gd name="T84" fmla="*/ 56 w 96"/>
                <a:gd name="T85" fmla="*/ 8 h 56"/>
                <a:gd name="T86" fmla="*/ 58 w 96"/>
                <a:gd name="T87" fmla="*/ 4 h 56"/>
                <a:gd name="T88" fmla="*/ 62 w 96"/>
                <a:gd name="T89" fmla="*/ 0 h 56"/>
                <a:gd name="T90" fmla="*/ 66 w 96"/>
                <a:gd name="T91" fmla="*/ 0 h 56"/>
                <a:gd name="T92" fmla="*/ 70 w 96"/>
                <a:gd name="T93" fmla="*/ 0 h 56"/>
                <a:gd name="T94" fmla="*/ 78 w 96"/>
                <a:gd name="T95" fmla="*/ 0 h 56"/>
                <a:gd name="T96" fmla="*/ 82 w 96"/>
                <a:gd name="T97" fmla="*/ 4 h 56"/>
                <a:gd name="T98" fmla="*/ 84 w 96"/>
                <a:gd name="T99" fmla="*/ 4 h 56"/>
                <a:gd name="T100" fmla="*/ 84 w 96"/>
                <a:gd name="T101" fmla="*/ 0 h 56"/>
                <a:gd name="T102" fmla="*/ 88 w 96"/>
                <a:gd name="T103" fmla="*/ 4 h 56"/>
                <a:gd name="T104" fmla="*/ 92 w 96"/>
                <a:gd name="T105" fmla="*/ 8 h 56"/>
                <a:gd name="T106" fmla="*/ 96 w 96"/>
                <a:gd name="T107" fmla="*/ 8 h 56"/>
                <a:gd name="T108" fmla="*/ 92 w 96"/>
                <a:gd name="T109" fmla="*/ 16 h 56"/>
                <a:gd name="T110" fmla="*/ 88 w 96"/>
                <a:gd name="T111" fmla="*/ 16 h 56"/>
                <a:gd name="T112" fmla="*/ 84 w 96"/>
                <a:gd name="T113" fmla="*/ 20 h 56"/>
                <a:gd name="T114" fmla="*/ 84 w 96"/>
                <a:gd name="T115" fmla="*/ 20 h 56"/>
                <a:gd name="T116" fmla="*/ 84 w 96"/>
                <a:gd name="T117" fmla="*/ 24 h 56"/>
                <a:gd name="T118" fmla="*/ 82 w 96"/>
                <a:gd name="T119" fmla="*/ 26 h 56"/>
                <a:gd name="T120" fmla="*/ 78 w 96"/>
                <a:gd name="T121" fmla="*/ 30 h 56"/>
                <a:gd name="T122" fmla="*/ 78 w 96"/>
                <a:gd name="T123" fmla="*/ 34 h 56"/>
                <a:gd name="T124" fmla="*/ 78 w 96"/>
                <a:gd name="T125"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6" h="56">
                  <a:moveTo>
                    <a:pt x="78" y="38"/>
                  </a:moveTo>
                  <a:lnTo>
                    <a:pt x="74" y="38"/>
                  </a:lnTo>
                  <a:lnTo>
                    <a:pt x="74" y="38"/>
                  </a:lnTo>
                  <a:lnTo>
                    <a:pt x="74" y="38"/>
                  </a:lnTo>
                  <a:lnTo>
                    <a:pt x="74" y="42"/>
                  </a:lnTo>
                  <a:lnTo>
                    <a:pt x="74" y="42"/>
                  </a:lnTo>
                  <a:lnTo>
                    <a:pt x="74" y="42"/>
                  </a:lnTo>
                  <a:lnTo>
                    <a:pt x="70" y="46"/>
                  </a:lnTo>
                  <a:lnTo>
                    <a:pt x="70" y="46"/>
                  </a:lnTo>
                  <a:lnTo>
                    <a:pt x="70" y="46"/>
                  </a:lnTo>
                  <a:lnTo>
                    <a:pt x="70" y="46"/>
                  </a:lnTo>
                  <a:lnTo>
                    <a:pt x="70" y="46"/>
                  </a:lnTo>
                  <a:lnTo>
                    <a:pt x="70" y="46"/>
                  </a:lnTo>
                  <a:lnTo>
                    <a:pt x="70" y="46"/>
                  </a:lnTo>
                  <a:lnTo>
                    <a:pt x="66" y="46"/>
                  </a:lnTo>
                  <a:lnTo>
                    <a:pt x="66" y="46"/>
                  </a:lnTo>
                  <a:lnTo>
                    <a:pt x="66" y="46"/>
                  </a:lnTo>
                  <a:lnTo>
                    <a:pt x="66" y="46"/>
                  </a:lnTo>
                  <a:lnTo>
                    <a:pt x="66" y="46"/>
                  </a:lnTo>
                  <a:lnTo>
                    <a:pt x="66" y="46"/>
                  </a:lnTo>
                  <a:lnTo>
                    <a:pt x="66" y="50"/>
                  </a:lnTo>
                  <a:lnTo>
                    <a:pt x="66" y="50"/>
                  </a:lnTo>
                  <a:lnTo>
                    <a:pt x="66" y="50"/>
                  </a:lnTo>
                  <a:lnTo>
                    <a:pt x="66" y="50"/>
                  </a:lnTo>
                  <a:lnTo>
                    <a:pt x="62" y="50"/>
                  </a:lnTo>
                  <a:lnTo>
                    <a:pt x="62" y="50"/>
                  </a:lnTo>
                  <a:lnTo>
                    <a:pt x="62" y="50"/>
                  </a:lnTo>
                  <a:lnTo>
                    <a:pt x="62" y="50"/>
                  </a:lnTo>
                  <a:lnTo>
                    <a:pt x="62" y="50"/>
                  </a:lnTo>
                  <a:lnTo>
                    <a:pt x="58" y="50"/>
                  </a:lnTo>
                  <a:lnTo>
                    <a:pt x="58" y="50"/>
                  </a:lnTo>
                  <a:lnTo>
                    <a:pt x="58" y="50"/>
                  </a:lnTo>
                  <a:lnTo>
                    <a:pt x="58" y="50"/>
                  </a:lnTo>
                  <a:lnTo>
                    <a:pt x="58" y="50"/>
                  </a:lnTo>
                  <a:lnTo>
                    <a:pt x="56" y="50"/>
                  </a:lnTo>
                  <a:lnTo>
                    <a:pt x="56" y="50"/>
                  </a:lnTo>
                  <a:lnTo>
                    <a:pt x="52" y="50"/>
                  </a:lnTo>
                  <a:lnTo>
                    <a:pt x="52" y="50"/>
                  </a:lnTo>
                  <a:lnTo>
                    <a:pt x="52" y="50"/>
                  </a:lnTo>
                  <a:lnTo>
                    <a:pt x="52" y="50"/>
                  </a:lnTo>
                  <a:lnTo>
                    <a:pt x="48" y="50"/>
                  </a:lnTo>
                  <a:lnTo>
                    <a:pt x="48" y="50"/>
                  </a:lnTo>
                  <a:lnTo>
                    <a:pt x="48" y="50"/>
                  </a:lnTo>
                  <a:lnTo>
                    <a:pt x="48" y="50"/>
                  </a:lnTo>
                  <a:lnTo>
                    <a:pt x="44" y="52"/>
                  </a:lnTo>
                  <a:lnTo>
                    <a:pt x="44" y="52"/>
                  </a:lnTo>
                  <a:lnTo>
                    <a:pt x="44" y="52"/>
                  </a:lnTo>
                  <a:lnTo>
                    <a:pt x="40" y="52"/>
                  </a:lnTo>
                  <a:lnTo>
                    <a:pt x="40" y="52"/>
                  </a:lnTo>
                  <a:lnTo>
                    <a:pt x="40" y="52"/>
                  </a:lnTo>
                  <a:lnTo>
                    <a:pt x="36" y="52"/>
                  </a:lnTo>
                  <a:lnTo>
                    <a:pt x="36" y="52"/>
                  </a:lnTo>
                  <a:lnTo>
                    <a:pt x="36" y="52"/>
                  </a:lnTo>
                  <a:lnTo>
                    <a:pt x="36" y="52"/>
                  </a:lnTo>
                  <a:lnTo>
                    <a:pt x="36" y="52"/>
                  </a:lnTo>
                  <a:lnTo>
                    <a:pt x="36" y="52"/>
                  </a:lnTo>
                  <a:lnTo>
                    <a:pt x="36" y="56"/>
                  </a:lnTo>
                  <a:lnTo>
                    <a:pt x="32" y="56"/>
                  </a:lnTo>
                  <a:lnTo>
                    <a:pt x="32" y="56"/>
                  </a:lnTo>
                  <a:lnTo>
                    <a:pt x="32" y="56"/>
                  </a:lnTo>
                  <a:lnTo>
                    <a:pt x="32" y="56"/>
                  </a:lnTo>
                  <a:lnTo>
                    <a:pt x="30" y="56"/>
                  </a:lnTo>
                  <a:lnTo>
                    <a:pt x="30" y="56"/>
                  </a:lnTo>
                  <a:lnTo>
                    <a:pt x="30" y="56"/>
                  </a:lnTo>
                  <a:lnTo>
                    <a:pt x="30" y="56"/>
                  </a:lnTo>
                  <a:lnTo>
                    <a:pt x="26" y="56"/>
                  </a:lnTo>
                  <a:lnTo>
                    <a:pt x="26" y="56"/>
                  </a:lnTo>
                  <a:lnTo>
                    <a:pt x="22" y="56"/>
                  </a:lnTo>
                  <a:lnTo>
                    <a:pt x="22" y="52"/>
                  </a:lnTo>
                  <a:lnTo>
                    <a:pt x="22" y="52"/>
                  </a:lnTo>
                  <a:lnTo>
                    <a:pt x="22" y="52"/>
                  </a:lnTo>
                  <a:lnTo>
                    <a:pt x="22" y="52"/>
                  </a:lnTo>
                  <a:lnTo>
                    <a:pt x="18" y="52"/>
                  </a:lnTo>
                  <a:lnTo>
                    <a:pt x="18" y="52"/>
                  </a:lnTo>
                  <a:lnTo>
                    <a:pt x="18" y="52"/>
                  </a:lnTo>
                  <a:lnTo>
                    <a:pt x="18" y="52"/>
                  </a:lnTo>
                  <a:lnTo>
                    <a:pt x="18" y="52"/>
                  </a:lnTo>
                  <a:lnTo>
                    <a:pt x="14" y="52"/>
                  </a:lnTo>
                  <a:lnTo>
                    <a:pt x="14" y="50"/>
                  </a:lnTo>
                  <a:lnTo>
                    <a:pt x="14" y="50"/>
                  </a:lnTo>
                  <a:lnTo>
                    <a:pt x="14" y="50"/>
                  </a:lnTo>
                  <a:lnTo>
                    <a:pt x="14" y="50"/>
                  </a:lnTo>
                  <a:lnTo>
                    <a:pt x="14" y="50"/>
                  </a:lnTo>
                  <a:lnTo>
                    <a:pt x="10" y="46"/>
                  </a:lnTo>
                  <a:lnTo>
                    <a:pt x="10" y="46"/>
                  </a:lnTo>
                  <a:lnTo>
                    <a:pt x="10" y="46"/>
                  </a:lnTo>
                  <a:lnTo>
                    <a:pt x="10" y="46"/>
                  </a:lnTo>
                  <a:lnTo>
                    <a:pt x="10" y="46"/>
                  </a:lnTo>
                  <a:lnTo>
                    <a:pt x="10" y="46"/>
                  </a:lnTo>
                  <a:lnTo>
                    <a:pt x="10" y="46"/>
                  </a:lnTo>
                  <a:lnTo>
                    <a:pt x="10" y="46"/>
                  </a:lnTo>
                  <a:lnTo>
                    <a:pt x="10" y="46"/>
                  </a:lnTo>
                  <a:lnTo>
                    <a:pt x="6" y="42"/>
                  </a:lnTo>
                  <a:lnTo>
                    <a:pt x="6" y="42"/>
                  </a:lnTo>
                  <a:lnTo>
                    <a:pt x="6" y="42"/>
                  </a:lnTo>
                  <a:lnTo>
                    <a:pt x="6" y="42"/>
                  </a:lnTo>
                  <a:lnTo>
                    <a:pt x="2" y="38"/>
                  </a:lnTo>
                  <a:lnTo>
                    <a:pt x="2" y="38"/>
                  </a:lnTo>
                  <a:lnTo>
                    <a:pt x="2" y="38"/>
                  </a:lnTo>
                  <a:lnTo>
                    <a:pt x="2" y="38"/>
                  </a:lnTo>
                  <a:lnTo>
                    <a:pt x="2" y="38"/>
                  </a:lnTo>
                  <a:lnTo>
                    <a:pt x="2" y="34"/>
                  </a:lnTo>
                  <a:lnTo>
                    <a:pt x="2" y="34"/>
                  </a:lnTo>
                  <a:lnTo>
                    <a:pt x="2" y="34"/>
                  </a:lnTo>
                  <a:lnTo>
                    <a:pt x="2" y="34"/>
                  </a:lnTo>
                  <a:lnTo>
                    <a:pt x="2" y="34"/>
                  </a:lnTo>
                  <a:lnTo>
                    <a:pt x="2" y="34"/>
                  </a:lnTo>
                  <a:lnTo>
                    <a:pt x="0" y="34"/>
                  </a:lnTo>
                  <a:lnTo>
                    <a:pt x="0" y="34"/>
                  </a:lnTo>
                  <a:lnTo>
                    <a:pt x="0" y="34"/>
                  </a:lnTo>
                  <a:lnTo>
                    <a:pt x="0" y="34"/>
                  </a:lnTo>
                  <a:lnTo>
                    <a:pt x="2" y="30"/>
                  </a:lnTo>
                  <a:lnTo>
                    <a:pt x="2" y="30"/>
                  </a:lnTo>
                  <a:lnTo>
                    <a:pt x="2" y="30"/>
                  </a:lnTo>
                  <a:lnTo>
                    <a:pt x="2" y="30"/>
                  </a:lnTo>
                  <a:lnTo>
                    <a:pt x="2" y="30"/>
                  </a:lnTo>
                  <a:lnTo>
                    <a:pt x="2" y="30"/>
                  </a:lnTo>
                  <a:lnTo>
                    <a:pt x="6" y="30"/>
                  </a:lnTo>
                  <a:lnTo>
                    <a:pt x="6" y="30"/>
                  </a:lnTo>
                  <a:lnTo>
                    <a:pt x="2" y="26"/>
                  </a:lnTo>
                  <a:lnTo>
                    <a:pt x="2" y="26"/>
                  </a:lnTo>
                  <a:lnTo>
                    <a:pt x="2" y="26"/>
                  </a:lnTo>
                  <a:lnTo>
                    <a:pt x="6" y="26"/>
                  </a:lnTo>
                  <a:lnTo>
                    <a:pt x="6" y="26"/>
                  </a:lnTo>
                  <a:lnTo>
                    <a:pt x="2" y="24"/>
                  </a:lnTo>
                  <a:lnTo>
                    <a:pt x="2" y="24"/>
                  </a:lnTo>
                  <a:lnTo>
                    <a:pt x="6" y="24"/>
                  </a:lnTo>
                  <a:lnTo>
                    <a:pt x="6" y="24"/>
                  </a:lnTo>
                  <a:lnTo>
                    <a:pt x="6" y="24"/>
                  </a:lnTo>
                  <a:lnTo>
                    <a:pt x="6" y="20"/>
                  </a:lnTo>
                  <a:lnTo>
                    <a:pt x="6" y="20"/>
                  </a:lnTo>
                  <a:lnTo>
                    <a:pt x="6" y="20"/>
                  </a:lnTo>
                  <a:lnTo>
                    <a:pt x="6" y="20"/>
                  </a:lnTo>
                  <a:lnTo>
                    <a:pt x="6" y="20"/>
                  </a:lnTo>
                  <a:lnTo>
                    <a:pt x="6" y="20"/>
                  </a:lnTo>
                  <a:lnTo>
                    <a:pt x="2" y="20"/>
                  </a:lnTo>
                  <a:lnTo>
                    <a:pt x="2" y="16"/>
                  </a:lnTo>
                  <a:lnTo>
                    <a:pt x="6" y="16"/>
                  </a:lnTo>
                  <a:lnTo>
                    <a:pt x="6" y="16"/>
                  </a:lnTo>
                  <a:lnTo>
                    <a:pt x="6" y="16"/>
                  </a:lnTo>
                  <a:lnTo>
                    <a:pt x="6" y="16"/>
                  </a:lnTo>
                  <a:lnTo>
                    <a:pt x="10" y="16"/>
                  </a:lnTo>
                  <a:lnTo>
                    <a:pt x="10" y="20"/>
                  </a:lnTo>
                  <a:lnTo>
                    <a:pt x="10" y="20"/>
                  </a:lnTo>
                  <a:lnTo>
                    <a:pt x="10" y="16"/>
                  </a:lnTo>
                  <a:lnTo>
                    <a:pt x="10" y="16"/>
                  </a:lnTo>
                  <a:lnTo>
                    <a:pt x="14" y="16"/>
                  </a:lnTo>
                  <a:lnTo>
                    <a:pt x="14" y="16"/>
                  </a:lnTo>
                  <a:lnTo>
                    <a:pt x="14" y="16"/>
                  </a:lnTo>
                  <a:lnTo>
                    <a:pt x="14" y="16"/>
                  </a:lnTo>
                  <a:lnTo>
                    <a:pt x="14" y="16"/>
                  </a:lnTo>
                  <a:lnTo>
                    <a:pt x="14" y="12"/>
                  </a:lnTo>
                  <a:lnTo>
                    <a:pt x="14" y="12"/>
                  </a:lnTo>
                  <a:lnTo>
                    <a:pt x="14" y="12"/>
                  </a:lnTo>
                  <a:lnTo>
                    <a:pt x="14" y="12"/>
                  </a:lnTo>
                  <a:lnTo>
                    <a:pt x="14" y="12"/>
                  </a:lnTo>
                  <a:lnTo>
                    <a:pt x="14" y="12"/>
                  </a:lnTo>
                  <a:lnTo>
                    <a:pt x="14" y="12"/>
                  </a:lnTo>
                  <a:lnTo>
                    <a:pt x="18" y="12"/>
                  </a:lnTo>
                  <a:lnTo>
                    <a:pt x="18" y="12"/>
                  </a:lnTo>
                  <a:lnTo>
                    <a:pt x="18" y="12"/>
                  </a:lnTo>
                  <a:lnTo>
                    <a:pt x="18" y="12"/>
                  </a:lnTo>
                  <a:lnTo>
                    <a:pt x="18" y="12"/>
                  </a:lnTo>
                  <a:lnTo>
                    <a:pt x="18" y="12"/>
                  </a:lnTo>
                  <a:lnTo>
                    <a:pt x="18" y="12"/>
                  </a:lnTo>
                  <a:lnTo>
                    <a:pt x="22" y="16"/>
                  </a:lnTo>
                  <a:lnTo>
                    <a:pt x="26" y="16"/>
                  </a:lnTo>
                  <a:lnTo>
                    <a:pt x="26" y="16"/>
                  </a:lnTo>
                  <a:lnTo>
                    <a:pt x="26" y="16"/>
                  </a:lnTo>
                  <a:lnTo>
                    <a:pt x="26" y="16"/>
                  </a:lnTo>
                  <a:lnTo>
                    <a:pt x="30" y="16"/>
                  </a:lnTo>
                  <a:lnTo>
                    <a:pt x="30" y="16"/>
                  </a:lnTo>
                  <a:lnTo>
                    <a:pt x="30" y="16"/>
                  </a:lnTo>
                  <a:lnTo>
                    <a:pt x="30" y="16"/>
                  </a:lnTo>
                  <a:lnTo>
                    <a:pt x="32" y="16"/>
                  </a:lnTo>
                  <a:lnTo>
                    <a:pt x="32" y="16"/>
                  </a:lnTo>
                  <a:lnTo>
                    <a:pt x="32" y="16"/>
                  </a:lnTo>
                  <a:lnTo>
                    <a:pt x="32" y="16"/>
                  </a:lnTo>
                  <a:lnTo>
                    <a:pt x="32" y="16"/>
                  </a:lnTo>
                  <a:lnTo>
                    <a:pt x="36" y="16"/>
                  </a:lnTo>
                  <a:lnTo>
                    <a:pt x="36" y="16"/>
                  </a:lnTo>
                  <a:lnTo>
                    <a:pt x="36" y="16"/>
                  </a:lnTo>
                  <a:lnTo>
                    <a:pt x="36" y="16"/>
                  </a:lnTo>
                  <a:lnTo>
                    <a:pt x="36" y="16"/>
                  </a:lnTo>
                  <a:lnTo>
                    <a:pt x="36" y="16"/>
                  </a:lnTo>
                  <a:lnTo>
                    <a:pt x="36" y="16"/>
                  </a:lnTo>
                  <a:lnTo>
                    <a:pt x="40" y="16"/>
                  </a:lnTo>
                  <a:lnTo>
                    <a:pt x="40" y="16"/>
                  </a:lnTo>
                  <a:lnTo>
                    <a:pt x="36" y="16"/>
                  </a:lnTo>
                  <a:lnTo>
                    <a:pt x="36" y="12"/>
                  </a:lnTo>
                  <a:lnTo>
                    <a:pt x="36" y="12"/>
                  </a:lnTo>
                  <a:lnTo>
                    <a:pt x="36" y="12"/>
                  </a:lnTo>
                  <a:lnTo>
                    <a:pt x="36" y="12"/>
                  </a:lnTo>
                  <a:lnTo>
                    <a:pt x="40" y="12"/>
                  </a:lnTo>
                  <a:lnTo>
                    <a:pt x="40" y="8"/>
                  </a:lnTo>
                  <a:lnTo>
                    <a:pt x="40" y="8"/>
                  </a:lnTo>
                  <a:lnTo>
                    <a:pt x="40" y="8"/>
                  </a:lnTo>
                  <a:lnTo>
                    <a:pt x="40" y="8"/>
                  </a:lnTo>
                  <a:lnTo>
                    <a:pt x="40" y="8"/>
                  </a:lnTo>
                  <a:lnTo>
                    <a:pt x="44" y="8"/>
                  </a:lnTo>
                  <a:lnTo>
                    <a:pt x="44" y="8"/>
                  </a:lnTo>
                  <a:lnTo>
                    <a:pt x="48" y="8"/>
                  </a:lnTo>
                  <a:lnTo>
                    <a:pt x="48" y="8"/>
                  </a:lnTo>
                  <a:lnTo>
                    <a:pt x="48" y="8"/>
                  </a:lnTo>
                  <a:lnTo>
                    <a:pt x="48" y="8"/>
                  </a:lnTo>
                  <a:lnTo>
                    <a:pt x="48" y="8"/>
                  </a:lnTo>
                  <a:lnTo>
                    <a:pt x="52" y="8"/>
                  </a:lnTo>
                  <a:lnTo>
                    <a:pt x="52" y="8"/>
                  </a:lnTo>
                  <a:lnTo>
                    <a:pt x="52" y="8"/>
                  </a:lnTo>
                  <a:lnTo>
                    <a:pt x="56" y="8"/>
                  </a:lnTo>
                  <a:lnTo>
                    <a:pt x="56" y="8"/>
                  </a:lnTo>
                  <a:lnTo>
                    <a:pt x="56" y="8"/>
                  </a:lnTo>
                  <a:lnTo>
                    <a:pt x="56" y="8"/>
                  </a:lnTo>
                  <a:lnTo>
                    <a:pt x="56" y="8"/>
                  </a:lnTo>
                  <a:lnTo>
                    <a:pt x="56" y="8"/>
                  </a:lnTo>
                  <a:lnTo>
                    <a:pt x="56" y="8"/>
                  </a:lnTo>
                  <a:lnTo>
                    <a:pt x="58" y="4"/>
                  </a:lnTo>
                  <a:lnTo>
                    <a:pt x="58" y="4"/>
                  </a:lnTo>
                  <a:lnTo>
                    <a:pt x="58" y="4"/>
                  </a:lnTo>
                  <a:lnTo>
                    <a:pt x="58" y="4"/>
                  </a:lnTo>
                  <a:lnTo>
                    <a:pt x="58" y="4"/>
                  </a:lnTo>
                  <a:lnTo>
                    <a:pt x="58" y="4"/>
                  </a:lnTo>
                  <a:lnTo>
                    <a:pt x="58" y="4"/>
                  </a:lnTo>
                  <a:lnTo>
                    <a:pt x="62" y="0"/>
                  </a:lnTo>
                  <a:lnTo>
                    <a:pt x="62" y="0"/>
                  </a:lnTo>
                  <a:lnTo>
                    <a:pt x="62" y="0"/>
                  </a:lnTo>
                  <a:lnTo>
                    <a:pt x="62" y="0"/>
                  </a:lnTo>
                  <a:lnTo>
                    <a:pt x="62" y="0"/>
                  </a:lnTo>
                  <a:lnTo>
                    <a:pt x="62" y="0"/>
                  </a:lnTo>
                  <a:lnTo>
                    <a:pt x="66" y="0"/>
                  </a:lnTo>
                  <a:lnTo>
                    <a:pt x="66" y="0"/>
                  </a:lnTo>
                  <a:lnTo>
                    <a:pt x="66" y="0"/>
                  </a:lnTo>
                  <a:lnTo>
                    <a:pt x="66" y="0"/>
                  </a:lnTo>
                  <a:lnTo>
                    <a:pt x="66" y="0"/>
                  </a:lnTo>
                  <a:lnTo>
                    <a:pt x="70" y="0"/>
                  </a:lnTo>
                  <a:lnTo>
                    <a:pt x="70" y="0"/>
                  </a:lnTo>
                  <a:lnTo>
                    <a:pt x="74" y="0"/>
                  </a:lnTo>
                  <a:lnTo>
                    <a:pt x="74" y="0"/>
                  </a:lnTo>
                  <a:lnTo>
                    <a:pt x="74" y="0"/>
                  </a:lnTo>
                  <a:lnTo>
                    <a:pt x="78" y="0"/>
                  </a:lnTo>
                  <a:lnTo>
                    <a:pt x="78" y="0"/>
                  </a:lnTo>
                  <a:lnTo>
                    <a:pt x="78" y="0"/>
                  </a:lnTo>
                  <a:lnTo>
                    <a:pt x="78" y="4"/>
                  </a:lnTo>
                  <a:lnTo>
                    <a:pt x="82" y="4"/>
                  </a:lnTo>
                  <a:lnTo>
                    <a:pt x="82" y="4"/>
                  </a:lnTo>
                  <a:lnTo>
                    <a:pt x="82" y="4"/>
                  </a:lnTo>
                  <a:lnTo>
                    <a:pt x="82" y="4"/>
                  </a:lnTo>
                  <a:lnTo>
                    <a:pt x="82" y="4"/>
                  </a:lnTo>
                  <a:lnTo>
                    <a:pt x="84" y="4"/>
                  </a:lnTo>
                  <a:lnTo>
                    <a:pt x="84" y="4"/>
                  </a:lnTo>
                  <a:lnTo>
                    <a:pt x="84" y="4"/>
                  </a:lnTo>
                  <a:lnTo>
                    <a:pt x="84" y="4"/>
                  </a:lnTo>
                  <a:lnTo>
                    <a:pt x="84" y="4"/>
                  </a:lnTo>
                  <a:lnTo>
                    <a:pt x="84" y="4"/>
                  </a:lnTo>
                  <a:lnTo>
                    <a:pt x="84" y="0"/>
                  </a:lnTo>
                  <a:lnTo>
                    <a:pt x="88" y="4"/>
                  </a:lnTo>
                  <a:lnTo>
                    <a:pt x="88" y="4"/>
                  </a:lnTo>
                  <a:lnTo>
                    <a:pt x="88" y="4"/>
                  </a:lnTo>
                  <a:lnTo>
                    <a:pt x="88" y="4"/>
                  </a:lnTo>
                  <a:lnTo>
                    <a:pt x="88" y="4"/>
                  </a:lnTo>
                  <a:lnTo>
                    <a:pt x="88" y="4"/>
                  </a:lnTo>
                  <a:lnTo>
                    <a:pt x="92" y="8"/>
                  </a:lnTo>
                  <a:lnTo>
                    <a:pt x="92" y="8"/>
                  </a:lnTo>
                  <a:lnTo>
                    <a:pt x="92" y="8"/>
                  </a:lnTo>
                  <a:lnTo>
                    <a:pt x="92" y="8"/>
                  </a:lnTo>
                  <a:lnTo>
                    <a:pt x="92" y="8"/>
                  </a:lnTo>
                  <a:lnTo>
                    <a:pt x="92" y="8"/>
                  </a:lnTo>
                  <a:lnTo>
                    <a:pt x="92" y="8"/>
                  </a:lnTo>
                  <a:lnTo>
                    <a:pt x="92" y="8"/>
                  </a:lnTo>
                  <a:lnTo>
                    <a:pt x="96" y="8"/>
                  </a:lnTo>
                  <a:lnTo>
                    <a:pt x="96" y="12"/>
                  </a:lnTo>
                  <a:lnTo>
                    <a:pt x="96" y="12"/>
                  </a:lnTo>
                  <a:lnTo>
                    <a:pt x="96" y="12"/>
                  </a:lnTo>
                  <a:lnTo>
                    <a:pt x="92" y="16"/>
                  </a:lnTo>
                  <a:lnTo>
                    <a:pt x="92" y="16"/>
                  </a:lnTo>
                  <a:lnTo>
                    <a:pt x="92" y="16"/>
                  </a:lnTo>
                  <a:lnTo>
                    <a:pt x="92" y="16"/>
                  </a:lnTo>
                  <a:lnTo>
                    <a:pt x="92" y="16"/>
                  </a:lnTo>
                  <a:lnTo>
                    <a:pt x="88" y="16"/>
                  </a:lnTo>
                  <a:lnTo>
                    <a:pt x="88" y="16"/>
                  </a:lnTo>
                  <a:lnTo>
                    <a:pt x="88" y="16"/>
                  </a:lnTo>
                  <a:lnTo>
                    <a:pt x="88" y="16"/>
                  </a:lnTo>
                  <a:lnTo>
                    <a:pt x="88" y="16"/>
                  </a:lnTo>
                  <a:lnTo>
                    <a:pt x="84" y="20"/>
                  </a:lnTo>
                  <a:lnTo>
                    <a:pt x="84" y="20"/>
                  </a:lnTo>
                  <a:lnTo>
                    <a:pt x="84" y="20"/>
                  </a:lnTo>
                  <a:lnTo>
                    <a:pt x="84" y="20"/>
                  </a:lnTo>
                  <a:lnTo>
                    <a:pt x="84" y="20"/>
                  </a:lnTo>
                  <a:lnTo>
                    <a:pt x="84" y="20"/>
                  </a:lnTo>
                  <a:lnTo>
                    <a:pt x="84" y="20"/>
                  </a:lnTo>
                  <a:lnTo>
                    <a:pt x="84" y="20"/>
                  </a:lnTo>
                  <a:lnTo>
                    <a:pt x="84" y="24"/>
                  </a:lnTo>
                  <a:lnTo>
                    <a:pt x="84" y="24"/>
                  </a:lnTo>
                  <a:lnTo>
                    <a:pt x="84" y="24"/>
                  </a:lnTo>
                  <a:lnTo>
                    <a:pt x="84" y="24"/>
                  </a:lnTo>
                  <a:lnTo>
                    <a:pt x="82" y="24"/>
                  </a:lnTo>
                  <a:lnTo>
                    <a:pt x="82" y="24"/>
                  </a:lnTo>
                  <a:lnTo>
                    <a:pt x="82" y="24"/>
                  </a:lnTo>
                  <a:lnTo>
                    <a:pt x="82" y="26"/>
                  </a:lnTo>
                  <a:lnTo>
                    <a:pt x="82" y="26"/>
                  </a:lnTo>
                  <a:lnTo>
                    <a:pt x="82" y="26"/>
                  </a:lnTo>
                  <a:lnTo>
                    <a:pt x="82" y="30"/>
                  </a:lnTo>
                  <a:lnTo>
                    <a:pt x="82" y="30"/>
                  </a:lnTo>
                  <a:lnTo>
                    <a:pt x="78" y="30"/>
                  </a:lnTo>
                  <a:lnTo>
                    <a:pt x="78" y="30"/>
                  </a:lnTo>
                  <a:lnTo>
                    <a:pt x="78" y="30"/>
                  </a:lnTo>
                  <a:lnTo>
                    <a:pt x="78" y="30"/>
                  </a:lnTo>
                  <a:lnTo>
                    <a:pt x="78" y="30"/>
                  </a:lnTo>
                  <a:lnTo>
                    <a:pt x="78" y="34"/>
                  </a:lnTo>
                  <a:lnTo>
                    <a:pt x="78" y="34"/>
                  </a:lnTo>
                  <a:lnTo>
                    <a:pt x="78" y="38"/>
                  </a:lnTo>
                  <a:lnTo>
                    <a:pt x="78" y="38"/>
                  </a:lnTo>
                  <a:lnTo>
                    <a:pt x="78" y="38"/>
                  </a:lnTo>
                  <a:lnTo>
                    <a:pt x="78" y="38"/>
                  </a:lnTo>
                  <a:lnTo>
                    <a:pt x="78" y="38"/>
                  </a:lnTo>
                  <a:lnTo>
                    <a:pt x="78" y="3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12" name="Freeform 105"/>
            <p:cNvSpPr>
              <a:spLocks/>
            </p:cNvSpPr>
            <p:nvPr/>
          </p:nvSpPr>
          <p:spPr bwMode="auto">
            <a:xfrm>
              <a:off x="6823003" y="3320975"/>
              <a:ext cx="97965" cy="48381"/>
            </a:xfrm>
            <a:custGeom>
              <a:avLst/>
              <a:gdLst>
                <a:gd name="T0" fmla="*/ 36 w 156"/>
                <a:gd name="T1" fmla="*/ 48 h 74"/>
                <a:gd name="T2" fmla="*/ 30 w 156"/>
                <a:gd name="T3" fmla="*/ 44 h 74"/>
                <a:gd name="T4" fmla="*/ 14 w 156"/>
                <a:gd name="T5" fmla="*/ 40 h 74"/>
                <a:gd name="T6" fmla="*/ 14 w 156"/>
                <a:gd name="T7" fmla="*/ 40 h 74"/>
                <a:gd name="T8" fmla="*/ 30 w 156"/>
                <a:gd name="T9" fmla="*/ 38 h 74"/>
                <a:gd name="T10" fmla="*/ 32 w 156"/>
                <a:gd name="T11" fmla="*/ 34 h 74"/>
                <a:gd name="T12" fmla="*/ 32 w 156"/>
                <a:gd name="T13" fmla="*/ 30 h 74"/>
                <a:gd name="T14" fmla="*/ 32 w 156"/>
                <a:gd name="T15" fmla="*/ 26 h 74"/>
                <a:gd name="T16" fmla="*/ 30 w 156"/>
                <a:gd name="T17" fmla="*/ 26 h 74"/>
                <a:gd name="T18" fmla="*/ 18 w 156"/>
                <a:gd name="T19" fmla="*/ 26 h 74"/>
                <a:gd name="T20" fmla="*/ 0 w 156"/>
                <a:gd name="T21" fmla="*/ 26 h 74"/>
                <a:gd name="T22" fmla="*/ 6 w 156"/>
                <a:gd name="T23" fmla="*/ 26 h 74"/>
                <a:gd name="T24" fmla="*/ 6 w 156"/>
                <a:gd name="T25" fmla="*/ 22 h 74"/>
                <a:gd name="T26" fmla="*/ 10 w 156"/>
                <a:gd name="T27" fmla="*/ 22 h 74"/>
                <a:gd name="T28" fmla="*/ 10 w 156"/>
                <a:gd name="T29" fmla="*/ 18 h 74"/>
                <a:gd name="T30" fmla="*/ 14 w 156"/>
                <a:gd name="T31" fmla="*/ 14 h 74"/>
                <a:gd name="T32" fmla="*/ 14 w 156"/>
                <a:gd name="T33" fmla="*/ 10 h 74"/>
                <a:gd name="T34" fmla="*/ 18 w 156"/>
                <a:gd name="T35" fmla="*/ 10 h 74"/>
                <a:gd name="T36" fmla="*/ 26 w 156"/>
                <a:gd name="T37" fmla="*/ 18 h 74"/>
                <a:gd name="T38" fmla="*/ 30 w 156"/>
                <a:gd name="T39" fmla="*/ 10 h 74"/>
                <a:gd name="T40" fmla="*/ 30 w 156"/>
                <a:gd name="T41" fmla="*/ 8 h 74"/>
                <a:gd name="T42" fmla="*/ 22 w 156"/>
                <a:gd name="T43" fmla="*/ 4 h 74"/>
                <a:gd name="T44" fmla="*/ 32 w 156"/>
                <a:gd name="T45" fmla="*/ 4 h 74"/>
                <a:gd name="T46" fmla="*/ 44 w 156"/>
                <a:gd name="T47" fmla="*/ 14 h 74"/>
                <a:gd name="T48" fmla="*/ 40 w 156"/>
                <a:gd name="T49" fmla="*/ 22 h 74"/>
                <a:gd name="T50" fmla="*/ 44 w 156"/>
                <a:gd name="T51" fmla="*/ 26 h 74"/>
                <a:gd name="T52" fmla="*/ 52 w 156"/>
                <a:gd name="T53" fmla="*/ 22 h 74"/>
                <a:gd name="T54" fmla="*/ 60 w 156"/>
                <a:gd name="T55" fmla="*/ 14 h 74"/>
                <a:gd name="T56" fmla="*/ 66 w 156"/>
                <a:gd name="T57" fmla="*/ 18 h 74"/>
                <a:gd name="T58" fmla="*/ 78 w 156"/>
                <a:gd name="T59" fmla="*/ 10 h 74"/>
                <a:gd name="T60" fmla="*/ 84 w 156"/>
                <a:gd name="T61" fmla="*/ 14 h 74"/>
                <a:gd name="T62" fmla="*/ 88 w 156"/>
                <a:gd name="T63" fmla="*/ 18 h 74"/>
                <a:gd name="T64" fmla="*/ 92 w 156"/>
                <a:gd name="T65" fmla="*/ 10 h 74"/>
                <a:gd name="T66" fmla="*/ 104 w 156"/>
                <a:gd name="T67" fmla="*/ 8 h 74"/>
                <a:gd name="T68" fmla="*/ 114 w 156"/>
                <a:gd name="T69" fmla="*/ 8 h 74"/>
                <a:gd name="T70" fmla="*/ 122 w 156"/>
                <a:gd name="T71" fmla="*/ 0 h 74"/>
                <a:gd name="T72" fmla="*/ 130 w 156"/>
                <a:gd name="T73" fmla="*/ 8 h 74"/>
                <a:gd name="T74" fmla="*/ 134 w 156"/>
                <a:gd name="T75" fmla="*/ 10 h 74"/>
                <a:gd name="T76" fmla="*/ 136 w 156"/>
                <a:gd name="T77" fmla="*/ 14 h 74"/>
                <a:gd name="T78" fmla="*/ 140 w 156"/>
                <a:gd name="T79" fmla="*/ 22 h 74"/>
                <a:gd name="T80" fmla="*/ 152 w 156"/>
                <a:gd name="T81" fmla="*/ 30 h 74"/>
                <a:gd name="T82" fmla="*/ 156 w 156"/>
                <a:gd name="T83" fmla="*/ 34 h 74"/>
                <a:gd name="T84" fmla="*/ 152 w 156"/>
                <a:gd name="T85" fmla="*/ 40 h 74"/>
                <a:gd name="T86" fmla="*/ 144 w 156"/>
                <a:gd name="T87" fmla="*/ 44 h 74"/>
                <a:gd name="T88" fmla="*/ 140 w 156"/>
                <a:gd name="T89" fmla="*/ 52 h 74"/>
                <a:gd name="T90" fmla="*/ 130 w 156"/>
                <a:gd name="T91" fmla="*/ 56 h 74"/>
                <a:gd name="T92" fmla="*/ 118 w 156"/>
                <a:gd name="T93" fmla="*/ 60 h 74"/>
                <a:gd name="T94" fmla="*/ 106 w 156"/>
                <a:gd name="T95" fmla="*/ 64 h 74"/>
                <a:gd name="T96" fmla="*/ 92 w 156"/>
                <a:gd name="T97" fmla="*/ 68 h 74"/>
                <a:gd name="T98" fmla="*/ 82 w 156"/>
                <a:gd name="T99" fmla="*/ 74 h 74"/>
                <a:gd name="T100" fmla="*/ 62 w 156"/>
                <a:gd name="T101" fmla="*/ 70 h 74"/>
                <a:gd name="T102" fmla="*/ 56 w 156"/>
                <a:gd name="T103" fmla="*/ 68 h 74"/>
                <a:gd name="T104" fmla="*/ 48 w 156"/>
                <a:gd name="T105" fmla="*/ 68 h 74"/>
                <a:gd name="T106" fmla="*/ 36 w 156"/>
                <a:gd name="T107" fmla="*/ 64 h 74"/>
                <a:gd name="T108" fmla="*/ 26 w 156"/>
                <a:gd name="T109" fmla="*/ 68 h 74"/>
                <a:gd name="T110" fmla="*/ 30 w 156"/>
                <a:gd name="T111" fmla="*/ 60 h 74"/>
                <a:gd name="T112" fmla="*/ 36 w 156"/>
                <a:gd name="T113" fmla="*/ 56 h 74"/>
                <a:gd name="T114" fmla="*/ 44 w 156"/>
                <a:gd name="T115" fmla="*/ 52 h 74"/>
                <a:gd name="T116" fmla="*/ 32 w 156"/>
                <a:gd name="T117" fmla="*/ 5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74">
                  <a:moveTo>
                    <a:pt x="32" y="52"/>
                  </a:moveTo>
                  <a:lnTo>
                    <a:pt x="36" y="48"/>
                  </a:lnTo>
                  <a:lnTo>
                    <a:pt x="40" y="48"/>
                  </a:lnTo>
                  <a:lnTo>
                    <a:pt x="40" y="44"/>
                  </a:lnTo>
                  <a:lnTo>
                    <a:pt x="36" y="48"/>
                  </a:lnTo>
                  <a:lnTo>
                    <a:pt x="32" y="48"/>
                  </a:lnTo>
                  <a:lnTo>
                    <a:pt x="32" y="52"/>
                  </a:lnTo>
                  <a:lnTo>
                    <a:pt x="32" y="48"/>
                  </a:lnTo>
                  <a:lnTo>
                    <a:pt x="30" y="48"/>
                  </a:lnTo>
                  <a:lnTo>
                    <a:pt x="30" y="44"/>
                  </a:lnTo>
                  <a:lnTo>
                    <a:pt x="30" y="40"/>
                  </a:lnTo>
                  <a:lnTo>
                    <a:pt x="26" y="40"/>
                  </a:lnTo>
                  <a:lnTo>
                    <a:pt x="22" y="40"/>
                  </a:lnTo>
                  <a:lnTo>
                    <a:pt x="18" y="40"/>
                  </a:lnTo>
                  <a:lnTo>
                    <a:pt x="14" y="40"/>
                  </a:lnTo>
                  <a:lnTo>
                    <a:pt x="10" y="44"/>
                  </a:lnTo>
                  <a:lnTo>
                    <a:pt x="6" y="44"/>
                  </a:lnTo>
                  <a:lnTo>
                    <a:pt x="6" y="40"/>
                  </a:lnTo>
                  <a:lnTo>
                    <a:pt x="10" y="40"/>
                  </a:lnTo>
                  <a:lnTo>
                    <a:pt x="14" y="40"/>
                  </a:lnTo>
                  <a:lnTo>
                    <a:pt x="14" y="38"/>
                  </a:lnTo>
                  <a:lnTo>
                    <a:pt x="18" y="38"/>
                  </a:lnTo>
                  <a:lnTo>
                    <a:pt x="22" y="38"/>
                  </a:lnTo>
                  <a:lnTo>
                    <a:pt x="26" y="38"/>
                  </a:lnTo>
                  <a:lnTo>
                    <a:pt x="30" y="38"/>
                  </a:lnTo>
                  <a:lnTo>
                    <a:pt x="32" y="38"/>
                  </a:lnTo>
                  <a:lnTo>
                    <a:pt x="36" y="38"/>
                  </a:lnTo>
                  <a:lnTo>
                    <a:pt x="40" y="34"/>
                  </a:lnTo>
                  <a:lnTo>
                    <a:pt x="36" y="34"/>
                  </a:lnTo>
                  <a:lnTo>
                    <a:pt x="32" y="34"/>
                  </a:lnTo>
                  <a:lnTo>
                    <a:pt x="30" y="34"/>
                  </a:lnTo>
                  <a:lnTo>
                    <a:pt x="26" y="34"/>
                  </a:lnTo>
                  <a:lnTo>
                    <a:pt x="30" y="34"/>
                  </a:lnTo>
                  <a:lnTo>
                    <a:pt x="30" y="30"/>
                  </a:lnTo>
                  <a:lnTo>
                    <a:pt x="32" y="30"/>
                  </a:lnTo>
                  <a:lnTo>
                    <a:pt x="36" y="30"/>
                  </a:lnTo>
                  <a:lnTo>
                    <a:pt x="36" y="26"/>
                  </a:lnTo>
                  <a:lnTo>
                    <a:pt x="40" y="26"/>
                  </a:lnTo>
                  <a:lnTo>
                    <a:pt x="36" y="26"/>
                  </a:lnTo>
                  <a:lnTo>
                    <a:pt x="32" y="26"/>
                  </a:lnTo>
                  <a:lnTo>
                    <a:pt x="30" y="26"/>
                  </a:lnTo>
                  <a:lnTo>
                    <a:pt x="32" y="26"/>
                  </a:lnTo>
                  <a:lnTo>
                    <a:pt x="32" y="22"/>
                  </a:lnTo>
                  <a:lnTo>
                    <a:pt x="32" y="26"/>
                  </a:lnTo>
                  <a:lnTo>
                    <a:pt x="30" y="26"/>
                  </a:lnTo>
                  <a:lnTo>
                    <a:pt x="26" y="26"/>
                  </a:lnTo>
                  <a:lnTo>
                    <a:pt x="22" y="26"/>
                  </a:lnTo>
                  <a:lnTo>
                    <a:pt x="22" y="22"/>
                  </a:lnTo>
                  <a:lnTo>
                    <a:pt x="22" y="26"/>
                  </a:lnTo>
                  <a:lnTo>
                    <a:pt x="18" y="26"/>
                  </a:lnTo>
                  <a:lnTo>
                    <a:pt x="14" y="26"/>
                  </a:lnTo>
                  <a:lnTo>
                    <a:pt x="10" y="26"/>
                  </a:lnTo>
                  <a:lnTo>
                    <a:pt x="6" y="26"/>
                  </a:lnTo>
                  <a:lnTo>
                    <a:pt x="2" y="26"/>
                  </a:lnTo>
                  <a:lnTo>
                    <a:pt x="0" y="26"/>
                  </a:lnTo>
                  <a:lnTo>
                    <a:pt x="2" y="22"/>
                  </a:lnTo>
                  <a:lnTo>
                    <a:pt x="0" y="22"/>
                  </a:lnTo>
                  <a:lnTo>
                    <a:pt x="2" y="22"/>
                  </a:lnTo>
                  <a:lnTo>
                    <a:pt x="6" y="22"/>
                  </a:lnTo>
                  <a:lnTo>
                    <a:pt x="6" y="26"/>
                  </a:lnTo>
                  <a:lnTo>
                    <a:pt x="10" y="26"/>
                  </a:lnTo>
                  <a:lnTo>
                    <a:pt x="6" y="26"/>
                  </a:lnTo>
                  <a:lnTo>
                    <a:pt x="6" y="22"/>
                  </a:lnTo>
                  <a:lnTo>
                    <a:pt x="10" y="22"/>
                  </a:lnTo>
                  <a:lnTo>
                    <a:pt x="6" y="22"/>
                  </a:lnTo>
                  <a:lnTo>
                    <a:pt x="6" y="18"/>
                  </a:lnTo>
                  <a:lnTo>
                    <a:pt x="2" y="18"/>
                  </a:lnTo>
                  <a:lnTo>
                    <a:pt x="6" y="18"/>
                  </a:lnTo>
                  <a:lnTo>
                    <a:pt x="10" y="18"/>
                  </a:lnTo>
                  <a:lnTo>
                    <a:pt x="10" y="22"/>
                  </a:lnTo>
                  <a:lnTo>
                    <a:pt x="14" y="22"/>
                  </a:lnTo>
                  <a:lnTo>
                    <a:pt x="14" y="18"/>
                  </a:lnTo>
                  <a:lnTo>
                    <a:pt x="18" y="18"/>
                  </a:lnTo>
                  <a:lnTo>
                    <a:pt x="14" y="18"/>
                  </a:lnTo>
                  <a:lnTo>
                    <a:pt x="10" y="18"/>
                  </a:lnTo>
                  <a:lnTo>
                    <a:pt x="6" y="14"/>
                  </a:lnTo>
                  <a:lnTo>
                    <a:pt x="10" y="14"/>
                  </a:lnTo>
                  <a:lnTo>
                    <a:pt x="14" y="14"/>
                  </a:lnTo>
                  <a:lnTo>
                    <a:pt x="18" y="18"/>
                  </a:lnTo>
                  <a:lnTo>
                    <a:pt x="14" y="14"/>
                  </a:lnTo>
                  <a:lnTo>
                    <a:pt x="10" y="14"/>
                  </a:lnTo>
                  <a:lnTo>
                    <a:pt x="10" y="10"/>
                  </a:lnTo>
                  <a:lnTo>
                    <a:pt x="14" y="10"/>
                  </a:lnTo>
                  <a:lnTo>
                    <a:pt x="14" y="14"/>
                  </a:lnTo>
                  <a:lnTo>
                    <a:pt x="14" y="10"/>
                  </a:lnTo>
                  <a:lnTo>
                    <a:pt x="10" y="10"/>
                  </a:lnTo>
                  <a:lnTo>
                    <a:pt x="14" y="10"/>
                  </a:lnTo>
                  <a:lnTo>
                    <a:pt x="14" y="8"/>
                  </a:lnTo>
                  <a:lnTo>
                    <a:pt x="18" y="8"/>
                  </a:lnTo>
                  <a:lnTo>
                    <a:pt x="18" y="10"/>
                  </a:lnTo>
                  <a:lnTo>
                    <a:pt x="22" y="10"/>
                  </a:lnTo>
                  <a:lnTo>
                    <a:pt x="22" y="14"/>
                  </a:lnTo>
                  <a:lnTo>
                    <a:pt x="26" y="10"/>
                  </a:lnTo>
                  <a:lnTo>
                    <a:pt x="26" y="14"/>
                  </a:lnTo>
                  <a:lnTo>
                    <a:pt x="26" y="18"/>
                  </a:lnTo>
                  <a:lnTo>
                    <a:pt x="26" y="14"/>
                  </a:lnTo>
                  <a:lnTo>
                    <a:pt x="30" y="14"/>
                  </a:lnTo>
                  <a:lnTo>
                    <a:pt x="30" y="18"/>
                  </a:lnTo>
                  <a:lnTo>
                    <a:pt x="30" y="14"/>
                  </a:lnTo>
                  <a:lnTo>
                    <a:pt x="30" y="10"/>
                  </a:lnTo>
                  <a:lnTo>
                    <a:pt x="26" y="10"/>
                  </a:lnTo>
                  <a:lnTo>
                    <a:pt x="22" y="10"/>
                  </a:lnTo>
                  <a:lnTo>
                    <a:pt x="22" y="8"/>
                  </a:lnTo>
                  <a:lnTo>
                    <a:pt x="26" y="8"/>
                  </a:lnTo>
                  <a:lnTo>
                    <a:pt x="30" y="8"/>
                  </a:lnTo>
                  <a:lnTo>
                    <a:pt x="26" y="8"/>
                  </a:lnTo>
                  <a:lnTo>
                    <a:pt x="22" y="8"/>
                  </a:lnTo>
                  <a:lnTo>
                    <a:pt x="18" y="8"/>
                  </a:lnTo>
                  <a:lnTo>
                    <a:pt x="18" y="4"/>
                  </a:lnTo>
                  <a:lnTo>
                    <a:pt x="22" y="4"/>
                  </a:lnTo>
                  <a:lnTo>
                    <a:pt x="18" y="4"/>
                  </a:lnTo>
                  <a:lnTo>
                    <a:pt x="22" y="4"/>
                  </a:lnTo>
                  <a:lnTo>
                    <a:pt x="26" y="4"/>
                  </a:lnTo>
                  <a:lnTo>
                    <a:pt x="30" y="4"/>
                  </a:lnTo>
                  <a:lnTo>
                    <a:pt x="32" y="4"/>
                  </a:lnTo>
                  <a:lnTo>
                    <a:pt x="32" y="8"/>
                  </a:lnTo>
                  <a:lnTo>
                    <a:pt x="36" y="8"/>
                  </a:lnTo>
                  <a:lnTo>
                    <a:pt x="40" y="10"/>
                  </a:lnTo>
                  <a:lnTo>
                    <a:pt x="44" y="10"/>
                  </a:lnTo>
                  <a:lnTo>
                    <a:pt x="44" y="14"/>
                  </a:lnTo>
                  <a:lnTo>
                    <a:pt x="40" y="14"/>
                  </a:lnTo>
                  <a:lnTo>
                    <a:pt x="44" y="14"/>
                  </a:lnTo>
                  <a:lnTo>
                    <a:pt x="44" y="18"/>
                  </a:lnTo>
                  <a:lnTo>
                    <a:pt x="44" y="22"/>
                  </a:lnTo>
                  <a:lnTo>
                    <a:pt x="40" y="22"/>
                  </a:lnTo>
                  <a:lnTo>
                    <a:pt x="40" y="18"/>
                  </a:lnTo>
                  <a:lnTo>
                    <a:pt x="36" y="18"/>
                  </a:lnTo>
                  <a:lnTo>
                    <a:pt x="40" y="22"/>
                  </a:lnTo>
                  <a:lnTo>
                    <a:pt x="44" y="22"/>
                  </a:lnTo>
                  <a:lnTo>
                    <a:pt x="44" y="26"/>
                  </a:lnTo>
                  <a:lnTo>
                    <a:pt x="48" y="26"/>
                  </a:lnTo>
                  <a:lnTo>
                    <a:pt x="48" y="30"/>
                  </a:lnTo>
                  <a:lnTo>
                    <a:pt x="48" y="34"/>
                  </a:lnTo>
                  <a:lnTo>
                    <a:pt x="48" y="26"/>
                  </a:lnTo>
                  <a:lnTo>
                    <a:pt x="52" y="22"/>
                  </a:lnTo>
                  <a:lnTo>
                    <a:pt x="56" y="22"/>
                  </a:lnTo>
                  <a:lnTo>
                    <a:pt x="56" y="26"/>
                  </a:lnTo>
                  <a:lnTo>
                    <a:pt x="60" y="22"/>
                  </a:lnTo>
                  <a:lnTo>
                    <a:pt x="60" y="18"/>
                  </a:lnTo>
                  <a:lnTo>
                    <a:pt x="60" y="14"/>
                  </a:lnTo>
                  <a:lnTo>
                    <a:pt x="60" y="10"/>
                  </a:lnTo>
                  <a:lnTo>
                    <a:pt x="62" y="10"/>
                  </a:lnTo>
                  <a:lnTo>
                    <a:pt x="62" y="14"/>
                  </a:lnTo>
                  <a:lnTo>
                    <a:pt x="66" y="14"/>
                  </a:lnTo>
                  <a:lnTo>
                    <a:pt x="66" y="18"/>
                  </a:lnTo>
                  <a:lnTo>
                    <a:pt x="70" y="18"/>
                  </a:lnTo>
                  <a:lnTo>
                    <a:pt x="70" y="14"/>
                  </a:lnTo>
                  <a:lnTo>
                    <a:pt x="70" y="10"/>
                  </a:lnTo>
                  <a:lnTo>
                    <a:pt x="74" y="10"/>
                  </a:lnTo>
                  <a:lnTo>
                    <a:pt x="78" y="10"/>
                  </a:lnTo>
                  <a:lnTo>
                    <a:pt x="78" y="8"/>
                  </a:lnTo>
                  <a:lnTo>
                    <a:pt x="82" y="8"/>
                  </a:lnTo>
                  <a:lnTo>
                    <a:pt x="82" y="10"/>
                  </a:lnTo>
                  <a:lnTo>
                    <a:pt x="84" y="10"/>
                  </a:lnTo>
                  <a:lnTo>
                    <a:pt x="84" y="14"/>
                  </a:lnTo>
                  <a:lnTo>
                    <a:pt x="88" y="14"/>
                  </a:lnTo>
                  <a:lnTo>
                    <a:pt x="88" y="18"/>
                  </a:lnTo>
                  <a:lnTo>
                    <a:pt x="88" y="22"/>
                  </a:lnTo>
                  <a:lnTo>
                    <a:pt x="92" y="22"/>
                  </a:lnTo>
                  <a:lnTo>
                    <a:pt x="88" y="18"/>
                  </a:lnTo>
                  <a:lnTo>
                    <a:pt x="88" y="14"/>
                  </a:lnTo>
                  <a:lnTo>
                    <a:pt x="84" y="10"/>
                  </a:lnTo>
                  <a:lnTo>
                    <a:pt x="88" y="8"/>
                  </a:lnTo>
                  <a:lnTo>
                    <a:pt x="88" y="10"/>
                  </a:lnTo>
                  <a:lnTo>
                    <a:pt x="92" y="10"/>
                  </a:lnTo>
                  <a:lnTo>
                    <a:pt x="96" y="10"/>
                  </a:lnTo>
                  <a:lnTo>
                    <a:pt x="96" y="14"/>
                  </a:lnTo>
                  <a:lnTo>
                    <a:pt x="100" y="14"/>
                  </a:lnTo>
                  <a:lnTo>
                    <a:pt x="100" y="10"/>
                  </a:lnTo>
                  <a:lnTo>
                    <a:pt x="104" y="8"/>
                  </a:lnTo>
                  <a:lnTo>
                    <a:pt x="106" y="8"/>
                  </a:lnTo>
                  <a:lnTo>
                    <a:pt x="106" y="10"/>
                  </a:lnTo>
                  <a:lnTo>
                    <a:pt x="110" y="10"/>
                  </a:lnTo>
                  <a:lnTo>
                    <a:pt x="110" y="8"/>
                  </a:lnTo>
                  <a:lnTo>
                    <a:pt x="114" y="8"/>
                  </a:lnTo>
                  <a:lnTo>
                    <a:pt x="110" y="4"/>
                  </a:lnTo>
                  <a:lnTo>
                    <a:pt x="110" y="0"/>
                  </a:lnTo>
                  <a:lnTo>
                    <a:pt x="114" y="0"/>
                  </a:lnTo>
                  <a:lnTo>
                    <a:pt x="118" y="0"/>
                  </a:lnTo>
                  <a:lnTo>
                    <a:pt x="122" y="0"/>
                  </a:lnTo>
                  <a:lnTo>
                    <a:pt x="122" y="4"/>
                  </a:lnTo>
                  <a:lnTo>
                    <a:pt x="122" y="8"/>
                  </a:lnTo>
                  <a:lnTo>
                    <a:pt x="126" y="8"/>
                  </a:lnTo>
                  <a:lnTo>
                    <a:pt x="130" y="10"/>
                  </a:lnTo>
                  <a:lnTo>
                    <a:pt x="130" y="8"/>
                  </a:lnTo>
                  <a:lnTo>
                    <a:pt x="134" y="8"/>
                  </a:lnTo>
                  <a:lnTo>
                    <a:pt x="134" y="4"/>
                  </a:lnTo>
                  <a:lnTo>
                    <a:pt x="136" y="4"/>
                  </a:lnTo>
                  <a:lnTo>
                    <a:pt x="134" y="8"/>
                  </a:lnTo>
                  <a:lnTo>
                    <a:pt x="134" y="10"/>
                  </a:lnTo>
                  <a:lnTo>
                    <a:pt x="130" y="10"/>
                  </a:lnTo>
                  <a:lnTo>
                    <a:pt x="134" y="10"/>
                  </a:lnTo>
                  <a:lnTo>
                    <a:pt x="136" y="10"/>
                  </a:lnTo>
                  <a:lnTo>
                    <a:pt x="140" y="14"/>
                  </a:lnTo>
                  <a:lnTo>
                    <a:pt x="136" y="14"/>
                  </a:lnTo>
                  <a:lnTo>
                    <a:pt x="136" y="18"/>
                  </a:lnTo>
                  <a:lnTo>
                    <a:pt x="140" y="18"/>
                  </a:lnTo>
                  <a:lnTo>
                    <a:pt x="144" y="18"/>
                  </a:lnTo>
                  <a:lnTo>
                    <a:pt x="144" y="22"/>
                  </a:lnTo>
                  <a:lnTo>
                    <a:pt x="140" y="22"/>
                  </a:lnTo>
                  <a:lnTo>
                    <a:pt x="140" y="26"/>
                  </a:lnTo>
                  <a:lnTo>
                    <a:pt x="144" y="22"/>
                  </a:lnTo>
                  <a:lnTo>
                    <a:pt x="148" y="22"/>
                  </a:lnTo>
                  <a:lnTo>
                    <a:pt x="152" y="26"/>
                  </a:lnTo>
                  <a:lnTo>
                    <a:pt x="152" y="30"/>
                  </a:lnTo>
                  <a:lnTo>
                    <a:pt x="156" y="30"/>
                  </a:lnTo>
                  <a:lnTo>
                    <a:pt x="152" y="34"/>
                  </a:lnTo>
                  <a:lnTo>
                    <a:pt x="148" y="34"/>
                  </a:lnTo>
                  <a:lnTo>
                    <a:pt x="152" y="34"/>
                  </a:lnTo>
                  <a:lnTo>
                    <a:pt x="156" y="34"/>
                  </a:lnTo>
                  <a:lnTo>
                    <a:pt x="156" y="38"/>
                  </a:lnTo>
                  <a:lnTo>
                    <a:pt x="152" y="38"/>
                  </a:lnTo>
                  <a:lnTo>
                    <a:pt x="148" y="38"/>
                  </a:lnTo>
                  <a:lnTo>
                    <a:pt x="152" y="38"/>
                  </a:lnTo>
                  <a:lnTo>
                    <a:pt x="152" y="40"/>
                  </a:lnTo>
                  <a:lnTo>
                    <a:pt x="148" y="40"/>
                  </a:lnTo>
                  <a:lnTo>
                    <a:pt x="152" y="40"/>
                  </a:lnTo>
                  <a:lnTo>
                    <a:pt x="148" y="40"/>
                  </a:lnTo>
                  <a:lnTo>
                    <a:pt x="148" y="44"/>
                  </a:lnTo>
                  <a:lnTo>
                    <a:pt x="144" y="44"/>
                  </a:lnTo>
                  <a:lnTo>
                    <a:pt x="140" y="44"/>
                  </a:lnTo>
                  <a:lnTo>
                    <a:pt x="140" y="40"/>
                  </a:lnTo>
                  <a:lnTo>
                    <a:pt x="140" y="44"/>
                  </a:lnTo>
                  <a:lnTo>
                    <a:pt x="140" y="48"/>
                  </a:lnTo>
                  <a:lnTo>
                    <a:pt x="140" y="52"/>
                  </a:lnTo>
                  <a:lnTo>
                    <a:pt x="136" y="52"/>
                  </a:lnTo>
                  <a:lnTo>
                    <a:pt x="134" y="56"/>
                  </a:lnTo>
                  <a:lnTo>
                    <a:pt x="136" y="56"/>
                  </a:lnTo>
                  <a:lnTo>
                    <a:pt x="134" y="56"/>
                  </a:lnTo>
                  <a:lnTo>
                    <a:pt x="130" y="56"/>
                  </a:lnTo>
                  <a:lnTo>
                    <a:pt x="130" y="52"/>
                  </a:lnTo>
                  <a:lnTo>
                    <a:pt x="130" y="56"/>
                  </a:lnTo>
                  <a:lnTo>
                    <a:pt x="126" y="56"/>
                  </a:lnTo>
                  <a:lnTo>
                    <a:pt x="122" y="56"/>
                  </a:lnTo>
                  <a:lnTo>
                    <a:pt x="118" y="60"/>
                  </a:lnTo>
                  <a:lnTo>
                    <a:pt x="114" y="60"/>
                  </a:lnTo>
                  <a:lnTo>
                    <a:pt x="114" y="64"/>
                  </a:lnTo>
                  <a:lnTo>
                    <a:pt x="110" y="64"/>
                  </a:lnTo>
                  <a:lnTo>
                    <a:pt x="106" y="68"/>
                  </a:lnTo>
                  <a:lnTo>
                    <a:pt x="106" y="64"/>
                  </a:lnTo>
                  <a:lnTo>
                    <a:pt x="104" y="64"/>
                  </a:lnTo>
                  <a:lnTo>
                    <a:pt x="104" y="68"/>
                  </a:lnTo>
                  <a:lnTo>
                    <a:pt x="100" y="68"/>
                  </a:lnTo>
                  <a:lnTo>
                    <a:pt x="96" y="68"/>
                  </a:lnTo>
                  <a:lnTo>
                    <a:pt x="92" y="68"/>
                  </a:lnTo>
                  <a:lnTo>
                    <a:pt x="92" y="70"/>
                  </a:lnTo>
                  <a:lnTo>
                    <a:pt x="92" y="74"/>
                  </a:lnTo>
                  <a:lnTo>
                    <a:pt x="88" y="74"/>
                  </a:lnTo>
                  <a:lnTo>
                    <a:pt x="84" y="74"/>
                  </a:lnTo>
                  <a:lnTo>
                    <a:pt x="82" y="74"/>
                  </a:lnTo>
                  <a:lnTo>
                    <a:pt x="78" y="74"/>
                  </a:lnTo>
                  <a:lnTo>
                    <a:pt x="74" y="74"/>
                  </a:lnTo>
                  <a:lnTo>
                    <a:pt x="70" y="74"/>
                  </a:lnTo>
                  <a:lnTo>
                    <a:pt x="66" y="70"/>
                  </a:lnTo>
                  <a:lnTo>
                    <a:pt x="62" y="70"/>
                  </a:lnTo>
                  <a:lnTo>
                    <a:pt x="60" y="70"/>
                  </a:lnTo>
                  <a:lnTo>
                    <a:pt x="56" y="70"/>
                  </a:lnTo>
                  <a:lnTo>
                    <a:pt x="56" y="68"/>
                  </a:lnTo>
                  <a:lnTo>
                    <a:pt x="60" y="68"/>
                  </a:lnTo>
                  <a:lnTo>
                    <a:pt x="56" y="68"/>
                  </a:lnTo>
                  <a:lnTo>
                    <a:pt x="52" y="68"/>
                  </a:lnTo>
                  <a:lnTo>
                    <a:pt x="56" y="68"/>
                  </a:lnTo>
                  <a:lnTo>
                    <a:pt x="56" y="64"/>
                  </a:lnTo>
                  <a:lnTo>
                    <a:pt x="52" y="68"/>
                  </a:lnTo>
                  <a:lnTo>
                    <a:pt x="48" y="68"/>
                  </a:lnTo>
                  <a:lnTo>
                    <a:pt x="48" y="64"/>
                  </a:lnTo>
                  <a:lnTo>
                    <a:pt x="44" y="64"/>
                  </a:lnTo>
                  <a:lnTo>
                    <a:pt x="40" y="68"/>
                  </a:lnTo>
                  <a:lnTo>
                    <a:pt x="40" y="64"/>
                  </a:lnTo>
                  <a:lnTo>
                    <a:pt x="36" y="64"/>
                  </a:lnTo>
                  <a:lnTo>
                    <a:pt x="36" y="68"/>
                  </a:lnTo>
                  <a:lnTo>
                    <a:pt x="32" y="68"/>
                  </a:lnTo>
                  <a:lnTo>
                    <a:pt x="32" y="64"/>
                  </a:lnTo>
                  <a:lnTo>
                    <a:pt x="30" y="64"/>
                  </a:lnTo>
                  <a:lnTo>
                    <a:pt x="26" y="68"/>
                  </a:lnTo>
                  <a:lnTo>
                    <a:pt x="26" y="64"/>
                  </a:lnTo>
                  <a:lnTo>
                    <a:pt x="26" y="60"/>
                  </a:lnTo>
                  <a:lnTo>
                    <a:pt x="26" y="64"/>
                  </a:lnTo>
                  <a:lnTo>
                    <a:pt x="30" y="64"/>
                  </a:lnTo>
                  <a:lnTo>
                    <a:pt x="30" y="60"/>
                  </a:lnTo>
                  <a:lnTo>
                    <a:pt x="32" y="60"/>
                  </a:lnTo>
                  <a:lnTo>
                    <a:pt x="36" y="60"/>
                  </a:lnTo>
                  <a:lnTo>
                    <a:pt x="36" y="56"/>
                  </a:lnTo>
                  <a:lnTo>
                    <a:pt x="36" y="60"/>
                  </a:lnTo>
                  <a:lnTo>
                    <a:pt x="36" y="56"/>
                  </a:lnTo>
                  <a:lnTo>
                    <a:pt x="40" y="56"/>
                  </a:lnTo>
                  <a:lnTo>
                    <a:pt x="36" y="56"/>
                  </a:lnTo>
                  <a:lnTo>
                    <a:pt x="36" y="52"/>
                  </a:lnTo>
                  <a:lnTo>
                    <a:pt x="40" y="52"/>
                  </a:lnTo>
                  <a:lnTo>
                    <a:pt x="44" y="52"/>
                  </a:lnTo>
                  <a:lnTo>
                    <a:pt x="40" y="52"/>
                  </a:lnTo>
                  <a:lnTo>
                    <a:pt x="36" y="52"/>
                  </a:lnTo>
                  <a:lnTo>
                    <a:pt x="36" y="56"/>
                  </a:lnTo>
                  <a:lnTo>
                    <a:pt x="32" y="56"/>
                  </a:lnTo>
                  <a:lnTo>
                    <a:pt x="32" y="52"/>
                  </a:lnTo>
                  <a:lnTo>
                    <a:pt x="32" y="52"/>
                  </a:lnTo>
                  <a:lnTo>
                    <a:pt x="32" y="5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13" name="Freeform 106"/>
            <p:cNvSpPr>
              <a:spLocks noEditPoints="1"/>
            </p:cNvSpPr>
            <p:nvPr/>
          </p:nvSpPr>
          <p:spPr bwMode="auto">
            <a:xfrm>
              <a:off x="6946088" y="3488346"/>
              <a:ext cx="40191" cy="56226"/>
            </a:xfrm>
            <a:custGeom>
              <a:avLst/>
              <a:gdLst>
                <a:gd name="T0" fmla="*/ 20 w 64"/>
                <a:gd name="T1" fmla="*/ 46 h 86"/>
                <a:gd name="T2" fmla="*/ 16 w 64"/>
                <a:gd name="T3" fmla="*/ 46 h 86"/>
                <a:gd name="T4" fmla="*/ 12 w 64"/>
                <a:gd name="T5" fmla="*/ 46 h 86"/>
                <a:gd name="T6" fmla="*/ 12 w 64"/>
                <a:gd name="T7" fmla="*/ 42 h 86"/>
                <a:gd name="T8" fmla="*/ 8 w 64"/>
                <a:gd name="T9" fmla="*/ 38 h 86"/>
                <a:gd name="T10" fmla="*/ 8 w 64"/>
                <a:gd name="T11" fmla="*/ 34 h 86"/>
                <a:gd name="T12" fmla="*/ 12 w 64"/>
                <a:gd name="T13" fmla="*/ 34 h 86"/>
                <a:gd name="T14" fmla="*/ 12 w 64"/>
                <a:gd name="T15" fmla="*/ 30 h 86"/>
                <a:gd name="T16" fmla="*/ 8 w 64"/>
                <a:gd name="T17" fmla="*/ 30 h 86"/>
                <a:gd name="T18" fmla="*/ 8 w 64"/>
                <a:gd name="T19" fmla="*/ 26 h 86"/>
                <a:gd name="T20" fmla="*/ 12 w 64"/>
                <a:gd name="T21" fmla="*/ 26 h 86"/>
                <a:gd name="T22" fmla="*/ 20 w 64"/>
                <a:gd name="T23" fmla="*/ 24 h 86"/>
                <a:gd name="T24" fmla="*/ 26 w 64"/>
                <a:gd name="T25" fmla="*/ 26 h 86"/>
                <a:gd name="T26" fmla="*/ 30 w 64"/>
                <a:gd name="T27" fmla="*/ 20 h 86"/>
                <a:gd name="T28" fmla="*/ 30 w 64"/>
                <a:gd name="T29" fmla="*/ 16 h 86"/>
                <a:gd name="T30" fmla="*/ 30 w 64"/>
                <a:gd name="T31" fmla="*/ 12 h 86"/>
                <a:gd name="T32" fmla="*/ 38 w 64"/>
                <a:gd name="T33" fmla="*/ 4 h 86"/>
                <a:gd name="T34" fmla="*/ 42 w 64"/>
                <a:gd name="T35" fmla="*/ 4 h 86"/>
                <a:gd name="T36" fmla="*/ 42 w 64"/>
                <a:gd name="T37" fmla="*/ 8 h 86"/>
                <a:gd name="T38" fmla="*/ 46 w 64"/>
                <a:gd name="T39" fmla="*/ 8 h 86"/>
                <a:gd name="T40" fmla="*/ 46 w 64"/>
                <a:gd name="T41" fmla="*/ 4 h 86"/>
                <a:gd name="T42" fmla="*/ 50 w 64"/>
                <a:gd name="T43" fmla="*/ 4 h 86"/>
                <a:gd name="T44" fmla="*/ 50 w 64"/>
                <a:gd name="T45" fmla="*/ 8 h 86"/>
                <a:gd name="T46" fmla="*/ 42 w 64"/>
                <a:gd name="T47" fmla="*/ 16 h 86"/>
                <a:gd name="T48" fmla="*/ 38 w 64"/>
                <a:gd name="T49" fmla="*/ 20 h 86"/>
                <a:gd name="T50" fmla="*/ 38 w 64"/>
                <a:gd name="T51" fmla="*/ 24 h 86"/>
                <a:gd name="T52" fmla="*/ 46 w 64"/>
                <a:gd name="T53" fmla="*/ 26 h 86"/>
                <a:gd name="T54" fmla="*/ 54 w 64"/>
                <a:gd name="T55" fmla="*/ 24 h 86"/>
                <a:gd name="T56" fmla="*/ 60 w 64"/>
                <a:gd name="T57" fmla="*/ 30 h 86"/>
                <a:gd name="T58" fmla="*/ 64 w 64"/>
                <a:gd name="T59" fmla="*/ 30 h 86"/>
                <a:gd name="T60" fmla="*/ 60 w 64"/>
                <a:gd name="T61" fmla="*/ 38 h 86"/>
                <a:gd name="T62" fmla="*/ 64 w 64"/>
                <a:gd name="T63" fmla="*/ 46 h 86"/>
                <a:gd name="T64" fmla="*/ 64 w 64"/>
                <a:gd name="T65" fmla="*/ 50 h 86"/>
                <a:gd name="T66" fmla="*/ 60 w 64"/>
                <a:gd name="T67" fmla="*/ 60 h 86"/>
                <a:gd name="T68" fmla="*/ 60 w 64"/>
                <a:gd name="T69" fmla="*/ 68 h 86"/>
                <a:gd name="T70" fmla="*/ 54 w 64"/>
                <a:gd name="T71" fmla="*/ 72 h 86"/>
                <a:gd name="T72" fmla="*/ 54 w 64"/>
                <a:gd name="T73" fmla="*/ 68 h 86"/>
                <a:gd name="T74" fmla="*/ 46 w 64"/>
                <a:gd name="T75" fmla="*/ 72 h 86"/>
                <a:gd name="T76" fmla="*/ 38 w 64"/>
                <a:gd name="T77" fmla="*/ 76 h 86"/>
                <a:gd name="T78" fmla="*/ 30 w 64"/>
                <a:gd name="T79" fmla="*/ 76 h 86"/>
                <a:gd name="T80" fmla="*/ 30 w 64"/>
                <a:gd name="T81" fmla="*/ 82 h 86"/>
                <a:gd name="T82" fmla="*/ 20 w 64"/>
                <a:gd name="T83" fmla="*/ 82 h 86"/>
                <a:gd name="T84" fmla="*/ 12 w 64"/>
                <a:gd name="T85" fmla="*/ 86 h 86"/>
                <a:gd name="T86" fmla="*/ 12 w 64"/>
                <a:gd name="T87" fmla="*/ 82 h 86"/>
                <a:gd name="T88" fmla="*/ 8 w 64"/>
                <a:gd name="T89" fmla="*/ 82 h 86"/>
                <a:gd name="T90" fmla="*/ 16 w 64"/>
                <a:gd name="T91" fmla="*/ 76 h 86"/>
                <a:gd name="T92" fmla="*/ 4 w 64"/>
                <a:gd name="T93" fmla="*/ 78 h 86"/>
                <a:gd name="T94" fmla="*/ 4 w 64"/>
                <a:gd name="T95" fmla="*/ 76 h 86"/>
                <a:gd name="T96" fmla="*/ 8 w 64"/>
                <a:gd name="T97" fmla="*/ 72 h 86"/>
                <a:gd name="T98" fmla="*/ 0 w 64"/>
                <a:gd name="T99" fmla="*/ 68 h 86"/>
                <a:gd name="T100" fmla="*/ 12 w 64"/>
                <a:gd name="T101" fmla="*/ 68 h 86"/>
                <a:gd name="T102" fmla="*/ 16 w 64"/>
                <a:gd name="T103" fmla="*/ 60 h 86"/>
                <a:gd name="T104" fmla="*/ 26 w 64"/>
                <a:gd name="T105" fmla="*/ 60 h 86"/>
                <a:gd name="T106" fmla="*/ 24 w 64"/>
                <a:gd name="T107" fmla="*/ 60 h 86"/>
                <a:gd name="T108" fmla="*/ 12 w 64"/>
                <a:gd name="T109" fmla="*/ 60 h 86"/>
                <a:gd name="T110" fmla="*/ 16 w 64"/>
                <a:gd name="T111" fmla="*/ 56 h 86"/>
                <a:gd name="T112" fmla="*/ 24 w 64"/>
                <a:gd name="T113" fmla="*/ 50 h 86"/>
                <a:gd name="T114" fmla="*/ 8 w 64"/>
                <a:gd name="T115" fmla="*/ 30 h 86"/>
                <a:gd name="T116" fmla="*/ 4 w 64"/>
                <a:gd name="T117" fmla="*/ 30 h 86"/>
                <a:gd name="T118" fmla="*/ 8 w 64"/>
                <a:gd name="T119" fmla="*/ 3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86">
                  <a:moveTo>
                    <a:pt x="24" y="50"/>
                  </a:moveTo>
                  <a:lnTo>
                    <a:pt x="24" y="46"/>
                  </a:lnTo>
                  <a:lnTo>
                    <a:pt x="20" y="46"/>
                  </a:lnTo>
                  <a:lnTo>
                    <a:pt x="16" y="46"/>
                  </a:lnTo>
                  <a:lnTo>
                    <a:pt x="16" y="50"/>
                  </a:lnTo>
                  <a:lnTo>
                    <a:pt x="16" y="46"/>
                  </a:lnTo>
                  <a:lnTo>
                    <a:pt x="12" y="46"/>
                  </a:lnTo>
                  <a:lnTo>
                    <a:pt x="16" y="46"/>
                  </a:lnTo>
                  <a:lnTo>
                    <a:pt x="12" y="46"/>
                  </a:lnTo>
                  <a:lnTo>
                    <a:pt x="8" y="46"/>
                  </a:lnTo>
                  <a:lnTo>
                    <a:pt x="12" y="46"/>
                  </a:lnTo>
                  <a:lnTo>
                    <a:pt x="12" y="42"/>
                  </a:lnTo>
                  <a:lnTo>
                    <a:pt x="8" y="46"/>
                  </a:lnTo>
                  <a:lnTo>
                    <a:pt x="4" y="42"/>
                  </a:lnTo>
                  <a:lnTo>
                    <a:pt x="8" y="38"/>
                  </a:lnTo>
                  <a:lnTo>
                    <a:pt x="12" y="38"/>
                  </a:lnTo>
                  <a:lnTo>
                    <a:pt x="8" y="38"/>
                  </a:lnTo>
                  <a:lnTo>
                    <a:pt x="8" y="34"/>
                  </a:lnTo>
                  <a:lnTo>
                    <a:pt x="12" y="34"/>
                  </a:lnTo>
                  <a:lnTo>
                    <a:pt x="16" y="34"/>
                  </a:lnTo>
                  <a:lnTo>
                    <a:pt x="12" y="34"/>
                  </a:lnTo>
                  <a:lnTo>
                    <a:pt x="8" y="34"/>
                  </a:lnTo>
                  <a:lnTo>
                    <a:pt x="8" y="30"/>
                  </a:lnTo>
                  <a:lnTo>
                    <a:pt x="12" y="30"/>
                  </a:lnTo>
                  <a:lnTo>
                    <a:pt x="12" y="34"/>
                  </a:lnTo>
                  <a:lnTo>
                    <a:pt x="12" y="30"/>
                  </a:lnTo>
                  <a:lnTo>
                    <a:pt x="8" y="30"/>
                  </a:lnTo>
                  <a:lnTo>
                    <a:pt x="8" y="26"/>
                  </a:lnTo>
                  <a:lnTo>
                    <a:pt x="8" y="30"/>
                  </a:lnTo>
                  <a:lnTo>
                    <a:pt x="8" y="26"/>
                  </a:lnTo>
                  <a:lnTo>
                    <a:pt x="8" y="24"/>
                  </a:lnTo>
                  <a:lnTo>
                    <a:pt x="8" y="26"/>
                  </a:lnTo>
                  <a:lnTo>
                    <a:pt x="12" y="26"/>
                  </a:lnTo>
                  <a:lnTo>
                    <a:pt x="12" y="24"/>
                  </a:lnTo>
                  <a:lnTo>
                    <a:pt x="16" y="24"/>
                  </a:lnTo>
                  <a:lnTo>
                    <a:pt x="20" y="24"/>
                  </a:lnTo>
                  <a:lnTo>
                    <a:pt x="20" y="26"/>
                  </a:lnTo>
                  <a:lnTo>
                    <a:pt x="24" y="24"/>
                  </a:lnTo>
                  <a:lnTo>
                    <a:pt x="26" y="26"/>
                  </a:lnTo>
                  <a:lnTo>
                    <a:pt x="30" y="24"/>
                  </a:lnTo>
                  <a:lnTo>
                    <a:pt x="26" y="24"/>
                  </a:lnTo>
                  <a:lnTo>
                    <a:pt x="30" y="20"/>
                  </a:lnTo>
                  <a:lnTo>
                    <a:pt x="34" y="20"/>
                  </a:lnTo>
                  <a:lnTo>
                    <a:pt x="34" y="16"/>
                  </a:lnTo>
                  <a:lnTo>
                    <a:pt x="30" y="16"/>
                  </a:lnTo>
                  <a:lnTo>
                    <a:pt x="26" y="20"/>
                  </a:lnTo>
                  <a:lnTo>
                    <a:pt x="26" y="16"/>
                  </a:lnTo>
                  <a:lnTo>
                    <a:pt x="30" y="12"/>
                  </a:lnTo>
                  <a:lnTo>
                    <a:pt x="30" y="8"/>
                  </a:lnTo>
                  <a:lnTo>
                    <a:pt x="34" y="4"/>
                  </a:lnTo>
                  <a:lnTo>
                    <a:pt x="38" y="4"/>
                  </a:lnTo>
                  <a:lnTo>
                    <a:pt x="42" y="4"/>
                  </a:lnTo>
                  <a:lnTo>
                    <a:pt x="42" y="8"/>
                  </a:lnTo>
                  <a:lnTo>
                    <a:pt x="42" y="4"/>
                  </a:lnTo>
                  <a:lnTo>
                    <a:pt x="38" y="4"/>
                  </a:lnTo>
                  <a:lnTo>
                    <a:pt x="42" y="4"/>
                  </a:lnTo>
                  <a:lnTo>
                    <a:pt x="42" y="8"/>
                  </a:lnTo>
                  <a:lnTo>
                    <a:pt x="42" y="12"/>
                  </a:lnTo>
                  <a:lnTo>
                    <a:pt x="42" y="8"/>
                  </a:lnTo>
                  <a:lnTo>
                    <a:pt x="46" y="8"/>
                  </a:lnTo>
                  <a:lnTo>
                    <a:pt x="46" y="4"/>
                  </a:lnTo>
                  <a:lnTo>
                    <a:pt x="42" y="4"/>
                  </a:lnTo>
                  <a:lnTo>
                    <a:pt x="46" y="4"/>
                  </a:lnTo>
                  <a:lnTo>
                    <a:pt x="46" y="0"/>
                  </a:lnTo>
                  <a:lnTo>
                    <a:pt x="50" y="0"/>
                  </a:lnTo>
                  <a:lnTo>
                    <a:pt x="50" y="4"/>
                  </a:lnTo>
                  <a:lnTo>
                    <a:pt x="54" y="4"/>
                  </a:lnTo>
                  <a:lnTo>
                    <a:pt x="50" y="4"/>
                  </a:lnTo>
                  <a:lnTo>
                    <a:pt x="50" y="8"/>
                  </a:lnTo>
                  <a:lnTo>
                    <a:pt x="46" y="8"/>
                  </a:lnTo>
                  <a:lnTo>
                    <a:pt x="46" y="12"/>
                  </a:lnTo>
                  <a:lnTo>
                    <a:pt x="42" y="16"/>
                  </a:lnTo>
                  <a:lnTo>
                    <a:pt x="38" y="16"/>
                  </a:lnTo>
                  <a:lnTo>
                    <a:pt x="42" y="20"/>
                  </a:lnTo>
                  <a:lnTo>
                    <a:pt x="38" y="20"/>
                  </a:lnTo>
                  <a:lnTo>
                    <a:pt x="34" y="20"/>
                  </a:lnTo>
                  <a:lnTo>
                    <a:pt x="34" y="24"/>
                  </a:lnTo>
                  <a:lnTo>
                    <a:pt x="38" y="24"/>
                  </a:lnTo>
                  <a:lnTo>
                    <a:pt x="38" y="26"/>
                  </a:lnTo>
                  <a:lnTo>
                    <a:pt x="42" y="26"/>
                  </a:lnTo>
                  <a:lnTo>
                    <a:pt x="46" y="26"/>
                  </a:lnTo>
                  <a:lnTo>
                    <a:pt x="50" y="26"/>
                  </a:lnTo>
                  <a:lnTo>
                    <a:pt x="50" y="24"/>
                  </a:lnTo>
                  <a:lnTo>
                    <a:pt x="54" y="24"/>
                  </a:lnTo>
                  <a:lnTo>
                    <a:pt x="54" y="26"/>
                  </a:lnTo>
                  <a:lnTo>
                    <a:pt x="56" y="30"/>
                  </a:lnTo>
                  <a:lnTo>
                    <a:pt x="60" y="30"/>
                  </a:lnTo>
                  <a:lnTo>
                    <a:pt x="60" y="26"/>
                  </a:lnTo>
                  <a:lnTo>
                    <a:pt x="60" y="30"/>
                  </a:lnTo>
                  <a:lnTo>
                    <a:pt x="64" y="30"/>
                  </a:lnTo>
                  <a:lnTo>
                    <a:pt x="60" y="30"/>
                  </a:lnTo>
                  <a:lnTo>
                    <a:pt x="60" y="34"/>
                  </a:lnTo>
                  <a:lnTo>
                    <a:pt x="60" y="38"/>
                  </a:lnTo>
                  <a:lnTo>
                    <a:pt x="64" y="38"/>
                  </a:lnTo>
                  <a:lnTo>
                    <a:pt x="64" y="42"/>
                  </a:lnTo>
                  <a:lnTo>
                    <a:pt x="64" y="46"/>
                  </a:lnTo>
                  <a:lnTo>
                    <a:pt x="60" y="46"/>
                  </a:lnTo>
                  <a:lnTo>
                    <a:pt x="64" y="46"/>
                  </a:lnTo>
                  <a:lnTo>
                    <a:pt x="64" y="50"/>
                  </a:lnTo>
                  <a:lnTo>
                    <a:pt x="64" y="52"/>
                  </a:lnTo>
                  <a:lnTo>
                    <a:pt x="64" y="56"/>
                  </a:lnTo>
                  <a:lnTo>
                    <a:pt x="60" y="60"/>
                  </a:lnTo>
                  <a:lnTo>
                    <a:pt x="60" y="64"/>
                  </a:lnTo>
                  <a:lnTo>
                    <a:pt x="56" y="64"/>
                  </a:lnTo>
                  <a:lnTo>
                    <a:pt x="60" y="68"/>
                  </a:lnTo>
                  <a:lnTo>
                    <a:pt x="56" y="68"/>
                  </a:lnTo>
                  <a:lnTo>
                    <a:pt x="54" y="68"/>
                  </a:lnTo>
                  <a:lnTo>
                    <a:pt x="54" y="72"/>
                  </a:lnTo>
                  <a:lnTo>
                    <a:pt x="54" y="68"/>
                  </a:lnTo>
                  <a:lnTo>
                    <a:pt x="50" y="68"/>
                  </a:lnTo>
                  <a:lnTo>
                    <a:pt x="54" y="68"/>
                  </a:lnTo>
                  <a:lnTo>
                    <a:pt x="54" y="72"/>
                  </a:lnTo>
                  <a:lnTo>
                    <a:pt x="50" y="72"/>
                  </a:lnTo>
                  <a:lnTo>
                    <a:pt x="46" y="72"/>
                  </a:lnTo>
                  <a:lnTo>
                    <a:pt x="42" y="72"/>
                  </a:lnTo>
                  <a:lnTo>
                    <a:pt x="42" y="76"/>
                  </a:lnTo>
                  <a:lnTo>
                    <a:pt x="38" y="76"/>
                  </a:lnTo>
                  <a:lnTo>
                    <a:pt x="34" y="78"/>
                  </a:lnTo>
                  <a:lnTo>
                    <a:pt x="34" y="76"/>
                  </a:lnTo>
                  <a:lnTo>
                    <a:pt x="30" y="76"/>
                  </a:lnTo>
                  <a:lnTo>
                    <a:pt x="34" y="78"/>
                  </a:lnTo>
                  <a:lnTo>
                    <a:pt x="30" y="78"/>
                  </a:lnTo>
                  <a:lnTo>
                    <a:pt x="30" y="82"/>
                  </a:lnTo>
                  <a:lnTo>
                    <a:pt x="26" y="82"/>
                  </a:lnTo>
                  <a:lnTo>
                    <a:pt x="24" y="82"/>
                  </a:lnTo>
                  <a:lnTo>
                    <a:pt x="20" y="82"/>
                  </a:lnTo>
                  <a:lnTo>
                    <a:pt x="16" y="82"/>
                  </a:lnTo>
                  <a:lnTo>
                    <a:pt x="12" y="82"/>
                  </a:lnTo>
                  <a:lnTo>
                    <a:pt x="12" y="86"/>
                  </a:lnTo>
                  <a:lnTo>
                    <a:pt x="12" y="82"/>
                  </a:lnTo>
                  <a:lnTo>
                    <a:pt x="16" y="82"/>
                  </a:lnTo>
                  <a:lnTo>
                    <a:pt x="12" y="82"/>
                  </a:lnTo>
                  <a:lnTo>
                    <a:pt x="16" y="78"/>
                  </a:lnTo>
                  <a:lnTo>
                    <a:pt x="12" y="78"/>
                  </a:lnTo>
                  <a:lnTo>
                    <a:pt x="8" y="82"/>
                  </a:lnTo>
                  <a:lnTo>
                    <a:pt x="8" y="78"/>
                  </a:lnTo>
                  <a:lnTo>
                    <a:pt x="12" y="78"/>
                  </a:lnTo>
                  <a:lnTo>
                    <a:pt x="16" y="76"/>
                  </a:lnTo>
                  <a:lnTo>
                    <a:pt x="12" y="76"/>
                  </a:lnTo>
                  <a:lnTo>
                    <a:pt x="8" y="78"/>
                  </a:lnTo>
                  <a:lnTo>
                    <a:pt x="4" y="78"/>
                  </a:lnTo>
                  <a:lnTo>
                    <a:pt x="4" y="76"/>
                  </a:lnTo>
                  <a:lnTo>
                    <a:pt x="4" y="78"/>
                  </a:lnTo>
                  <a:lnTo>
                    <a:pt x="4" y="76"/>
                  </a:lnTo>
                  <a:lnTo>
                    <a:pt x="8" y="72"/>
                  </a:lnTo>
                  <a:lnTo>
                    <a:pt x="12" y="72"/>
                  </a:lnTo>
                  <a:lnTo>
                    <a:pt x="8" y="72"/>
                  </a:lnTo>
                  <a:lnTo>
                    <a:pt x="4" y="72"/>
                  </a:lnTo>
                  <a:lnTo>
                    <a:pt x="0" y="72"/>
                  </a:lnTo>
                  <a:lnTo>
                    <a:pt x="0" y="68"/>
                  </a:lnTo>
                  <a:lnTo>
                    <a:pt x="4" y="68"/>
                  </a:lnTo>
                  <a:lnTo>
                    <a:pt x="8" y="68"/>
                  </a:lnTo>
                  <a:lnTo>
                    <a:pt x="12" y="68"/>
                  </a:lnTo>
                  <a:lnTo>
                    <a:pt x="12" y="64"/>
                  </a:lnTo>
                  <a:lnTo>
                    <a:pt x="12" y="60"/>
                  </a:lnTo>
                  <a:lnTo>
                    <a:pt x="16" y="60"/>
                  </a:lnTo>
                  <a:lnTo>
                    <a:pt x="20" y="60"/>
                  </a:lnTo>
                  <a:lnTo>
                    <a:pt x="24" y="60"/>
                  </a:lnTo>
                  <a:lnTo>
                    <a:pt x="26" y="60"/>
                  </a:lnTo>
                  <a:lnTo>
                    <a:pt x="24" y="60"/>
                  </a:lnTo>
                  <a:lnTo>
                    <a:pt x="24" y="56"/>
                  </a:lnTo>
                  <a:lnTo>
                    <a:pt x="24" y="60"/>
                  </a:lnTo>
                  <a:lnTo>
                    <a:pt x="20" y="60"/>
                  </a:lnTo>
                  <a:lnTo>
                    <a:pt x="16" y="60"/>
                  </a:lnTo>
                  <a:lnTo>
                    <a:pt x="12" y="60"/>
                  </a:lnTo>
                  <a:lnTo>
                    <a:pt x="8" y="60"/>
                  </a:lnTo>
                  <a:lnTo>
                    <a:pt x="12" y="60"/>
                  </a:lnTo>
                  <a:lnTo>
                    <a:pt x="16" y="56"/>
                  </a:lnTo>
                  <a:lnTo>
                    <a:pt x="16" y="52"/>
                  </a:lnTo>
                  <a:lnTo>
                    <a:pt x="20" y="50"/>
                  </a:lnTo>
                  <a:lnTo>
                    <a:pt x="24" y="50"/>
                  </a:lnTo>
                  <a:lnTo>
                    <a:pt x="24" y="50"/>
                  </a:lnTo>
                  <a:lnTo>
                    <a:pt x="24" y="50"/>
                  </a:lnTo>
                  <a:close/>
                  <a:moveTo>
                    <a:pt x="8" y="30"/>
                  </a:moveTo>
                  <a:lnTo>
                    <a:pt x="8" y="34"/>
                  </a:lnTo>
                  <a:lnTo>
                    <a:pt x="8" y="30"/>
                  </a:lnTo>
                  <a:lnTo>
                    <a:pt x="4" y="30"/>
                  </a:lnTo>
                  <a:lnTo>
                    <a:pt x="8" y="30"/>
                  </a:lnTo>
                  <a:lnTo>
                    <a:pt x="8" y="30"/>
                  </a:lnTo>
                  <a:lnTo>
                    <a:pt x="8" y="3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14" name="Freeform 107"/>
            <p:cNvSpPr>
              <a:spLocks/>
            </p:cNvSpPr>
            <p:nvPr/>
          </p:nvSpPr>
          <p:spPr bwMode="auto">
            <a:xfrm>
              <a:off x="6997582" y="3504037"/>
              <a:ext cx="5024" cy="3923"/>
            </a:xfrm>
            <a:custGeom>
              <a:avLst/>
              <a:gdLst>
                <a:gd name="T0" fmla="*/ 0 w 8"/>
                <a:gd name="T1" fmla="*/ 6 h 6"/>
                <a:gd name="T2" fmla="*/ 0 w 8"/>
                <a:gd name="T3" fmla="*/ 6 h 6"/>
                <a:gd name="T4" fmla="*/ 0 w 8"/>
                <a:gd name="T5" fmla="*/ 2 h 6"/>
                <a:gd name="T6" fmla="*/ 0 w 8"/>
                <a:gd name="T7" fmla="*/ 2 h 6"/>
                <a:gd name="T8" fmla="*/ 0 w 8"/>
                <a:gd name="T9" fmla="*/ 2 h 6"/>
                <a:gd name="T10" fmla="*/ 0 w 8"/>
                <a:gd name="T11" fmla="*/ 2 h 6"/>
                <a:gd name="T12" fmla="*/ 4 w 8"/>
                <a:gd name="T13" fmla="*/ 0 h 6"/>
                <a:gd name="T14" fmla="*/ 4 w 8"/>
                <a:gd name="T15" fmla="*/ 0 h 6"/>
                <a:gd name="T16" fmla="*/ 4 w 8"/>
                <a:gd name="T17" fmla="*/ 0 h 6"/>
                <a:gd name="T18" fmla="*/ 4 w 8"/>
                <a:gd name="T19" fmla="*/ 0 h 6"/>
                <a:gd name="T20" fmla="*/ 4 w 8"/>
                <a:gd name="T21" fmla="*/ 0 h 6"/>
                <a:gd name="T22" fmla="*/ 4 w 8"/>
                <a:gd name="T23" fmla="*/ 0 h 6"/>
                <a:gd name="T24" fmla="*/ 4 w 8"/>
                <a:gd name="T25" fmla="*/ 0 h 6"/>
                <a:gd name="T26" fmla="*/ 4 w 8"/>
                <a:gd name="T27" fmla="*/ 0 h 6"/>
                <a:gd name="T28" fmla="*/ 4 w 8"/>
                <a:gd name="T29" fmla="*/ 0 h 6"/>
                <a:gd name="T30" fmla="*/ 4 w 8"/>
                <a:gd name="T31" fmla="*/ 0 h 6"/>
                <a:gd name="T32" fmla="*/ 4 w 8"/>
                <a:gd name="T33" fmla="*/ 0 h 6"/>
                <a:gd name="T34" fmla="*/ 8 w 8"/>
                <a:gd name="T35" fmla="*/ 0 h 6"/>
                <a:gd name="T36" fmla="*/ 8 w 8"/>
                <a:gd name="T37" fmla="*/ 0 h 6"/>
                <a:gd name="T38" fmla="*/ 4 w 8"/>
                <a:gd name="T39" fmla="*/ 2 h 6"/>
                <a:gd name="T40" fmla="*/ 4 w 8"/>
                <a:gd name="T41" fmla="*/ 2 h 6"/>
                <a:gd name="T42" fmla="*/ 4 w 8"/>
                <a:gd name="T43" fmla="*/ 2 h 6"/>
                <a:gd name="T44" fmla="*/ 4 w 8"/>
                <a:gd name="T45" fmla="*/ 2 h 6"/>
                <a:gd name="T46" fmla="*/ 4 w 8"/>
                <a:gd name="T47" fmla="*/ 2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0 w 8"/>
                <a:gd name="T6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 h="6">
                  <a:moveTo>
                    <a:pt x="0" y="6"/>
                  </a:moveTo>
                  <a:lnTo>
                    <a:pt x="0" y="6"/>
                  </a:lnTo>
                  <a:lnTo>
                    <a:pt x="0" y="2"/>
                  </a:lnTo>
                  <a:lnTo>
                    <a:pt x="0" y="2"/>
                  </a:lnTo>
                  <a:lnTo>
                    <a:pt x="0" y="2"/>
                  </a:lnTo>
                  <a:lnTo>
                    <a:pt x="0"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4" y="2"/>
                  </a:lnTo>
                  <a:lnTo>
                    <a:pt x="4" y="2"/>
                  </a:lnTo>
                  <a:lnTo>
                    <a:pt x="4" y="2"/>
                  </a:lnTo>
                  <a:lnTo>
                    <a:pt x="4" y="2"/>
                  </a:lnTo>
                  <a:lnTo>
                    <a:pt x="4" y="2"/>
                  </a:lnTo>
                  <a:lnTo>
                    <a:pt x="0" y="6"/>
                  </a:lnTo>
                  <a:lnTo>
                    <a:pt x="0" y="6"/>
                  </a:lnTo>
                  <a:lnTo>
                    <a:pt x="0" y="6"/>
                  </a:lnTo>
                  <a:lnTo>
                    <a:pt x="0" y="6"/>
                  </a:lnTo>
                  <a:lnTo>
                    <a:pt x="0" y="6"/>
                  </a:lnTo>
                  <a:lnTo>
                    <a:pt x="0" y="6"/>
                  </a:lnTo>
                  <a:lnTo>
                    <a:pt x="0" y="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15" name="Freeform 108"/>
            <p:cNvSpPr>
              <a:spLocks noEditPoints="1"/>
            </p:cNvSpPr>
            <p:nvPr/>
          </p:nvSpPr>
          <p:spPr bwMode="auto">
            <a:xfrm>
              <a:off x="7098059" y="3603413"/>
              <a:ext cx="105501" cy="134681"/>
            </a:xfrm>
            <a:custGeom>
              <a:avLst/>
              <a:gdLst>
                <a:gd name="T0" fmla="*/ 98 w 168"/>
                <a:gd name="T1" fmla="*/ 72 h 206"/>
                <a:gd name="T2" fmla="*/ 106 w 168"/>
                <a:gd name="T3" fmla="*/ 90 h 206"/>
                <a:gd name="T4" fmla="*/ 124 w 168"/>
                <a:gd name="T5" fmla="*/ 100 h 206"/>
                <a:gd name="T6" fmla="*/ 136 w 168"/>
                <a:gd name="T7" fmla="*/ 108 h 206"/>
                <a:gd name="T8" fmla="*/ 150 w 168"/>
                <a:gd name="T9" fmla="*/ 120 h 206"/>
                <a:gd name="T10" fmla="*/ 166 w 168"/>
                <a:gd name="T11" fmla="*/ 130 h 206"/>
                <a:gd name="T12" fmla="*/ 166 w 168"/>
                <a:gd name="T13" fmla="*/ 142 h 206"/>
                <a:gd name="T14" fmla="*/ 150 w 168"/>
                <a:gd name="T15" fmla="*/ 130 h 206"/>
                <a:gd name="T16" fmla="*/ 142 w 168"/>
                <a:gd name="T17" fmla="*/ 142 h 206"/>
                <a:gd name="T18" fmla="*/ 150 w 168"/>
                <a:gd name="T19" fmla="*/ 156 h 206"/>
                <a:gd name="T20" fmla="*/ 142 w 168"/>
                <a:gd name="T21" fmla="*/ 172 h 206"/>
                <a:gd name="T22" fmla="*/ 128 w 168"/>
                <a:gd name="T23" fmla="*/ 176 h 206"/>
                <a:gd name="T24" fmla="*/ 138 w 168"/>
                <a:gd name="T25" fmla="*/ 160 h 206"/>
                <a:gd name="T26" fmla="*/ 132 w 168"/>
                <a:gd name="T27" fmla="*/ 146 h 206"/>
                <a:gd name="T28" fmla="*/ 120 w 168"/>
                <a:gd name="T29" fmla="*/ 130 h 206"/>
                <a:gd name="T30" fmla="*/ 106 w 168"/>
                <a:gd name="T31" fmla="*/ 116 h 206"/>
                <a:gd name="T32" fmla="*/ 86 w 168"/>
                <a:gd name="T33" fmla="*/ 112 h 206"/>
                <a:gd name="T34" fmla="*/ 76 w 168"/>
                <a:gd name="T35" fmla="*/ 96 h 206"/>
                <a:gd name="T36" fmla="*/ 64 w 168"/>
                <a:gd name="T37" fmla="*/ 86 h 206"/>
                <a:gd name="T38" fmla="*/ 54 w 168"/>
                <a:gd name="T39" fmla="*/ 72 h 206"/>
                <a:gd name="T40" fmla="*/ 38 w 168"/>
                <a:gd name="T41" fmla="*/ 56 h 206"/>
                <a:gd name="T42" fmla="*/ 20 w 168"/>
                <a:gd name="T43" fmla="*/ 64 h 206"/>
                <a:gd name="T44" fmla="*/ 16 w 168"/>
                <a:gd name="T45" fmla="*/ 60 h 206"/>
                <a:gd name="T46" fmla="*/ 4 w 168"/>
                <a:gd name="T47" fmla="*/ 52 h 206"/>
                <a:gd name="T48" fmla="*/ 4 w 168"/>
                <a:gd name="T49" fmla="*/ 38 h 206"/>
                <a:gd name="T50" fmla="*/ 4 w 168"/>
                <a:gd name="T51" fmla="*/ 24 h 206"/>
                <a:gd name="T52" fmla="*/ 24 w 168"/>
                <a:gd name="T53" fmla="*/ 16 h 206"/>
                <a:gd name="T54" fmla="*/ 34 w 168"/>
                <a:gd name="T55" fmla="*/ 24 h 206"/>
                <a:gd name="T56" fmla="*/ 38 w 168"/>
                <a:gd name="T57" fmla="*/ 12 h 206"/>
                <a:gd name="T58" fmla="*/ 50 w 168"/>
                <a:gd name="T59" fmla="*/ 12 h 206"/>
                <a:gd name="T60" fmla="*/ 56 w 168"/>
                <a:gd name="T61" fmla="*/ 4 h 206"/>
                <a:gd name="T62" fmla="*/ 76 w 168"/>
                <a:gd name="T63" fmla="*/ 0 h 206"/>
                <a:gd name="T64" fmla="*/ 90 w 168"/>
                <a:gd name="T65" fmla="*/ 8 h 206"/>
                <a:gd name="T66" fmla="*/ 98 w 168"/>
                <a:gd name="T67" fmla="*/ 16 h 206"/>
                <a:gd name="T68" fmla="*/ 102 w 168"/>
                <a:gd name="T69" fmla="*/ 26 h 206"/>
                <a:gd name="T70" fmla="*/ 94 w 168"/>
                <a:gd name="T71" fmla="*/ 26 h 206"/>
                <a:gd name="T72" fmla="*/ 86 w 168"/>
                <a:gd name="T73" fmla="*/ 30 h 206"/>
                <a:gd name="T74" fmla="*/ 86 w 168"/>
                <a:gd name="T75" fmla="*/ 42 h 206"/>
                <a:gd name="T76" fmla="*/ 86 w 168"/>
                <a:gd name="T77" fmla="*/ 60 h 206"/>
                <a:gd name="T78" fmla="*/ 82 w 168"/>
                <a:gd name="T79" fmla="*/ 100 h 206"/>
                <a:gd name="T80" fmla="*/ 82 w 168"/>
                <a:gd name="T81" fmla="*/ 64 h 206"/>
                <a:gd name="T82" fmla="*/ 54 w 168"/>
                <a:gd name="T83" fmla="*/ 82 h 206"/>
                <a:gd name="T84" fmla="*/ 26 w 168"/>
                <a:gd name="T85" fmla="*/ 150 h 206"/>
                <a:gd name="T86" fmla="*/ 26 w 168"/>
                <a:gd name="T87" fmla="*/ 126 h 206"/>
                <a:gd name="T88" fmla="*/ 38 w 168"/>
                <a:gd name="T89" fmla="*/ 116 h 206"/>
                <a:gd name="T90" fmla="*/ 46 w 168"/>
                <a:gd name="T91" fmla="*/ 126 h 206"/>
                <a:gd name="T92" fmla="*/ 46 w 168"/>
                <a:gd name="T93" fmla="*/ 150 h 206"/>
                <a:gd name="T94" fmla="*/ 34 w 168"/>
                <a:gd name="T95" fmla="*/ 160 h 206"/>
                <a:gd name="T96" fmla="*/ 26 w 168"/>
                <a:gd name="T97" fmla="*/ 152 h 206"/>
                <a:gd name="T98" fmla="*/ 112 w 168"/>
                <a:gd name="T99" fmla="*/ 198 h 206"/>
                <a:gd name="T100" fmla="*/ 94 w 168"/>
                <a:gd name="T101" fmla="*/ 190 h 206"/>
                <a:gd name="T102" fmla="*/ 82 w 168"/>
                <a:gd name="T103" fmla="*/ 178 h 206"/>
                <a:gd name="T104" fmla="*/ 98 w 168"/>
                <a:gd name="T105" fmla="*/ 176 h 206"/>
                <a:gd name="T106" fmla="*/ 120 w 168"/>
                <a:gd name="T107" fmla="*/ 176 h 206"/>
                <a:gd name="T108" fmla="*/ 124 w 168"/>
                <a:gd name="T109" fmla="*/ 182 h 206"/>
                <a:gd name="T110" fmla="*/ 120 w 168"/>
                <a:gd name="T111" fmla="*/ 198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206">
                  <a:moveTo>
                    <a:pt x="86" y="64"/>
                  </a:moveTo>
                  <a:lnTo>
                    <a:pt x="90" y="64"/>
                  </a:lnTo>
                  <a:lnTo>
                    <a:pt x="94" y="64"/>
                  </a:lnTo>
                  <a:lnTo>
                    <a:pt x="94" y="68"/>
                  </a:lnTo>
                  <a:lnTo>
                    <a:pt x="98" y="68"/>
                  </a:lnTo>
                  <a:lnTo>
                    <a:pt x="98" y="72"/>
                  </a:lnTo>
                  <a:lnTo>
                    <a:pt x="102" y="72"/>
                  </a:lnTo>
                  <a:lnTo>
                    <a:pt x="102" y="76"/>
                  </a:lnTo>
                  <a:lnTo>
                    <a:pt x="106" y="80"/>
                  </a:lnTo>
                  <a:lnTo>
                    <a:pt x="106" y="82"/>
                  </a:lnTo>
                  <a:lnTo>
                    <a:pt x="106" y="86"/>
                  </a:lnTo>
                  <a:lnTo>
                    <a:pt x="106" y="90"/>
                  </a:lnTo>
                  <a:lnTo>
                    <a:pt x="110" y="90"/>
                  </a:lnTo>
                  <a:lnTo>
                    <a:pt x="112" y="96"/>
                  </a:lnTo>
                  <a:lnTo>
                    <a:pt x="116" y="96"/>
                  </a:lnTo>
                  <a:lnTo>
                    <a:pt x="116" y="100"/>
                  </a:lnTo>
                  <a:lnTo>
                    <a:pt x="120" y="100"/>
                  </a:lnTo>
                  <a:lnTo>
                    <a:pt x="124" y="100"/>
                  </a:lnTo>
                  <a:lnTo>
                    <a:pt x="124" y="104"/>
                  </a:lnTo>
                  <a:lnTo>
                    <a:pt x="128" y="100"/>
                  </a:lnTo>
                  <a:lnTo>
                    <a:pt x="132" y="100"/>
                  </a:lnTo>
                  <a:lnTo>
                    <a:pt x="136" y="100"/>
                  </a:lnTo>
                  <a:lnTo>
                    <a:pt x="136" y="104"/>
                  </a:lnTo>
                  <a:lnTo>
                    <a:pt x="136" y="108"/>
                  </a:lnTo>
                  <a:lnTo>
                    <a:pt x="132" y="108"/>
                  </a:lnTo>
                  <a:lnTo>
                    <a:pt x="132" y="112"/>
                  </a:lnTo>
                  <a:lnTo>
                    <a:pt x="136" y="112"/>
                  </a:lnTo>
                  <a:lnTo>
                    <a:pt x="142" y="116"/>
                  </a:lnTo>
                  <a:lnTo>
                    <a:pt x="146" y="116"/>
                  </a:lnTo>
                  <a:lnTo>
                    <a:pt x="150" y="120"/>
                  </a:lnTo>
                  <a:lnTo>
                    <a:pt x="154" y="120"/>
                  </a:lnTo>
                  <a:lnTo>
                    <a:pt x="154" y="122"/>
                  </a:lnTo>
                  <a:lnTo>
                    <a:pt x="158" y="126"/>
                  </a:lnTo>
                  <a:lnTo>
                    <a:pt x="162" y="126"/>
                  </a:lnTo>
                  <a:lnTo>
                    <a:pt x="162" y="130"/>
                  </a:lnTo>
                  <a:lnTo>
                    <a:pt x="166" y="130"/>
                  </a:lnTo>
                  <a:lnTo>
                    <a:pt x="168" y="134"/>
                  </a:lnTo>
                  <a:lnTo>
                    <a:pt x="168" y="138"/>
                  </a:lnTo>
                  <a:lnTo>
                    <a:pt x="168" y="142"/>
                  </a:lnTo>
                  <a:lnTo>
                    <a:pt x="168" y="146"/>
                  </a:lnTo>
                  <a:lnTo>
                    <a:pt x="168" y="142"/>
                  </a:lnTo>
                  <a:lnTo>
                    <a:pt x="166" y="142"/>
                  </a:lnTo>
                  <a:lnTo>
                    <a:pt x="162" y="142"/>
                  </a:lnTo>
                  <a:lnTo>
                    <a:pt x="162" y="138"/>
                  </a:lnTo>
                  <a:lnTo>
                    <a:pt x="162" y="134"/>
                  </a:lnTo>
                  <a:lnTo>
                    <a:pt x="158" y="134"/>
                  </a:lnTo>
                  <a:lnTo>
                    <a:pt x="154" y="134"/>
                  </a:lnTo>
                  <a:lnTo>
                    <a:pt x="150" y="130"/>
                  </a:lnTo>
                  <a:lnTo>
                    <a:pt x="154" y="130"/>
                  </a:lnTo>
                  <a:lnTo>
                    <a:pt x="150" y="130"/>
                  </a:lnTo>
                  <a:lnTo>
                    <a:pt x="146" y="130"/>
                  </a:lnTo>
                  <a:lnTo>
                    <a:pt x="146" y="134"/>
                  </a:lnTo>
                  <a:lnTo>
                    <a:pt x="142" y="138"/>
                  </a:lnTo>
                  <a:lnTo>
                    <a:pt x="142" y="142"/>
                  </a:lnTo>
                  <a:lnTo>
                    <a:pt x="142" y="146"/>
                  </a:lnTo>
                  <a:lnTo>
                    <a:pt x="146" y="146"/>
                  </a:lnTo>
                  <a:lnTo>
                    <a:pt x="146" y="150"/>
                  </a:lnTo>
                  <a:lnTo>
                    <a:pt x="150" y="150"/>
                  </a:lnTo>
                  <a:lnTo>
                    <a:pt x="150" y="152"/>
                  </a:lnTo>
                  <a:lnTo>
                    <a:pt x="150" y="156"/>
                  </a:lnTo>
                  <a:lnTo>
                    <a:pt x="150" y="160"/>
                  </a:lnTo>
                  <a:lnTo>
                    <a:pt x="146" y="160"/>
                  </a:lnTo>
                  <a:lnTo>
                    <a:pt x="142" y="160"/>
                  </a:lnTo>
                  <a:lnTo>
                    <a:pt x="142" y="164"/>
                  </a:lnTo>
                  <a:lnTo>
                    <a:pt x="142" y="168"/>
                  </a:lnTo>
                  <a:lnTo>
                    <a:pt x="142" y="172"/>
                  </a:lnTo>
                  <a:lnTo>
                    <a:pt x="138" y="172"/>
                  </a:lnTo>
                  <a:lnTo>
                    <a:pt x="136" y="176"/>
                  </a:lnTo>
                  <a:lnTo>
                    <a:pt x="136" y="178"/>
                  </a:lnTo>
                  <a:lnTo>
                    <a:pt x="132" y="178"/>
                  </a:lnTo>
                  <a:lnTo>
                    <a:pt x="128" y="178"/>
                  </a:lnTo>
                  <a:lnTo>
                    <a:pt x="128" y="176"/>
                  </a:lnTo>
                  <a:lnTo>
                    <a:pt x="132" y="172"/>
                  </a:lnTo>
                  <a:lnTo>
                    <a:pt x="132" y="168"/>
                  </a:lnTo>
                  <a:lnTo>
                    <a:pt x="132" y="164"/>
                  </a:lnTo>
                  <a:lnTo>
                    <a:pt x="136" y="164"/>
                  </a:lnTo>
                  <a:lnTo>
                    <a:pt x="138" y="164"/>
                  </a:lnTo>
                  <a:lnTo>
                    <a:pt x="138" y="160"/>
                  </a:lnTo>
                  <a:lnTo>
                    <a:pt x="136" y="160"/>
                  </a:lnTo>
                  <a:lnTo>
                    <a:pt x="136" y="156"/>
                  </a:lnTo>
                  <a:lnTo>
                    <a:pt x="136" y="152"/>
                  </a:lnTo>
                  <a:lnTo>
                    <a:pt x="136" y="150"/>
                  </a:lnTo>
                  <a:lnTo>
                    <a:pt x="132" y="150"/>
                  </a:lnTo>
                  <a:lnTo>
                    <a:pt x="132" y="146"/>
                  </a:lnTo>
                  <a:lnTo>
                    <a:pt x="132" y="142"/>
                  </a:lnTo>
                  <a:lnTo>
                    <a:pt x="128" y="138"/>
                  </a:lnTo>
                  <a:lnTo>
                    <a:pt x="124" y="138"/>
                  </a:lnTo>
                  <a:lnTo>
                    <a:pt x="120" y="138"/>
                  </a:lnTo>
                  <a:lnTo>
                    <a:pt x="120" y="134"/>
                  </a:lnTo>
                  <a:lnTo>
                    <a:pt x="120" y="130"/>
                  </a:lnTo>
                  <a:lnTo>
                    <a:pt x="116" y="126"/>
                  </a:lnTo>
                  <a:lnTo>
                    <a:pt x="112" y="126"/>
                  </a:lnTo>
                  <a:lnTo>
                    <a:pt x="110" y="122"/>
                  </a:lnTo>
                  <a:lnTo>
                    <a:pt x="106" y="122"/>
                  </a:lnTo>
                  <a:lnTo>
                    <a:pt x="106" y="120"/>
                  </a:lnTo>
                  <a:lnTo>
                    <a:pt x="106" y="116"/>
                  </a:lnTo>
                  <a:lnTo>
                    <a:pt x="102" y="116"/>
                  </a:lnTo>
                  <a:lnTo>
                    <a:pt x="98" y="116"/>
                  </a:lnTo>
                  <a:lnTo>
                    <a:pt x="94" y="116"/>
                  </a:lnTo>
                  <a:lnTo>
                    <a:pt x="90" y="116"/>
                  </a:lnTo>
                  <a:lnTo>
                    <a:pt x="90" y="112"/>
                  </a:lnTo>
                  <a:lnTo>
                    <a:pt x="86" y="112"/>
                  </a:lnTo>
                  <a:lnTo>
                    <a:pt x="86" y="108"/>
                  </a:lnTo>
                  <a:lnTo>
                    <a:pt x="82" y="108"/>
                  </a:lnTo>
                  <a:lnTo>
                    <a:pt x="80" y="104"/>
                  </a:lnTo>
                  <a:lnTo>
                    <a:pt x="80" y="100"/>
                  </a:lnTo>
                  <a:lnTo>
                    <a:pt x="76" y="100"/>
                  </a:lnTo>
                  <a:lnTo>
                    <a:pt x="76" y="96"/>
                  </a:lnTo>
                  <a:lnTo>
                    <a:pt x="72" y="96"/>
                  </a:lnTo>
                  <a:lnTo>
                    <a:pt x="72" y="94"/>
                  </a:lnTo>
                  <a:lnTo>
                    <a:pt x="68" y="94"/>
                  </a:lnTo>
                  <a:lnTo>
                    <a:pt x="64" y="94"/>
                  </a:lnTo>
                  <a:lnTo>
                    <a:pt x="64" y="90"/>
                  </a:lnTo>
                  <a:lnTo>
                    <a:pt x="64" y="86"/>
                  </a:lnTo>
                  <a:lnTo>
                    <a:pt x="60" y="86"/>
                  </a:lnTo>
                  <a:lnTo>
                    <a:pt x="60" y="82"/>
                  </a:lnTo>
                  <a:lnTo>
                    <a:pt x="56" y="82"/>
                  </a:lnTo>
                  <a:lnTo>
                    <a:pt x="56" y="80"/>
                  </a:lnTo>
                  <a:lnTo>
                    <a:pt x="56" y="76"/>
                  </a:lnTo>
                  <a:lnTo>
                    <a:pt x="54" y="72"/>
                  </a:lnTo>
                  <a:lnTo>
                    <a:pt x="54" y="68"/>
                  </a:lnTo>
                  <a:lnTo>
                    <a:pt x="54" y="64"/>
                  </a:lnTo>
                  <a:lnTo>
                    <a:pt x="50" y="60"/>
                  </a:lnTo>
                  <a:lnTo>
                    <a:pt x="46" y="60"/>
                  </a:lnTo>
                  <a:lnTo>
                    <a:pt x="42" y="56"/>
                  </a:lnTo>
                  <a:lnTo>
                    <a:pt x="38" y="56"/>
                  </a:lnTo>
                  <a:lnTo>
                    <a:pt x="30" y="52"/>
                  </a:lnTo>
                  <a:lnTo>
                    <a:pt x="26" y="56"/>
                  </a:lnTo>
                  <a:lnTo>
                    <a:pt x="26" y="60"/>
                  </a:lnTo>
                  <a:lnTo>
                    <a:pt x="24" y="60"/>
                  </a:lnTo>
                  <a:lnTo>
                    <a:pt x="24" y="64"/>
                  </a:lnTo>
                  <a:lnTo>
                    <a:pt x="20" y="64"/>
                  </a:lnTo>
                  <a:lnTo>
                    <a:pt x="16" y="64"/>
                  </a:lnTo>
                  <a:lnTo>
                    <a:pt x="16" y="68"/>
                  </a:lnTo>
                  <a:lnTo>
                    <a:pt x="16" y="64"/>
                  </a:lnTo>
                  <a:lnTo>
                    <a:pt x="12" y="64"/>
                  </a:lnTo>
                  <a:lnTo>
                    <a:pt x="16" y="64"/>
                  </a:lnTo>
                  <a:lnTo>
                    <a:pt x="16" y="60"/>
                  </a:lnTo>
                  <a:lnTo>
                    <a:pt x="16" y="56"/>
                  </a:lnTo>
                  <a:lnTo>
                    <a:pt x="16" y="60"/>
                  </a:lnTo>
                  <a:lnTo>
                    <a:pt x="12" y="60"/>
                  </a:lnTo>
                  <a:lnTo>
                    <a:pt x="8" y="56"/>
                  </a:lnTo>
                  <a:lnTo>
                    <a:pt x="4" y="56"/>
                  </a:lnTo>
                  <a:lnTo>
                    <a:pt x="4" y="52"/>
                  </a:lnTo>
                  <a:lnTo>
                    <a:pt x="4" y="50"/>
                  </a:lnTo>
                  <a:lnTo>
                    <a:pt x="8" y="46"/>
                  </a:lnTo>
                  <a:lnTo>
                    <a:pt x="4" y="46"/>
                  </a:lnTo>
                  <a:lnTo>
                    <a:pt x="0" y="42"/>
                  </a:lnTo>
                  <a:lnTo>
                    <a:pt x="0" y="38"/>
                  </a:lnTo>
                  <a:lnTo>
                    <a:pt x="4" y="38"/>
                  </a:lnTo>
                  <a:lnTo>
                    <a:pt x="8" y="38"/>
                  </a:lnTo>
                  <a:lnTo>
                    <a:pt x="8" y="34"/>
                  </a:lnTo>
                  <a:lnTo>
                    <a:pt x="8" y="30"/>
                  </a:lnTo>
                  <a:lnTo>
                    <a:pt x="4" y="30"/>
                  </a:lnTo>
                  <a:lnTo>
                    <a:pt x="4" y="26"/>
                  </a:lnTo>
                  <a:lnTo>
                    <a:pt x="4" y="24"/>
                  </a:lnTo>
                  <a:lnTo>
                    <a:pt x="8" y="24"/>
                  </a:lnTo>
                  <a:lnTo>
                    <a:pt x="12" y="24"/>
                  </a:lnTo>
                  <a:lnTo>
                    <a:pt x="16" y="24"/>
                  </a:lnTo>
                  <a:lnTo>
                    <a:pt x="20" y="24"/>
                  </a:lnTo>
                  <a:lnTo>
                    <a:pt x="24" y="20"/>
                  </a:lnTo>
                  <a:lnTo>
                    <a:pt x="24" y="16"/>
                  </a:lnTo>
                  <a:lnTo>
                    <a:pt x="26" y="12"/>
                  </a:lnTo>
                  <a:lnTo>
                    <a:pt x="26" y="16"/>
                  </a:lnTo>
                  <a:lnTo>
                    <a:pt x="30" y="20"/>
                  </a:lnTo>
                  <a:lnTo>
                    <a:pt x="34" y="20"/>
                  </a:lnTo>
                  <a:lnTo>
                    <a:pt x="30" y="24"/>
                  </a:lnTo>
                  <a:lnTo>
                    <a:pt x="34" y="24"/>
                  </a:lnTo>
                  <a:lnTo>
                    <a:pt x="34" y="26"/>
                  </a:lnTo>
                  <a:lnTo>
                    <a:pt x="34" y="24"/>
                  </a:lnTo>
                  <a:lnTo>
                    <a:pt x="34" y="20"/>
                  </a:lnTo>
                  <a:lnTo>
                    <a:pt x="38" y="20"/>
                  </a:lnTo>
                  <a:lnTo>
                    <a:pt x="38" y="16"/>
                  </a:lnTo>
                  <a:lnTo>
                    <a:pt x="38" y="12"/>
                  </a:lnTo>
                  <a:lnTo>
                    <a:pt x="42" y="12"/>
                  </a:lnTo>
                  <a:lnTo>
                    <a:pt x="42" y="16"/>
                  </a:lnTo>
                  <a:lnTo>
                    <a:pt x="46" y="16"/>
                  </a:lnTo>
                  <a:lnTo>
                    <a:pt x="50" y="16"/>
                  </a:lnTo>
                  <a:lnTo>
                    <a:pt x="54" y="16"/>
                  </a:lnTo>
                  <a:lnTo>
                    <a:pt x="50" y="12"/>
                  </a:lnTo>
                  <a:lnTo>
                    <a:pt x="50" y="8"/>
                  </a:lnTo>
                  <a:lnTo>
                    <a:pt x="54" y="8"/>
                  </a:lnTo>
                  <a:lnTo>
                    <a:pt x="54" y="12"/>
                  </a:lnTo>
                  <a:lnTo>
                    <a:pt x="56" y="12"/>
                  </a:lnTo>
                  <a:lnTo>
                    <a:pt x="56" y="8"/>
                  </a:lnTo>
                  <a:lnTo>
                    <a:pt x="56" y="4"/>
                  </a:lnTo>
                  <a:lnTo>
                    <a:pt x="60" y="4"/>
                  </a:lnTo>
                  <a:lnTo>
                    <a:pt x="60" y="8"/>
                  </a:lnTo>
                  <a:lnTo>
                    <a:pt x="64" y="4"/>
                  </a:lnTo>
                  <a:lnTo>
                    <a:pt x="64" y="0"/>
                  </a:lnTo>
                  <a:lnTo>
                    <a:pt x="72" y="0"/>
                  </a:lnTo>
                  <a:lnTo>
                    <a:pt x="76" y="0"/>
                  </a:lnTo>
                  <a:lnTo>
                    <a:pt x="80" y="0"/>
                  </a:lnTo>
                  <a:lnTo>
                    <a:pt x="80" y="4"/>
                  </a:lnTo>
                  <a:lnTo>
                    <a:pt x="82" y="4"/>
                  </a:lnTo>
                  <a:lnTo>
                    <a:pt x="82" y="8"/>
                  </a:lnTo>
                  <a:lnTo>
                    <a:pt x="86" y="8"/>
                  </a:lnTo>
                  <a:lnTo>
                    <a:pt x="90" y="8"/>
                  </a:lnTo>
                  <a:lnTo>
                    <a:pt x="94" y="12"/>
                  </a:lnTo>
                  <a:lnTo>
                    <a:pt x="98" y="12"/>
                  </a:lnTo>
                  <a:lnTo>
                    <a:pt x="102" y="12"/>
                  </a:lnTo>
                  <a:lnTo>
                    <a:pt x="98" y="16"/>
                  </a:lnTo>
                  <a:lnTo>
                    <a:pt x="98" y="20"/>
                  </a:lnTo>
                  <a:lnTo>
                    <a:pt x="98" y="16"/>
                  </a:lnTo>
                  <a:lnTo>
                    <a:pt x="98" y="20"/>
                  </a:lnTo>
                  <a:lnTo>
                    <a:pt x="102" y="20"/>
                  </a:lnTo>
                  <a:lnTo>
                    <a:pt x="98" y="20"/>
                  </a:lnTo>
                  <a:lnTo>
                    <a:pt x="98" y="24"/>
                  </a:lnTo>
                  <a:lnTo>
                    <a:pt x="102" y="24"/>
                  </a:lnTo>
                  <a:lnTo>
                    <a:pt x="102" y="26"/>
                  </a:lnTo>
                  <a:lnTo>
                    <a:pt x="106" y="26"/>
                  </a:lnTo>
                  <a:lnTo>
                    <a:pt x="106" y="30"/>
                  </a:lnTo>
                  <a:lnTo>
                    <a:pt x="102" y="30"/>
                  </a:lnTo>
                  <a:lnTo>
                    <a:pt x="102" y="26"/>
                  </a:lnTo>
                  <a:lnTo>
                    <a:pt x="98" y="26"/>
                  </a:lnTo>
                  <a:lnTo>
                    <a:pt x="94" y="26"/>
                  </a:lnTo>
                  <a:lnTo>
                    <a:pt x="94" y="30"/>
                  </a:lnTo>
                  <a:lnTo>
                    <a:pt x="90" y="30"/>
                  </a:lnTo>
                  <a:lnTo>
                    <a:pt x="86" y="30"/>
                  </a:lnTo>
                  <a:lnTo>
                    <a:pt x="82" y="34"/>
                  </a:lnTo>
                  <a:lnTo>
                    <a:pt x="82" y="30"/>
                  </a:lnTo>
                  <a:lnTo>
                    <a:pt x="86" y="30"/>
                  </a:lnTo>
                  <a:lnTo>
                    <a:pt x="82" y="30"/>
                  </a:lnTo>
                  <a:lnTo>
                    <a:pt x="82" y="34"/>
                  </a:lnTo>
                  <a:lnTo>
                    <a:pt x="80" y="34"/>
                  </a:lnTo>
                  <a:lnTo>
                    <a:pt x="80" y="38"/>
                  </a:lnTo>
                  <a:lnTo>
                    <a:pt x="82" y="42"/>
                  </a:lnTo>
                  <a:lnTo>
                    <a:pt x="86" y="42"/>
                  </a:lnTo>
                  <a:lnTo>
                    <a:pt x="82" y="46"/>
                  </a:lnTo>
                  <a:lnTo>
                    <a:pt x="80" y="50"/>
                  </a:lnTo>
                  <a:lnTo>
                    <a:pt x="82" y="52"/>
                  </a:lnTo>
                  <a:lnTo>
                    <a:pt x="82" y="56"/>
                  </a:lnTo>
                  <a:lnTo>
                    <a:pt x="82" y="60"/>
                  </a:lnTo>
                  <a:lnTo>
                    <a:pt x="86" y="60"/>
                  </a:lnTo>
                  <a:lnTo>
                    <a:pt x="86" y="64"/>
                  </a:lnTo>
                  <a:lnTo>
                    <a:pt x="86" y="64"/>
                  </a:lnTo>
                  <a:lnTo>
                    <a:pt x="86" y="64"/>
                  </a:lnTo>
                  <a:close/>
                  <a:moveTo>
                    <a:pt x="82" y="100"/>
                  </a:moveTo>
                  <a:lnTo>
                    <a:pt x="82" y="104"/>
                  </a:lnTo>
                  <a:lnTo>
                    <a:pt x="82" y="100"/>
                  </a:lnTo>
                  <a:lnTo>
                    <a:pt x="82" y="100"/>
                  </a:lnTo>
                  <a:lnTo>
                    <a:pt x="82" y="100"/>
                  </a:lnTo>
                  <a:close/>
                  <a:moveTo>
                    <a:pt x="82" y="64"/>
                  </a:moveTo>
                  <a:lnTo>
                    <a:pt x="82" y="60"/>
                  </a:lnTo>
                  <a:lnTo>
                    <a:pt x="82" y="64"/>
                  </a:lnTo>
                  <a:lnTo>
                    <a:pt x="82" y="64"/>
                  </a:lnTo>
                  <a:lnTo>
                    <a:pt x="82" y="64"/>
                  </a:lnTo>
                  <a:close/>
                  <a:moveTo>
                    <a:pt x="56" y="86"/>
                  </a:moveTo>
                  <a:lnTo>
                    <a:pt x="54" y="86"/>
                  </a:lnTo>
                  <a:lnTo>
                    <a:pt x="50" y="86"/>
                  </a:lnTo>
                  <a:lnTo>
                    <a:pt x="54" y="86"/>
                  </a:lnTo>
                  <a:lnTo>
                    <a:pt x="54" y="82"/>
                  </a:lnTo>
                  <a:lnTo>
                    <a:pt x="56" y="82"/>
                  </a:lnTo>
                  <a:lnTo>
                    <a:pt x="56" y="86"/>
                  </a:lnTo>
                  <a:lnTo>
                    <a:pt x="56" y="86"/>
                  </a:lnTo>
                  <a:lnTo>
                    <a:pt x="56" y="86"/>
                  </a:lnTo>
                  <a:close/>
                  <a:moveTo>
                    <a:pt x="26" y="152"/>
                  </a:moveTo>
                  <a:lnTo>
                    <a:pt x="26" y="150"/>
                  </a:lnTo>
                  <a:lnTo>
                    <a:pt x="26" y="146"/>
                  </a:lnTo>
                  <a:lnTo>
                    <a:pt x="26" y="142"/>
                  </a:lnTo>
                  <a:lnTo>
                    <a:pt x="26" y="138"/>
                  </a:lnTo>
                  <a:lnTo>
                    <a:pt x="26" y="134"/>
                  </a:lnTo>
                  <a:lnTo>
                    <a:pt x="26" y="130"/>
                  </a:lnTo>
                  <a:lnTo>
                    <a:pt x="26" y="126"/>
                  </a:lnTo>
                  <a:lnTo>
                    <a:pt x="24" y="126"/>
                  </a:lnTo>
                  <a:lnTo>
                    <a:pt x="24" y="122"/>
                  </a:lnTo>
                  <a:lnTo>
                    <a:pt x="26" y="122"/>
                  </a:lnTo>
                  <a:lnTo>
                    <a:pt x="30" y="122"/>
                  </a:lnTo>
                  <a:lnTo>
                    <a:pt x="34" y="120"/>
                  </a:lnTo>
                  <a:lnTo>
                    <a:pt x="38" y="116"/>
                  </a:lnTo>
                  <a:lnTo>
                    <a:pt x="42" y="116"/>
                  </a:lnTo>
                  <a:lnTo>
                    <a:pt x="42" y="120"/>
                  </a:lnTo>
                  <a:lnTo>
                    <a:pt x="46" y="120"/>
                  </a:lnTo>
                  <a:lnTo>
                    <a:pt x="42" y="122"/>
                  </a:lnTo>
                  <a:lnTo>
                    <a:pt x="46" y="122"/>
                  </a:lnTo>
                  <a:lnTo>
                    <a:pt x="46" y="126"/>
                  </a:lnTo>
                  <a:lnTo>
                    <a:pt x="46" y="130"/>
                  </a:lnTo>
                  <a:lnTo>
                    <a:pt x="46" y="134"/>
                  </a:lnTo>
                  <a:lnTo>
                    <a:pt x="46" y="138"/>
                  </a:lnTo>
                  <a:lnTo>
                    <a:pt x="46" y="142"/>
                  </a:lnTo>
                  <a:lnTo>
                    <a:pt x="46" y="146"/>
                  </a:lnTo>
                  <a:lnTo>
                    <a:pt x="46" y="150"/>
                  </a:lnTo>
                  <a:lnTo>
                    <a:pt x="42" y="152"/>
                  </a:lnTo>
                  <a:lnTo>
                    <a:pt x="42" y="156"/>
                  </a:lnTo>
                  <a:lnTo>
                    <a:pt x="38" y="156"/>
                  </a:lnTo>
                  <a:lnTo>
                    <a:pt x="34" y="152"/>
                  </a:lnTo>
                  <a:lnTo>
                    <a:pt x="34" y="156"/>
                  </a:lnTo>
                  <a:lnTo>
                    <a:pt x="34" y="160"/>
                  </a:lnTo>
                  <a:lnTo>
                    <a:pt x="30" y="160"/>
                  </a:lnTo>
                  <a:lnTo>
                    <a:pt x="26" y="156"/>
                  </a:lnTo>
                  <a:lnTo>
                    <a:pt x="26" y="160"/>
                  </a:lnTo>
                  <a:lnTo>
                    <a:pt x="26" y="156"/>
                  </a:lnTo>
                  <a:lnTo>
                    <a:pt x="26" y="152"/>
                  </a:lnTo>
                  <a:lnTo>
                    <a:pt x="26" y="152"/>
                  </a:lnTo>
                  <a:lnTo>
                    <a:pt x="26" y="152"/>
                  </a:lnTo>
                  <a:close/>
                  <a:moveTo>
                    <a:pt x="120" y="206"/>
                  </a:moveTo>
                  <a:lnTo>
                    <a:pt x="120" y="202"/>
                  </a:lnTo>
                  <a:lnTo>
                    <a:pt x="116" y="202"/>
                  </a:lnTo>
                  <a:lnTo>
                    <a:pt x="112" y="202"/>
                  </a:lnTo>
                  <a:lnTo>
                    <a:pt x="112" y="198"/>
                  </a:lnTo>
                  <a:lnTo>
                    <a:pt x="110" y="198"/>
                  </a:lnTo>
                  <a:lnTo>
                    <a:pt x="110" y="194"/>
                  </a:lnTo>
                  <a:lnTo>
                    <a:pt x="106" y="194"/>
                  </a:lnTo>
                  <a:lnTo>
                    <a:pt x="102" y="194"/>
                  </a:lnTo>
                  <a:lnTo>
                    <a:pt x="98" y="190"/>
                  </a:lnTo>
                  <a:lnTo>
                    <a:pt x="94" y="190"/>
                  </a:lnTo>
                  <a:lnTo>
                    <a:pt x="94" y="186"/>
                  </a:lnTo>
                  <a:lnTo>
                    <a:pt x="90" y="186"/>
                  </a:lnTo>
                  <a:lnTo>
                    <a:pt x="86" y="186"/>
                  </a:lnTo>
                  <a:lnTo>
                    <a:pt x="82" y="186"/>
                  </a:lnTo>
                  <a:lnTo>
                    <a:pt x="82" y="182"/>
                  </a:lnTo>
                  <a:lnTo>
                    <a:pt x="82" y="178"/>
                  </a:lnTo>
                  <a:lnTo>
                    <a:pt x="86" y="176"/>
                  </a:lnTo>
                  <a:lnTo>
                    <a:pt x="90" y="176"/>
                  </a:lnTo>
                  <a:lnTo>
                    <a:pt x="90" y="178"/>
                  </a:lnTo>
                  <a:lnTo>
                    <a:pt x="90" y="176"/>
                  </a:lnTo>
                  <a:lnTo>
                    <a:pt x="94" y="176"/>
                  </a:lnTo>
                  <a:lnTo>
                    <a:pt x="98" y="176"/>
                  </a:lnTo>
                  <a:lnTo>
                    <a:pt x="102" y="178"/>
                  </a:lnTo>
                  <a:lnTo>
                    <a:pt x="106" y="178"/>
                  </a:lnTo>
                  <a:lnTo>
                    <a:pt x="110" y="178"/>
                  </a:lnTo>
                  <a:lnTo>
                    <a:pt x="112" y="178"/>
                  </a:lnTo>
                  <a:lnTo>
                    <a:pt x="116" y="176"/>
                  </a:lnTo>
                  <a:lnTo>
                    <a:pt x="120" y="176"/>
                  </a:lnTo>
                  <a:lnTo>
                    <a:pt x="124" y="176"/>
                  </a:lnTo>
                  <a:lnTo>
                    <a:pt x="128" y="172"/>
                  </a:lnTo>
                  <a:lnTo>
                    <a:pt x="128" y="176"/>
                  </a:lnTo>
                  <a:lnTo>
                    <a:pt x="128" y="178"/>
                  </a:lnTo>
                  <a:lnTo>
                    <a:pt x="124" y="178"/>
                  </a:lnTo>
                  <a:lnTo>
                    <a:pt x="124" y="182"/>
                  </a:lnTo>
                  <a:lnTo>
                    <a:pt x="124" y="186"/>
                  </a:lnTo>
                  <a:lnTo>
                    <a:pt x="120" y="186"/>
                  </a:lnTo>
                  <a:lnTo>
                    <a:pt x="120" y="190"/>
                  </a:lnTo>
                  <a:lnTo>
                    <a:pt x="124" y="194"/>
                  </a:lnTo>
                  <a:lnTo>
                    <a:pt x="124" y="198"/>
                  </a:lnTo>
                  <a:lnTo>
                    <a:pt x="120" y="198"/>
                  </a:lnTo>
                  <a:lnTo>
                    <a:pt x="120" y="202"/>
                  </a:lnTo>
                  <a:lnTo>
                    <a:pt x="120" y="206"/>
                  </a:lnTo>
                  <a:lnTo>
                    <a:pt x="120" y="206"/>
                  </a:lnTo>
                  <a:lnTo>
                    <a:pt x="120" y="20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16" name="Freeform 109"/>
            <p:cNvSpPr>
              <a:spLocks/>
            </p:cNvSpPr>
            <p:nvPr/>
          </p:nvSpPr>
          <p:spPr bwMode="auto">
            <a:xfrm>
              <a:off x="6958647" y="3245135"/>
              <a:ext cx="11304" cy="5230"/>
            </a:xfrm>
            <a:custGeom>
              <a:avLst/>
              <a:gdLst>
                <a:gd name="T0" fmla="*/ 2 w 18"/>
                <a:gd name="T1" fmla="*/ 8 h 8"/>
                <a:gd name="T2" fmla="*/ 2 w 18"/>
                <a:gd name="T3" fmla="*/ 8 h 8"/>
                <a:gd name="T4" fmla="*/ 2 w 18"/>
                <a:gd name="T5" fmla="*/ 8 h 8"/>
                <a:gd name="T6" fmla="*/ 0 w 18"/>
                <a:gd name="T7" fmla="*/ 8 h 8"/>
                <a:gd name="T8" fmla="*/ 0 w 18"/>
                <a:gd name="T9" fmla="*/ 8 h 8"/>
                <a:gd name="T10" fmla="*/ 2 w 18"/>
                <a:gd name="T11" fmla="*/ 8 h 8"/>
                <a:gd name="T12" fmla="*/ 2 w 18"/>
                <a:gd name="T13" fmla="*/ 8 h 8"/>
                <a:gd name="T14" fmla="*/ 2 w 18"/>
                <a:gd name="T15" fmla="*/ 8 h 8"/>
                <a:gd name="T16" fmla="*/ 6 w 18"/>
                <a:gd name="T17" fmla="*/ 4 h 8"/>
                <a:gd name="T18" fmla="*/ 6 w 18"/>
                <a:gd name="T19" fmla="*/ 4 h 8"/>
                <a:gd name="T20" fmla="*/ 10 w 18"/>
                <a:gd name="T21" fmla="*/ 4 h 8"/>
                <a:gd name="T22" fmla="*/ 10 w 18"/>
                <a:gd name="T23" fmla="*/ 4 h 8"/>
                <a:gd name="T24" fmla="*/ 10 w 18"/>
                <a:gd name="T25" fmla="*/ 4 h 8"/>
                <a:gd name="T26" fmla="*/ 10 w 18"/>
                <a:gd name="T27" fmla="*/ 4 h 8"/>
                <a:gd name="T28" fmla="*/ 10 w 18"/>
                <a:gd name="T29" fmla="*/ 4 h 8"/>
                <a:gd name="T30" fmla="*/ 10 w 18"/>
                <a:gd name="T31" fmla="*/ 0 h 8"/>
                <a:gd name="T32" fmla="*/ 10 w 18"/>
                <a:gd name="T33" fmla="*/ 0 h 8"/>
                <a:gd name="T34" fmla="*/ 10 w 18"/>
                <a:gd name="T35" fmla="*/ 0 h 8"/>
                <a:gd name="T36" fmla="*/ 10 w 18"/>
                <a:gd name="T37" fmla="*/ 0 h 8"/>
                <a:gd name="T38" fmla="*/ 14 w 18"/>
                <a:gd name="T39" fmla="*/ 0 h 8"/>
                <a:gd name="T40" fmla="*/ 14 w 18"/>
                <a:gd name="T41" fmla="*/ 0 h 8"/>
                <a:gd name="T42" fmla="*/ 18 w 18"/>
                <a:gd name="T43" fmla="*/ 0 h 8"/>
                <a:gd name="T44" fmla="*/ 18 w 18"/>
                <a:gd name="T45" fmla="*/ 0 h 8"/>
                <a:gd name="T46" fmla="*/ 18 w 18"/>
                <a:gd name="T47" fmla="*/ 0 h 8"/>
                <a:gd name="T48" fmla="*/ 18 w 18"/>
                <a:gd name="T49" fmla="*/ 0 h 8"/>
                <a:gd name="T50" fmla="*/ 18 w 18"/>
                <a:gd name="T51" fmla="*/ 0 h 8"/>
                <a:gd name="T52" fmla="*/ 18 w 18"/>
                <a:gd name="T53" fmla="*/ 0 h 8"/>
                <a:gd name="T54" fmla="*/ 18 w 18"/>
                <a:gd name="T55" fmla="*/ 4 h 8"/>
                <a:gd name="T56" fmla="*/ 18 w 18"/>
                <a:gd name="T57" fmla="*/ 4 h 8"/>
                <a:gd name="T58" fmla="*/ 18 w 18"/>
                <a:gd name="T59" fmla="*/ 4 h 8"/>
                <a:gd name="T60" fmla="*/ 14 w 18"/>
                <a:gd name="T61" fmla="*/ 4 h 8"/>
                <a:gd name="T62" fmla="*/ 14 w 18"/>
                <a:gd name="T63" fmla="*/ 4 h 8"/>
                <a:gd name="T64" fmla="*/ 10 w 18"/>
                <a:gd name="T65" fmla="*/ 4 h 8"/>
                <a:gd name="T66" fmla="*/ 10 w 18"/>
                <a:gd name="T67" fmla="*/ 4 h 8"/>
                <a:gd name="T68" fmla="*/ 10 w 18"/>
                <a:gd name="T69" fmla="*/ 4 h 8"/>
                <a:gd name="T70" fmla="*/ 10 w 18"/>
                <a:gd name="T71" fmla="*/ 4 h 8"/>
                <a:gd name="T72" fmla="*/ 10 w 18"/>
                <a:gd name="T73" fmla="*/ 4 h 8"/>
                <a:gd name="T74" fmla="*/ 10 w 18"/>
                <a:gd name="T75" fmla="*/ 4 h 8"/>
                <a:gd name="T76" fmla="*/ 6 w 18"/>
                <a:gd name="T77" fmla="*/ 4 h 8"/>
                <a:gd name="T78" fmla="*/ 6 w 18"/>
                <a:gd name="T79" fmla="*/ 4 h 8"/>
                <a:gd name="T80" fmla="*/ 6 w 18"/>
                <a:gd name="T81" fmla="*/ 4 h 8"/>
                <a:gd name="T82" fmla="*/ 2 w 18"/>
                <a:gd name="T83" fmla="*/ 8 h 8"/>
                <a:gd name="T84" fmla="*/ 2 w 18"/>
                <a:gd name="T85" fmla="*/ 8 h 8"/>
                <a:gd name="T86" fmla="*/ 2 w 18"/>
                <a:gd name="T87" fmla="*/ 8 h 8"/>
                <a:gd name="T88" fmla="*/ 2 w 18"/>
                <a:gd name="T89" fmla="*/ 8 h 8"/>
                <a:gd name="T90" fmla="*/ 2 w 18"/>
                <a:gd name="T91" fmla="*/ 8 h 8"/>
                <a:gd name="T92" fmla="*/ 2 w 18"/>
                <a:gd name="T93" fmla="*/ 8 h 8"/>
                <a:gd name="T94" fmla="*/ 2 w 18"/>
                <a:gd name="T95" fmla="*/ 8 h 8"/>
                <a:gd name="T96" fmla="*/ 2 w 18"/>
                <a:gd name="T9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 h="8">
                  <a:moveTo>
                    <a:pt x="2" y="8"/>
                  </a:moveTo>
                  <a:lnTo>
                    <a:pt x="2" y="8"/>
                  </a:lnTo>
                  <a:lnTo>
                    <a:pt x="2" y="8"/>
                  </a:lnTo>
                  <a:lnTo>
                    <a:pt x="0" y="8"/>
                  </a:lnTo>
                  <a:lnTo>
                    <a:pt x="0" y="8"/>
                  </a:lnTo>
                  <a:lnTo>
                    <a:pt x="2" y="8"/>
                  </a:lnTo>
                  <a:lnTo>
                    <a:pt x="2" y="8"/>
                  </a:lnTo>
                  <a:lnTo>
                    <a:pt x="2" y="8"/>
                  </a:lnTo>
                  <a:lnTo>
                    <a:pt x="6" y="4"/>
                  </a:lnTo>
                  <a:lnTo>
                    <a:pt x="6" y="4"/>
                  </a:lnTo>
                  <a:lnTo>
                    <a:pt x="10" y="4"/>
                  </a:lnTo>
                  <a:lnTo>
                    <a:pt x="10" y="4"/>
                  </a:lnTo>
                  <a:lnTo>
                    <a:pt x="10" y="4"/>
                  </a:lnTo>
                  <a:lnTo>
                    <a:pt x="10" y="4"/>
                  </a:lnTo>
                  <a:lnTo>
                    <a:pt x="10" y="4"/>
                  </a:lnTo>
                  <a:lnTo>
                    <a:pt x="10" y="0"/>
                  </a:lnTo>
                  <a:lnTo>
                    <a:pt x="10" y="0"/>
                  </a:lnTo>
                  <a:lnTo>
                    <a:pt x="10" y="0"/>
                  </a:lnTo>
                  <a:lnTo>
                    <a:pt x="10" y="0"/>
                  </a:lnTo>
                  <a:lnTo>
                    <a:pt x="14" y="0"/>
                  </a:lnTo>
                  <a:lnTo>
                    <a:pt x="14" y="0"/>
                  </a:lnTo>
                  <a:lnTo>
                    <a:pt x="18" y="0"/>
                  </a:lnTo>
                  <a:lnTo>
                    <a:pt x="18" y="0"/>
                  </a:lnTo>
                  <a:lnTo>
                    <a:pt x="18" y="0"/>
                  </a:lnTo>
                  <a:lnTo>
                    <a:pt x="18" y="0"/>
                  </a:lnTo>
                  <a:lnTo>
                    <a:pt x="18" y="0"/>
                  </a:lnTo>
                  <a:lnTo>
                    <a:pt x="18" y="0"/>
                  </a:lnTo>
                  <a:lnTo>
                    <a:pt x="18" y="4"/>
                  </a:lnTo>
                  <a:lnTo>
                    <a:pt x="18" y="4"/>
                  </a:lnTo>
                  <a:lnTo>
                    <a:pt x="18" y="4"/>
                  </a:lnTo>
                  <a:lnTo>
                    <a:pt x="14" y="4"/>
                  </a:lnTo>
                  <a:lnTo>
                    <a:pt x="14" y="4"/>
                  </a:lnTo>
                  <a:lnTo>
                    <a:pt x="10" y="4"/>
                  </a:lnTo>
                  <a:lnTo>
                    <a:pt x="10" y="4"/>
                  </a:lnTo>
                  <a:lnTo>
                    <a:pt x="10" y="4"/>
                  </a:lnTo>
                  <a:lnTo>
                    <a:pt x="10" y="4"/>
                  </a:lnTo>
                  <a:lnTo>
                    <a:pt x="10" y="4"/>
                  </a:lnTo>
                  <a:lnTo>
                    <a:pt x="10" y="4"/>
                  </a:lnTo>
                  <a:lnTo>
                    <a:pt x="6" y="4"/>
                  </a:lnTo>
                  <a:lnTo>
                    <a:pt x="6" y="4"/>
                  </a:lnTo>
                  <a:lnTo>
                    <a:pt x="6" y="4"/>
                  </a:lnTo>
                  <a:lnTo>
                    <a:pt x="2" y="8"/>
                  </a:lnTo>
                  <a:lnTo>
                    <a:pt x="2" y="8"/>
                  </a:lnTo>
                  <a:lnTo>
                    <a:pt x="2" y="8"/>
                  </a:lnTo>
                  <a:lnTo>
                    <a:pt x="2" y="8"/>
                  </a:lnTo>
                  <a:lnTo>
                    <a:pt x="2" y="8"/>
                  </a:lnTo>
                  <a:lnTo>
                    <a:pt x="2" y="8"/>
                  </a:lnTo>
                  <a:lnTo>
                    <a:pt x="2" y="8"/>
                  </a:lnTo>
                  <a:lnTo>
                    <a:pt x="2" y="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17" name="Freeform 110"/>
            <p:cNvSpPr>
              <a:spLocks/>
            </p:cNvSpPr>
            <p:nvPr/>
          </p:nvSpPr>
          <p:spPr bwMode="auto">
            <a:xfrm>
              <a:off x="7227423" y="3450426"/>
              <a:ext cx="62798" cy="33997"/>
            </a:xfrm>
            <a:custGeom>
              <a:avLst/>
              <a:gdLst>
                <a:gd name="T0" fmla="*/ 48 w 100"/>
                <a:gd name="T1" fmla="*/ 4 h 52"/>
                <a:gd name="T2" fmla="*/ 56 w 100"/>
                <a:gd name="T3" fmla="*/ 0 h 52"/>
                <a:gd name="T4" fmla="*/ 60 w 100"/>
                <a:gd name="T5" fmla="*/ 0 h 52"/>
                <a:gd name="T6" fmla="*/ 60 w 100"/>
                <a:gd name="T7" fmla="*/ 0 h 52"/>
                <a:gd name="T8" fmla="*/ 64 w 100"/>
                <a:gd name="T9" fmla="*/ 4 h 52"/>
                <a:gd name="T10" fmla="*/ 68 w 100"/>
                <a:gd name="T11" fmla="*/ 4 h 52"/>
                <a:gd name="T12" fmla="*/ 78 w 100"/>
                <a:gd name="T13" fmla="*/ 10 h 52"/>
                <a:gd name="T14" fmla="*/ 82 w 100"/>
                <a:gd name="T15" fmla="*/ 10 h 52"/>
                <a:gd name="T16" fmla="*/ 86 w 100"/>
                <a:gd name="T17" fmla="*/ 10 h 52"/>
                <a:gd name="T18" fmla="*/ 90 w 100"/>
                <a:gd name="T19" fmla="*/ 10 h 52"/>
                <a:gd name="T20" fmla="*/ 94 w 100"/>
                <a:gd name="T21" fmla="*/ 14 h 52"/>
                <a:gd name="T22" fmla="*/ 98 w 100"/>
                <a:gd name="T23" fmla="*/ 18 h 52"/>
                <a:gd name="T24" fmla="*/ 94 w 100"/>
                <a:gd name="T25" fmla="*/ 26 h 52"/>
                <a:gd name="T26" fmla="*/ 98 w 100"/>
                <a:gd name="T27" fmla="*/ 30 h 52"/>
                <a:gd name="T28" fmla="*/ 100 w 100"/>
                <a:gd name="T29" fmla="*/ 36 h 52"/>
                <a:gd name="T30" fmla="*/ 100 w 100"/>
                <a:gd name="T31" fmla="*/ 40 h 52"/>
                <a:gd name="T32" fmla="*/ 94 w 100"/>
                <a:gd name="T33" fmla="*/ 48 h 52"/>
                <a:gd name="T34" fmla="*/ 94 w 100"/>
                <a:gd name="T35" fmla="*/ 52 h 52"/>
                <a:gd name="T36" fmla="*/ 82 w 100"/>
                <a:gd name="T37" fmla="*/ 48 h 52"/>
                <a:gd name="T38" fmla="*/ 78 w 100"/>
                <a:gd name="T39" fmla="*/ 52 h 52"/>
                <a:gd name="T40" fmla="*/ 78 w 100"/>
                <a:gd name="T41" fmla="*/ 52 h 52"/>
                <a:gd name="T42" fmla="*/ 74 w 100"/>
                <a:gd name="T43" fmla="*/ 52 h 52"/>
                <a:gd name="T44" fmla="*/ 72 w 100"/>
                <a:gd name="T45" fmla="*/ 48 h 52"/>
                <a:gd name="T46" fmla="*/ 68 w 100"/>
                <a:gd name="T47" fmla="*/ 44 h 52"/>
                <a:gd name="T48" fmla="*/ 60 w 100"/>
                <a:gd name="T49" fmla="*/ 40 h 52"/>
                <a:gd name="T50" fmla="*/ 56 w 100"/>
                <a:gd name="T51" fmla="*/ 40 h 52"/>
                <a:gd name="T52" fmla="*/ 56 w 100"/>
                <a:gd name="T53" fmla="*/ 36 h 52"/>
                <a:gd name="T54" fmla="*/ 48 w 100"/>
                <a:gd name="T55" fmla="*/ 40 h 52"/>
                <a:gd name="T56" fmla="*/ 46 w 100"/>
                <a:gd name="T57" fmla="*/ 40 h 52"/>
                <a:gd name="T58" fmla="*/ 42 w 100"/>
                <a:gd name="T59" fmla="*/ 40 h 52"/>
                <a:gd name="T60" fmla="*/ 34 w 100"/>
                <a:gd name="T61" fmla="*/ 36 h 52"/>
                <a:gd name="T62" fmla="*/ 34 w 100"/>
                <a:gd name="T63" fmla="*/ 36 h 52"/>
                <a:gd name="T64" fmla="*/ 30 w 100"/>
                <a:gd name="T65" fmla="*/ 40 h 52"/>
                <a:gd name="T66" fmla="*/ 26 w 100"/>
                <a:gd name="T67" fmla="*/ 36 h 52"/>
                <a:gd name="T68" fmla="*/ 22 w 100"/>
                <a:gd name="T69" fmla="*/ 36 h 52"/>
                <a:gd name="T70" fmla="*/ 22 w 100"/>
                <a:gd name="T71" fmla="*/ 36 h 52"/>
                <a:gd name="T72" fmla="*/ 16 w 100"/>
                <a:gd name="T73" fmla="*/ 36 h 52"/>
                <a:gd name="T74" fmla="*/ 4 w 100"/>
                <a:gd name="T75" fmla="*/ 40 h 52"/>
                <a:gd name="T76" fmla="*/ 4 w 100"/>
                <a:gd name="T77" fmla="*/ 40 h 52"/>
                <a:gd name="T78" fmla="*/ 0 w 100"/>
                <a:gd name="T79" fmla="*/ 44 h 52"/>
                <a:gd name="T80" fmla="*/ 0 w 100"/>
                <a:gd name="T81" fmla="*/ 40 h 52"/>
                <a:gd name="T82" fmla="*/ 0 w 100"/>
                <a:gd name="T83" fmla="*/ 32 h 52"/>
                <a:gd name="T84" fmla="*/ 0 w 100"/>
                <a:gd name="T85" fmla="*/ 32 h 52"/>
                <a:gd name="T86" fmla="*/ 0 w 100"/>
                <a:gd name="T87" fmla="*/ 30 h 52"/>
                <a:gd name="T88" fmla="*/ 4 w 100"/>
                <a:gd name="T89" fmla="*/ 26 h 52"/>
                <a:gd name="T90" fmla="*/ 4 w 100"/>
                <a:gd name="T91" fmla="*/ 22 h 52"/>
                <a:gd name="T92" fmla="*/ 4 w 100"/>
                <a:gd name="T93" fmla="*/ 18 h 52"/>
                <a:gd name="T94" fmla="*/ 8 w 100"/>
                <a:gd name="T95" fmla="*/ 10 h 52"/>
                <a:gd name="T96" fmla="*/ 12 w 100"/>
                <a:gd name="T97" fmla="*/ 10 h 52"/>
                <a:gd name="T98" fmla="*/ 16 w 100"/>
                <a:gd name="T99" fmla="*/ 10 h 52"/>
                <a:gd name="T100" fmla="*/ 22 w 100"/>
                <a:gd name="T101" fmla="*/ 6 h 52"/>
                <a:gd name="T102" fmla="*/ 26 w 100"/>
                <a:gd name="T103" fmla="*/ 14 h 52"/>
                <a:gd name="T104" fmla="*/ 30 w 100"/>
                <a:gd name="T105" fmla="*/ 14 h 52"/>
                <a:gd name="T106" fmla="*/ 30 w 100"/>
                <a:gd name="T107" fmla="*/ 22 h 52"/>
                <a:gd name="T108" fmla="*/ 38 w 100"/>
                <a:gd name="T109" fmla="*/ 26 h 52"/>
                <a:gd name="T110" fmla="*/ 42 w 100"/>
                <a:gd name="T111" fmla="*/ 22 h 52"/>
                <a:gd name="T112" fmla="*/ 48 w 100"/>
                <a:gd name="T113" fmla="*/ 18 h 52"/>
                <a:gd name="T114" fmla="*/ 46 w 100"/>
                <a:gd name="T115" fmla="*/ 6 h 52"/>
                <a:gd name="T116" fmla="*/ 46 w 100"/>
                <a:gd name="T117" fmla="*/ 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0" h="52">
                  <a:moveTo>
                    <a:pt x="46" y="4"/>
                  </a:moveTo>
                  <a:lnTo>
                    <a:pt x="46" y="4"/>
                  </a:lnTo>
                  <a:lnTo>
                    <a:pt x="46" y="4"/>
                  </a:lnTo>
                  <a:lnTo>
                    <a:pt x="48" y="4"/>
                  </a:lnTo>
                  <a:lnTo>
                    <a:pt x="48" y="4"/>
                  </a:lnTo>
                  <a:lnTo>
                    <a:pt x="48" y="4"/>
                  </a:lnTo>
                  <a:lnTo>
                    <a:pt x="48" y="4"/>
                  </a:lnTo>
                  <a:lnTo>
                    <a:pt x="52" y="4"/>
                  </a:lnTo>
                  <a:lnTo>
                    <a:pt x="56" y="0"/>
                  </a:lnTo>
                  <a:lnTo>
                    <a:pt x="56" y="0"/>
                  </a:lnTo>
                  <a:lnTo>
                    <a:pt x="56" y="0"/>
                  </a:lnTo>
                  <a:lnTo>
                    <a:pt x="56" y="0"/>
                  </a:lnTo>
                  <a:lnTo>
                    <a:pt x="56" y="0"/>
                  </a:lnTo>
                  <a:lnTo>
                    <a:pt x="60" y="0"/>
                  </a:lnTo>
                  <a:lnTo>
                    <a:pt x="60" y="0"/>
                  </a:lnTo>
                  <a:lnTo>
                    <a:pt x="60" y="0"/>
                  </a:lnTo>
                  <a:lnTo>
                    <a:pt x="60" y="0"/>
                  </a:lnTo>
                  <a:lnTo>
                    <a:pt x="60" y="4"/>
                  </a:lnTo>
                  <a:lnTo>
                    <a:pt x="60" y="4"/>
                  </a:lnTo>
                  <a:lnTo>
                    <a:pt x="60" y="0"/>
                  </a:lnTo>
                  <a:lnTo>
                    <a:pt x="60" y="0"/>
                  </a:lnTo>
                  <a:lnTo>
                    <a:pt x="60" y="0"/>
                  </a:lnTo>
                  <a:lnTo>
                    <a:pt x="60" y="0"/>
                  </a:lnTo>
                  <a:lnTo>
                    <a:pt x="64" y="0"/>
                  </a:lnTo>
                  <a:lnTo>
                    <a:pt x="64" y="4"/>
                  </a:lnTo>
                  <a:lnTo>
                    <a:pt x="64" y="4"/>
                  </a:lnTo>
                  <a:lnTo>
                    <a:pt x="68" y="4"/>
                  </a:lnTo>
                  <a:lnTo>
                    <a:pt x="68" y="4"/>
                  </a:lnTo>
                  <a:lnTo>
                    <a:pt x="68" y="4"/>
                  </a:lnTo>
                  <a:lnTo>
                    <a:pt x="68" y="4"/>
                  </a:lnTo>
                  <a:lnTo>
                    <a:pt x="72" y="6"/>
                  </a:lnTo>
                  <a:lnTo>
                    <a:pt x="72" y="6"/>
                  </a:lnTo>
                  <a:lnTo>
                    <a:pt x="74" y="10"/>
                  </a:lnTo>
                  <a:lnTo>
                    <a:pt x="74" y="10"/>
                  </a:lnTo>
                  <a:lnTo>
                    <a:pt x="78" y="10"/>
                  </a:lnTo>
                  <a:lnTo>
                    <a:pt x="78" y="10"/>
                  </a:lnTo>
                  <a:lnTo>
                    <a:pt x="78" y="10"/>
                  </a:lnTo>
                  <a:lnTo>
                    <a:pt x="78" y="10"/>
                  </a:lnTo>
                  <a:lnTo>
                    <a:pt x="78" y="10"/>
                  </a:lnTo>
                  <a:lnTo>
                    <a:pt x="82" y="10"/>
                  </a:lnTo>
                  <a:lnTo>
                    <a:pt x="82" y="10"/>
                  </a:lnTo>
                  <a:lnTo>
                    <a:pt x="82" y="10"/>
                  </a:lnTo>
                  <a:lnTo>
                    <a:pt x="82" y="10"/>
                  </a:lnTo>
                  <a:lnTo>
                    <a:pt x="86" y="10"/>
                  </a:lnTo>
                  <a:lnTo>
                    <a:pt x="86" y="10"/>
                  </a:lnTo>
                  <a:lnTo>
                    <a:pt x="86" y="10"/>
                  </a:lnTo>
                  <a:lnTo>
                    <a:pt x="90" y="10"/>
                  </a:lnTo>
                  <a:lnTo>
                    <a:pt x="90" y="10"/>
                  </a:lnTo>
                  <a:lnTo>
                    <a:pt x="90" y="10"/>
                  </a:lnTo>
                  <a:lnTo>
                    <a:pt x="90" y="10"/>
                  </a:lnTo>
                  <a:lnTo>
                    <a:pt x="90" y="10"/>
                  </a:lnTo>
                  <a:lnTo>
                    <a:pt x="94" y="10"/>
                  </a:lnTo>
                  <a:lnTo>
                    <a:pt x="94" y="14"/>
                  </a:lnTo>
                  <a:lnTo>
                    <a:pt x="90" y="14"/>
                  </a:lnTo>
                  <a:lnTo>
                    <a:pt x="94" y="14"/>
                  </a:lnTo>
                  <a:lnTo>
                    <a:pt x="94" y="14"/>
                  </a:lnTo>
                  <a:lnTo>
                    <a:pt x="94" y="14"/>
                  </a:lnTo>
                  <a:lnTo>
                    <a:pt x="98" y="18"/>
                  </a:lnTo>
                  <a:lnTo>
                    <a:pt x="98" y="18"/>
                  </a:lnTo>
                  <a:lnTo>
                    <a:pt x="98" y="18"/>
                  </a:lnTo>
                  <a:lnTo>
                    <a:pt x="98" y="18"/>
                  </a:lnTo>
                  <a:lnTo>
                    <a:pt x="94" y="22"/>
                  </a:lnTo>
                  <a:lnTo>
                    <a:pt x="94" y="26"/>
                  </a:lnTo>
                  <a:lnTo>
                    <a:pt x="94" y="26"/>
                  </a:lnTo>
                  <a:lnTo>
                    <a:pt x="94" y="26"/>
                  </a:lnTo>
                  <a:lnTo>
                    <a:pt x="98" y="26"/>
                  </a:lnTo>
                  <a:lnTo>
                    <a:pt x="98" y="26"/>
                  </a:lnTo>
                  <a:lnTo>
                    <a:pt x="98" y="26"/>
                  </a:lnTo>
                  <a:lnTo>
                    <a:pt x="98" y="30"/>
                  </a:lnTo>
                  <a:lnTo>
                    <a:pt x="98" y="30"/>
                  </a:lnTo>
                  <a:lnTo>
                    <a:pt x="98" y="30"/>
                  </a:lnTo>
                  <a:lnTo>
                    <a:pt x="98" y="32"/>
                  </a:lnTo>
                  <a:lnTo>
                    <a:pt x="100" y="32"/>
                  </a:lnTo>
                  <a:lnTo>
                    <a:pt x="100" y="36"/>
                  </a:lnTo>
                  <a:lnTo>
                    <a:pt x="100" y="36"/>
                  </a:lnTo>
                  <a:lnTo>
                    <a:pt x="100" y="40"/>
                  </a:lnTo>
                  <a:lnTo>
                    <a:pt x="100" y="40"/>
                  </a:lnTo>
                  <a:lnTo>
                    <a:pt x="100" y="40"/>
                  </a:lnTo>
                  <a:lnTo>
                    <a:pt x="100" y="44"/>
                  </a:lnTo>
                  <a:lnTo>
                    <a:pt x="100" y="40"/>
                  </a:lnTo>
                  <a:lnTo>
                    <a:pt x="100" y="40"/>
                  </a:lnTo>
                  <a:lnTo>
                    <a:pt x="98" y="44"/>
                  </a:lnTo>
                  <a:lnTo>
                    <a:pt x="98" y="44"/>
                  </a:lnTo>
                  <a:lnTo>
                    <a:pt x="94" y="44"/>
                  </a:lnTo>
                  <a:lnTo>
                    <a:pt x="94" y="48"/>
                  </a:lnTo>
                  <a:lnTo>
                    <a:pt x="94" y="48"/>
                  </a:lnTo>
                  <a:lnTo>
                    <a:pt x="94" y="48"/>
                  </a:lnTo>
                  <a:lnTo>
                    <a:pt x="94" y="48"/>
                  </a:lnTo>
                  <a:lnTo>
                    <a:pt x="94" y="52"/>
                  </a:lnTo>
                  <a:lnTo>
                    <a:pt x="94" y="52"/>
                  </a:lnTo>
                  <a:lnTo>
                    <a:pt x="90" y="52"/>
                  </a:lnTo>
                  <a:lnTo>
                    <a:pt x="90" y="52"/>
                  </a:lnTo>
                  <a:lnTo>
                    <a:pt x="86" y="48"/>
                  </a:lnTo>
                  <a:lnTo>
                    <a:pt x="86" y="48"/>
                  </a:lnTo>
                  <a:lnTo>
                    <a:pt x="82" y="48"/>
                  </a:lnTo>
                  <a:lnTo>
                    <a:pt x="82" y="52"/>
                  </a:lnTo>
                  <a:lnTo>
                    <a:pt x="82" y="52"/>
                  </a:lnTo>
                  <a:lnTo>
                    <a:pt x="82" y="52"/>
                  </a:lnTo>
                  <a:lnTo>
                    <a:pt x="82" y="52"/>
                  </a:lnTo>
                  <a:lnTo>
                    <a:pt x="78" y="52"/>
                  </a:lnTo>
                  <a:lnTo>
                    <a:pt x="78" y="52"/>
                  </a:lnTo>
                  <a:lnTo>
                    <a:pt x="78" y="52"/>
                  </a:lnTo>
                  <a:lnTo>
                    <a:pt x="78" y="52"/>
                  </a:lnTo>
                  <a:lnTo>
                    <a:pt x="78" y="52"/>
                  </a:lnTo>
                  <a:lnTo>
                    <a:pt x="78" y="52"/>
                  </a:lnTo>
                  <a:lnTo>
                    <a:pt x="78" y="52"/>
                  </a:lnTo>
                  <a:lnTo>
                    <a:pt x="78" y="52"/>
                  </a:lnTo>
                  <a:lnTo>
                    <a:pt x="78" y="52"/>
                  </a:lnTo>
                  <a:lnTo>
                    <a:pt x="74" y="52"/>
                  </a:lnTo>
                  <a:lnTo>
                    <a:pt x="74" y="52"/>
                  </a:lnTo>
                  <a:lnTo>
                    <a:pt x="74" y="52"/>
                  </a:lnTo>
                  <a:lnTo>
                    <a:pt x="74" y="52"/>
                  </a:lnTo>
                  <a:lnTo>
                    <a:pt x="74" y="48"/>
                  </a:lnTo>
                  <a:lnTo>
                    <a:pt x="72" y="48"/>
                  </a:lnTo>
                  <a:lnTo>
                    <a:pt x="72" y="48"/>
                  </a:lnTo>
                  <a:lnTo>
                    <a:pt x="72" y="48"/>
                  </a:lnTo>
                  <a:lnTo>
                    <a:pt x="72" y="48"/>
                  </a:lnTo>
                  <a:lnTo>
                    <a:pt x="68" y="48"/>
                  </a:lnTo>
                  <a:lnTo>
                    <a:pt x="68" y="44"/>
                  </a:lnTo>
                  <a:lnTo>
                    <a:pt x="68" y="44"/>
                  </a:lnTo>
                  <a:lnTo>
                    <a:pt x="64" y="44"/>
                  </a:lnTo>
                  <a:lnTo>
                    <a:pt x="64" y="40"/>
                  </a:lnTo>
                  <a:lnTo>
                    <a:pt x="60" y="40"/>
                  </a:lnTo>
                  <a:lnTo>
                    <a:pt x="60" y="40"/>
                  </a:lnTo>
                  <a:lnTo>
                    <a:pt x="60" y="40"/>
                  </a:lnTo>
                  <a:lnTo>
                    <a:pt x="56" y="40"/>
                  </a:lnTo>
                  <a:lnTo>
                    <a:pt x="56" y="40"/>
                  </a:lnTo>
                  <a:lnTo>
                    <a:pt x="56" y="40"/>
                  </a:lnTo>
                  <a:lnTo>
                    <a:pt x="56" y="40"/>
                  </a:lnTo>
                  <a:lnTo>
                    <a:pt x="56" y="40"/>
                  </a:lnTo>
                  <a:lnTo>
                    <a:pt x="56" y="36"/>
                  </a:lnTo>
                  <a:lnTo>
                    <a:pt x="56" y="36"/>
                  </a:lnTo>
                  <a:lnTo>
                    <a:pt x="56" y="36"/>
                  </a:lnTo>
                  <a:lnTo>
                    <a:pt x="56" y="36"/>
                  </a:lnTo>
                  <a:lnTo>
                    <a:pt x="56" y="36"/>
                  </a:lnTo>
                  <a:lnTo>
                    <a:pt x="52" y="36"/>
                  </a:lnTo>
                  <a:lnTo>
                    <a:pt x="52" y="36"/>
                  </a:lnTo>
                  <a:lnTo>
                    <a:pt x="48" y="36"/>
                  </a:lnTo>
                  <a:lnTo>
                    <a:pt x="48" y="40"/>
                  </a:lnTo>
                  <a:lnTo>
                    <a:pt x="48" y="40"/>
                  </a:lnTo>
                  <a:lnTo>
                    <a:pt x="48" y="40"/>
                  </a:lnTo>
                  <a:lnTo>
                    <a:pt x="48" y="40"/>
                  </a:lnTo>
                  <a:lnTo>
                    <a:pt x="48" y="40"/>
                  </a:lnTo>
                  <a:lnTo>
                    <a:pt x="46" y="40"/>
                  </a:lnTo>
                  <a:lnTo>
                    <a:pt x="46" y="40"/>
                  </a:lnTo>
                  <a:lnTo>
                    <a:pt x="46" y="40"/>
                  </a:lnTo>
                  <a:lnTo>
                    <a:pt x="46" y="40"/>
                  </a:lnTo>
                  <a:lnTo>
                    <a:pt x="46" y="40"/>
                  </a:lnTo>
                  <a:lnTo>
                    <a:pt x="42" y="40"/>
                  </a:lnTo>
                  <a:lnTo>
                    <a:pt x="42" y="40"/>
                  </a:lnTo>
                  <a:lnTo>
                    <a:pt x="42" y="36"/>
                  </a:lnTo>
                  <a:lnTo>
                    <a:pt x="42" y="36"/>
                  </a:lnTo>
                  <a:lnTo>
                    <a:pt x="38" y="36"/>
                  </a:lnTo>
                  <a:lnTo>
                    <a:pt x="38" y="36"/>
                  </a:lnTo>
                  <a:lnTo>
                    <a:pt x="34" y="36"/>
                  </a:lnTo>
                  <a:lnTo>
                    <a:pt x="34" y="36"/>
                  </a:lnTo>
                  <a:lnTo>
                    <a:pt x="34" y="36"/>
                  </a:lnTo>
                  <a:lnTo>
                    <a:pt x="34" y="36"/>
                  </a:lnTo>
                  <a:lnTo>
                    <a:pt x="34" y="36"/>
                  </a:lnTo>
                  <a:lnTo>
                    <a:pt x="34" y="36"/>
                  </a:lnTo>
                  <a:lnTo>
                    <a:pt x="30" y="36"/>
                  </a:lnTo>
                  <a:lnTo>
                    <a:pt x="30" y="36"/>
                  </a:lnTo>
                  <a:lnTo>
                    <a:pt x="30" y="40"/>
                  </a:lnTo>
                  <a:lnTo>
                    <a:pt x="30" y="40"/>
                  </a:lnTo>
                  <a:lnTo>
                    <a:pt x="30" y="40"/>
                  </a:lnTo>
                  <a:lnTo>
                    <a:pt x="26" y="36"/>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22" y="36"/>
                  </a:lnTo>
                  <a:lnTo>
                    <a:pt x="22" y="36"/>
                  </a:lnTo>
                  <a:lnTo>
                    <a:pt x="18" y="36"/>
                  </a:lnTo>
                  <a:lnTo>
                    <a:pt x="18" y="36"/>
                  </a:lnTo>
                  <a:lnTo>
                    <a:pt x="18" y="36"/>
                  </a:lnTo>
                  <a:lnTo>
                    <a:pt x="16" y="36"/>
                  </a:lnTo>
                  <a:lnTo>
                    <a:pt x="16" y="36"/>
                  </a:lnTo>
                  <a:lnTo>
                    <a:pt x="16" y="36"/>
                  </a:lnTo>
                  <a:lnTo>
                    <a:pt x="12" y="36"/>
                  </a:lnTo>
                  <a:lnTo>
                    <a:pt x="8" y="36"/>
                  </a:lnTo>
                  <a:lnTo>
                    <a:pt x="8" y="40"/>
                  </a:lnTo>
                  <a:lnTo>
                    <a:pt x="4" y="40"/>
                  </a:lnTo>
                  <a:lnTo>
                    <a:pt x="4" y="40"/>
                  </a:lnTo>
                  <a:lnTo>
                    <a:pt x="4" y="40"/>
                  </a:lnTo>
                  <a:lnTo>
                    <a:pt x="4" y="40"/>
                  </a:lnTo>
                  <a:lnTo>
                    <a:pt x="4" y="40"/>
                  </a:lnTo>
                  <a:lnTo>
                    <a:pt x="4" y="40"/>
                  </a:lnTo>
                  <a:lnTo>
                    <a:pt x="4" y="44"/>
                  </a:lnTo>
                  <a:lnTo>
                    <a:pt x="4" y="44"/>
                  </a:lnTo>
                  <a:lnTo>
                    <a:pt x="0" y="44"/>
                  </a:lnTo>
                  <a:lnTo>
                    <a:pt x="0" y="44"/>
                  </a:lnTo>
                  <a:lnTo>
                    <a:pt x="0" y="44"/>
                  </a:lnTo>
                  <a:lnTo>
                    <a:pt x="0" y="44"/>
                  </a:lnTo>
                  <a:lnTo>
                    <a:pt x="0" y="44"/>
                  </a:lnTo>
                  <a:lnTo>
                    <a:pt x="0" y="44"/>
                  </a:lnTo>
                  <a:lnTo>
                    <a:pt x="0" y="44"/>
                  </a:lnTo>
                  <a:lnTo>
                    <a:pt x="0" y="40"/>
                  </a:lnTo>
                  <a:lnTo>
                    <a:pt x="0" y="40"/>
                  </a:lnTo>
                  <a:lnTo>
                    <a:pt x="0" y="40"/>
                  </a:lnTo>
                  <a:lnTo>
                    <a:pt x="0" y="40"/>
                  </a:lnTo>
                  <a:lnTo>
                    <a:pt x="0" y="36"/>
                  </a:lnTo>
                  <a:lnTo>
                    <a:pt x="0" y="32"/>
                  </a:lnTo>
                  <a:lnTo>
                    <a:pt x="0" y="32"/>
                  </a:lnTo>
                  <a:lnTo>
                    <a:pt x="0" y="36"/>
                  </a:lnTo>
                  <a:lnTo>
                    <a:pt x="0" y="36"/>
                  </a:lnTo>
                  <a:lnTo>
                    <a:pt x="0" y="32"/>
                  </a:lnTo>
                  <a:lnTo>
                    <a:pt x="0" y="32"/>
                  </a:lnTo>
                  <a:lnTo>
                    <a:pt x="0" y="32"/>
                  </a:lnTo>
                  <a:lnTo>
                    <a:pt x="0" y="30"/>
                  </a:lnTo>
                  <a:lnTo>
                    <a:pt x="0" y="30"/>
                  </a:lnTo>
                  <a:lnTo>
                    <a:pt x="0" y="30"/>
                  </a:lnTo>
                  <a:lnTo>
                    <a:pt x="0" y="30"/>
                  </a:lnTo>
                  <a:lnTo>
                    <a:pt x="0" y="30"/>
                  </a:lnTo>
                  <a:lnTo>
                    <a:pt x="0" y="26"/>
                  </a:lnTo>
                  <a:lnTo>
                    <a:pt x="0" y="26"/>
                  </a:lnTo>
                  <a:lnTo>
                    <a:pt x="4" y="26"/>
                  </a:lnTo>
                  <a:lnTo>
                    <a:pt x="4" y="26"/>
                  </a:lnTo>
                  <a:lnTo>
                    <a:pt x="4" y="26"/>
                  </a:lnTo>
                  <a:lnTo>
                    <a:pt x="4" y="22"/>
                  </a:lnTo>
                  <a:lnTo>
                    <a:pt x="4" y="22"/>
                  </a:lnTo>
                  <a:lnTo>
                    <a:pt x="4" y="22"/>
                  </a:lnTo>
                  <a:lnTo>
                    <a:pt x="4" y="22"/>
                  </a:lnTo>
                  <a:lnTo>
                    <a:pt x="4" y="22"/>
                  </a:lnTo>
                  <a:lnTo>
                    <a:pt x="4" y="18"/>
                  </a:lnTo>
                  <a:lnTo>
                    <a:pt x="4" y="18"/>
                  </a:lnTo>
                  <a:lnTo>
                    <a:pt x="4" y="18"/>
                  </a:lnTo>
                  <a:lnTo>
                    <a:pt x="4" y="18"/>
                  </a:lnTo>
                  <a:lnTo>
                    <a:pt x="8" y="18"/>
                  </a:lnTo>
                  <a:lnTo>
                    <a:pt x="8" y="14"/>
                  </a:lnTo>
                  <a:lnTo>
                    <a:pt x="8" y="14"/>
                  </a:lnTo>
                  <a:lnTo>
                    <a:pt x="8" y="10"/>
                  </a:lnTo>
                  <a:lnTo>
                    <a:pt x="8" y="10"/>
                  </a:lnTo>
                  <a:lnTo>
                    <a:pt x="8" y="10"/>
                  </a:lnTo>
                  <a:lnTo>
                    <a:pt x="8" y="10"/>
                  </a:lnTo>
                  <a:lnTo>
                    <a:pt x="12" y="10"/>
                  </a:lnTo>
                  <a:lnTo>
                    <a:pt x="12" y="10"/>
                  </a:lnTo>
                  <a:lnTo>
                    <a:pt x="12" y="10"/>
                  </a:lnTo>
                  <a:lnTo>
                    <a:pt x="12" y="10"/>
                  </a:lnTo>
                  <a:lnTo>
                    <a:pt x="12" y="10"/>
                  </a:lnTo>
                  <a:lnTo>
                    <a:pt x="16" y="10"/>
                  </a:lnTo>
                  <a:lnTo>
                    <a:pt x="16" y="10"/>
                  </a:lnTo>
                  <a:lnTo>
                    <a:pt x="16" y="10"/>
                  </a:lnTo>
                  <a:lnTo>
                    <a:pt x="18" y="6"/>
                  </a:lnTo>
                  <a:lnTo>
                    <a:pt x="18" y="6"/>
                  </a:lnTo>
                  <a:lnTo>
                    <a:pt x="22" y="6"/>
                  </a:lnTo>
                  <a:lnTo>
                    <a:pt x="22" y="6"/>
                  </a:lnTo>
                  <a:lnTo>
                    <a:pt x="22" y="6"/>
                  </a:lnTo>
                  <a:lnTo>
                    <a:pt x="22" y="10"/>
                  </a:lnTo>
                  <a:lnTo>
                    <a:pt x="22" y="10"/>
                  </a:lnTo>
                  <a:lnTo>
                    <a:pt x="22" y="10"/>
                  </a:lnTo>
                  <a:lnTo>
                    <a:pt x="22" y="10"/>
                  </a:lnTo>
                  <a:lnTo>
                    <a:pt x="26" y="14"/>
                  </a:lnTo>
                  <a:lnTo>
                    <a:pt x="26" y="14"/>
                  </a:lnTo>
                  <a:lnTo>
                    <a:pt x="26" y="14"/>
                  </a:lnTo>
                  <a:lnTo>
                    <a:pt x="26" y="14"/>
                  </a:lnTo>
                  <a:lnTo>
                    <a:pt x="30" y="14"/>
                  </a:lnTo>
                  <a:lnTo>
                    <a:pt x="30" y="14"/>
                  </a:lnTo>
                  <a:lnTo>
                    <a:pt x="30" y="14"/>
                  </a:lnTo>
                  <a:lnTo>
                    <a:pt x="30" y="18"/>
                  </a:lnTo>
                  <a:lnTo>
                    <a:pt x="30" y="18"/>
                  </a:lnTo>
                  <a:lnTo>
                    <a:pt x="30" y="22"/>
                  </a:lnTo>
                  <a:lnTo>
                    <a:pt x="30" y="22"/>
                  </a:lnTo>
                  <a:lnTo>
                    <a:pt x="30" y="22"/>
                  </a:lnTo>
                  <a:lnTo>
                    <a:pt x="34" y="22"/>
                  </a:lnTo>
                  <a:lnTo>
                    <a:pt x="34" y="22"/>
                  </a:lnTo>
                  <a:lnTo>
                    <a:pt x="38" y="26"/>
                  </a:lnTo>
                  <a:lnTo>
                    <a:pt x="38" y="26"/>
                  </a:lnTo>
                  <a:lnTo>
                    <a:pt x="38" y="26"/>
                  </a:lnTo>
                  <a:lnTo>
                    <a:pt x="38" y="26"/>
                  </a:lnTo>
                  <a:lnTo>
                    <a:pt x="42" y="26"/>
                  </a:lnTo>
                  <a:lnTo>
                    <a:pt x="42" y="26"/>
                  </a:lnTo>
                  <a:lnTo>
                    <a:pt x="42" y="22"/>
                  </a:lnTo>
                  <a:lnTo>
                    <a:pt x="42" y="22"/>
                  </a:lnTo>
                  <a:lnTo>
                    <a:pt x="46" y="22"/>
                  </a:lnTo>
                  <a:lnTo>
                    <a:pt x="46" y="22"/>
                  </a:lnTo>
                  <a:lnTo>
                    <a:pt x="46" y="18"/>
                  </a:lnTo>
                  <a:lnTo>
                    <a:pt x="48" y="18"/>
                  </a:lnTo>
                  <a:lnTo>
                    <a:pt x="48" y="18"/>
                  </a:lnTo>
                  <a:lnTo>
                    <a:pt x="48" y="14"/>
                  </a:lnTo>
                  <a:lnTo>
                    <a:pt x="46" y="10"/>
                  </a:lnTo>
                  <a:lnTo>
                    <a:pt x="46" y="6"/>
                  </a:lnTo>
                  <a:lnTo>
                    <a:pt x="46" y="6"/>
                  </a:lnTo>
                  <a:lnTo>
                    <a:pt x="46" y="6"/>
                  </a:lnTo>
                  <a:lnTo>
                    <a:pt x="46" y="6"/>
                  </a:lnTo>
                  <a:lnTo>
                    <a:pt x="46" y="4"/>
                  </a:lnTo>
                  <a:lnTo>
                    <a:pt x="46" y="4"/>
                  </a:lnTo>
                  <a:lnTo>
                    <a:pt x="46" y="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18" name="Freeform 111"/>
            <p:cNvSpPr>
              <a:spLocks noEditPoints="1"/>
            </p:cNvSpPr>
            <p:nvPr/>
          </p:nvSpPr>
          <p:spPr bwMode="auto">
            <a:xfrm>
              <a:off x="7224911" y="3473962"/>
              <a:ext cx="54006" cy="36612"/>
            </a:xfrm>
            <a:custGeom>
              <a:avLst/>
              <a:gdLst>
                <a:gd name="T0" fmla="*/ 38 w 86"/>
                <a:gd name="T1" fmla="*/ 50 h 56"/>
                <a:gd name="T2" fmla="*/ 34 w 86"/>
                <a:gd name="T3" fmla="*/ 46 h 56"/>
                <a:gd name="T4" fmla="*/ 26 w 86"/>
                <a:gd name="T5" fmla="*/ 46 h 56"/>
                <a:gd name="T6" fmla="*/ 26 w 86"/>
                <a:gd name="T7" fmla="*/ 42 h 56"/>
                <a:gd name="T8" fmla="*/ 30 w 86"/>
                <a:gd name="T9" fmla="*/ 38 h 56"/>
                <a:gd name="T10" fmla="*/ 26 w 86"/>
                <a:gd name="T11" fmla="*/ 30 h 56"/>
                <a:gd name="T12" fmla="*/ 22 w 86"/>
                <a:gd name="T13" fmla="*/ 30 h 56"/>
                <a:gd name="T14" fmla="*/ 18 w 86"/>
                <a:gd name="T15" fmla="*/ 30 h 56"/>
                <a:gd name="T16" fmla="*/ 8 w 86"/>
                <a:gd name="T17" fmla="*/ 26 h 56"/>
                <a:gd name="T18" fmla="*/ 8 w 86"/>
                <a:gd name="T19" fmla="*/ 26 h 56"/>
                <a:gd name="T20" fmla="*/ 4 w 86"/>
                <a:gd name="T21" fmla="*/ 16 h 56"/>
                <a:gd name="T22" fmla="*/ 4 w 86"/>
                <a:gd name="T23" fmla="*/ 12 h 56"/>
                <a:gd name="T24" fmla="*/ 4 w 86"/>
                <a:gd name="T25" fmla="*/ 8 h 56"/>
                <a:gd name="T26" fmla="*/ 8 w 86"/>
                <a:gd name="T27" fmla="*/ 8 h 56"/>
                <a:gd name="T28" fmla="*/ 8 w 86"/>
                <a:gd name="T29" fmla="*/ 4 h 56"/>
                <a:gd name="T30" fmla="*/ 18 w 86"/>
                <a:gd name="T31" fmla="*/ 0 h 56"/>
                <a:gd name="T32" fmla="*/ 22 w 86"/>
                <a:gd name="T33" fmla="*/ 0 h 56"/>
                <a:gd name="T34" fmla="*/ 26 w 86"/>
                <a:gd name="T35" fmla="*/ 0 h 56"/>
                <a:gd name="T36" fmla="*/ 30 w 86"/>
                <a:gd name="T37" fmla="*/ 0 h 56"/>
                <a:gd name="T38" fmla="*/ 30 w 86"/>
                <a:gd name="T39" fmla="*/ 0 h 56"/>
                <a:gd name="T40" fmla="*/ 34 w 86"/>
                <a:gd name="T41" fmla="*/ 0 h 56"/>
                <a:gd name="T42" fmla="*/ 38 w 86"/>
                <a:gd name="T43" fmla="*/ 0 h 56"/>
                <a:gd name="T44" fmla="*/ 44 w 86"/>
                <a:gd name="T45" fmla="*/ 0 h 56"/>
                <a:gd name="T46" fmla="*/ 48 w 86"/>
                <a:gd name="T47" fmla="*/ 4 h 56"/>
                <a:gd name="T48" fmla="*/ 52 w 86"/>
                <a:gd name="T49" fmla="*/ 4 h 56"/>
                <a:gd name="T50" fmla="*/ 56 w 86"/>
                <a:gd name="T51" fmla="*/ 0 h 56"/>
                <a:gd name="T52" fmla="*/ 60 w 86"/>
                <a:gd name="T53" fmla="*/ 0 h 56"/>
                <a:gd name="T54" fmla="*/ 60 w 86"/>
                <a:gd name="T55" fmla="*/ 4 h 56"/>
                <a:gd name="T56" fmla="*/ 68 w 86"/>
                <a:gd name="T57" fmla="*/ 8 h 56"/>
                <a:gd name="T58" fmla="*/ 74 w 86"/>
                <a:gd name="T59" fmla="*/ 12 h 56"/>
                <a:gd name="T60" fmla="*/ 78 w 86"/>
                <a:gd name="T61" fmla="*/ 16 h 56"/>
                <a:gd name="T62" fmla="*/ 82 w 86"/>
                <a:gd name="T63" fmla="*/ 16 h 56"/>
                <a:gd name="T64" fmla="*/ 78 w 86"/>
                <a:gd name="T65" fmla="*/ 24 h 56"/>
                <a:gd name="T66" fmla="*/ 82 w 86"/>
                <a:gd name="T67" fmla="*/ 24 h 56"/>
                <a:gd name="T68" fmla="*/ 82 w 86"/>
                <a:gd name="T69" fmla="*/ 26 h 56"/>
                <a:gd name="T70" fmla="*/ 78 w 86"/>
                <a:gd name="T71" fmla="*/ 30 h 56"/>
                <a:gd name="T72" fmla="*/ 70 w 86"/>
                <a:gd name="T73" fmla="*/ 34 h 56"/>
                <a:gd name="T74" fmla="*/ 70 w 86"/>
                <a:gd name="T75" fmla="*/ 38 h 56"/>
                <a:gd name="T76" fmla="*/ 68 w 86"/>
                <a:gd name="T77" fmla="*/ 42 h 56"/>
                <a:gd name="T78" fmla="*/ 68 w 86"/>
                <a:gd name="T79" fmla="*/ 46 h 56"/>
                <a:gd name="T80" fmla="*/ 70 w 86"/>
                <a:gd name="T81" fmla="*/ 50 h 56"/>
                <a:gd name="T82" fmla="*/ 68 w 86"/>
                <a:gd name="T83" fmla="*/ 50 h 56"/>
                <a:gd name="T84" fmla="*/ 64 w 86"/>
                <a:gd name="T85" fmla="*/ 50 h 56"/>
                <a:gd name="T86" fmla="*/ 60 w 86"/>
                <a:gd name="T87" fmla="*/ 50 h 56"/>
                <a:gd name="T88" fmla="*/ 60 w 86"/>
                <a:gd name="T89" fmla="*/ 50 h 56"/>
                <a:gd name="T90" fmla="*/ 56 w 86"/>
                <a:gd name="T91" fmla="*/ 52 h 56"/>
                <a:gd name="T92" fmla="*/ 52 w 86"/>
                <a:gd name="T93" fmla="*/ 52 h 56"/>
                <a:gd name="T94" fmla="*/ 48 w 86"/>
                <a:gd name="T95" fmla="*/ 52 h 56"/>
                <a:gd name="T96" fmla="*/ 44 w 86"/>
                <a:gd name="T97" fmla="*/ 52 h 56"/>
                <a:gd name="T98" fmla="*/ 42 w 86"/>
                <a:gd name="T99" fmla="*/ 52 h 56"/>
                <a:gd name="T100" fmla="*/ 38 w 86"/>
                <a:gd name="T101" fmla="*/ 52 h 56"/>
                <a:gd name="T102" fmla="*/ 4 w 86"/>
                <a:gd name="T103" fmla="*/ 24 h 56"/>
                <a:gd name="T104" fmla="*/ 4 w 86"/>
                <a:gd name="T105" fmla="*/ 20 h 56"/>
                <a:gd name="T106" fmla="*/ 4 w 86"/>
                <a:gd name="T107" fmla="*/ 16 h 56"/>
                <a:gd name="T108" fmla="*/ 4 w 86"/>
                <a:gd name="T109"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56">
                  <a:moveTo>
                    <a:pt x="38" y="52"/>
                  </a:moveTo>
                  <a:lnTo>
                    <a:pt x="38" y="52"/>
                  </a:lnTo>
                  <a:lnTo>
                    <a:pt x="38" y="52"/>
                  </a:lnTo>
                  <a:lnTo>
                    <a:pt x="38" y="50"/>
                  </a:lnTo>
                  <a:lnTo>
                    <a:pt x="38" y="50"/>
                  </a:lnTo>
                  <a:lnTo>
                    <a:pt x="38" y="50"/>
                  </a:lnTo>
                  <a:lnTo>
                    <a:pt x="38" y="50"/>
                  </a:lnTo>
                  <a:lnTo>
                    <a:pt x="38" y="50"/>
                  </a:lnTo>
                  <a:lnTo>
                    <a:pt x="34" y="46"/>
                  </a:lnTo>
                  <a:lnTo>
                    <a:pt x="34" y="46"/>
                  </a:lnTo>
                  <a:lnTo>
                    <a:pt x="30" y="46"/>
                  </a:lnTo>
                  <a:lnTo>
                    <a:pt x="30" y="46"/>
                  </a:lnTo>
                  <a:lnTo>
                    <a:pt x="30" y="46"/>
                  </a:lnTo>
                  <a:lnTo>
                    <a:pt x="30" y="46"/>
                  </a:lnTo>
                  <a:lnTo>
                    <a:pt x="26" y="46"/>
                  </a:lnTo>
                  <a:lnTo>
                    <a:pt x="26" y="46"/>
                  </a:lnTo>
                  <a:lnTo>
                    <a:pt x="26" y="46"/>
                  </a:lnTo>
                  <a:lnTo>
                    <a:pt x="26" y="42"/>
                  </a:lnTo>
                  <a:lnTo>
                    <a:pt x="26" y="42"/>
                  </a:lnTo>
                  <a:lnTo>
                    <a:pt x="26" y="42"/>
                  </a:lnTo>
                  <a:lnTo>
                    <a:pt x="26" y="42"/>
                  </a:lnTo>
                  <a:lnTo>
                    <a:pt x="26" y="38"/>
                  </a:lnTo>
                  <a:lnTo>
                    <a:pt x="26" y="38"/>
                  </a:lnTo>
                  <a:lnTo>
                    <a:pt x="30" y="38"/>
                  </a:lnTo>
                  <a:lnTo>
                    <a:pt x="30" y="38"/>
                  </a:lnTo>
                  <a:lnTo>
                    <a:pt x="30" y="34"/>
                  </a:lnTo>
                  <a:lnTo>
                    <a:pt x="30" y="34"/>
                  </a:lnTo>
                  <a:lnTo>
                    <a:pt x="30" y="34"/>
                  </a:lnTo>
                  <a:lnTo>
                    <a:pt x="30" y="34"/>
                  </a:lnTo>
                  <a:lnTo>
                    <a:pt x="26" y="30"/>
                  </a:lnTo>
                  <a:lnTo>
                    <a:pt x="26" y="30"/>
                  </a:lnTo>
                  <a:lnTo>
                    <a:pt x="26" y="30"/>
                  </a:lnTo>
                  <a:lnTo>
                    <a:pt x="26" y="30"/>
                  </a:lnTo>
                  <a:lnTo>
                    <a:pt x="22" y="30"/>
                  </a:lnTo>
                  <a:lnTo>
                    <a:pt x="22" y="30"/>
                  </a:lnTo>
                  <a:lnTo>
                    <a:pt x="18" y="30"/>
                  </a:lnTo>
                  <a:lnTo>
                    <a:pt x="18" y="30"/>
                  </a:lnTo>
                  <a:lnTo>
                    <a:pt x="18" y="30"/>
                  </a:lnTo>
                  <a:lnTo>
                    <a:pt x="18" y="30"/>
                  </a:lnTo>
                  <a:lnTo>
                    <a:pt x="18" y="30"/>
                  </a:lnTo>
                  <a:lnTo>
                    <a:pt x="18" y="30"/>
                  </a:lnTo>
                  <a:lnTo>
                    <a:pt x="12" y="26"/>
                  </a:lnTo>
                  <a:lnTo>
                    <a:pt x="12" y="26"/>
                  </a:lnTo>
                  <a:lnTo>
                    <a:pt x="12" y="26"/>
                  </a:lnTo>
                  <a:lnTo>
                    <a:pt x="8" y="26"/>
                  </a:lnTo>
                  <a:lnTo>
                    <a:pt x="8" y="26"/>
                  </a:lnTo>
                  <a:lnTo>
                    <a:pt x="8" y="26"/>
                  </a:lnTo>
                  <a:lnTo>
                    <a:pt x="8" y="26"/>
                  </a:lnTo>
                  <a:lnTo>
                    <a:pt x="8" y="26"/>
                  </a:lnTo>
                  <a:lnTo>
                    <a:pt x="8" y="26"/>
                  </a:lnTo>
                  <a:lnTo>
                    <a:pt x="8" y="26"/>
                  </a:lnTo>
                  <a:lnTo>
                    <a:pt x="8" y="24"/>
                  </a:lnTo>
                  <a:lnTo>
                    <a:pt x="4" y="20"/>
                  </a:lnTo>
                  <a:lnTo>
                    <a:pt x="4" y="16"/>
                  </a:lnTo>
                  <a:lnTo>
                    <a:pt x="4" y="16"/>
                  </a:lnTo>
                  <a:lnTo>
                    <a:pt x="4" y="16"/>
                  </a:lnTo>
                  <a:lnTo>
                    <a:pt x="4" y="16"/>
                  </a:lnTo>
                  <a:lnTo>
                    <a:pt x="4" y="12"/>
                  </a:lnTo>
                  <a:lnTo>
                    <a:pt x="4" y="12"/>
                  </a:lnTo>
                  <a:lnTo>
                    <a:pt x="4" y="12"/>
                  </a:lnTo>
                  <a:lnTo>
                    <a:pt x="4" y="8"/>
                  </a:lnTo>
                  <a:lnTo>
                    <a:pt x="4" y="8"/>
                  </a:lnTo>
                  <a:lnTo>
                    <a:pt x="4" y="8"/>
                  </a:lnTo>
                  <a:lnTo>
                    <a:pt x="4" y="8"/>
                  </a:lnTo>
                  <a:lnTo>
                    <a:pt x="4" y="8"/>
                  </a:lnTo>
                  <a:lnTo>
                    <a:pt x="4" y="8"/>
                  </a:lnTo>
                  <a:lnTo>
                    <a:pt x="4" y="8"/>
                  </a:lnTo>
                  <a:lnTo>
                    <a:pt x="4" y="8"/>
                  </a:lnTo>
                  <a:lnTo>
                    <a:pt x="8" y="8"/>
                  </a:lnTo>
                  <a:lnTo>
                    <a:pt x="8" y="8"/>
                  </a:lnTo>
                  <a:lnTo>
                    <a:pt x="8" y="4"/>
                  </a:lnTo>
                  <a:lnTo>
                    <a:pt x="8" y="4"/>
                  </a:lnTo>
                  <a:lnTo>
                    <a:pt x="8" y="4"/>
                  </a:lnTo>
                  <a:lnTo>
                    <a:pt x="8" y="4"/>
                  </a:lnTo>
                  <a:lnTo>
                    <a:pt x="8" y="4"/>
                  </a:lnTo>
                  <a:lnTo>
                    <a:pt x="8" y="4"/>
                  </a:lnTo>
                  <a:lnTo>
                    <a:pt x="12" y="4"/>
                  </a:lnTo>
                  <a:lnTo>
                    <a:pt x="12" y="0"/>
                  </a:lnTo>
                  <a:lnTo>
                    <a:pt x="16" y="0"/>
                  </a:lnTo>
                  <a:lnTo>
                    <a:pt x="18" y="0"/>
                  </a:lnTo>
                  <a:lnTo>
                    <a:pt x="18" y="0"/>
                  </a:lnTo>
                  <a:lnTo>
                    <a:pt x="18" y="0"/>
                  </a:lnTo>
                  <a:lnTo>
                    <a:pt x="22" y="0"/>
                  </a:lnTo>
                  <a:lnTo>
                    <a:pt x="22" y="0"/>
                  </a:lnTo>
                  <a:lnTo>
                    <a:pt x="22" y="0"/>
                  </a:lnTo>
                  <a:lnTo>
                    <a:pt x="26" y="0"/>
                  </a:lnTo>
                  <a:lnTo>
                    <a:pt x="26" y="0"/>
                  </a:lnTo>
                  <a:lnTo>
                    <a:pt x="26" y="0"/>
                  </a:lnTo>
                  <a:lnTo>
                    <a:pt x="26" y="0"/>
                  </a:lnTo>
                  <a:lnTo>
                    <a:pt x="26" y="0"/>
                  </a:lnTo>
                  <a:lnTo>
                    <a:pt x="26" y="0"/>
                  </a:lnTo>
                  <a:lnTo>
                    <a:pt x="30" y="0"/>
                  </a:lnTo>
                  <a:lnTo>
                    <a:pt x="30" y="0"/>
                  </a:lnTo>
                  <a:lnTo>
                    <a:pt x="30" y="0"/>
                  </a:lnTo>
                  <a:lnTo>
                    <a:pt x="30" y="0"/>
                  </a:lnTo>
                  <a:lnTo>
                    <a:pt x="30" y="0"/>
                  </a:lnTo>
                  <a:lnTo>
                    <a:pt x="30" y="0"/>
                  </a:lnTo>
                  <a:lnTo>
                    <a:pt x="30" y="0"/>
                  </a:lnTo>
                  <a:lnTo>
                    <a:pt x="30" y="0"/>
                  </a:lnTo>
                  <a:lnTo>
                    <a:pt x="30" y="0"/>
                  </a:lnTo>
                  <a:lnTo>
                    <a:pt x="34" y="4"/>
                  </a:lnTo>
                  <a:lnTo>
                    <a:pt x="34" y="4"/>
                  </a:lnTo>
                  <a:lnTo>
                    <a:pt x="34" y="4"/>
                  </a:lnTo>
                  <a:lnTo>
                    <a:pt x="34" y="0"/>
                  </a:lnTo>
                  <a:lnTo>
                    <a:pt x="34" y="0"/>
                  </a:lnTo>
                  <a:lnTo>
                    <a:pt x="38" y="0"/>
                  </a:lnTo>
                  <a:lnTo>
                    <a:pt x="38" y="0"/>
                  </a:lnTo>
                  <a:lnTo>
                    <a:pt x="38" y="0"/>
                  </a:lnTo>
                  <a:lnTo>
                    <a:pt x="38" y="0"/>
                  </a:lnTo>
                  <a:lnTo>
                    <a:pt x="38" y="0"/>
                  </a:lnTo>
                  <a:lnTo>
                    <a:pt x="38" y="0"/>
                  </a:lnTo>
                  <a:lnTo>
                    <a:pt x="42" y="0"/>
                  </a:lnTo>
                  <a:lnTo>
                    <a:pt x="42" y="0"/>
                  </a:lnTo>
                  <a:lnTo>
                    <a:pt x="44" y="0"/>
                  </a:lnTo>
                  <a:lnTo>
                    <a:pt x="44" y="0"/>
                  </a:lnTo>
                  <a:lnTo>
                    <a:pt x="44" y="4"/>
                  </a:lnTo>
                  <a:lnTo>
                    <a:pt x="44" y="4"/>
                  </a:lnTo>
                  <a:lnTo>
                    <a:pt x="48" y="4"/>
                  </a:lnTo>
                  <a:lnTo>
                    <a:pt x="48" y="4"/>
                  </a:lnTo>
                  <a:lnTo>
                    <a:pt x="48" y="4"/>
                  </a:lnTo>
                  <a:lnTo>
                    <a:pt x="48" y="4"/>
                  </a:lnTo>
                  <a:lnTo>
                    <a:pt x="48" y="4"/>
                  </a:lnTo>
                  <a:lnTo>
                    <a:pt x="52" y="4"/>
                  </a:lnTo>
                  <a:lnTo>
                    <a:pt x="52" y="4"/>
                  </a:lnTo>
                  <a:lnTo>
                    <a:pt x="52" y="4"/>
                  </a:lnTo>
                  <a:lnTo>
                    <a:pt x="52" y="4"/>
                  </a:lnTo>
                  <a:lnTo>
                    <a:pt x="52" y="4"/>
                  </a:lnTo>
                  <a:lnTo>
                    <a:pt x="52" y="0"/>
                  </a:lnTo>
                  <a:lnTo>
                    <a:pt x="56" y="0"/>
                  </a:lnTo>
                  <a:lnTo>
                    <a:pt x="56" y="0"/>
                  </a:lnTo>
                  <a:lnTo>
                    <a:pt x="60" y="0"/>
                  </a:lnTo>
                  <a:lnTo>
                    <a:pt x="60" y="0"/>
                  </a:lnTo>
                  <a:lnTo>
                    <a:pt x="60" y="0"/>
                  </a:lnTo>
                  <a:lnTo>
                    <a:pt x="60" y="0"/>
                  </a:lnTo>
                  <a:lnTo>
                    <a:pt x="60" y="0"/>
                  </a:lnTo>
                  <a:lnTo>
                    <a:pt x="60" y="4"/>
                  </a:lnTo>
                  <a:lnTo>
                    <a:pt x="60" y="4"/>
                  </a:lnTo>
                  <a:lnTo>
                    <a:pt x="60" y="4"/>
                  </a:lnTo>
                  <a:lnTo>
                    <a:pt x="60" y="4"/>
                  </a:lnTo>
                  <a:lnTo>
                    <a:pt x="60" y="4"/>
                  </a:lnTo>
                  <a:lnTo>
                    <a:pt x="64" y="4"/>
                  </a:lnTo>
                  <a:lnTo>
                    <a:pt x="64" y="4"/>
                  </a:lnTo>
                  <a:lnTo>
                    <a:pt x="64" y="4"/>
                  </a:lnTo>
                  <a:lnTo>
                    <a:pt x="68" y="4"/>
                  </a:lnTo>
                  <a:lnTo>
                    <a:pt x="68" y="8"/>
                  </a:lnTo>
                  <a:lnTo>
                    <a:pt x="70" y="8"/>
                  </a:lnTo>
                  <a:lnTo>
                    <a:pt x="70" y="8"/>
                  </a:lnTo>
                  <a:lnTo>
                    <a:pt x="70" y="12"/>
                  </a:lnTo>
                  <a:lnTo>
                    <a:pt x="74" y="12"/>
                  </a:lnTo>
                  <a:lnTo>
                    <a:pt x="74" y="12"/>
                  </a:lnTo>
                  <a:lnTo>
                    <a:pt x="74" y="12"/>
                  </a:lnTo>
                  <a:lnTo>
                    <a:pt x="74" y="12"/>
                  </a:lnTo>
                  <a:lnTo>
                    <a:pt x="78" y="12"/>
                  </a:lnTo>
                  <a:lnTo>
                    <a:pt x="78" y="16"/>
                  </a:lnTo>
                  <a:lnTo>
                    <a:pt x="78" y="16"/>
                  </a:lnTo>
                  <a:lnTo>
                    <a:pt x="78" y="16"/>
                  </a:lnTo>
                  <a:lnTo>
                    <a:pt x="78" y="16"/>
                  </a:lnTo>
                  <a:lnTo>
                    <a:pt x="82" y="16"/>
                  </a:lnTo>
                  <a:lnTo>
                    <a:pt x="82" y="16"/>
                  </a:lnTo>
                  <a:lnTo>
                    <a:pt x="82" y="16"/>
                  </a:lnTo>
                  <a:lnTo>
                    <a:pt x="82" y="16"/>
                  </a:lnTo>
                  <a:lnTo>
                    <a:pt x="82" y="16"/>
                  </a:lnTo>
                  <a:lnTo>
                    <a:pt x="82" y="20"/>
                  </a:lnTo>
                  <a:lnTo>
                    <a:pt x="82" y="24"/>
                  </a:lnTo>
                  <a:lnTo>
                    <a:pt x="78" y="24"/>
                  </a:lnTo>
                  <a:lnTo>
                    <a:pt x="82" y="24"/>
                  </a:lnTo>
                  <a:lnTo>
                    <a:pt x="82" y="24"/>
                  </a:lnTo>
                  <a:lnTo>
                    <a:pt x="82" y="24"/>
                  </a:lnTo>
                  <a:lnTo>
                    <a:pt x="82" y="24"/>
                  </a:lnTo>
                  <a:lnTo>
                    <a:pt x="82" y="24"/>
                  </a:lnTo>
                  <a:lnTo>
                    <a:pt x="86" y="24"/>
                  </a:lnTo>
                  <a:lnTo>
                    <a:pt x="86" y="26"/>
                  </a:lnTo>
                  <a:lnTo>
                    <a:pt x="86" y="26"/>
                  </a:lnTo>
                  <a:lnTo>
                    <a:pt x="86" y="26"/>
                  </a:lnTo>
                  <a:lnTo>
                    <a:pt x="82" y="26"/>
                  </a:lnTo>
                  <a:lnTo>
                    <a:pt x="82" y="26"/>
                  </a:lnTo>
                  <a:lnTo>
                    <a:pt x="78" y="26"/>
                  </a:lnTo>
                  <a:lnTo>
                    <a:pt x="78" y="26"/>
                  </a:lnTo>
                  <a:lnTo>
                    <a:pt x="78" y="30"/>
                  </a:lnTo>
                  <a:lnTo>
                    <a:pt x="78" y="30"/>
                  </a:lnTo>
                  <a:lnTo>
                    <a:pt x="74" y="30"/>
                  </a:lnTo>
                  <a:lnTo>
                    <a:pt x="74" y="30"/>
                  </a:lnTo>
                  <a:lnTo>
                    <a:pt x="74" y="30"/>
                  </a:lnTo>
                  <a:lnTo>
                    <a:pt x="70" y="34"/>
                  </a:lnTo>
                  <a:lnTo>
                    <a:pt x="70" y="34"/>
                  </a:lnTo>
                  <a:lnTo>
                    <a:pt x="70" y="34"/>
                  </a:lnTo>
                  <a:lnTo>
                    <a:pt x="70" y="34"/>
                  </a:lnTo>
                  <a:lnTo>
                    <a:pt x="70" y="34"/>
                  </a:lnTo>
                  <a:lnTo>
                    <a:pt x="70" y="38"/>
                  </a:lnTo>
                  <a:lnTo>
                    <a:pt x="70" y="38"/>
                  </a:lnTo>
                  <a:lnTo>
                    <a:pt x="70" y="38"/>
                  </a:lnTo>
                  <a:lnTo>
                    <a:pt x="70" y="42"/>
                  </a:lnTo>
                  <a:lnTo>
                    <a:pt x="70" y="42"/>
                  </a:lnTo>
                  <a:lnTo>
                    <a:pt x="70" y="42"/>
                  </a:lnTo>
                  <a:lnTo>
                    <a:pt x="68" y="42"/>
                  </a:lnTo>
                  <a:lnTo>
                    <a:pt x="68" y="46"/>
                  </a:lnTo>
                  <a:lnTo>
                    <a:pt x="68" y="46"/>
                  </a:lnTo>
                  <a:lnTo>
                    <a:pt x="68" y="46"/>
                  </a:lnTo>
                  <a:lnTo>
                    <a:pt x="68" y="46"/>
                  </a:lnTo>
                  <a:lnTo>
                    <a:pt x="68" y="46"/>
                  </a:lnTo>
                  <a:lnTo>
                    <a:pt x="68" y="46"/>
                  </a:lnTo>
                  <a:lnTo>
                    <a:pt x="70" y="46"/>
                  </a:lnTo>
                  <a:lnTo>
                    <a:pt x="70" y="50"/>
                  </a:lnTo>
                  <a:lnTo>
                    <a:pt x="70" y="50"/>
                  </a:lnTo>
                  <a:lnTo>
                    <a:pt x="70" y="50"/>
                  </a:lnTo>
                  <a:lnTo>
                    <a:pt x="68" y="50"/>
                  </a:lnTo>
                  <a:lnTo>
                    <a:pt x="68" y="50"/>
                  </a:lnTo>
                  <a:lnTo>
                    <a:pt x="68" y="50"/>
                  </a:lnTo>
                  <a:lnTo>
                    <a:pt x="68" y="50"/>
                  </a:lnTo>
                  <a:lnTo>
                    <a:pt x="68" y="50"/>
                  </a:lnTo>
                  <a:lnTo>
                    <a:pt x="68" y="46"/>
                  </a:lnTo>
                  <a:lnTo>
                    <a:pt x="68" y="46"/>
                  </a:lnTo>
                  <a:lnTo>
                    <a:pt x="68" y="46"/>
                  </a:lnTo>
                  <a:lnTo>
                    <a:pt x="64" y="46"/>
                  </a:lnTo>
                  <a:lnTo>
                    <a:pt x="64" y="50"/>
                  </a:lnTo>
                  <a:lnTo>
                    <a:pt x="64" y="50"/>
                  </a:lnTo>
                  <a:lnTo>
                    <a:pt x="64" y="50"/>
                  </a:lnTo>
                  <a:lnTo>
                    <a:pt x="64" y="50"/>
                  </a:lnTo>
                  <a:lnTo>
                    <a:pt x="64" y="50"/>
                  </a:lnTo>
                  <a:lnTo>
                    <a:pt x="60" y="50"/>
                  </a:lnTo>
                  <a:lnTo>
                    <a:pt x="60" y="50"/>
                  </a:lnTo>
                  <a:lnTo>
                    <a:pt x="60" y="50"/>
                  </a:lnTo>
                  <a:lnTo>
                    <a:pt x="60" y="50"/>
                  </a:lnTo>
                  <a:lnTo>
                    <a:pt x="60" y="50"/>
                  </a:lnTo>
                  <a:lnTo>
                    <a:pt x="60" y="50"/>
                  </a:lnTo>
                  <a:lnTo>
                    <a:pt x="56" y="50"/>
                  </a:lnTo>
                  <a:lnTo>
                    <a:pt x="56" y="50"/>
                  </a:lnTo>
                  <a:lnTo>
                    <a:pt x="56" y="52"/>
                  </a:lnTo>
                  <a:lnTo>
                    <a:pt x="56" y="52"/>
                  </a:lnTo>
                  <a:lnTo>
                    <a:pt x="56" y="52"/>
                  </a:lnTo>
                  <a:lnTo>
                    <a:pt x="56" y="52"/>
                  </a:lnTo>
                  <a:lnTo>
                    <a:pt x="56" y="52"/>
                  </a:lnTo>
                  <a:lnTo>
                    <a:pt x="56" y="52"/>
                  </a:lnTo>
                  <a:lnTo>
                    <a:pt x="52" y="52"/>
                  </a:lnTo>
                  <a:lnTo>
                    <a:pt x="52" y="52"/>
                  </a:lnTo>
                  <a:lnTo>
                    <a:pt x="52" y="52"/>
                  </a:lnTo>
                  <a:lnTo>
                    <a:pt x="52" y="56"/>
                  </a:lnTo>
                  <a:lnTo>
                    <a:pt x="48" y="56"/>
                  </a:lnTo>
                  <a:lnTo>
                    <a:pt x="48" y="52"/>
                  </a:lnTo>
                  <a:lnTo>
                    <a:pt x="48" y="52"/>
                  </a:lnTo>
                  <a:lnTo>
                    <a:pt x="48" y="52"/>
                  </a:lnTo>
                  <a:lnTo>
                    <a:pt x="48" y="52"/>
                  </a:lnTo>
                  <a:lnTo>
                    <a:pt x="48" y="52"/>
                  </a:lnTo>
                  <a:lnTo>
                    <a:pt x="48" y="52"/>
                  </a:lnTo>
                  <a:lnTo>
                    <a:pt x="44" y="52"/>
                  </a:lnTo>
                  <a:lnTo>
                    <a:pt x="44" y="52"/>
                  </a:lnTo>
                  <a:lnTo>
                    <a:pt x="44" y="52"/>
                  </a:lnTo>
                  <a:lnTo>
                    <a:pt x="44" y="52"/>
                  </a:lnTo>
                  <a:lnTo>
                    <a:pt x="42" y="52"/>
                  </a:lnTo>
                  <a:lnTo>
                    <a:pt x="42" y="52"/>
                  </a:lnTo>
                  <a:lnTo>
                    <a:pt x="42" y="52"/>
                  </a:lnTo>
                  <a:lnTo>
                    <a:pt x="38" y="52"/>
                  </a:lnTo>
                  <a:lnTo>
                    <a:pt x="38" y="52"/>
                  </a:lnTo>
                  <a:lnTo>
                    <a:pt x="38" y="52"/>
                  </a:lnTo>
                  <a:lnTo>
                    <a:pt x="38" y="52"/>
                  </a:lnTo>
                  <a:lnTo>
                    <a:pt x="38" y="52"/>
                  </a:lnTo>
                  <a:lnTo>
                    <a:pt x="38" y="52"/>
                  </a:lnTo>
                  <a:close/>
                  <a:moveTo>
                    <a:pt x="4" y="26"/>
                  </a:moveTo>
                  <a:lnTo>
                    <a:pt x="0" y="26"/>
                  </a:lnTo>
                  <a:lnTo>
                    <a:pt x="4" y="24"/>
                  </a:lnTo>
                  <a:lnTo>
                    <a:pt x="4" y="24"/>
                  </a:lnTo>
                  <a:lnTo>
                    <a:pt x="4" y="24"/>
                  </a:lnTo>
                  <a:lnTo>
                    <a:pt x="4" y="24"/>
                  </a:lnTo>
                  <a:lnTo>
                    <a:pt x="4" y="20"/>
                  </a:lnTo>
                  <a:lnTo>
                    <a:pt x="4" y="20"/>
                  </a:lnTo>
                  <a:lnTo>
                    <a:pt x="4" y="20"/>
                  </a:lnTo>
                  <a:lnTo>
                    <a:pt x="4" y="16"/>
                  </a:lnTo>
                  <a:lnTo>
                    <a:pt x="4" y="16"/>
                  </a:lnTo>
                  <a:lnTo>
                    <a:pt x="4" y="16"/>
                  </a:lnTo>
                  <a:lnTo>
                    <a:pt x="4" y="16"/>
                  </a:lnTo>
                  <a:lnTo>
                    <a:pt x="4" y="20"/>
                  </a:lnTo>
                  <a:lnTo>
                    <a:pt x="4" y="20"/>
                  </a:lnTo>
                  <a:lnTo>
                    <a:pt x="4" y="24"/>
                  </a:lnTo>
                  <a:lnTo>
                    <a:pt x="4" y="24"/>
                  </a:lnTo>
                  <a:lnTo>
                    <a:pt x="4" y="26"/>
                  </a:lnTo>
                  <a:lnTo>
                    <a:pt x="4" y="26"/>
                  </a:lnTo>
                  <a:lnTo>
                    <a:pt x="4" y="2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19" name="Freeform 112"/>
            <p:cNvSpPr>
              <a:spLocks/>
            </p:cNvSpPr>
            <p:nvPr/>
          </p:nvSpPr>
          <p:spPr bwMode="auto">
            <a:xfrm>
              <a:off x="7091779" y="3562878"/>
              <a:ext cx="6280" cy="9153"/>
            </a:xfrm>
            <a:custGeom>
              <a:avLst/>
              <a:gdLst>
                <a:gd name="T0" fmla="*/ 6 w 10"/>
                <a:gd name="T1" fmla="*/ 10 h 14"/>
                <a:gd name="T2" fmla="*/ 6 w 10"/>
                <a:gd name="T3" fmla="*/ 14 h 14"/>
                <a:gd name="T4" fmla="*/ 6 w 10"/>
                <a:gd name="T5" fmla="*/ 14 h 14"/>
                <a:gd name="T6" fmla="*/ 6 w 10"/>
                <a:gd name="T7" fmla="*/ 14 h 14"/>
                <a:gd name="T8" fmla="*/ 6 w 10"/>
                <a:gd name="T9" fmla="*/ 14 h 14"/>
                <a:gd name="T10" fmla="*/ 6 w 10"/>
                <a:gd name="T11" fmla="*/ 10 h 14"/>
                <a:gd name="T12" fmla="*/ 6 w 10"/>
                <a:gd name="T13" fmla="*/ 10 h 14"/>
                <a:gd name="T14" fmla="*/ 4 w 10"/>
                <a:gd name="T15" fmla="*/ 10 h 14"/>
                <a:gd name="T16" fmla="*/ 4 w 10"/>
                <a:gd name="T17" fmla="*/ 14 h 14"/>
                <a:gd name="T18" fmla="*/ 4 w 10"/>
                <a:gd name="T19" fmla="*/ 14 h 14"/>
                <a:gd name="T20" fmla="*/ 4 w 10"/>
                <a:gd name="T21" fmla="*/ 14 h 14"/>
                <a:gd name="T22" fmla="*/ 0 w 10"/>
                <a:gd name="T23" fmla="*/ 14 h 14"/>
                <a:gd name="T24" fmla="*/ 0 w 10"/>
                <a:gd name="T25" fmla="*/ 10 h 14"/>
                <a:gd name="T26" fmla="*/ 0 w 10"/>
                <a:gd name="T27" fmla="*/ 10 h 14"/>
                <a:gd name="T28" fmla="*/ 0 w 10"/>
                <a:gd name="T29" fmla="*/ 10 h 14"/>
                <a:gd name="T30" fmla="*/ 0 w 10"/>
                <a:gd name="T31" fmla="*/ 10 h 14"/>
                <a:gd name="T32" fmla="*/ 0 w 10"/>
                <a:gd name="T33" fmla="*/ 10 h 14"/>
                <a:gd name="T34" fmla="*/ 0 w 10"/>
                <a:gd name="T35" fmla="*/ 10 h 14"/>
                <a:gd name="T36" fmla="*/ 0 w 10"/>
                <a:gd name="T37" fmla="*/ 10 h 14"/>
                <a:gd name="T38" fmla="*/ 0 w 10"/>
                <a:gd name="T39" fmla="*/ 6 h 14"/>
                <a:gd name="T40" fmla="*/ 0 w 10"/>
                <a:gd name="T41" fmla="*/ 6 h 14"/>
                <a:gd name="T42" fmla="*/ 0 w 10"/>
                <a:gd name="T43" fmla="*/ 6 h 14"/>
                <a:gd name="T44" fmla="*/ 0 w 10"/>
                <a:gd name="T45" fmla="*/ 6 h 14"/>
                <a:gd name="T46" fmla="*/ 0 w 10"/>
                <a:gd name="T47" fmla="*/ 6 h 14"/>
                <a:gd name="T48" fmla="*/ 0 w 10"/>
                <a:gd name="T49" fmla="*/ 2 h 14"/>
                <a:gd name="T50" fmla="*/ 0 w 10"/>
                <a:gd name="T51" fmla="*/ 2 h 14"/>
                <a:gd name="T52" fmla="*/ 0 w 10"/>
                <a:gd name="T53" fmla="*/ 2 h 14"/>
                <a:gd name="T54" fmla="*/ 0 w 10"/>
                <a:gd name="T55" fmla="*/ 0 h 14"/>
                <a:gd name="T56" fmla="*/ 0 w 10"/>
                <a:gd name="T57" fmla="*/ 0 h 14"/>
                <a:gd name="T58" fmla="*/ 4 w 10"/>
                <a:gd name="T59" fmla="*/ 0 h 14"/>
                <a:gd name="T60" fmla="*/ 4 w 10"/>
                <a:gd name="T61" fmla="*/ 0 h 14"/>
                <a:gd name="T62" fmla="*/ 4 w 10"/>
                <a:gd name="T63" fmla="*/ 0 h 14"/>
                <a:gd name="T64" fmla="*/ 4 w 10"/>
                <a:gd name="T65" fmla="*/ 0 h 14"/>
                <a:gd name="T66" fmla="*/ 4 w 10"/>
                <a:gd name="T67" fmla="*/ 0 h 14"/>
                <a:gd name="T68" fmla="*/ 4 w 10"/>
                <a:gd name="T69" fmla="*/ 0 h 14"/>
                <a:gd name="T70" fmla="*/ 4 w 10"/>
                <a:gd name="T71" fmla="*/ 0 h 14"/>
                <a:gd name="T72" fmla="*/ 4 w 10"/>
                <a:gd name="T73" fmla="*/ 0 h 14"/>
                <a:gd name="T74" fmla="*/ 4 w 10"/>
                <a:gd name="T75" fmla="*/ 0 h 14"/>
                <a:gd name="T76" fmla="*/ 4 w 10"/>
                <a:gd name="T77" fmla="*/ 2 h 14"/>
                <a:gd name="T78" fmla="*/ 4 w 10"/>
                <a:gd name="T79" fmla="*/ 2 h 14"/>
                <a:gd name="T80" fmla="*/ 4 w 10"/>
                <a:gd name="T81" fmla="*/ 2 h 14"/>
                <a:gd name="T82" fmla="*/ 6 w 10"/>
                <a:gd name="T83" fmla="*/ 2 h 14"/>
                <a:gd name="T84" fmla="*/ 6 w 10"/>
                <a:gd name="T85" fmla="*/ 2 h 14"/>
                <a:gd name="T86" fmla="*/ 6 w 10"/>
                <a:gd name="T87" fmla="*/ 6 h 14"/>
                <a:gd name="T88" fmla="*/ 6 w 10"/>
                <a:gd name="T89" fmla="*/ 6 h 14"/>
                <a:gd name="T90" fmla="*/ 6 w 10"/>
                <a:gd name="T91" fmla="*/ 6 h 14"/>
                <a:gd name="T92" fmla="*/ 6 w 10"/>
                <a:gd name="T93" fmla="*/ 6 h 14"/>
                <a:gd name="T94" fmla="*/ 10 w 10"/>
                <a:gd name="T95" fmla="*/ 6 h 14"/>
                <a:gd name="T96" fmla="*/ 10 w 10"/>
                <a:gd name="T97" fmla="*/ 6 h 14"/>
                <a:gd name="T98" fmla="*/ 10 w 10"/>
                <a:gd name="T99" fmla="*/ 6 h 14"/>
                <a:gd name="T100" fmla="*/ 10 w 10"/>
                <a:gd name="T101" fmla="*/ 6 h 14"/>
                <a:gd name="T102" fmla="*/ 6 w 10"/>
                <a:gd name="T103" fmla="*/ 10 h 14"/>
                <a:gd name="T104" fmla="*/ 6 w 10"/>
                <a:gd name="T105" fmla="*/ 10 h 14"/>
                <a:gd name="T106" fmla="*/ 6 w 10"/>
                <a:gd name="T107" fmla="*/ 10 h 14"/>
                <a:gd name="T108" fmla="*/ 6 w 10"/>
                <a:gd name="T10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 h="14">
                  <a:moveTo>
                    <a:pt x="6" y="10"/>
                  </a:moveTo>
                  <a:lnTo>
                    <a:pt x="6" y="14"/>
                  </a:lnTo>
                  <a:lnTo>
                    <a:pt x="6" y="14"/>
                  </a:lnTo>
                  <a:lnTo>
                    <a:pt x="6" y="14"/>
                  </a:lnTo>
                  <a:lnTo>
                    <a:pt x="6" y="14"/>
                  </a:lnTo>
                  <a:lnTo>
                    <a:pt x="6" y="10"/>
                  </a:lnTo>
                  <a:lnTo>
                    <a:pt x="6" y="10"/>
                  </a:lnTo>
                  <a:lnTo>
                    <a:pt x="4" y="10"/>
                  </a:lnTo>
                  <a:lnTo>
                    <a:pt x="4" y="14"/>
                  </a:lnTo>
                  <a:lnTo>
                    <a:pt x="4" y="14"/>
                  </a:lnTo>
                  <a:lnTo>
                    <a:pt x="4" y="14"/>
                  </a:lnTo>
                  <a:lnTo>
                    <a:pt x="0" y="14"/>
                  </a:lnTo>
                  <a:lnTo>
                    <a:pt x="0" y="10"/>
                  </a:lnTo>
                  <a:lnTo>
                    <a:pt x="0" y="10"/>
                  </a:lnTo>
                  <a:lnTo>
                    <a:pt x="0" y="10"/>
                  </a:lnTo>
                  <a:lnTo>
                    <a:pt x="0" y="10"/>
                  </a:lnTo>
                  <a:lnTo>
                    <a:pt x="0" y="10"/>
                  </a:lnTo>
                  <a:lnTo>
                    <a:pt x="0" y="10"/>
                  </a:lnTo>
                  <a:lnTo>
                    <a:pt x="0" y="10"/>
                  </a:lnTo>
                  <a:lnTo>
                    <a:pt x="0" y="6"/>
                  </a:lnTo>
                  <a:lnTo>
                    <a:pt x="0" y="6"/>
                  </a:lnTo>
                  <a:lnTo>
                    <a:pt x="0" y="6"/>
                  </a:lnTo>
                  <a:lnTo>
                    <a:pt x="0" y="6"/>
                  </a:lnTo>
                  <a:lnTo>
                    <a:pt x="0" y="6"/>
                  </a:lnTo>
                  <a:lnTo>
                    <a:pt x="0" y="2"/>
                  </a:lnTo>
                  <a:lnTo>
                    <a:pt x="0" y="2"/>
                  </a:lnTo>
                  <a:lnTo>
                    <a:pt x="0" y="2"/>
                  </a:lnTo>
                  <a:lnTo>
                    <a:pt x="0" y="0"/>
                  </a:lnTo>
                  <a:lnTo>
                    <a:pt x="0" y="0"/>
                  </a:lnTo>
                  <a:lnTo>
                    <a:pt x="4" y="0"/>
                  </a:lnTo>
                  <a:lnTo>
                    <a:pt x="4" y="0"/>
                  </a:lnTo>
                  <a:lnTo>
                    <a:pt x="4" y="0"/>
                  </a:lnTo>
                  <a:lnTo>
                    <a:pt x="4" y="0"/>
                  </a:lnTo>
                  <a:lnTo>
                    <a:pt x="4" y="0"/>
                  </a:lnTo>
                  <a:lnTo>
                    <a:pt x="4" y="0"/>
                  </a:lnTo>
                  <a:lnTo>
                    <a:pt x="4" y="0"/>
                  </a:lnTo>
                  <a:lnTo>
                    <a:pt x="4" y="0"/>
                  </a:lnTo>
                  <a:lnTo>
                    <a:pt x="4" y="0"/>
                  </a:lnTo>
                  <a:lnTo>
                    <a:pt x="4" y="2"/>
                  </a:lnTo>
                  <a:lnTo>
                    <a:pt x="4" y="2"/>
                  </a:lnTo>
                  <a:lnTo>
                    <a:pt x="4" y="2"/>
                  </a:lnTo>
                  <a:lnTo>
                    <a:pt x="6" y="2"/>
                  </a:lnTo>
                  <a:lnTo>
                    <a:pt x="6" y="2"/>
                  </a:lnTo>
                  <a:lnTo>
                    <a:pt x="6" y="6"/>
                  </a:lnTo>
                  <a:lnTo>
                    <a:pt x="6" y="6"/>
                  </a:lnTo>
                  <a:lnTo>
                    <a:pt x="6" y="6"/>
                  </a:lnTo>
                  <a:lnTo>
                    <a:pt x="6" y="6"/>
                  </a:lnTo>
                  <a:lnTo>
                    <a:pt x="10" y="6"/>
                  </a:lnTo>
                  <a:lnTo>
                    <a:pt x="10" y="6"/>
                  </a:lnTo>
                  <a:lnTo>
                    <a:pt x="10" y="6"/>
                  </a:lnTo>
                  <a:lnTo>
                    <a:pt x="10" y="6"/>
                  </a:lnTo>
                  <a:lnTo>
                    <a:pt x="6" y="10"/>
                  </a:lnTo>
                  <a:lnTo>
                    <a:pt x="6" y="10"/>
                  </a:lnTo>
                  <a:lnTo>
                    <a:pt x="6" y="10"/>
                  </a:lnTo>
                  <a:lnTo>
                    <a:pt x="6" y="1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20" name="Freeform 113"/>
            <p:cNvSpPr>
              <a:spLocks/>
            </p:cNvSpPr>
            <p:nvPr/>
          </p:nvSpPr>
          <p:spPr bwMode="auto">
            <a:xfrm>
              <a:off x="7222399" y="3663562"/>
              <a:ext cx="21351" cy="19614"/>
            </a:xfrm>
            <a:custGeom>
              <a:avLst/>
              <a:gdLst>
                <a:gd name="T0" fmla="*/ 0 w 34"/>
                <a:gd name="T1" fmla="*/ 12 h 30"/>
                <a:gd name="T2" fmla="*/ 4 w 34"/>
                <a:gd name="T3" fmla="*/ 12 h 30"/>
                <a:gd name="T4" fmla="*/ 4 w 34"/>
                <a:gd name="T5" fmla="*/ 8 h 30"/>
                <a:gd name="T6" fmla="*/ 4 w 34"/>
                <a:gd name="T7" fmla="*/ 8 h 30"/>
                <a:gd name="T8" fmla="*/ 4 w 34"/>
                <a:gd name="T9" fmla="*/ 4 h 30"/>
                <a:gd name="T10" fmla="*/ 8 w 34"/>
                <a:gd name="T11" fmla="*/ 4 h 30"/>
                <a:gd name="T12" fmla="*/ 12 w 34"/>
                <a:gd name="T13" fmla="*/ 4 h 30"/>
                <a:gd name="T14" fmla="*/ 12 w 34"/>
                <a:gd name="T15" fmla="*/ 4 h 30"/>
                <a:gd name="T16" fmla="*/ 16 w 34"/>
                <a:gd name="T17" fmla="*/ 4 h 30"/>
                <a:gd name="T18" fmla="*/ 16 w 34"/>
                <a:gd name="T19" fmla="*/ 4 h 30"/>
                <a:gd name="T20" fmla="*/ 20 w 34"/>
                <a:gd name="T21" fmla="*/ 0 h 30"/>
                <a:gd name="T22" fmla="*/ 22 w 34"/>
                <a:gd name="T23" fmla="*/ 0 h 30"/>
                <a:gd name="T24" fmla="*/ 22 w 34"/>
                <a:gd name="T25" fmla="*/ 0 h 30"/>
                <a:gd name="T26" fmla="*/ 26 w 34"/>
                <a:gd name="T27" fmla="*/ 0 h 30"/>
                <a:gd name="T28" fmla="*/ 26 w 34"/>
                <a:gd name="T29" fmla="*/ 4 h 30"/>
                <a:gd name="T30" fmla="*/ 30 w 34"/>
                <a:gd name="T31" fmla="*/ 4 h 30"/>
                <a:gd name="T32" fmla="*/ 34 w 34"/>
                <a:gd name="T33" fmla="*/ 8 h 30"/>
                <a:gd name="T34" fmla="*/ 34 w 34"/>
                <a:gd name="T35" fmla="*/ 12 h 30"/>
                <a:gd name="T36" fmla="*/ 34 w 34"/>
                <a:gd name="T37" fmla="*/ 12 h 30"/>
                <a:gd name="T38" fmla="*/ 34 w 34"/>
                <a:gd name="T39" fmla="*/ 12 h 30"/>
                <a:gd name="T40" fmla="*/ 34 w 34"/>
                <a:gd name="T41" fmla="*/ 16 h 30"/>
                <a:gd name="T42" fmla="*/ 34 w 34"/>
                <a:gd name="T43" fmla="*/ 16 h 30"/>
                <a:gd name="T44" fmla="*/ 34 w 34"/>
                <a:gd name="T45" fmla="*/ 20 h 30"/>
                <a:gd name="T46" fmla="*/ 34 w 34"/>
                <a:gd name="T47" fmla="*/ 20 h 30"/>
                <a:gd name="T48" fmla="*/ 34 w 34"/>
                <a:gd name="T49" fmla="*/ 20 h 30"/>
                <a:gd name="T50" fmla="*/ 30 w 34"/>
                <a:gd name="T51" fmla="*/ 24 h 30"/>
                <a:gd name="T52" fmla="*/ 30 w 34"/>
                <a:gd name="T53" fmla="*/ 24 h 30"/>
                <a:gd name="T54" fmla="*/ 30 w 34"/>
                <a:gd name="T55" fmla="*/ 26 h 30"/>
                <a:gd name="T56" fmla="*/ 26 w 34"/>
                <a:gd name="T57" fmla="*/ 26 h 30"/>
                <a:gd name="T58" fmla="*/ 26 w 34"/>
                <a:gd name="T59" fmla="*/ 24 h 30"/>
                <a:gd name="T60" fmla="*/ 22 w 34"/>
                <a:gd name="T61" fmla="*/ 24 h 30"/>
                <a:gd name="T62" fmla="*/ 20 w 34"/>
                <a:gd name="T63" fmla="*/ 26 h 30"/>
                <a:gd name="T64" fmla="*/ 20 w 34"/>
                <a:gd name="T65" fmla="*/ 30 h 30"/>
                <a:gd name="T66" fmla="*/ 16 w 34"/>
                <a:gd name="T67" fmla="*/ 30 h 30"/>
                <a:gd name="T68" fmla="*/ 16 w 34"/>
                <a:gd name="T69" fmla="*/ 30 h 30"/>
                <a:gd name="T70" fmla="*/ 12 w 34"/>
                <a:gd name="T71" fmla="*/ 30 h 30"/>
                <a:gd name="T72" fmla="*/ 12 w 34"/>
                <a:gd name="T73" fmla="*/ 30 h 30"/>
                <a:gd name="T74" fmla="*/ 8 w 34"/>
                <a:gd name="T75" fmla="*/ 30 h 30"/>
                <a:gd name="T76" fmla="*/ 8 w 34"/>
                <a:gd name="T77" fmla="*/ 30 h 30"/>
                <a:gd name="T78" fmla="*/ 4 w 34"/>
                <a:gd name="T79" fmla="*/ 30 h 30"/>
                <a:gd name="T80" fmla="*/ 4 w 34"/>
                <a:gd name="T81" fmla="*/ 30 h 30"/>
                <a:gd name="T82" fmla="*/ 4 w 34"/>
                <a:gd name="T83" fmla="*/ 30 h 30"/>
                <a:gd name="T84" fmla="*/ 0 w 34"/>
                <a:gd name="T85" fmla="*/ 26 h 30"/>
                <a:gd name="T86" fmla="*/ 0 w 34"/>
                <a:gd name="T87" fmla="*/ 24 h 30"/>
                <a:gd name="T88" fmla="*/ 0 w 34"/>
                <a:gd name="T89" fmla="*/ 20 h 30"/>
                <a:gd name="T90" fmla="*/ 0 w 34"/>
                <a:gd name="T91" fmla="*/ 20 h 30"/>
                <a:gd name="T92" fmla="*/ 0 w 34"/>
                <a:gd name="T93" fmla="*/ 20 h 30"/>
                <a:gd name="T94" fmla="*/ 0 w 34"/>
                <a:gd name="T95" fmla="*/ 20 h 30"/>
                <a:gd name="T96" fmla="*/ 0 w 34"/>
                <a:gd name="T97" fmla="*/ 16 h 30"/>
                <a:gd name="T98" fmla="*/ 0 w 34"/>
                <a:gd name="T99" fmla="*/ 12 h 30"/>
                <a:gd name="T100" fmla="*/ 0 w 34"/>
                <a:gd name="T101"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30">
                  <a:moveTo>
                    <a:pt x="0" y="12"/>
                  </a:moveTo>
                  <a:lnTo>
                    <a:pt x="0" y="12"/>
                  </a:lnTo>
                  <a:lnTo>
                    <a:pt x="0" y="12"/>
                  </a:lnTo>
                  <a:lnTo>
                    <a:pt x="4" y="12"/>
                  </a:lnTo>
                  <a:lnTo>
                    <a:pt x="4" y="12"/>
                  </a:lnTo>
                  <a:lnTo>
                    <a:pt x="4" y="8"/>
                  </a:lnTo>
                  <a:lnTo>
                    <a:pt x="4" y="8"/>
                  </a:lnTo>
                  <a:lnTo>
                    <a:pt x="4" y="8"/>
                  </a:lnTo>
                  <a:lnTo>
                    <a:pt x="4" y="8"/>
                  </a:lnTo>
                  <a:lnTo>
                    <a:pt x="4" y="4"/>
                  </a:lnTo>
                  <a:lnTo>
                    <a:pt x="8" y="4"/>
                  </a:lnTo>
                  <a:lnTo>
                    <a:pt x="8" y="4"/>
                  </a:lnTo>
                  <a:lnTo>
                    <a:pt x="12" y="4"/>
                  </a:lnTo>
                  <a:lnTo>
                    <a:pt x="12" y="4"/>
                  </a:lnTo>
                  <a:lnTo>
                    <a:pt x="12" y="4"/>
                  </a:lnTo>
                  <a:lnTo>
                    <a:pt x="12" y="4"/>
                  </a:lnTo>
                  <a:lnTo>
                    <a:pt x="16" y="4"/>
                  </a:lnTo>
                  <a:lnTo>
                    <a:pt x="16" y="4"/>
                  </a:lnTo>
                  <a:lnTo>
                    <a:pt x="16" y="4"/>
                  </a:lnTo>
                  <a:lnTo>
                    <a:pt x="16" y="4"/>
                  </a:lnTo>
                  <a:lnTo>
                    <a:pt x="20" y="4"/>
                  </a:lnTo>
                  <a:lnTo>
                    <a:pt x="20" y="0"/>
                  </a:lnTo>
                  <a:lnTo>
                    <a:pt x="20" y="0"/>
                  </a:lnTo>
                  <a:lnTo>
                    <a:pt x="22" y="0"/>
                  </a:lnTo>
                  <a:lnTo>
                    <a:pt x="22" y="0"/>
                  </a:lnTo>
                  <a:lnTo>
                    <a:pt x="22" y="0"/>
                  </a:lnTo>
                  <a:lnTo>
                    <a:pt x="22" y="0"/>
                  </a:lnTo>
                  <a:lnTo>
                    <a:pt x="26" y="0"/>
                  </a:lnTo>
                  <a:lnTo>
                    <a:pt x="26" y="0"/>
                  </a:lnTo>
                  <a:lnTo>
                    <a:pt x="26" y="4"/>
                  </a:lnTo>
                  <a:lnTo>
                    <a:pt x="26" y="4"/>
                  </a:lnTo>
                  <a:lnTo>
                    <a:pt x="30" y="4"/>
                  </a:lnTo>
                  <a:lnTo>
                    <a:pt x="30" y="8"/>
                  </a:lnTo>
                  <a:lnTo>
                    <a:pt x="34" y="8"/>
                  </a:lnTo>
                  <a:lnTo>
                    <a:pt x="34" y="8"/>
                  </a:lnTo>
                  <a:lnTo>
                    <a:pt x="34" y="12"/>
                  </a:lnTo>
                  <a:lnTo>
                    <a:pt x="34" y="12"/>
                  </a:lnTo>
                  <a:lnTo>
                    <a:pt x="34" y="12"/>
                  </a:lnTo>
                  <a:lnTo>
                    <a:pt x="34" y="12"/>
                  </a:lnTo>
                  <a:lnTo>
                    <a:pt x="34" y="12"/>
                  </a:lnTo>
                  <a:lnTo>
                    <a:pt x="34" y="16"/>
                  </a:lnTo>
                  <a:lnTo>
                    <a:pt x="34" y="16"/>
                  </a:lnTo>
                  <a:lnTo>
                    <a:pt x="34" y="16"/>
                  </a:lnTo>
                  <a:lnTo>
                    <a:pt x="34" y="16"/>
                  </a:lnTo>
                  <a:lnTo>
                    <a:pt x="34" y="20"/>
                  </a:lnTo>
                  <a:lnTo>
                    <a:pt x="34" y="20"/>
                  </a:lnTo>
                  <a:lnTo>
                    <a:pt x="34" y="20"/>
                  </a:lnTo>
                  <a:lnTo>
                    <a:pt x="34" y="20"/>
                  </a:lnTo>
                  <a:lnTo>
                    <a:pt x="34" y="20"/>
                  </a:lnTo>
                  <a:lnTo>
                    <a:pt x="34" y="20"/>
                  </a:lnTo>
                  <a:lnTo>
                    <a:pt x="30" y="24"/>
                  </a:lnTo>
                  <a:lnTo>
                    <a:pt x="30" y="24"/>
                  </a:lnTo>
                  <a:lnTo>
                    <a:pt x="30" y="24"/>
                  </a:lnTo>
                  <a:lnTo>
                    <a:pt x="30" y="24"/>
                  </a:lnTo>
                  <a:lnTo>
                    <a:pt x="30" y="24"/>
                  </a:lnTo>
                  <a:lnTo>
                    <a:pt x="30" y="26"/>
                  </a:lnTo>
                  <a:lnTo>
                    <a:pt x="26" y="26"/>
                  </a:lnTo>
                  <a:lnTo>
                    <a:pt x="26" y="26"/>
                  </a:lnTo>
                  <a:lnTo>
                    <a:pt x="26" y="26"/>
                  </a:lnTo>
                  <a:lnTo>
                    <a:pt x="26" y="24"/>
                  </a:lnTo>
                  <a:lnTo>
                    <a:pt x="22" y="24"/>
                  </a:lnTo>
                  <a:lnTo>
                    <a:pt x="22" y="24"/>
                  </a:lnTo>
                  <a:lnTo>
                    <a:pt x="20" y="26"/>
                  </a:lnTo>
                  <a:lnTo>
                    <a:pt x="20" y="26"/>
                  </a:lnTo>
                  <a:lnTo>
                    <a:pt x="20" y="26"/>
                  </a:lnTo>
                  <a:lnTo>
                    <a:pt x="20" y="30"/>
                  </a:lnTo>
                  <a:lnTo>
                    <a:pt x="16" y="30"/>
                  </a:lnTo>
                  <a:lnTo>
                    <a:pt x="16" y="30"/>
                  </a:lnTo>
                  <a:lnTo>
                    <a:pt x="16" y="30"/>
                  </a:lnTo>
                  <a:lnTo>
                    <a:pt x="16" y="30"/>
                  </a:lnTo>
                  <a:lnTo>
                    <a:pt x="12" y="30"/>
                  </a:lnTo>
                  <a:lnTo>
                    <a:pt x="12" y="30"/>
                  </a:lnTo>
                  <a:lnTo>
                    <a:pt x="12" y="30"/>
                  </a:lnTo>
                  <a:lnTo>
                    <a:pt x="12" y="30"/>
                  </a:lnTo>
                  <a:lnTo>
                    <a:pt x="8" y="30"/>
                  </a:lnTo>
                  <a:lnTo>
                    <a:pt x="8" y="30"/>
                  </a:lnTo>
                  <a:lnTo>
                    <a:pt x="8" y="30"/>
                  </a:lnTo>
                  <a:lnTo>
                    <a:pt x="8" y="30"/>
                  </a:lnTo>
                  <a:lnTo>
                    <a:pt x="8" y="30"/>
                  </a:lnTo>
                  <a:lnTo>
                    <a:pt x="4" y="30"/>
                  </a:lnTo>
                  <a:lnTo>
                    <a:pt x="4" y="30"/>
                  </a:lnTo>
                  <a:lnTo>
                    <a:pt x="4" y="30"/>
                  </a:lnTo>
                  <a:lnTo>
                    <a:pt x="4" y="30"/>
                  </a:lnTo>
                  <a:lnTo>
                    <a:pt x="4" y="30"/>
                  </a:lnTo>
                  <a:lnTo>
                    <a:pt x="0" y="26"/>
                  </a:lnTo>
                  <a:lnTo>
                    <a:pt x="0" y="26"/>
                  </a:lnTo>
                  <a:lnTo>
                    <a:pt x="0" y="24"/>
                  </a:lnTo>
                  <a:lnTo>
                    <a:pt x="0" y="24"/>
                  </a:lnTo>
                  <a:lnTo>
                    <a:pt x="0" y="24"/>
                  </a:lnTo>
                  <a:lnTo>
                    <a:pt x="0" y="20"/>
                  </a:lnTo>
                  <a:lnTo>
                    <a:pt x="0" y="20"/>
                  </a:lnTo>
                  <a:lnTo>
                    <a:pt x="0" y="20"/>
                  </a:lnTo>
                  <a:lnTo>
                    <a:pt x="0" y="20"/>
                  </a:lnTo>
                  <a:lnTo>
                    <a:pt x="0" y="20"/>
                  </a:lnTo>
                  <a:lnTo>
                    <a:pt x="0" y="20"/>
                  </a:lnTo>
                  <a:lnTo>
                    <a:pt x="0" y="20"/>
                  </a:lnTo>
                  <a:lnTo>
                    <a:pt x="0" y="16"/>
                  </a:lnTo>
                  <a:lnTo>
                    <a:pt x="0" y="16"/>
                  </a:lnTo>
                  <a:lnTo>
                    <a:pt x="0" y="12"/>
                  </a:lnTo>
                  <a:lnTo>
                    <a:pt x="0" y="12"/>
                  </a:lnTo>
                  <a:lnTo>
                    <a:pt x="0" y="12"/>
                  </a:lnTo>
                  <a:lnTo>
                    <a:pt x="0" y="12"/>
                  </a:lnTo>
                  <a:lnTo>
                    <a:pt x="0" y="1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21" name="Freeform 114"/>
            <p:cNvSpPr>
              <a:spLocks/>
            </p:cNvSpPr>
            <p:nvPr/>
          </p:nvSpPr>
          <p:spPr bwMode="auto">
            <a:xfrm>
              <a:off x="7276405" y="3583799"/>
              <a:ext cx="30143" cy="41843"/>
            </a:xfrm>
            <a:custGeom>
              <a:avLst/>
              <a:gdLst>
                <a:gd name="T0" fmla="*/ 22 w 48"/>
                <a:gd name="T1" fmla="*/ 42 h 64"/>
                <a:gd name="T2" fmla="*/ 22 w 48"/>
                <a:gd name="T3" fmla="*/ 38 h 64"/>
                <a:gd name="T4" fmla="*/ 22 w 48"/>
                <a:gd name="T5" fmla="*/ 34 h 64"/>
                <a:gd name="T6" fmla="*/ 20 w 48"/>
                <a:gd name="T7" fmla="*/ 30 h 64"/>
                <a:gd name="T8" fmla="*/ 16 w 48"/>
                <a:gd name="T9" fmla="*/ 26 h 64"/>
                <a:gd name="T10" fmla="*/ 16 w 48"/>
                <a:gd name="T11" fmla="*/ 24 h 64"/>
                <a:gd name="T12" fmla="*/ 12 w 48"/>
                <a:gd name="T13" fmla="*/ 20 h 64"/>
                <a:gd name="T14" fmla="*/ 8 w 48"/>
                <a:gd name="T15" fmla="*/ 16 h 64"/>
                <a:gd name="T16" fmla="*/ 4 w 48"/>
                <a:gd name="T17" fmla="*/ 8 h 64"/>
                <a:gd name="T18" fmla="*/ 0 w 48"/>
                <a:gd name="T19" fmla="*/ 4 h 64"/>
                <a:gd name="T20" fmla="*/ 4 w 48"/>
                <a:gd name="T21" fmla="*/ 4 h 64"/>
                <a:gd name="T22" fmla="*/ 16 w 48"/>
                <a:gd name="T23" fmla="*/ 0 h 64"/>
                <a:gd name="T24" fmla="*/ 20 w 48"/>
                <a:gd name="T25" fmla="*/ 4 h 64"/>
                <a:gd name="T26" fmla="*/ 20 w 48"/>
                <a:gd name="T27" fmla="*/ 4 h 64"/>
                <a:gd name="T28" fmla="*/ 22 w 48"/>
                <a:gd name="T29" fmla="*/ 8 h 64"/>
                <a:gd name="T30" fmla="*/ 26 w 48"/>
                <a:gd name="T31" fmla="*/ 4 h 64"/>
                <a:gd name="T32" fmla="*/ 26 w 48"/>
                <a:gd name="T33" fmla="*/ 8 h 64"/>
                <a:gd name="T34" fmla="*/ 30 w 48"/>
                <a:gd name="T35" fmla="*/ 8 h 64"/>
                <a:gd name="T36" fmla="*/ 34 w 48"/>
                <a:gd name="T37" fmla="*/ 12 h 64"/>
                <a:gd name="T38" fmla="*/ 34 w 48"/>
                <a:gd name="T39" fmla="*/ 12 h 64"/>
                <a:gd name="T40" fmla="*/ 34 w 48"/>
                <a:gd name="T41" fmla="*/ 12 h 64"/>
                <a:gd name="T42" fmla="*/ 36 w 48"/>
                <a:gd name="T43" fmla="*/ 20 h 64"/>
                <a:gd name="T44" fmla="*/ 36 w 48"/>
                <a:gd name="T45" fmla="*/ 24 h 64"/>
                <a:gd name="T46" fmla="*/ 36 w 48"/>
                <a:gd name="T47" fmla="*/ 24 h 64"/>
                <a:gd name="T48" fmla="*/ 40 w 48"/>
                <a:gd name="T49" fmla="*/ 26 h 64"/>
                <a:gd name="T50" fmla="*/ 40 w 48"/>
                <a:gd name="T51" fmla="*/ 26 h 64"/>
                <a:gd name="T52" fmla="*/ 40 w 48"/>
                <a:gd name="T53" fmla="*/ 34 h 64"/>
                <a:gd name="T54" fmla="*/ 48 w 48"/>
                <a:gd name="T55" fmla="*/ 38 h 64"/>
                <a:gd name="T56" fmla="*/ 48 w 48"/>
                <a:gd name="T57" fmla="*/ 42 h 64"/>
                <a:gd name="T58" fmla="*/ 48 w 48"/>
                <a:gd name="T59" fmla="*/ 42 h 64"/>
                <a:gd name="T60" fmla="*/ 48 w 48"/>
                <a:gd name="T61" fmla="*/ 46 h 64"/>
                <a:gd name="T62" fmla="*/ 44 w 48"/>
                <a:gd name="T63" fmla="*/ 46 h 64"/>
                <a:gd name="T64" fmla="*/ 40 w 48"/>
                <a:gd name="T65" fmla="*/ 46 h 64"/>
                <a:gd name="T66" fmla="*/ 36 w 48"/>
                <a:gd name="T67" fmla="*/ 42 h 64"/>
                <a:gd name="T68" fmla="*/ 36 w 48"/>
                <a:gd name="T69" fmla="*/ 46 h 64"/>
                <a:gd name="T70" fmla="*/ 36 w 48"/>
                <a:gd name="T71" fmla="*/ 42 h 64"/>
                <a:gd name="T72" fmla="*/ 34 w 48"/>
                <a:gd name="T73" fmla="*/ 42 h 64"/>
                <a:gd name="T74" fmla="*/ 34 w 48"/>
                <a:gd name="T75" fmla="*/ 50 h 64"/>
                <a:gd name="T76" fmla="*/ 30 w 48"/>
                <a:gd name="T77" fmla="*/ 54 h 64"/>
                <a:gd name="T78" fmla="*/ 30 w 48"/>
                <a:gd name="T79" fmla="*/ 54 h 64"/>
                <a:gd name="T80" fmla="*/ 26 w 48"/>
                <a:gd name="T81" fmla="*/ 56 h 64"/>
                <a:gd name="T82" fmla="*/ 26 w 48"/>
                <a:gd name="T83" fmla="*/ 60 h 64"/>
                <a:gd name="T84" fmla="*/ 22 w 48"/>
                <a:gd name="T85" fmla="*/ 60 h 64"/>
                <a:gd name="T86" fmla="*/ 22 w 48"/>
                <a:gd name="T87" fmla="*/ 60 h 64"/>
                <a:gd name="T88" fmla="*/ 22 w 48"/>
                <a:gd name="T89" fmla="*/ 64 h 64"/>
                <a:gd name="T90" fmla="*/ 22 w 48"/>
                <a:gd name="T91" fmla="*/ 56 h 64"/>
                <a:gd name="T92" fmla="*/ 22 w 48"/>
                <a:gd name="T93" fmla="*/ 54 h 64"/>
                <a:gd name="T94" fmla="*/ 22 w 48"/>
                <a:gd name="T95" fmla="*/ 5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64">
                  <a:moveTo>
                    <a:pt x="22" y="50"/>
                  </a:moveTo>
                  <a:lnTo>
                    <a:pt x="22" y="50"/>
                  </a:lnTo>
                  <a:lnTo>
                    <a:pt x="22" y="46"/>
                  </a:lnTo>
                  <a:lnTo>
                    <a:pt x="22" y="42"/>
                  </a:lnTo>
                  <a:lnTo>
                    <a:pt x="22" y="38"/>
                  </a:lnTo>
                  <a:lnTo>
                    <a:pt x="22" y="38"/>
                  </a:lnTo>
                  <a:lnTo>
                    <a:pt x="22" y="38"/>
                  </a:lnTo>
                  <a:lnTo>
                    <a:pt x="22" y="38"/>
                  </a:lnTo>
                  <a:lnTo>
                    <a:pt x="22" y="34"/>
                  </a:lnTo>
                  <a:lnTo>
                    <a:pt x="22" y="34"/>
                  </a:lnTo>
                  <a:lnTo>
                    <a:pt x="22" y="34"/>
                  </a:lnTo>
                  <a:lnTo>
                    <a:pt x="22" y="34"/>
                  </a:lnTo>
                  <a:lnTo>
                    <a:pt x="22" y="30"/>
                  </a:lnTo>
                  <a:lnTo>
                    <a:pt x="20" y="30"/>
                  </a:lnTo>
                  <a:lnTo>
                    <a:pt x="20" y="30"/>
                  </a:lnTo>
                  <a:lnTo>
                    <a:pt x="20" y="30"/>
                  </a:lnTo>
                  <a:lnTo>
                    <a:pt x="20" y="30"/>
                  </a:lnTo>
                  <a:lnTo>
                    <a:pt x="16" y="26"/>
                  </a:lnTo>
                  <a:lnTo>
                    <a:pt x="16" y="26"/>
                  </a:lnTo>
                  <a:lnTo>
                    <a:pt x="16" y="26"/>
                  </a:lnTo>
                  <a:lnTo>
                    <a:pt x="16" y="26"/>
                  </a:lnTo>
                  <a:lnTo>
                    <a:pt x="16" y="26"/>
                  </a:lnTo>
                  <a:lnTo>
                    <a:pt x="16" y="26"/>
                  </a:lnTo>
                  <a:lnTo>
                    <a:pt x="16" y="24"/>
                  </a:lnTo>
                  <a:lnTo>
                    <a:pt x="12" y="24"/>
                  </a:lnTo>
                  <a:lnTo>
                    <a:pt x="12" y="20"/>
                  </a:lnTo>
                  <a:lnTo>
                    <a:pt x="12" y="20"/>
                  </a:lnTo>
                  <a:lnTo>
                    <a:pt x="12" y="20"/>
                  </a:lnTo>
                  <a:lnTo>
                    <a:pt x="12" y="20"/>
                  </a:lnTo>
                  <a:lnTo>
                    <a:pt x="12" y="16"/>
                  </a:lnTo>
                  <a:lnTo>
                    <a:pt x="8" y="16"/>
                  </a:lnTo>
                  <a:lnTo>
                    <a:pt x="8" y="16"/>
                  </a:lnTo>
                  <a:lnTo>
                    <a:pt x="8" y="12"/>
                  </a:lnTo>
                  <a:lnTo>
                    <a:pt x="8" y="12"/>
                  </a:lnTo>
                  <a:lnTo>
                    <a:pt x="4" y="8"/>
                  </a:lnTo>
                  <a:lnTo>
                    <a:pt x="4" y="8"/>
                  </a:lnTo>
                  <a:lnTo>
                    <a:pt x="4" y="4"/>
                  </a:lnTo>
                  <a:lnTo>
                    <a:pt x="0" y="4"/>
                  </a:lnTo>
                  <a:lnTo>
                    <a:pt x="0" y="4"/>
                  </a:lnTo>
                  <a:lnTo>
                    <a:pt x="0" y="4"/>
                  </a:lnTo>
                  <a:lnTo>
                    <a:pt x="0" y="4"/>
                  </a:lnTo>
                  <a:lnTo>
                    <a:pt x="0" y="4"/>
                  </a:lnTo>
                  <a:lnTo>
                    <a:pt x="4" y="4"/>
                  </a:lnTo>
                  <a:lnTo>
                    <a:pt x="4" y="4"/>
                  </a:lnTo>
                  <a:lnTo>
                    <a:pt x="8" y="4"/>
                  </a:lnTo>
                  <a:lnTo>
                    <a:pt x="12" y="0"/>
                  </a:lnTo>
                  <a:lnTo>
                    <a:pt x="12" y="0"/>
                  </a:lnTo>
                  <a:lnTo>
                    <a:pt x="16" y="0"/>
                  </a:lnTo>
                  <a:lnTo>
                    <a:pt x="16" y="0"/>
                  </a:lnTo>
                  <a:lnTo>
                    <a:pt x="20" y="4"/>
                  </a:lnTo>
                  <a:lnTo>
                    <a:pt x="20" y="4"/>
                  </a:lnTo>
                  <a:lnTo>
                    <a:pt x="20" y="4"/>
                  </a:lnTo>
                  <a:lnTo>
                    <a:pt x="20" y="4"/>
                  </a:lnTo>
                  <a:lnTo>
                    <a:pt x="20" y="4"/>
                  </a:lnTo>
                  <a:lnTo>
                    <a:pt x="20" y="4"/>
                  </a:lnTo>
                  <a:lnTo>
                    <a:pt x="20" y="4"/>
                  </a:lnTo>
                  <a:lnTo>
                    <a:pt x="22" y="4"/>
                  </a:lnTo>
                  <a:lnTo>
                    <a:pt x="22" y="4"/>
                  </a:lnTo>
                  <a:lnTo>
                    <a:pt x="22" y="4"/>
                  </a:lnTo>
                  <a:lnTo>
                    <a:pt x="22" y="8"/>
                  </a:lnTo>
                  <a:lnTo>
                    <a:pt x="22" y="8"/>
                  </a:lnTo>
                  <a:lnTo>
                    <a:pt x="22" y="8"/>
                  </a:lnTo>
                  <a:lnTo>
                    <a:pt x="22" y="4"/>
                  </a:lnTo>
                  <a:lnTo>
                    <a:pt x="26" y="4"/>
                  </a:lnTo>
                  <a:lnTo>
                    <a:pt x="26" y="8"/>
                  </a:lnTo>
                  <a:lnTo>
                    <a:pt x="26" y="8"/>
                  </a:lnTo>
                  <a:lnTo>
                    <a:pt x="26" y="8"/>
                  </a:lnTo>
                  <a:lnTo>
                    <a:pt x="26" y="8"/>
                  </a:lnTo>
                  <a:lnTo>
                    <a:pt x="26" y="8"/>
                  </a:lnTo>
                  <a:lnTo>
                    <a:pt x="26" y="8"/>
                  </a:lnTo>
                  <a:lnTo>
                    <a:pt x="30" y="8"/>
                  </a:lnTo>
                  <a:lnTo>
                    <a:pt x="30" y="8"/>
                  </a:lnTo>
                  <a:lnTo>
                    <a:pt x="30" y="8"/>
                  </a:lnTo>
                  <a:lnTo>
                    <a:pt x="30" y="8"/>
                  </a:lnTo>
                  <a:lnTo>
                    <a:pt x="34" y="12"/>
                  </a:lnTo>
                  <a:lnTo>
                    <a:pt x="34" y="12"/>
                  </a:lnTo>
                  <a:lnTo>
                    <a:pt x="34" y="12"/>
                  </a:lnTo>
                  <a:lnTo>
                    <a:pt x="34" y="12"/>
                  </a:lnTo>
                  <a:lnTo>
                    <a:pt x="34" y="12"/>
                  </a:lnTo>
                  <a:lnTo>
                    <a:pt x="34" y="12"/>
                  </a:lnTo>
                  <a:lnTo>
                    <a:pt x="34" y="12"/>
                  </a:lnTo>
                  <a:lnTo>
                    <a:pt x="34" y="12"/>
                  </a:lnTo>
                  <a:lnTo>
                    <a:pt x="34" y="12"/>
                  </a:lnTo>
                  <a:lnTo>
                    <a:pt x="34" y="12"/>
                  </a:lnTo>
                  <a:lnTo>
                    <a:pt x="36" y="12"/>
                  </a:lnTo>
                  <a:lnTo>
                    <a:pt x="36" y="12"/>
                  </a:lnTo>
                  <a:lnTo>
                    <a:pt x="36" y="16"/>
                  </a:lnTo>
                  <a:lnTo>
                    <a:pt x="36" y="20"/>
                  </a:lnTo>
                  <a:lnTo>
                    <a:pt x="36" y="20"/>
                  </a:lnTo>
                  <a:lnTo>
                    <a:pt x="36" y="20"/>
                  </a:lnTo>
                  <a:lnTo>
                    <a:pt x="36" y="20"/>
                  </a:lnTo>
                  <a:lnTo>
                    <a:pt x="36" y="24"/>
                  </a:lnTo>
                  <a:lnTo>
                    <a:pt x="36" y="24"/>
                  </a:lnTo>
                  <a:lnTo>
                    <a:pt x="36" y="24"/>
                  </a:lnTo>
                  <a:lnTo>
                    <a:pt x="36" y="24"/>
                  </a:lnTo>
                  <a:lnTo>
                    <a:pt x="36" y="24"/>
                  </a:lnTo>
                  <a:lnTo>
                    <a:pt x="40" y="24"/>
                  </a:lnTo>
                  <a:lnTo>
                    <a:pt x="36" y="24"/>
                  </a:lnTo>
                  <a:lnTo>
                    <a:pt x="40" y="26"/>
                  </a:lnTo>
                  <a:lnTo>
                    <a:pt x="40" y="26"/>
                  </a:lnTo>
                  <a:lnTo>
                    <a:pt x="40" y="24"/>
                  </a:lnTo>
                  <a:lnTo>
                    <a:pt x="40" y="24"/>
                  </a:lnTo>
                  <a:lnTo>
                    <a:pt x="40" y="24"/>
                  </a:lnTo>
                  <a:lnTo>
                    <a:pt x="40" y="26"/>
                  </a:lnTo>
                  <a:lnTo>
                    <a:pt x="40" y="26"/>
                  </a:lnTo>
                  <a:lnTo>
                    <a:pt x="40" y="26"/>
                  </a:lnTo>
                  <a:lnTo>
                    <a:pt x="40" y="30"/>
                  </a:lnTo>
                  <a:lnTo>
                    <a:pt x="40" y="34"/>
                  </a:lnTo>
                  <a:lnTo>
                    <a:pt x="44" y="34"/>
                  </a:lnTo>
                  <a:lnTo>
                    <a:pt x="44" y="34"/>
                  </a:lnTo>
                  <a:lnTo>
                    <a:pt x="48" y="34"/>
                  </a:lnTo>
                  <a:lnTo>
                    <a:pt x="48" y="38"/>
                  </a:lnTo>
                  <a:lnTo>
                    <a:pt x="48" y="42"/>
                  </a:lnTo>
                  <a:lnTo>
                    <a:pt x="48" y="42"/>
                  </a:lnTo>
                  <a:lnTo>
                    <a:pt x="44" y="42"/>
                  </a:lnTo>
                  <a:lnTo>
                    <a:pt x="48" y="42"/>
                  </a:lnTo>
                  <a:lnTo>
                    <a:pt x="48" y="42"/>
                  </a:lnTo>
                  <a:lnTo>
                    <a:pt x="48" y="42"/>
                  </a:lnTo>
                  <a:lnTo>
                    <a:pt x="48" y="42"/>
                  </a:lnTo>
                  <a:lnTo>
                    <a:pt x="48" y="42"/>
                  </a:lnTo>
                  <a:lnTo>
                    <a:pt x="48" y="42"/>
                  </a:lnTo>
                  <a:lnTo>
                    <a:pt x="48" y="42"/>
                  </a:lnTo>
                  <a:lnTo>
                    <a:pt x="48" y="46"/>
                  </a:lnTo>
                  <a:lnTo>
                    <a:pt x="48" y="46"/>
                  </a:lnTo>
                  <a:lnTo>
                    <a:pt x="48" y="46"/>
                  </a:lnTo>
                  <a:lnTo>
                    <a:pt x="48" y="46"/>
                  </a:lnTo>
                  <a:lnTo>
                    <a:pt x="48" y="46"/>
                  </a:lnTo>
                  <a:lnTo>
                    <a:pt x="44" y="46"/>
                  </a:lnTo>
                  <a:lnTo>
                    <a:pt x="44" y="46"/>
                  </a:lnTo>
                  <a:lnTo>
                    <a:pt x="44" y="42"/>
                  </a:lnTo>
                  <a:lnTo>
                    <a:pt x="44" y="46"/>
                  </a:lnTo>
                  <a:lnTo>
                    <a:pt x="40" y="46"/>
                  </a:lnTo>
                  <a:lnTo>
                    <a:pt x="40" y="46"/>
                  </a:lnTo>
                  <a:lnTo>
                    <a:pt x="40" y="42"/>
                  </a:lnTo>
                  <a:lnTo>
                    <a:pt x="40" y="42"/>
                  </a:lnTo>
                  <a:lnTo>
                    <a:pt x="36" y="42"/>
                  </a:lnTo>
                  <a:lnTo>
                    <a:pt x="36" y="42"/>
                  </a:lnTo>
                  <a:lnTo>
                    <a:pt x="36" y="42"/>
                  </a:lnTo>
                  <a:lnTo>
                    <a:pt x="36" y="46"/>
                  </a:lnTo>
                  <a:lnTo>
                    <a:pt x="36" y="46"/>
                  </a:lnTo>
                  <a:lnTo>
                    <a:pt x="36" y="46"/>
                  </a:lnTo>
                  <a:lnTo>
                    <a:pt x="36" y="42"/>
                  </a:lnTo>
                  <a:lnTo>
                    <a:pt x="36" y="42"/>
                  </a:lnTo>
                  <a:lnTo>
                    <a:pt x="36" y="42"/>
                  </a:lnTo>
                  <a:lnTo>
                    <a:pt x="36" y="42"/>
                  </a:lnTo>
                  <a:lnTo>
                    <a:pt x="36" y="42"/>
                  </a:lnTo>
                  <a:lnTo>
                    <a:pt x="34" y="42"/>
                  </a:lnTo>
                  <a:lnTo>
                    <a:pt x="34" y="42"/>
                  </a:lnTo>
                  <a:lnTo>
                    <a:pt x="34" y="42"/>
                  </a:lnTo>
                  <a:lnTo>
                    <a:pt x="34" y="42"/>
                  </a:lnTo>
                  <a:lnTo>
                    <a:pt x="34" y="46"/>
                  </a:lnTo>
                  <a:lnTo>
                    <a:pt x="34" y="50"/>
                  </a:lnTo>
                  <a:lnTo>
                    <a:pt x="34" y="50"/>
                  </a:lnTo>
                  <a:lnTo>
                    <a:pt x="34" y="54"/>
                  </a:lnTo>
                  <a:lnTo>
                    <a:pt x="34" y="54"/>
                  </a:lnTo>
                  <a:lnTo>
                    <a:pt x="30" y="54"/>
                  </a:lnTo>
                  <a:lnTo>
                    <a:pt x="30" y="54"/>
                  </a:lnTo>
                  <a:lnTo>
                    <a:pt x="30" y="54"/>
                  </a:lnTo>
                  <a:lnTo>
                    <a:pt x="30" y="54"/>
                  </a:lnTo>
                  <a:lnTo>
                    <a:pt x="30" y="54"/>
                  </a:lnTo>
                  <a:lnTo>
                    <a:pt x="30" y="56"/>
                  </a:lnTo>
                  <a:lnTo>
                    <a:pt x="30" y="56"/>
                  </a:lnTo>
                  <a:lnTo>
                    <a:pt x="26" y="56"/>
                  </a:lnTo>
                  <a:lnTo>
                    <a:pt x="26" y="56"/>
                  </a:lnTo>
                  <a:lnTo>
                    <a:pt x="26" y="60"/>
                  </a:lnTo>
                  <a:lnTo>
                    <a:pt x="26" y="60"/>
                  </a:lnTo>
                  <a:lnTo>
                    <a:pt x="26" y="60"/>
                  </a:lnTo>
                  <a:lnTo>
                    <a:pt x="26" y="60"/>
                  </a:lnTo>
                  <a:lnTo>
                    <a:pt x="26" y="60"/>
                  </a:lnTo>
                  <a:lnTo>
                    <a:pt x="26" y="60"/>
                  </a:lnTo>
                  <a:lnTo>
                    <a:pt x="26" y="60"/>
                  </a:lnTo>
                  <a:lnTo>
                    <a:pt x="22" y="60"/>
                  </a:lnTo>
                  <a:lnTo>
                    <a:pt x="22" y="60"/>
                  </a:lnTo>
                  <a:lnTo>
                    <a:pt x="22" y="60"/>
                  </a:lnTo>
                  <a:lnTo>
                    <a:pt x="22" y="60"/>
                  </a:lnTo>
                  <a:lnTo>
                    <a:pt x="22" y="60"/>
                  </a:lnTo>
                  <a:lnTo>
                    <a:pt x="22" y="64"/>
                  </a:lnTo>
                  <a:lnTo>
                    <a:pt x="22" y="64"/>
                  </a:lnTo>
                  <a:lnTo>
                    <a:pt x="22" y="64"/>
                  </a:lnTo>
                  <a:lnTo>
                    <a:pt x="22" y="64"/>
                  </a:lnTo>
                  <a:lnTo>
                    <a:pt x="22" y="60"/>
                  </a:lnTo>
                  <a:lnTo>
                    <a:pt x="22" y="60"/>
                  </a:lnTo>
                  <a:lnTo>
                    <a:pt x="22" y="60"/>
                  </a:lnTo>
                  <a:lnTo>
                    <a:pt x="22" y="56"/>
                  </a:lnTo>
                  <a:lnTo>
                    <a:pt x="22" y="56"/>
                  </a:lnTo>
                  <a:lnTo>
                    <a:pt x="22" y="54"/>
                  </a:lnTo>
                  <a:lnTo>
                    <a:pt x="22" y="54"/>
                  </a:lnTo>
                  <a:lnTo>
                    <a:pt x="22" y="54"/>
                  </a:lnTo>
                  <a:lnTo>
                    <a:pt x="22" y="50"/>
                  </a:lnTo>
                  <a:lnTo>
                    <a:pt x="22" y="50"/>
                  </a:lnTo>
                  <a:lnTo>
                    <a:pt x="22" y="50"/>
                  </a:lnTo>
                  <a:lnTo>
                    <a:pt x="22" y="5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22" name="Freeform 115"/>
            <p:cNvSpPr>
              <a:spLocks noEditPoints="1"/>
            </p:cNvSpPr>
            <p:nvPr/>
          </p:nvSpPr>
          <p:spPr bwMode="auto">
            <a:xfrm>
              <a:off x="7070428" y="3515805"/>
              <a:ext cx="32655" cy="39227"/>
            </a:xfrm>
            <a:custGeom>
              <a:avLst/>
              <a:gdLst>
                <a:gd name="T0" fmla="*/ 30 w 52"/>
                <a:gd name="T1" fmla="*/ 26 h 60"/>
                <a:gd name="T2" fmla="*/ 34 w 52"/>
                <a:gd name="T3" fmla="*/ 22 h 60"/>
                <a:gd name="T4" fmla="*/ 34 w 52"/>
                <a:gd name="T5" fmla="*/ 16 h 60"/>
                <a:gd name="T6" fmla="*/ 26 w 52"/>
                <a:gd name="T7" fmla="*/ 8 h 60"/>
                <a:gd name="T8" fmla="*/ 26 w 52"/>
                <a:gd name="T9" fmla="*/ 16 h 60"/>
                <a:gd name="T10" fmla="*/ 22 w 52"/>
                <a:gd name="T11" fmla="*/ 18 h 60"/>
                <a:gd name="T12" fmla="*/ 22 w 52"/>
                <a:gd name="T13" fmla="*/ 22 h 60"/>
                <a:gd name="T14" fmla="*/ 20 w 52"/>
                <a:gd name="T15" fmla="*/ 18 h 60"/>
                <a:gd name="T16" fmla="*/ 22 w 52"/>
                <a:gd name="T17" fmla="*/ 12 h 60"/>
                <a:gd name="T18" fmla="*/ 26 w 52"/>
                <a:gd name="T19" fmla="*/ 8 h 60"/>
                <a:gd name="T20" fmla="*/ 38 w 52"/>
                <a:gd name="T21" fmla="*/ 0 h 60"/>
                <a:gd name="T22" fmla="*/ 48 w 52"/>
                <a:gd name="T23" fmla="*/ 0 h 60"/>
                <a:gd name="T24" fmla="*/ 52 w 52"/>
                <a:gd name="T25" fmla="*/ 12 h 60"/>
                <a:gd name="T26" fmla="*/ 52 w 52"/>
                <a:gd name="T27" fmla="*/ 18 h 60"/>
                <a:gd name="T28" fmla="*/ 44 w 52"/>
                <a:gd name="T29" fmla="*/ 18 h 60"/>
                <a:gd name="T30" fmla="*/ 52 w 52"/>
                <a:gd name="T31" fmla="*/ 26 h 60"/>
                <a:gd name="T32" fmla="*/ 48 w 52"/>
                <a:gd name="T33" fmla="*/ 30 h 60"/>
                <a:gd name="T34" fmla="*/ 44 w 52"/>
                <a:gd name="T35" fmla="*/ 34 h 60"/>
                <a:gd name="T36" fmla="*/ 38 w 52"/>
                <a:gd name="T37" fmla="*/ 42 h 60"/>
                <a:gd name="T38" fmla="*/ 38 w 52"/>
                <a:gd name="T39" fmla="*/ 48 h 60"/>
                <a:gd name="T40" fmla="*/ 38 w 52"/>
                <a:gd name="T41" fmla="*/ 56 h 60"/>
                <a:gd name="T42" fmla="*/ 34 w 52"/>
                <a:gd name="T43" fmla="*/ 56 h 60"/>
                <a:gd name="T44" fmla="*/ 30 w 52"/>
                <a:gd name="T45" fmla="*/ 56 h 60"/>
                <a:gd name="T46" fmla="*/ 30 w 52"/>
                <a:gd name="T47" fmla="*/ 48 h 60"/>
                <a:gd name="T48" fmla="*/ 26 w 52"/>
                <a:gd name="T49" fmla="*/ 44 h 60"/>
                <a:gd name="T50" fmla="*/ 20 w 52"/>
                <a:gd name="T51" fmla="*/ 44 h 60"/>
                <a:gd name="T52" fmla="*/ 16 w 52"/>
                <a:gd name="T53" fmla="*/ 44 h 60"/>
                <a:gd name="T54" fmla="*/ 16 w 52"/>
                <a:gd name="T55" fmla="*/ 44 h 60"/>
                <a:gd name="T56" fmla="*/ 4 w 52"/>
                <a:gd name="T57" fmla="*/ 44 h 60"/>
                <a:gd name="T58" fmla="*/ 8 w 52"/>
                <a:gd name="T59" fmla="*/ 42 h 60"/>
                <a:gd name="T60" fmla="*/ 8 w 52"/>
                <a:gd name="T61" fmla="*/ 42 h 60"/>
                <a:gd name="T62" fmla="*/ 12 w 52"/>
                <a:gd name="T63" fmla="*/ 42 h 60"/>
                <a:gd name="T64" fmla="*/ 12 w 52"/>
                <a:gd name="T65" fmla="*/ 42 h 60"/>
                <a:gd name="T66" fmla="*/ 12 w 52"/>
                <a:gd name="T67" fmla="*/ 38 h 60"/>
                <a:gd name="T68" fmla="*/ 8 w 52"/>
                <a:gd name="T69" fmla="*/ 38 h 60"/>
                <a:gd name="T70" fmla="*/ 12 w 52"/>
                <a:gd name="T71" fmla="*/ 34 h 60"/>
                <a:gd name="T72" fmla="*/ 16 w 52"/>
                <a:gd name="T73" fmla="*/ 22 h 60"/>
                <a:gd name="T74" fmla="*/ 22 w 52"/>
                <a:gd name="T75" fmla="*/ 26 h 60"/>
                <a:gd name="T76" fmla="*/ 22 w 52"/>
                <a:gd name="T77" fmla="*/ 18 h 60"/>
                <a:gd name="T78" fmla="*/ 26 w 52"/>
                <a:gd name="T79" fmla="*/ 18 h 60"/>
                <a:gd name="T80" fmla="*/ 30 w 52"/>
                <a:gd name="T81" fmla="*/ 22 h 60"/>
                <a:gd name="T82" fmla="*/ 22 w 52"/>
                <a:gd name="T83" fmla="*/ 22 h 60"/>
                <a:gd name="T84" fmla="*/ 30 w 52"/>
                <a:gd name="T85" fmla="*/ 26 h 60"/>
                <a:gd name="T86" fmla="*/ 26 w 52"/>
                <a:gd name="T87" fmla="*/ 26 h 60"/>
                <a:gd name="T88" fmla="*/ 30 w 52"/>
                <a:gd name="T89" fmla="*/ 22 h 60"/>
                <a:gd name="T90" fmla="*/ 34 w 52"/>
                <a:gd name="T91" fmla="*/ 22 h 60"/>
                <a:gd name="T92" fmla="*/ 8 w 52"/>
                <a:gd name="T93" fmla="*/ 38 h 60"/>
                <a:gd name="T94" fmla="*/ 8 w 52"/>
                <a:gd name="T95" fmla="*/ 42 h 60"/>
                <a:gd name="T96" fmla="*/ 8 w 52"/>
                <a:gd name="T97" fmla="*/ 38 h 60"/>
                <a:gd name="T98" fmla="*/ 8 w 52"/>
                <a:gd name="T99" fmla="*/ 44 h 60"/>
                <a:gd name="T100" fmla="*/ 8 w 52"/>
                <a:gd name="T101" fmla="*/ 48 h 60"/>
                <a:gd name="T102" fmla="*/ 0 w 52"/>
                <a:gd name="T103" fmla="*/ 48 h 60"/>
                <a:gd name="T104" fmla="*/ 26 w 52"/>
                <a:gd name="T105" fmla="*/ 4 h 60"/>
                <a:gd name="T106" fmla="*/ 26 w 52"/>
                <a:gd name="T107" fmla="*/ 4 h 60"/>
                <a:gd name="T108" fmla="*/ 20 w 52"/>
                <a:gd name="T109" fmla="*/ 12 h 60"/>
                <a:gd name="T110" fmla="*/ 22 w 52"/>
                <a:gd name="T111" fmla="*/ 8 h 60"/>
                <a:gd name="T112" fmla="*/ 20 w 52"/>
                <a:gd name="T113"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 h="60">
                  <a:moveTo>
                    <a:pt x="26" y="26"/>
                  </a:moveTo>
                  <a:lnTo>
                    <a:pt x="26" y="26"/>
                  </a:lnTo>
                  <a:lnTo>
                    <a:pt x="26" y="26"/>
                  </a:lnTo>
                  <a:lnTo>
                    <a:pt x="30" y="26"/>
                  </a:lnTo>
                  <a:lnTo>
                    <a:pt x="30" y="26"/>
                  </a:lnTo>
                  <a:lnTo>
                    <a:pt x="30" y="26"/>
                  </a:lnTo>
                  <a:lnTo>
                    <a:pt x="30" y="26"/>
                  </a:lnTo>
                  <a:lnTo>
                    <a:pt x="30" y="26"/>
                  </a:lnTo>
                  <a:lnTo>
                    <a:pt x="30" y="26"/>
                  </a:lnTo>
                  <a:lnTo>
                    <a:pt x="30" y="22"/>
                  </a:lnTo>
                  <a:lnTo>
                    <a:pt x="34" y="22"/>
                  </a:lnTo>
                  <a:lnTo>
                    <a:pt x="34" y="22"/>
                  </a:lnTo>
                  <a:lnTo>
                    <a:pt x="34" y="22"/>
                  </a:lnTo>
                  <a:lnTo>
                    <a:pt x="34" y="22"/>
                  </a:lnTo>
                  <a:lnTo>
                    <a:pt x="34" y="22"/>
                  </a:lnTo>
                  <a:lnTo>
                    <a:pt x="34" y="22"/>
                  </a:lnTo>
                  <a:lnTo>
                    <a:pt x="34" y="22"/>
                  </a:lnTo>
                  <a:lnTo>
                    <a:pt x="34" y="22"/>
                  </a:lnTo>
                  <a:lnTo>
                    <a:pt x="34" y="18"/>
                  </a:lnTo>
                  <a:lnTo>
                    <a:pt x="34" y="18"/>
                  </a:lnTo>
                  <a:lnTo>
                    <a:pt x="34" y="18"/>
                  </a:lnTo>
                  <a:lnTo>
                    <a:pt x="34" y="18"/>
                  </a:lnTo>
                  <a:lnTo>
                    <a:pt x="30" y="18"/>
                  </a:lnTo>
                  <a:lnTo>
                    <a:pt x="30" y="16"/>
                  </a:lnTo>
                  <a:lnTo>
                    <a:pt x="30" y="16"/>
                  </a:lnTo>
                  <a:lnTo>
                    <a:pt x="34" y="16"/>
                  </a:lnTo>
                  <a:lnTo>
                    <a:pt x="34" y="16"/>
                  </a:lnTo>
                  <a:lnTo>
                    <a:pt x="34" y="16"/>
                  </a:lnTo>
                  <a:lnTo>
                    <a:pt x="30" y="16"/>
                  </a:lnTo>
                  <a:lnTo>
                    <a:pt x="30" y="16"/>
                  </a:lnTo>
                  <a:lnTo>
                    <a:pt x="30" y="16"/>
                  </a:lnTo>
                  <a:lnTo>
                    <a:pt x="26" y="12"/>
                  </a:lnTo>
                  <a:lnTo>
                    <a:pt x="30" y="12"/>
                  </a:lnTo>
                  <a:lnTo>
                    <a:pt x="30" y="12"/>
                  </a:lnTo>
                  <a:lnTo>
                    <a:pt x="30" y="12"/>
                  </a:lnTo>
                  <a:lnTo>
                    <a:pt x="26" y="8"/>
                  </a:lnTo>
                  <a:lnTo>
                    <a:pt x="26" y="8"/>
                  </a:lnTo>
                  <a:lnTo>
                    <a:pt x="26" y="8"/>
                  </a:lnTo>
                  <a:lnTo>
                    <a:pt x="26" y="12"/>
                  </a:lnTo>
                  <a:lnTo>
                    <a:pt x="26" y="12"/>
                  </a:lnTo>
                  <a:lnTo>
                    <a:pt x="22" y="12"/>
                  </a:lnTo>
                  <a:lnTo>
                    <a:pt x="22" y="12"/>
                  </a:lnTo>
                  <a:lnTo>
                    <a:pt x="22" y="16"/>
                  </a:lnTo>
                  <a:lnTo>
                    <a:pt x="26" y="16"/>
                  </a:lnTo>
                  <a:lnTo>
                    <a:pt x="26" y="16"/>
                  </a:lnTo>
                  <a:lnTo>
                    <a:pt x="26" y="16"/>
                  </a:lnTo>
                  <a:lnTo>
                    <a:pt x="26" y="16"/>
                  </a:lnTo>
                  <a:lnTo>
                    <a:pt x="26" y="18"/>
                  </a:lnTo>
                  <a:lnTo>
                    <a:pt x="26" y="18"/>
                  </a:lnTo>
                  <a:lnTo>
                    <a:pt x="26" y="18"/>
                  </a:lnTo>
                  <a:lnTo>
                    <a:pt x="26" y="18"/>
                  </a:lnTo>
                  <a:lnTo>
                    <a:pt x="26" y="18"/>
                  </a:lnTo>
                  <a:lnTo>
                    <a:pt x="22" y="18"/>
                  </a:lnTo>
                  <a:lnTo>
                    <a:pt x="22" y="18"/>
                  </a:lnTo>
                  <a:lnTo>
                    <a:pt x="22" y="18"/>
                  </a:lnTo>
                  <a:lnTo>
                    <a:pt x="22" y="18"/>
                  </a:lnTo>
                  <a:lnTo>
                    <a:pt x="22" y="18"/>
                  </a:lnTo>
                  <a:lnTo>
                    <a:pt x="22" y="22"/>
                  </a:lnTo>
                  <a:lnTo>
                    <a:pt x="22" y="22"/>
                  </a:lnTo>
                  <a:lnTo>
                    <a:pt x="22" y="22"/>
                  </a:lnTo>
                  <a:lnTo>
                    <a:pt x="22" y="22"/>
                  </a:lnTo>
                  <a:lnTo>
                    <a:pt x="22" y="22"/>
                  </a:lnTo>
                  <a:lnTo>
                    <a:pt x="22" y="22"/>
                  </a:lnTo>
                  <a:lnTo>
                    <a:pt x="22" y="22"/>
                  </a:lnTo>
                  <a:lnTo>
                    <a:pt x="20" y="22"/>
                  </a:lnTo>
                  <a:lnTo>
                    <a:pt x="20" y="22"/>
                  </a:lnTo>
                  <a:lnTo>
                    <a:pt x="20" y="22"/>
                  </a:lnTo>
                  <a:lnTo>
                    <a:pt x="16" y="22"/>
                  </a:lnTo>
                  <a:lnTo>
                    <a:pt x="16" y="22"/>
                  </a:lnTo>
                  <a:lnTo>
                    <a:pt x="20" y="18"/>
                  </a:lnTo>
                  <a:lnTo>
                    <a:pt x="20" y="18"/>
                  </a:lnTo>
                  <a:lnTo>
                    <a:pt x="20" y="18"/>
                  </a:lnTo>
                  <a:lnTo>
                    <a:pt x="20" y="16"/>
                  </a:lnTo>
                  <a:lnTo>
                    <a:pt x="20" y="12"/>
                  </a:lnTo>
                  <a:lnTo>
                    <a:pt x="20" y="12"/>
                  </a:lnTo>
                  <a:lnTo>
                    <a:pt x="20" y="12"/>
                  </a:lnTo>
                  <a:lnTo>
                    <a:pt x="20" y="12"/>
                  </a:lnTo>
                  <a:lnTo>
                    <a:pt x="20" y="12"/>
                  </a:lnTo>
                  <a:lnTo>
                    <a:pt x="20" y="12"/>
                  </a:lnTo>
                  <a:lnTo>
                    <a:pt x="22" y="12"/>
                  </a:lnTo>
                  <a:lnTo>
                    <a:pt x="22" y="12"/>
                  </a:lnTo>
                  <a:lnTo>
                    <a:pt x="22" y="12"/>
                  </a:lnTo>
                  <a:lnTo>
                    <a:pt x="26" y="12"/>
                  </a:lnTo>
                  <a:lnTo>
                    <a:pt x="26" y="12"/>
                  </a:lnTo>
                  <a:lnTo>
                    <a:pt x="26" y="12"/>
                  </a:lnTo>
                  <a:lnTo>
                    <a:pt x="26" y="12"/>
                  </a:lnTo>
                  <a:lnTo>
                    <a:pt x="26" y="8"/>
                  </a:lnTo>
                  <a:lnTo>
                    <a:pt x="26" y="8"/>
                  </a:lnTo>
                  <a:lnTo>
                    <a:pt x="26" y="8"/>
                  </a:lnTo>
                  <a:lnTo>
                    <a:pt x="26" y="8"/>
                  </a:lnTo>
                  <a:lnTo>
                    <a:pt x="30" y="8"/>
                  </a:lnTo>
                  <a:lnTo>
                    <a:pt x="30" y="8"/>
                  </a:lnTo>
                  <a:lnTo>
                    <a:pt x="30" y="8"/>
                  </a:lnTo>
                  <a:lnTo>
                    <a:pt x="30" y="8"/>
                  </a:lnTo>
                  <a:lnTo>
                    <a:pt x="30" y="4"/>
                  </a:lnTo>
                  <a:lnTo>
                    <a:pt x="30" y="4"/>
                  </a:lnTo>
                  <a:lnTo>
                    <a:pt x="30" y="4"/>
                  </a:lnTo>
                  <a:lnTo>
                    <a:pt x="34" y="4"/>
                  </a:lnTo>
                  <a:lnTo>
                    <a:pt x="38" y="0"/>
                  </a:lnTo>
                  <a:lnTo>
                    <a:pt x="38" y="0"/>
                  </a:lnTo>
                  <a:lnTo>
                    <a:pt x="38" y="0"/>
                  </a:lnTo>
                  <a:lnTo>
                    <a:pt x="38" y="0"/>
                  </a:lnTo>
                  <a:lnTo>
                    <a:pt x="42" y="0"/>
                  </a:lnTo>
                  <a:lnTo>
                    <a:pt x="42" y="0"/>
                  </a:lnTo>
                  <a:lnTo>
                    <a:pt x="42" y="0"/>
                  </a:lnTo>
                  <a:lnTo>
                    <a:pt x="44" y="0"/>
                  </a:lnTo>
                  <a:lnTo>
                    <a:pt x="48" y="0"/>
                  </a:lnTo>
                  <a:lnTo>
                    <a:pt x="48" y="0"/>
                  </a:lnTo>
                  <a:lnTo>
                    <a:pt x="48" y="0"/>
                  </a:lnTo>
                  <a:lnTo>
                    <a:pt x="48" y="0"/>
                  </a:lnTo>
                  <a:lnTo>
                    <a:pt x="48" y="4"/>
                  </a:lnTo>
                  <a:lnTo>
                    <a:pt x="48" y="4"/>
                  </a:lnTo>
                  <a:lnTo>
                    <a:pt x="52" y="4"/>
                  </a:lnTo>
                  <a:lnTo>
                    <a:pt x="52" y="4"/>
                  </a:lnTo>
                  <a:lnTo>
                    <a:pt x="52" y="4"/>
                  </a:lnTo>
                  <a:lnTo>
                    <a:pt x="52" y="8"/>
                  </a:lnTo>
                  <a:lnTo>
                    <a:pt x="52" y="12"/>
                  </a:lnTo>
                  <a:lnTo>
                    <a:pt x="52" y="12"/>
                  </a:lnTo>
                  <a:lnTo>
                    <a:pt x="52" y="12"/>
                  </a:lnTo>
                  <a:lnTo>
                    <a:pt x="52" y="12"/>
                  </a:lnTo>
                  <a:lnTo>
                    <a:pt x="52" y="16"/>
                  </a:lnTo>
                  <a:lnTo>
                    <a:pt x="52" y="16"/>
                  </a:lnTo>
                  <a:lnTo>
                    <a:pt x="52" y="16"/>
                  </a:lnTo>
                  <a:lnTo>
                    <a:pt x="52" y="16"/>
                  </a:lnTo>
                  <a:lnTo>
                    <a:pt x="52" y="16"/>
                  </a:lnTo>
                  <a:lnTo>
                    <a:pt x="52" y="18"/>
                  </a:lnTo>
                  <a:lnTo>
                    <a:pt x="52" y="18"/>
                  </a:lnTo>
                  <a:lnTo>
                    <a:pt x="48" y="18"/>
                  </a:lnTo>
                  <a:lnTo>
                    <a:pt x="48" y="18"/>
                  </a:lnTo>
                  <a:lnTo>
                    <a:pt x="48" y="18"/>
                  </a:lnTo>
                  <a:lnTo>
                    <a:pt x="48" y="18"/>
                  </a:lnTo>
                  <a:lnTo>
                    <a:pt x="48" y="18"/>
                  </a:lnTo>
                  <a:lnTo>
                    <a:pt x="48" y="18"/>
                  </a:lnTo>
                  <a:lnTo>
                    <a:pt x="48" y="18"/>
                  </a:lnTo>
                  <a:lnTo>
                    <a:pt x="44" y="18"/>
                  </a:lnTo>
                  <a:lnTo>
                    <a:pt x="44" y="22"/>
                  </a:lnTo>
                  <a:lnTo>
                    <a:pt x="48" y="22"/>
                  </a:lnTo>
                  <a:lnTo>
                    <a:pt x="48" y="22"/>
                  </a:lnTo>
                  <a:lnTo>
                    <a:pt x="52" y="22"/>
                  </a:lnTo>
                  <a:lnTo>
                    <a:pt x="52" y="22"/>
                  </a:lnTo>
                  <a:lnTo>
                    <a:pt x="52" y="22"/>
                  </a:lnTo>
                  <a:lnTo>
                    <a:pt x="52" y="26"/>
                  </a:lnTo>
                  <a:lnTo>
                    <a:pt x="52" y="26"/>
                  </a:lnTo>
                  <a:lnTo>
                    <a:pt x="52" y="26"/>
                  </a:lnTo>
                  <a:lnTo>
                    <a:pt x="52" y="26"/>
                  </a:lnTo>
                  <a:lnTo>
                    <a:pt x="52" y="26"/>
                  </a:lnTo>
                  <a:lnTo>
                    <a:pt x="48" y="26"/>
                  </a:lnTo>
                  <a:lnTo>
                    <a:pt x="48" y="30"/>
                  </a:lnTo>
                  <a:lnTo>
                    <a:pt x="48" y="30"/>
                  </a:lnTo>
                  <a:lnTo>
                    <a:pt x="48" y="30"/>
                  </a:lnTo>
                  <a:lnTo>
                    <a:pt x="48" y="30"/>
                  </a:lnTo>
                  <a:lnTo>
                    <a:pt x="48" y="30"/>
                  </a:lnTo>
                  <a:lnTo>
                    <a:pt x="48" y="30"/>
                  </a:lnTo>
                  <a:lnTo>
                    <a:pt x="48" y="30"/>
                  </a:lnTo>
                  <a:lnTo>
                    <a:pt x="48" y="34"/>
                  </a:lnTo>
                  <a:lnTo>
                    <a:pt x="48" y="34"/>
                  </a:lnTo>
                  <a:lnTo>
                    <a:pt x="48" y="34"/>
                  </a:lnTo>
                  <a:lnTo>
                    <a:pt x="48" y="34"/>
                  </a:lnTo>
                  <a:lnTo>
                    <a:pt x="44" y="34"/>
                  </a:lnTo>
                  <a:lnTo>
                    <a:pt x="44" y="34"/>
                  </a:lnTo>
                  <a:lnTo>
                    <a:pt x="44" y="34"/>
                  </a:lnTo>
                  <a:lnTo>
                    <a:pt x="44" y="34"/>
                  </a:lnTo>
                  <a:lnTo>
                    <a:pt x="42" y="34"/>
                  </a:lnTo>
                  <a:lnTo>
                    <a:pt x="38" y="34"/>
                  </a:lnTo>
                  <a:lnTo>
                    <a:pt x="38" y="34"/>
                  </a:lnTo>
                  <a:lnTo>
                    <a:pt x="38" y="34"/>
                  </a:lnTo>
                  <a:lnTo>
                    <a:pt x="38" y="38"/>
                  </a:lnTo>
                  <a:lnTo>
                    <a:pt x="38" y="38"/>
                  </a:lnTo>
                  <a:lnTo>
                    <a:pt x="38" y="38"/>
                  </a:lnTo>
                  <a:lnTo>
                    <a:pt x="38" y="38"/>
                  </a:lnTo>
                  <a:lnTo>
                    <a:pt x="38" y="42"/>
                  </a:lnTo>
                  <a:lnTo>
                    <a:pt x="38" y="42"/>
                  </a:lnTo>
                  <a:lnTo>
                    <a:pt x="38" y="42"/>
                  </a:lnTo>
                  <a:lnTo>
                    <a:pt x="42" y="42"/>
                  </a:lnTo>
                  <a:lnTo>
                    <a:pt x="42" y="42"/>
                  </a:lnTo>
                  <a:lnTo>
                    <a:pt x="42" y="44"/>
                  </a:lnTo>
                  <a:lnTo>
                    <a:pt x="38" y="44"/>
                  </a:lnTo>
                  <a:lnTo>
                    <a:pt x="38" y="48"/>
                  </a:lnTo>
                  <a:lnTo>
                    <a:pt x="38" y="48"/>
                  </a:lnTo>
                  <a:lnTo>
                    <a:pt x="38" y="48"/>
                  </a:lnTo>
                  <a:lnTo>
                    <a:pt x="38" y="48"/>
                  </a:lnTo>
                  <a:lnTo>
                    <a:pt x="38" y="52"/>
                  </a:lnTo>
                  <a:lnTo>
                    <a:pt x="34" y="52"/>
                  </a:lnTo>
                  <a:lnTo>
                    <a:pt x="34" y="52"/>
                  </a:lnTo>
                  <a:lnTo>
                    <a:pt x="34" y="52"/>
                  </a:lnTo>
                  <a:lnTo>
                    <a:pt x="34" y="52"/>
                  </a:lnTo>
                  <a:lnTo>
                    <a:pt x="38" y="52"/>
                  </a:lnTo>
                  <a:lnTo>
                    <a:pt x="38" y="52"/>
                  </a:lnTo>
                  <a:lnTo>
                    <a:pt x="38" y="56"/>
                  </a:lnTo>
                  <a:lnTo>
                    <a:pt x="38" y="56"/>
                  </a:lnTo>
                  <a:lnTo>
                    <a:pt x="38" y="56"/>
                  </a:lnTo>
                  <a:lnTo>
                    <a:pt x="38" y="56"/>
                  </a:lnTo>
                  <a:lnTo>
                    <a:pt x="38" y="56"/>
                  </a:lnTo>
                  <a:lnTo>
                    <a:pt x="38" y="56"/>
                  </a:lnTo>
                  <a:lnTo>
                    <a:pt x="34" y="56"/>
                  </a:lnTo>
                  <a:lnTo>
                    <a:pt x="34" y="60"/>
                  </a:lnTo>
                  <a:lnTo>
                    <a:pt x="34" y="56"/>
                  </a:lnTo>
                  <a:lnTo>
                    <a:pt x="34" y="56"/>
                  </a:lnTo>
                  <a:lnTo>
                    <a:pt x="34" y="56"/>
                  </a:lnTo>
                  <a:lnTo>
                    <a:pt x="34" y="56"/>
                  </a:lnTo>
                  <a:lnTo>
                    <a:pt x="34" y="56"/>
                  </a:lnTo>
                  <a:lnTo>
                    <a:pt x="34" y="56"/>
                  </a:lnTo>
                  <a:lnTo>
                    <a:pt x="34" y="56"/>
                  </a:lnTo>
                  <a:lnTo>
                    <a:pt x="34" y="56"/>
                  </a:lnTo>
                  <a:lnTo>
                    <a:pt x="34" y="56"/>
                  </a:lnTo>
                  <a:lnTo>
                    <a:pt x="30" y="56"/>
                  </a:lnTo>
                  <a:lnTo>
                    <a:pt x="30" y="56"/>
                  </a:lnTo>
                  <a:lnTo>
                    <a:pt x="30" y="56"/>
                  </a:lnTo>
                  <a:lnTo>
                    <a:pt x="34" y="52"/>
                  </a:lnTo>
                  <a:lnTo>
                    <a:pt x="34" y="52"/>
                  </a:lnTo>
                  <a:lnTo>
                    <a:pt x="34" y="52"/>
                  </a:lnTo>
                  <a:lnTo>
                    <a:pt x="34" y="48"/>
                  </a:lnTo>
                  <a:lnTo>
                    <a:pt x="34" y="48"/>
                  </a:lnTo>
                  <a:lnTo>
                    <a:pt x="34" y="48"/>
                  </a:lnTo>
                  <a:lnTo>
                    <a:pt x="30" y="48"/>
                  </a:lnTo>
                  <a:lnTo>
                    <a:pt x="30" y="48"/>
                  </a:lnTo>
                  <a:lnTo>
                    <a:pt x="30" y="48"/>
                  </a:lnTo>
                  <a:lnTo>
                    <a:pt x="30" y="44"/>
                  </a:lnTo>
                  <a:lnTo>
                    <a:pt x="30" y="48"/>
                  </a:lnTo>
                  <a:lnTo>
                    <a:pt x="30" y="48"/>
                  </a:lnTo>
                  <a:lnTo>
                    <a:pt x="26" y="48"/>
                  </a:lnTo>
                  <a:lnTo>
                    <a:pt x="26" y="48"/>
                  </a:lnTo>
                  <a:lnTo>
                    <a:pt x="26" y="44"/>
                  </a:lnTo>
                  <a:lnTo>
                    <a:pt x="26" y="44"/>
                  </a:lnTo>
                  <a:lnTo>
                    <a:pt x="26" y="44"/>
                  </a:lnTo>
                  <a:lnTo>
                    <a:pt x="26" y="44"/>
                  </a:lnTo>
                  <a:lnTo>
                    <a:pt x="22" y="44"/>
                  </a:lnTo>
                  <a:lnTo>
                    <a:pt x="22" y="44"/>
                  </a:lnTo>
                  <a:lnTo>
                    <a:pt x="22" y="42"/>
                  </a:lnTo>
                  <a:lnTo>
                    <a:pt x="22" y="42"/>
                  </a:lnTo>
                  <a:lnTo>
                    <a:pt x="22" y="42"/>
                  </a:lnTo>
                  <a:lnTo>
                    <a:pt x="22" y="44"/>
                  </a:lnTo>
                  <a:lnTo>
                    <a:pt x="22" y="44"/>
                  </a:lnTo>
                  <a:lnTo>
                    <a:pt x="20" y="44"/>
                  </a:lnTo>
                  <a:lnTo>
                    <a:pt x="20" y="44"/>
                  </a:lnTo>
                  <a:lnTo>
                    <a:pt x="20" y="42"/>
                  </a:lnTo>
                  <a:lnTo>
                    <a:pt x="20" y="42"/>
                  </a:lnTo>
                  <a:lnTo>
                    <a:pt x="20" y="42"/>
                  </a:lnTo>
                  <a:lnTo>
                    <a:pt x="20" y="42"/>
                  </a:lnTo>
                  <a:lnTo>
                    <a:pt x="20" y="42"/>
                  </a:lnTo>
                  <a:lnTo>
                    <a:pt x="20" y="44"/>
                  </a:lnTo>
                  <a:lnTo>
                    <a:pt x="20" y="44"/>
                  </a:lnTo>
                  <a:lnTo>
                    <a:pt x="16" y="44"/>
                  </a:lnTo>
                  <a:lnTo>
                    <a:pt x="16" y="44"/>
                  </a:lnTo>
                  <a:lnTo>
                    <a:pt x="16" y="42"/>
                  </a:lnTo>
                  <a:lnTo>
                    <a:pt x="16" y="42"/>
                  </a:lnTo>
                  <a:lnTo>
                    <a:pt x="16" y="44"/>
                  </a:lnTo>
                  <a:lnTo>
                    <a:pt x="16" y="44"/>
                  </a:lnTo>
                  <a:lnTo>
                    <a:pt x="16" y="44"/>
                  </a:lnTo>
                  <a:lnTo>
                    <a:pt x="16" y="44"/>
                  </a:lnTo>
                  <a:lnTo>
                    <a:pt x="16" y="44"/>
                  </a:lnTo>
                  <a:lnTo>
                    <a:pt x="16" y="44"/>
                  </a:lnTo>
                  <a:lnTo>
                    <a:pt x="16" y="44"/>
                  </a:lnTo>
                  <a:lnTo>
                    <a:pt x="12" y="44"/>
                  </a:lnTo>
                  <a:lnTo>
                    <a:pt x="12" y="44"/>
                  </a:lnTo>
                  <a:lnTo>
                    <a:pt x="12" y="44"/>
                  </a:lnTo>
                  <a:lnTo>
                    <a:pt x="8" y="44"/>
                  </a:lnTo>
                  <a:lnTo>
                    <a:pt x="8" y="44"/>
                  </a:lnTo>
                  <a:lnTo>
                    <a:pt x="8" y="44"/>
                  </a:lnTo>
                  <a:lnTo>
                    <a:pt x="8" y="44"/>
                  </a:lnTo>
                  <a:lnTo>
                    <a:pt x="4" y="44"/>
                  </a:lnTo>
                  <a:lnTo>
                    <a:pt x="0" y="44"/>
                  </a:lnTo>
                  <a:lnTo>
                    <a:pt x="0" y="42"/>
                  </a:lnTo>
                  <a:lnTo>
                    <a:pt x="0" y="42"/>
                  </a:lnTo>
                  <a:lnTo>
                    <a:pt x="0" y="42"/>
                  </a:lnTo>
                  <a:lnTo>
                    <a:pt x="0" y="42"/>
                  </a:lnTo>
                  <a:lnTo>
                    <a:pt x="4" y="42"/>
                  </a:lnTo>
                  <a:lnTo>
                    <a:pt x="4"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8" y="42"/>
                  </a:lnTo>
                  <a:lnTo>
                    <a:pt x="12" y="44"/>
                  </a:lnTo>
                  <a:lnTo>
                    <a:pt x="12" y="44"/>
                  </a:lnTo>
                  <a:lnTo>
                    <a:pt x="12" y="44"/>
                  </a:lnTo>
                  <a:lnTo>
                    <a:pt x="12" y="44"/>
                  </a:lnTo>
                  <a:lnTo>
                    <a:pt x="12" y="44"/>
                  </a:lnTo>
                  <a:lnTo>
                    <a:pt x="12" y="44"/>
                  </a:lnTo>
                  <a:lnTo>
                    <a:pt x="12" y="42"/>
                  </a:lnTo>
                  <a:lnTo>
                    <a:pt x="12" y="42"/>
                  </a:lnTo>
                  <a:lnTo>
                    <a:pt x="12" y="42"/>
                  </a:lnTo>
                  <a:lnTo>
                    <a:pt x="12" y="42"/>
                  </a:lnTo>
                  <a:lnTo>
                    <a:pt x="12"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2" y="42"/>
                  </a:lnTo>
                  <a:lnTo>
                    <a:pt x="12" y="38"/>
                  </a:lnTo>
                  <a:lnTo>
                    <a:pt x="12" y="38"/>
                  </a:lnTo>
                  <a:lnTo>
                    <a:pt x="12" y="38"/>
                  </a:lnTo>
                  <a:lnTo>
                    <a:pt x="12" y="38"/>
                  </a:lnTo>
                  <a:lnTo>
                    <a:pt x="12" y="38"/>
                  </a:lnTo>
                  <a:lnTo>
                    <a:pt x="12" y="38"/>
                  </a:lnTo>
                  <a:lnTo>
                    <a:pt x="12" y="38"/>
                  </a:lnTo>
                  <a:lnTo>
                    <a:pt x="8" y="38"/>
                  </a:lnTo>
                  <a:lnTo>
                    <a:pt x="8" y="38"/>
                  </a:lnTo>
                  <a:lnTo>
                    <a:pt x="8" y="38"/>
                  </a:lnTo>
                  <a:lnTo>
                    <a:pt x="8" y="38"/>
                  </a:lnTo>
                  <a:lnTo>
                    <a:pt x="8" y="38"/>
                  </a:lnTo>
                  <a:lnTo>
                    <a:pt x="8" y="38"/>
                  </a:lnTo>
                  <a:lnTo>
                    <a:pt x="8" y="34"/>
                  </a:lnTo>
                  <a:lnTo>
                    <a:pt x="8" y="34"/>
                  </a:lnTo>
                  <a:lnTo>
                    <a:pt x="8" y="34"/>
                  </a:lnTo>
                  <a:lnTo>
                    <a:pt x="8" y="34"/>
                  </a:lnTo>
                  <a:lnTo>
                    <a:pt x="8" y="34"/>
                  </a:lnTo>
                  <a:lnTo>
                    <a:pt x="12" y="34"/>
                  </a:lnTo>
                  <a:lnTo>
                    <a:pt x="12" y="34"/>
                  </a:lnTo>
                  <a:lnTo>
                    <a:pt x="12" y="30"/>
                  </a:lnTo>
                  <a:lnTo>
                    <a:pt x="16" y="26"/>
                  </a:lnTo>
                  <a:lnTo>
                    <a:pt x="16" y="26"/>
                  </a:lnTo>
                  <a:lnTo>
                    <a:pt x="16" y="26"/>
                  </a:lnTo>
                  <a:lnTo>
                    <a:pt x="16" y="26"/>
                  </a:lnTo>
                  <a:lnTo>
                    <a:pt x="16" y="26"/>
                  </a:lnTo>
                  <a:lnTo>
                    <a:pt x="16" y="22"/>
                  </a:lnTo>
                  <a:lnTo>
                    <a:pt x="16" y="22"/>
                  </a:lnTo>
                  <a:lnTo>
                    <a:pt x="16" y="22"/>
                  </a:lnTo>
                  <a:lnTo>
                    <a:pt x="16" y="22"/>
                  </a:lnTo>
                  <a:lnTo>
                    <a:pt x="20" y="22"/>
                  </a:lnTo>
                  <a:lnTo>
                    <a:pt x="20" y="22"/>
                  </a:lnTo>
                  <a:lnTo>
                    <a:pt x="20" y="22"/>
                  </a:lnTo>
                  <a:lnTo>
                    <a:pt x="22" y="22"/>
                  </a:lnTo>
                  <a:lnTo>
                    <a:pt x="22" y="22"/>
                  </a:lnTo>
                  <a:lnTo>
                    <a:pt x="22" y="22"/>
                  </a:lnTo>
                  <a:lnTo>
                    <a:pt x="22" y="22"/>
                  </a:lnTo>
                  <a:lnTo>
                    <a:pt x="22" y="26"/>
                  </a:lnTo>
                  <a:lnTo>
                    <a:pt x="26" y="26"/>
                  </a:lnTo>
                  <a:lnTo>
                    <a:pt x="26" y="26"/>
                  </a:lnTo>
                  <a:lnTo>
                    <a:pt x="26" y="26"/>
                  </a:lnTo>
                  <a:lnTo>
                    <a:pt x="26" y="26"/>
                  </a:lnTo>
                  <a:lnTo>
                    <a:pt x="26" y="26"/>
                  </a:lnTo>
                  <a:close/>
                  <a:moveTo>
                    <a:pt x="22" y="22"/>
                  </a:moveTo>
                  <a:lnTo>
                    <a:pt x="22" y="22"/>
                  </a:lnTo>
                  <a:lnTo>
                    <a:pt x="22" y="18"/>
                  </a:lnTo>
                  <a:lnTo>
                    <a:pt x="22" y="18"/>
                  </a:lnTo>
                  <a:lnTo>
                    <a:pt x="22" y="18"/>
                  </a:lnTo>
                  <a:lnTo>
                    <a:pt x="22" y="18"/>
                  </a:lnTo>
                  <a:lnTo>
                    <a:pt x="22" y="18"/>
                  </a:lnTo>
                  <a:lnTo>
                    <a:pt x="22" y="18"/>
                  </a:lnTo>
                  <a:lnTo>
                    <a:pt x="26" y="18"/>
                  </a:lnTo>
                  <a:lnTo>
                    <a:pt x="26" y="18"/>
                  </a:lnTo>
                  <a:lnTo>
                    <a:pt x="26" y="18"/>
                  </a:lnTo>
                  <a:lnTo>
                    <a:pt x="26" y="18"/>
                  </a:lnTo>
                  <a:lnTo>
                    <a:pt x="26" y="18"/>
                  </a:lnTo>
                  <a:lnTo>
                    <a:pt x="26" y="18"/>
                  </a:lnTo>
                  <a:lnTo>
                    <a:pt x="26" y="18"/>
                  </a:lnTo>
                  <a:lnTo>
                    <a:pt x="30" y="18"/>
                  </a:lnTo>
                  <a:lnTo>
                    <a:pt x="30" y="18"/>
                  </a:lnTo>
                  <a:lnTo>
                    <a:pt x="30" y="18"/>
                  </a:lnTo>
                  <a:lnTo>
                    <a:pt x="30" y="18"/>
                  </a:lnTo>
                  <a:lnTo>
                    <a:pt x="30" y="18"/>
                  </a:lnTo>
                  <a:lnTo>
                    <a:pt x="30" y="22"/>
                  </a:lnTo>
                  <a:lnTo>
                    <a:pt x="30" y="22"/>
                  </a:lnTo>
                  <a:lnTo>
                    <a:pt x="26" y="22"/>
                  </a:lnTo>
                  <a:lnTo>
                    <a:pt x="26" y="22"/>
                  </a:lnTo>
                  <a:lnTo>
                    <a:pt x="26" y="22"/>
                  </a:lnTo>
                  <a:lnTo>
                    <a:pt x="26" y="22"/>
                  </a:lnTo>
                  <a:lnTo>
                    <a:pt x="22" y="22"/>
                  </a:lnTo>
                  <a:lnTo>
                    <a:pt x="22" y="22"/>
                  </a:lnTo>
                  <a:lnTo>
                    <a:pt x="22" y="22"/>
                  </a:lnTo>
                  <a:lnTo>
                    <a:pt x="22" y="22"/>
                  </a:lnTo>
                  <a:lnTo>
                    <a:pt x="22" y="22"/>
                  </a:lnTo>
                  <a:lnTo>
                    <a:pt x="22" y="22"/>
                  </a:lnTo>
                  <a:lnTo>
                    <a:pt x="22" y="22"/>
                  </a:lnTo>
                  <a:lnTo>
                    <a:pt x="22" y="22"/>
                  </a:lnTo>
                  <a:lnTo>
                    <a:pt x="22" y="22"/>
                  </a:lnTo>
                  <a:close/>
                  <a:moveTo>
                    <a:pt x="30" y="22"/>
                  </a:moveTo>
                  <a:lnTo>
                    <a:pt x="30" y="22"/>
                  </a:lnTo>
                  <a:lnTo>
                    <a:pt x="30" y="26"/>
                  </a:lnTo>
                  <a:lnTo>
                    <a:pt x="30" y="26"/>
                  </a:lnTo>
                  <a:lnTo>
                    <a:pt x="30" y="26"/>
                  </a:lnTo>
                  <a:lnTo>
                    <a:pt x="30" y="26"/>
                  </a:lnTo>
                  <a:lnTo>
                    <a:pt x="26" y="26"/>
                  </a:lnTo>
                  <a:lnTo>
                    <a:pt x="26" y="26"/>
                  </a:lnTo>
                  <a:lnTo>
                    <a:pt x="26" y="26"/>
                  </a:lnTo>
                  <a:lnTo>
                    <a:pt x="26" y="26"/>
                  </a:lnTo>
                  <a:lnTo>
                    <a:pt x="26" y="26"/>
                  </a:lnTo>
                  <a:lnTo>
                    <a:pt x="26" y="26"/>
                  </a:lnTo>
                  <a:lnTo>
                    <a:pt x="26" y="26"/>
                  </a:lnTo>
                  <a:lnTo>
                    <a:pt x="26" y="26"/>
                  </a:lnTo>
                  <a:lnTo>
                    <a:pt x="26" y="26"/>
                  </a:lnTo>
                  <a:lnTo>
                    <a:pt x="22" y="22"/>
                  </a:lnTo>
                  <a:lnTo>
                    <a:pt x="26" y="22"/>
                  </a:lnTo>
                  <a:lnTo>
                    <a:pt x="26" y="22"/>
                  </a:lnTo>
                  <a:lnTo>
                    <a:pt x="26" y="22"/>
                  </a:lnTo>
                  <a:lnTo>
                    <a:pt x="26" y="22"/>
                  </a:lnTo>
                  <a:lnTo>
                    <a:pt x="30" y="22"/>
                  </a:lnTo>
                  <a:lnTo>
                    <a:pt x="30" y="22"/>
                  </a:lnTo>
                  <a:lnTo>
                    <a:pt x="30" y="22"/>
                  </a:lnTo>
                  <a:lnTo>
                    <a:pt x="30" y="18"/>
                  </a:lnTo>
                  <a:lnTo>
                    <a:pt x="30" y="18"/>
                  </a:lnTo>
                  <a:lnTo>
                    <a:pt x="30" y="18"/>
                  </a:lnTo>
                  <a:lnTo>
                    <a:pt x="34" y="18"/>
                  </a:lnTo>
                  <a:lnTo>
                    <a:pt x="34" y="18"/>
                  </a:lnTo>
                  <a:lnTo>
                    <a:pt x="34" y="22"/>
                  </a:lnTo>
                  <a:lnTo>
                    <a:pt x="34" y="22"/>
                  </a:lnTo>
                  <a:lnTo>
                    <a:pt x="34" y="22"/>
                  </a:lnTo>
                  <a:lnTo>
                    <a:pt x="34" y="22"/>
                  </a:lnTo>
                  <a:lnTo>
                    <a:pt x="34" y="22"/>
                  </a:lnTo>
                  <a:lnTo>
                    <a:pt x="34" y="22"/>
                  </a:lnTo>
                  <a:lnTo>
                    <a:pt x="30" y="22"/>
                  </a:lnTo>
                  <a:lnTo>
                    <a:pt x="30" y="22"/>
                  </a:lnTo>
                  <a:lnTo>
                    <a:pt x="30" y="22"/>
                  </a:lnTo>
                  <a:lnTo>
                    <a:pt x="30" y="22"/>
                  </a:lnTo>
                  <a:close/>
                  <a:moveTo>
                    <a:pt x="8" y="38"/>
                  </a:moveTo>
                  <a:lnTo>
                    <a:pt x="8" y="38"/>
                  </a:lnTo>
                  <a:lnTo>
                    <a:pt x="8" y="38"/>
                  </a:lnTo>
                  <a:lnTo>
                    <a:pt x="8" y="38"/>
                  </a:lnTo>
                  <a:lnTo>
                    <a:pt x="8" y="38"/>
                  </a:lnTo>
                  <a:lnTo>
                    <a:pt x="12" y="38"/>
                  </a:lnTo>
                  <a:lnTo>
                    <a:pt x="12" y="38"/>
                  </a:lnTo>
                  <a:lnTo>
                    <a:pt x="12" y="42"/>
                  </a:lnTo>
                  <a:lnTo>
                    <a:pt x="8" y="42"/>
                  </a:lnTo>
                  <a:lnTo>
                    <a:pt x="8" y="42"/>
                  </a:lnTo>
                  <a:lnTo>
                    <a:pt x="8" y="42"/>
                  </a:lnTo>
                  <a:lnTo>
                    <a:pt x="8" y="42"/>
                  </a:lnTo>
                  <a:lnTo>
                    <a:pt x="4" y="38"/>
                  </a:lnTo>
                  <a:lnTo>
                    <a:pt x="4" y="38"/>
                  </a:lnTo>
                  <a:lnTo>
                    <a:pt x="4" y="38"/>
                  </a:lnTo>
                  <a:lnTo>
                    <a:pt x="4" y="38"/>
                  </a:lnTo>
                  <a:lnTo>
                    <a:pt x="4" y="38"/>
                  </a:lnTo>
                  <a:lnTo>
                    <a:pt x="4" y="38"/>
                  </a:lnTo>
                  <a:lnTo>
                    <a:pt x="4" y="38"/>
                  </a:lnTo>
                  <a:lnTo>
                    <a:pt x="8" y="38"/>
                  </a:lnTo>
                  <a:lnTo>
                    <a:pt x="8" y="38"/>
                  </a:lnTo>
                  <a:lnTo>
                    <a:pt x="8" y="38"/>
                  </a:lnTo>
                  <a:close/>
                  <a:moveTo>
                    <a:pt x="0" y="44"/>
                  </a:moveTo>
                  <a:lnTo>
                    <a:pt x="0" y="44"/>
                  </a:lnTo>
                  <a:lnTo>
                    <a:pt x="0" y="44"/>
                  </a:lnTo>
                  <a:lnTo>
                    <a:pt x="0" y="44"/>
                  </a:lnTo>
                  <a:lnTo>
                    <a:pt x="4" y="44"/>
                  </a:lnTo>
                  <a:lnTo>
                    <a:pt x="4" y="44"/>
                  </a:lnTo>
                  <a:lnTo>
                    <a:pt x="4" y="44"/>
                  </a:lnTo>
                  <a:lnTo>
                    <a:pt x="8" y="44"/>
                  </a:lnTo>
                  <a:lnTo>
                    <a:pt x="8" y="44"/>
                  </a:lnTo>
                  <a:lnTo>
                    <a:pt x="12" y="44"/>
                  </a:lnTo>
                  <a:lnTo>
                    <a:pt x="12" y="44"/>
                  </a:lnTo>
                  <a:lnTo>
                    <a:pt x="12" y="44"/>
                  </a:lnTo>
                  <a:lnTo>
                    <a:pt x="12" y="44"/>
                  </a:lnTo>
                  <a:lnTo>
                    <a:pt x="12" y="48"/>
                  </a:lnTo>
                  <a:lnTo>
                    <a:pt x="8" y="48"/>
                  </a:lnTo>
                  <a:lnTo>
                    <a:pt x="8" y="48"/>
                  </a:lnTo>
                  <a:lnTo>
                    <a:pt x="8" y="48"/>
                  </a:lnTo>
                  <a:lnTo>
                    <a:pt x="4" y="48"/>
                  </a:lnTo>
                  <a:lnTo>
                    <a:pt x="4" y="48"/>
                  </a:lnTo>
                  <a:lnTo>
                    <a:pt x="4" y="44"/>
                  </a:lnTo>
                  <a:lnTo>
                    <a:pt x="4" y="44"/>
                  </a:lnTo>
                  <a:lnTo>
                    <a:pt x="0" y="48"/>
                  </a:lnTo>
                  <a:lnTo>
                    <a:pt x="0" y="48"/>
                  </a:lnTo>
                  <a:lnTo>
                    <a:pt x="0" y="48"/>
                  </a:lnTo>
                  <a:lnTo>
                    <a:pt x="0" y="48"/>
                  </a:lnTo>
                  <a:lnTo>
                    <a:pt x="0" y="48"/>
                  </a:lnTo>
                  <a:lnTo>
                    <a:pt x="0" y="48"/>
                  </a:lnTo>
                  <a:lnTo>
                    <a:pt x="0" y="44"/>
                  </a:lnTo>
                  <a:lnTo>
                    <a:pt x="0" y="44"/>
                  </a:lnTo>
                  <a:lnTo>
                    <a:pt x="0" y="44"/>
                  </a:lnTo>
                  <a:lnTo>
                    <a:pt x="0" y="44"/>
                  </a:lnTo>
                  <a:close/>
                  <a:moveTo>
                    <a:pt x="26" y="4"/>
                  </a:moveTo>
                  <a:lnTo>
                    <a:pt x="26" y="4"/>
                  </a:lnTo>
                  <a:lnTo>
                    <a:pt x="26" y="4"/>
                  </a:lnTo>
                  <a:lnTo>
                    <a:pt x="26" y="4"/>
                  </a:lnTo>
                  <a:lnTo>
                    <a:pt x="26" y="4"/>
                  </a:lnTo>
                  <a:lnTo>
                    <a:pt x="26" y="4"/>
                  </a:lnTo>
                  <a:lnTo>
                    <a:pt x="26" y="4"/>
                  </a:lnTo>
                  <a:lnTo>
                    <a:pt x="30" y="0"/>
                  </a:lnTo>
                  <a:lnTo>
                    <a:pt x="30" y="0"/>
                  </a:lnTo>
                  <a:lnTo>
                    <a:pt x="30" y="0"/>
                  </a:lnTo>
                  <a:lnTo>
                    <a:pt x="30" y="0"/>
                  </a:lnTo>
                  <a:lnTo>
                    <a:pt x="30" y="0"/>
                  </a:lnTo>
                  <a:lnTo>
                    <a:pt x="26" y="4"/>
                  </a:lnTo>
                  <a:lnTo>
                    <a:pt x="26" y="4"/>
                  </a:lnTo>
                  <a:lnTo>
                    <a:pt x="26" y="4"/>
                  </a:lnTo>
                  <a:lnTo>
                    <a:pt x="26" y="4"/>
                  </a:lnTo>
                  <a:lnTo>
                    <a:pt x="26" y="4"/>
                  </a:lnTo>
                  <a:lnTo>
                    <a:pt x="26" y="4"/>
                  </a:lnTo>
                  <a:close/>
                  <a:moveTo>
                    <a:pt x="20" y="12"/>
                  </a:moveTo>
                  <a:lnTo>
                    <a:pt x="20" y="12"/>
                  </a:lnTo>
                  <a:lnTo>
                    <a:pt x="20" y="12"/>
                  </a:lnTo>
                  <a:lnTo>
                    <a:pt x="20" y="12"/>
                  </a:lnTo>
                  <a:lnTo>
                    <a:pt x="20" y="12"/>
                  </a:lnTo>
                  <a:lnTo>
                    <a:pt x="20" y="12"/>
                  </a:lnTo>
                  <a:lnTo>
                    <a:pt x="20" y="8"/>
                  </a:lnTo>
                  <a:lnTo>
                    <a:pt x="20" y="8"/>
                  </a:lnTo>
                  <a:lnTo>
                    <a:pt x="20" y="8"/>
                  </a:lnTo>
                  <a:lnTo>
                    <a:pt x="20" y="8"/>
                  </a:lnTo>
                  <a:lnTo>
                    <a:pt x="20" y="8"/>
                  </a:lnTo>
                  <a:lnTo>
                    <a:pt x="22" y="8"/>
                  </a:lnTo>
                  <a:lnTo>
                    <a:pt x="22" y="8"/>
                  </a:lnTo>
                  <a:lnTo>
                    <a:pt x="22" y="8"/>
                  </a:lnTo>
                  <a:lnTo>
                    <a:pt x="22" y="8"/>
                  </a:lnTo>
                  <a:lnTo>
                    <a:pt x="22" y="8"/>
                  </a:lnTo>
                  <a:lnTo>
                    <a:pt x="20" y="12"/>
                  </a:lnTo>
                  <a:lnTo>
                    <a:pt x="20" y="12"/>
                  </a:lnTo>
                  <a:lnTo>
                    <a:pt x="20" y="12"/>
                  </a:lnTo>
                  <a:lnTo>
                    <a:pt x="20" y="12"/>
                  </a:lnTo>
                  <a:lnTo>
                    <a:pt x="20" y="12"/>
                  </a:lnTo>
                  <a:lnTo>
                    <a:pt x="20" y="12"/>
                  </a:lnTo>
                  <a:lnTo>
                    <a:pt x="20" y="1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23" name="Freeform 116"/>
            <p:cNvSpPr>
              <a:spLocks noEditPoints="1"/>
            </p:cNvSpPr>
            <p:nvPr/>
          </p:nvSpPr>
          <p:spPr bwMode="auto">
            <a:xfrm>
              <a:off x="7081731" y="3245135"/>
              <a:ext cx="234865" cy="207906"/>
            </a:xfrm>
            <a:custGeom>
              <a:avLst/>
              <a:gdLst>
                <a:gd name="T0" fmla="*/ 104 w 374"/>
                <a:gd name="T1" fmla="*/ 154 h 318"/>
                <a:gd name="T2" fmla="*/ 120 w 374"/>
                <a:gd name="T3" fmla="*/ 132 h 318"/>
                <a:gd name="T4" fmla="*/ 120 w 374"/>
                <a:gd name="T5" fmla="*/ 116 h 318"/>
                <a:gd name="T6" fmla="*/ 142 w 374"/>
                <a:gd name="T7" fmla="*/ 102 h 318"/>
                <a:gd name="T8" fmla="*/ 150 w 374"/>
                <a:gd name="T9" fmla="*/ 94 h 318"/>
                <a:gd name="T10" fmla="*/ 146 w 374"/>
                <a:gd name="T11" fmla="*/ 82 h 318"/>
                <a:gd name="T12" fmla="*/ 164 w 374"/>
                <a:gd name="T13" fmla="*/ 82 h 318"/>
                <a:gd name="T14" fmla="*/ 184 w 374"/>
                <a:gd name="T15" fmla="*/ 72 h 318"/>
                <a:gd name="T16" fmla="*/ 180 w 374"/>
                <a:gd name="T17" fmla="*/ 56 h 318"/>
                <a:gd name="T18" fmla="*/ 202 w 374"/>
                <a:gd name="T19" fmla="*/ 42 h 318"/>
                <a:gd name="T20" fmla="*/ 232 w 374"/>
                <a:gd name="T21" fmla="*/ 30 h 318"/>
                <a:gd name="T22" fmla="*/ 254 w 374"/>
                <a:gd name="T23" fmla="*/ 22 h 318"/>
                <a:gd name="T24" fmla="*/ 276 w 374"/>
                <a:gd name="T25" fmla="*/ 8 h 318"/>
                <a:gd name="T26" fmla="*/ 296 w 374"/>
                <a:gd name="T27" fmla="*/ 22 h 318"/>
                <a:gd name="T28" fmla="*/ 318 w 374"/>
                <a:gd name="T29" fmla="*/ 8 h 318"/>
                <a:gd name="T30" fmla="*/ 332 w 374"/>
                <a:gd name="T31" fmla="*/ 22 h 318"/>
                <a:gd name="T32" fmla="*/ 374 w 374"/>
                <a:gd name="T33" fmla="*/ 22 h 318"/>
                <a:gd name="T34" fmla="*/ 358 w 374"/>
                <a:gd name="T35" fmla="*/ 34 h 318"/>
                <a:gd name="T36" fmla="*/ 348 w 374"/>
                <a:gd name="T37" fmla="*/ 38 h 318"/>
                <a:gd name="T38" fmla="*/ 296 w 374"/>
                <a:gd name="T39" fmla="*/ 56 h 318"/>
                <a:gd name="T40" fmla="*/ 232 w 374"/>
                <a:gd name="T41" fmla="*/ 52 h 318"/>
                <a:gd name="T42" fmla="*/ 168 w 374"/>
                <a:gd name="T43" fmla="*/ 90 h 318"/>
                <a:gd name="T44" fmla="*/ 128 w 374"/>
                <a:gd name="T45" fmla="*/ 162 h 318"/>
                <a:gd name="T46" fmla="*/ 112 w 374"/>
                <a:gd name="T47" fmla="*/ 236 h 318"/>
                <a:gd name="T48" fmla="*/ 90 w 374"/>
                <a:gd name="T49" fmla="*/ 292 h 318"/>
                <a:gd name="T50" fmla="*/ 72 w 374"/>
                <a:gd name="T51" fmla="*/ 294 h 318"/>
                <a:gd name="T52" fmla="*/ 12 w 374"/>
                <a:gd name="T53" fmla="*/ 292 h 318"/>
                <a:gd name="T54" fmla="*/ 14 w 374"/>
                <a:gd name="T55" fmla="*/ 284 h 318"/>
                <a:gd name="T56" fmla="*/ 30 w 374"/>
                <a:gd name="T57" fmla="*/ 262 h 318"/>
                <a:gd name="T58" fmla="*/ 14 w 374"/>
                <a:gd name="T59" fmla="*/ 258 h 318"/>
                <a:gd name="T60" fmla="*/ 34 w 374"/>
                <a:gd name="T61" fmla="*/ 246 h 318"/>
                <a:gd name="T62" fmla="*/ 8 w 374"/>
                <a:gd name="T63" fmla="*/ 238 h 318"/>
                <a:gd name="T64" fmla="*/ 8 w 374"/>
                <a:gd name="T65" fmla="*/ 228 h 318"/>
                <a:gd name="T66" fmla="*/ 30 w 374"/>
                <a:gd name="T67" fmla="*/ 224 h 318"/>
                <a:gd name="T68" fmla="*/ 44 w 374"/>
                <a:gd name="T69" fmla="*/ 210 h 318"/>
                <a:gd name="T70" fmla="*/ 52 w 374"/>
                <a:gd name="T71" fmla="*/ 206 h 318"/>
                <a:gd name="T72" fmla="*/ 64 w 374"/>
                <a:gd name="T73" fmla="*/ 192 h 318"/>
                <a:gd name="T74" fmla="*/ 86 w 374"/>
                <a:gd name="T75" fmla="*/ 180 h 318"/>
                <a:gd name="T76" fmla="*/ 284 w 374"/>
                <a:gd name="T77" fmla="*/ 4 h 318"/>
                <a:gd name="T78" fmla="*/ 206 w 374"/>
                <a:gd name="T79" fmla="*/ 26 h 318"/>
                <a:gd name="T80" fmla="*/ 354 w 374"/>
                <a:gd name="T81" fmla="*/ 38 h 318"/>
                <a:gd name="T82" fmla="*/ 176 w 374"/>
                <a:gd name="T83" fmla="*/ 60 h 318"/>
                <a:gd name="T84" fmla="*/ 124 w 374"/>
                <a:gd name="T85" fmla="*/ 76 h 318"/>
                <a:gd name="T86" fmla="*/ 130 w 374"/>
                <a:gd name="T87" fmla="*/ 106 h 318"/>
                <a:gd name="T88" fmla="*/ 104 w 374"/>
                <a:gd name="T89" fmla="*/ 154 h 318"/>
                <a:gd name="T90" fmla="*/ 52 w 374"/>
                <a:gd name="T91" fmla="*/ 194 h 318"/>
                <a:gd name="T92" fmla="*/ 42 w 374"/>
                <a:gd name="T93" fmla="*/ 202 h 318"/>
                <a:gd name="T94" fmla="*/ 12 w 374"/>
                <a:gd name="T95" fmla="*/ 222 h 318"/>
                <a:gd name="T96" fmla="*/ 12 w 374"/>
                <a:gd name="T97" fmla="*/ 262 h 318"/>
                <a:gd name="T98" fmla="*/ 248 w 374"/>
                <a:gd name="T99" fmla="*/ 16 h 318"/>
                <a:gd name="T100" fmla="*/ 270 w 374"/>
                <a:gd name="T101" fmla="*/ 16 h 318"/>
                <a:gd name="T102" fmla="*/ 228 w 374"/>
                <a:gd name="T103" fmla="*/ 30 h 318"/>
                <a:gd name="T104" fmla="*/ 194 w 374"/>
                <a:gd name="T105" fmla="*/ 38 h 318"/>
                <a:gd name="T106" fmla="*/ 176 w 374"/>
                <a:gd name="T107" fmla="*/ 42 h 318"/>
                <a:gd name="T108" fmla="*/ 154 w 374"/>
                <a:gd name="T109" fmla="*/ 56 h 318"/>
                <a:gd name="T110" fmla="*/ 146 w 374"/>
                <a:gd name="T111" fmla="*/ 60 h 318"/>
                <a:gd name="T112" fmla="*/ 158 w 374"/>
                <a:gd name="T113" fmla="*/ 56 h 318"/>
                <a:gd name="T114" fmla="*/ 134 w 374"/>
                <a:gd name="T115" fmla="*/ 76 h 318"/>
                <a:gd name="T116" fmla="*/ 108 w 374"/>
                <a:gd name="T117" fmla="*/ 132 h 318"/>
                <a:gd name="T118" fmla="*/ 44 w 374"/>
                <a:gd name="T119" fmla="*/ 194 h 318"/>
                <a:gd name="T120" fmla="*/ 8 w 374"/>
                <a:gd name="T121" fmla="*/ 262 h 318"/>
                <a:gd name="T122" fmla="*/ 8 w 374"/>
                <a:gd name="T123" fmla="*/ 28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4" h="318">
                  <a:moveTo>
                    <a:pt x="82" y="168"/>
                  </a:moveTo>
                  <a:lnTo>
                    <a:pt x="86" y="168"/>
                  </a:lnTo>
                  <a:lnTo>
                    <a:pt x="82" y="168"/>
                  </a:lnTo>
                  <a:lnTo>
                    <a:pt x="86" y="164"/>
                  </a:lnTo>
                  <a:lnTo>
                    <a:pt x="90" y="164"/>
                  </a:lnTo>
                  <a:lnTo>
                    <a:pt x="94" y="168"/>
                  </a:lnTo>
                  <a:lnTo>
                    <a:pt x="94" y="164"/>
                  </a:lnTo>
                  <a:lnTo>
                    <a:pt x="98" y="164"/>
                  </a:lnTo>
                  <a:lnTo>
                    <a:pt x="102" y="164"/>
                  </a:lnTo>
                  <a:lnTo>
                    <a:pt x="98" y="164"/>
                  </a:lnTo>
                  <a:lnTo>
                    <a:pt x="94" y="164"/>
                  </a:lnTo>
                  <a:lnTo>
                    <a:pt x="94" y="162"/>
                  </a:lnTo>
                  <a:lnTo>
                    <a:pt x="98" y="162"/>
                  </a:lnTo>
                  <a:lnTo>
                    <a:pt x="102" y="162"/>
                  </a:lnTo>
                  <a:lnTo>
                    <a:pt x="102" y="158"/>
                  </a:lnTo>
                  <a:lnTo>
                    <a:pt x="98" y="158"/>
                  </a:lnTo>
                  <a:lnTo>
                    <a:pt x="102" y="158"/>
                  </a:lnTo>
                  <a:lnTo>
                    <a:pt x="104" y="154"/>
                  </a:lnTo>
                  <a:lnTo>
                    <a:pt x="102" y="154"/>
                  </a:lnTo>
                  <a:lnTo>
                    <a:pt x="102" y="158"/>
                  </a:lnTo>
                  <a:lnTo>
                    <a:pt x="94" y="162"/>
                  </a:lnTo>
                  <a:lnTo>
                    <a:pt x="94" y="158"/>
                  </a:lnTo>
                  <a:lnTo>
                    <a:pt x="98" y="158"/>
                  </a:lnTo>
                  <a:lnTo>
                    <a:pt x="94" y="158"/>
                  </a:lnTo>
                  <a:lnTo>
                    <a:pt x="98" y="154"/>
                  </a:lnTo>
                  <a:lnTo>
                    <a:pt x="102" y="154"/>
                  </a:lnTo>
                  <a:lnTo>
                    <a:pt x="104" y="154"/>
                  </a:lnTo>
                  <a:lnTo>
                    <a:pt x="108" y="154"/>
                  </a:lnTo>
                  <a:lnTo>
                    <a:pt x="112" y="150"/>
                  </a:lnTo>
                  <a:lnTo>
                    <a:pt x="116" y="146"/>
                  </a:lnTo>
                  <a:lnTo>
                    <a:pt x="112" y="150"/>
                  </a:lnTo>
                  <a:lnTo>
                    <a:pt x="108" y="150"/>
                  </a:lnTo>
                  <a:lnTo>
                    <a:pt x="112" y="150"/>
                  </a:lnTo>
                  <a:lnTo>
                    <a:pt x="112" y="146"/>
                  </a:lnTo>
                  <a:lnTo>
                    <a:pt x="108" y="146"/>
                  </a:lnTo>
                  <a:lnTo>
                    <a:pt x="108" y="150"/>
                  </a:lnTo>
                  <a:lnTo>
                    <a:pt x="104" y="150"/>
                  </a:lnTo>
                  <a:lnTo>
                    <a:pt x="108" y="146"/>
                  </a:lnTo>
                  <a:lnTo>
                    <a:pt x="112" y="146"/>
                  </a:lnTo>
                  <a:lnTo>
                    <a:pt x="108" y="142"/>
                  </a:lnTo>
                  <a:lnTo>
                    <a:pt x="112" y="142"/>
                  </a:lnTo>
                  <a:lnTo>
                    <a:pt x="108" y="142"/>
                  </a:lnTo>
                  <a:lnTo>
                    <a:pt x="108" y="138"/>
                  </a:lnTo>
                  <a:lnTo>
                    <a:pt x="108" y="136"/>
                  </a:lnTo>
                  <a:lnTo>
                    <a:pt x="112" y="136"/>
                  </a:lnTo>
                  <a:lnTo>
                    <a:pt x="112" y="138"/>
                  </a:lnTo>
                  <a:lnTo>
                    <a:pt x="116" y="138"/>
                  </a:lnTo>
                  <a:lnTo>
                    <a:pt x="112" y="138"/>
                  </a:lnTo>
                  <a:lnTo>
                    <a:pt x="112" y="136"/>
                  </a:lnTo>
                  <a:lnTo>
                    <a:pt x="112" y="132"/>
                  </a:lnTo>
                  <a:lnTo>
                    <a:pt x="116" y="132"/>
                  </a:lnTo>
                  <a:lnTo>
                    <a:pt x="120" y="132"/>
                  </a:lnTo>
                  <a:lnTo>
                    <a:pt x="120" y="136"/>
                  </a:lnTo>
                  <a:lnTo>
                    <a:pt x="120" y="132"/>
                  </a:lnTo>
                  <a:lnTo>
                    <a:pt x="116" y="132"/>
                  </a:lnTo>
                  <a:lnTo>
                    <a:pt x="116" y="128"/>
                  </a:lnTo>
                  <a:lnTo>
                    <a:pt x="112" y="128"/>
                  </a:lnTo>
                  <a:lnTo>
                    <a:pt x="116" y="128"/>
                  </a:lnTo>
                  <a:lnTo>
                    <a:pt x="120" y="128"/>
                  </a:lnTo>
                  <a:lnTo>
                    <a:pt x="120" y="124"/>
                  </a:lnTo>
                  <a:lnTo>
                    <a:pt x="124" y="124"/>
                  </a:lnTo>
                  <a:lnTo>
                    <a:pt x="128" y="124"/>
                  </a:lnTo>
                  <a:lnTo>
                    <a:pt x="124" y="124"/>
                  </a:lnTo>
                  <a:lnTo>
                    <a:pt x="124" y="128"/>
                  </a:lnTo>
                  <a:lnTo>
                    <a:pt x="128" y="124"/>
                  </a:lnTo>
                  <a:lnTo>
                    <a:pt x="130" y="124"/>
                  </a:lnTo>
                  <a:lnTo>
                    <a:pt x="134" y="124"/>
                  </a:lnTo>
                  <a:lnTo>
                    <a:pt x="134" y="120"/>
                  </a:lnTo>
                  <a:lnTo>
                    <a:pt x="130" y="124"/>
                  </a:lnTo>
                  <a:lnTo>
                    <a:pt x="128" y="124"/>
                  </a:lnTo>
                  <a:lnTo>
                    <a:pt x="124" y="124"/>
                  </a:lnTo>
                  <a:lnTo>
                    <a:pt x="120" y="124"/>
                  </a:lnTo>
                  <a:lnTo>
                    <a:pt x="116" y="124"/>
                  </a:lnTo>
                  <a:lnTo>
                    <a:pt x="120" y="124"/>
                  </a:lnTo>
                  <a:lnTo>
                    <a:pt x="124" y="124"/>
                  </a:lnTo>
                  <a:lnTo>
                    <a:pt x="120" y="124"/>
                  </a:lnTo>
                  <a:lnTo>
                    <a:pt x="116" y="120"/>
                  </a:lnTo>
                  <a:lnTo>
                    <a:pt x="120" y="120"/>
                  </a:lnTo>
                  <a:lnTo>
                    <a:pt x="120" y="116"/>
                  </a:lnTo>
                  <a:lnTo>
                    <a:pt x="116" y="116"/>
                  </a:lnTo>
                  <a:lnTo>
                    <a:pt x="120" y="116"/>
                  </a:lnTo>
                  <a:lnTo>
                    <a:pt x="124" y="116"/>
                  </a:lnTo>
                  <a:lnTo>
                    <a:pt x="128" y="116"/>
                  </a:lnTo>
                  <a:lnTo>
                    <a:pt x="124" y="116"/>
                  </a:lnTo>
                  <a:lnTo>
                    <a:pt x="120" y="116"/>
                  </a:lnTo>
                  <a:lnTo>
                    <a:pt x="120" y="112"/>
                  </a:lnTo>
                  <a:lnTo>
                    <a:pt x="124" y="112"/>
                  </a:lnTo>
                  <a:lnTo>
                    <a:pt x="120" y="112"/>
                  </a:lnTo>
                  <a:lnTo>
                    <a:pt x="124" y="112"/>
                  </a:lnTo>
                  <a:lnTo>
                    <a:pt x="128" y="112"/>
                  </a:lnTo>
                  <a:lnTo>
                    <a:pt x="130" y="112"/>
                  </a:lnTo>
                  <a:lnTo>
                    <a:pt x="128" y="112"/>
                  </a:lnTo>
                  <a:lnTo>
                    <a:pt x="124" y="112"/>
                  </a:lnTo>
                  <a:lnTo>
                    <a:pt x="128" y="112"/>
                  </a:lnTo>
                  <a:lnTo>
                    <a:pt x="124" y="112"/>
                  </a:lnTo>
                  <a:lnTo>
                    <a:pt x="124" y="108"/>
                  </a:lnTo>
                  <a:lnTo>
                    <a:pt x="128" y="108"/>
                  </a:lnTo>
                  <a:lnTo>
                    <a:pt x="130" y="108"/>
                  </a:lnTo>
                  <a:lnTo>
                    <a:pt x="128" y="108"/>
                  </a:lnTo>
                  <a:lnTo>
                    <a:pt x="124" y="108"/>
                  </a:lnTo>
                  <a:lnTo>
                    <a:pt x="128" y="106"/>
                  </a:lnTo>
                  <a:lnTo>
                    <a:pt x="130" y="108"/>
                  </a:lnTo>
                  <a:lnTo>
                    <a:pt x="134" y="106"/>
                  </a:lnTo>
                  <a:lnTo>
                    <a:pt x="138" y="106"/>
                  </a:lnTo>
                  <a:lnTo>
                    <a:pt x="134" y="106"/>
                  </a:lnTo>
                  <a:lnTo>
                    <a:pt x="134" y="102"/>
                  </a:lnTo>
                  <a:lnTo>
                    <a:pt x="138" y="102"/>
                  </a:lnTo>
                  <a:lnTo>
                    <a:pt x="142" y="102"/>
                  </a:lnTo>
                  <a:lnTo>
                    <a:pt x="138" y="102"/>
                  </a:lnTo>
                  <a:lnTo>
                    <a:pt x="142" y="102"/>
                  </a:lnTo>
                  <a:lnTo>
                    <a:pt x="146" y="102"/>
                  </a:lnTo>
                  <a:lnTo>
                    <a:pt x="150" y="102"/>
                  </a:lnTo>
                  <a:lnTo>
                    <a:pt x="154" y="106"/>
                  </a:lnTo>
                  <a:lnTo>
                    <a:pt x="154" y="102"/>
                  </a:lnTo>
                  <a:lnTo>
                    <a:pt x="150" y="102"/>
                  </a:lnTo>
                  <a:lnTo>
                    <a:pt x="154" y="102"/>
                  </a:lnTo>
                  <a:lnTo>
                    <a:pt x="158" y="102"/>
                  </a:lnTo>
                  <a:lnTo>
                    <a:pt x="150" y="102"/>
                  </a:lnTo>
                  <a:lnTo>
                    <a:pt x="150" y="98"/>
                  </a:lnTo>
                  <a:lnTo>
                    <a:pt x="150" y="102"/>
                  </a:lnTo>
                  <a:lnTo>
                    <a:pt x="146" y="98"/>
                  </a:lnTo>
                  <a:lnTo>
                    <a:pt x="150" y="98"/>
                  </a:lnTo>
                  <a:lnTo>
                    <a:pt x="146" y="98"/>
                  </a:lnTo>
                  <a:lnTo>
                    <a:pt x="142" y="98"/>
                  </a:lnTo>
                  <a:lnTo>
                    <a:pt x="142" y="102"/>
                  </a:lnTo>
                  <a:lnTo>
                    <a:pt x="138" y="98"/>
                  </a:lnTo>
                  <a:lnTo>
                    <a:pt x="134" y="98"/>
                  </a:lnTo>
                  <a:lnTo>
                    <a:pt x="138" y="98"/>
                  </a:lnTo>
                  <a:lnTo>
                    <a:pt x="138" y="94"/>
                  </a:lnTo>
                  <a:lnTo>
                    <a:pt x="142" y="94"/>
                  </a:lnTo>
                  <a:lnTo>
                    <a:pt x="146" y="94"/>
                  </a:lnTo>
                  <a:lnTo>
                    <a:pt x="142" y="94"/>
                  </a:lnTo>
                  <a:lnTo>
                    <a:pt x="146" y="90"/>
                  </a:lnTo>
                  <a:lnTo>
                    <a:pt x="146" y="94"/>
                  </a:lnTo>
                  <a:lnTo>
                    <a:pt x="150" y="94"/>
                  </a:lnTo>
                  <a:lnTo>
                    <a:pt x="154" y="94"/>
                  </a:lnTo>
                  <a:lnTo>
                    <a:pt x="154" y="98"/>
                  </a:lnTo>
                  <a:lnTo>
                    <a:pt x="158" y="98"/>
                  </a:lnTo>
                  <a:lnTo>
                    <a:pt x="154" y="98"/>
                  </a:lnTo>
                  <a:lnTo>
                    <a:pt x="154" y="94"/>
                  </a:lnTo>
                  <a:lnTo>
                    <a:pt x="158" y="94"/>
                  </a:lnTo>
                  <a:lnTo>
                    <a:pt x="158" y="90"/>
                  </a:lnTo>
                  <a:lnTo>
                    <a:pt x="154" y="90"/>
                  </a:lnTo>
                  <a:lnTo>
                    <a:pt x="154" y="94"/>
                  </a:lnTo>
                  <a:lnTo>
                    <a:pt x="150" y="94"/>
                  </a:lnTo>
                  <a:lnTo>
                    <a:pt x="150" y="90"/>
                  </a:lnTo>
                  <a:lnTo>
                    <a:pt x="150" y="86"/>
                  </a:lnTo>
                  <a:lnTo>
                    <a:pt x="154" y="90"/>
                  </a:lnTo>
                  <a:lnTo>
                    <a:pt x="154" y="86"/>
                  </a:lnTo>
                  <a:lnTo>
                    <a:pt x="150" y="86"/>
                  </a:lnTo>
                  <a:lnTo>
                    <a:pt x="154" y="86"/>
                  </a:lnTo>
                  <a:lnTo>
                    <a:pt x="158" y="90"/>
                  </a:lnTo>
                  <a:lnTo>
                    <a:pt x="158" y="86"/>
                  </a:lnTo>
                  <a:lnTo>
                    <a:pt x="154" y="86"/>
                  </a:lnTo>
                  <a:lnTo>
                    <a:pt x="150" y="86"/>
                  </a:lnTo>
                  <a:lnTo>
                    <a:pt x="146" y="90"/>
                  </a:lnTo>
                  <a:lnTo>
                    <a:pt x="142" y="90"/>
                  </a:lnTo>
                  <a:lnTo>
                    <a:pt x="142" y="86"/>
                  </a:lnTo>
                  <a:lnTo>
                    <a:pt x="146" y="86"/>
                  </a:lnTo>
                  <a:lnTo>
                    <a:pt x="142" y="86"/>
                  </a:lnTo>
                  <a:lnTo>
                    <a:pt x="146" y="86"/>
                  </a:lnTo>
                  <a:lnTo>
                    <a:pt x="146" y="82"/>
                  </a:lnTo>
                  <a:lnTo>
                    <a:pt x="142" y="86"/>
                  </a:lnTo>
                  <a:lnTo>
                    <a:pt x="142" y="82"/>
                  </a:lnTo>
                  <a:lnTo>
                    <a:pt x="146" y="82"/>
                  </a:lnTo>
                  <a:lnTo>
                    <a:pt x="150" y="82"/>
                  </a:lnTo>
                  <a:lnTo>
                    <a:pt x="154" y="82"/>
                  </a:lnTo>
                  <a:lnTo>
                    <a:pt x="158" y="82"/>
                  </a:lnTo>
                  <a:lnTo>
                    <a:pt x="160" y="78"/>
                  </a:lnTo>
                  <a:lnTo>
                    <a:pt x="158" y="78"/>
                  </a:lnTo>
                  <a:lnTo>
                    <a:pt x="154" y="78"/>
                  </a:lnTo>
                  <a:lnTo>
                    <a:pt x="150" y="82"/>
                  </a:lnTo>
                  <a:lnTo>
                    <a:pt x="150" y="78"/>
                  </a:lnTo>
                  <a:lnTo>
                    <a:pt x="154" y="78"/>
                  </a:lnTo>
                  <a:lnTo>
                    <a:pt x="154" y="76"/>
                  </a:lnTo>
                  <a:lnTo>
                    <a:pt x="158" y="76"/>
                  </a:lnTo>
                  <a:lnTo>
                    <a:pt x="158" y="78"/>
                  </a:lnTo>
                  <a:lnTo>
                    <a:pt x="154" y="78"/>
                  </a:lnTo>
                  <a:lnTo>
                    <a:pt x="158" y="78"/>
                  </a:lnTo>
                  <a:lnTo>
                    <a:pt x="158" y="76"/>
                  </a:lnTo>
                  <a:lnTo>
                    <a:pt x="160" y="76"/>
                  </a:lnTo>
                  <a:lnTo>
                    <a:pt x="160" y="78"/>
                  </a:lnTo>
                  <a:lnTo>
                    <a:pt x="160" y="82"/>
                  </a:lnTo>
                  <a:lnTo>
                    <a:pt x="164" y="82"/>
                  </a:lnTo>
                  <a:lnTo>
                    <a:pt x="164" y="86"/>
                  </a:lnTo>
                  <a:lnTo>
                    <a:pt x="168" y="86"/>
                  </a:lnTo>
                  <a:lnTo>
                    <a:pt x="164" y="82"/>
                  </a:lnTo>
                  <a:lnTo>
                    <a:pt x="164" y="78"/>
                  </a:lnTo>
                  <a:lnTo>
                    <a:pt x="164" y="82"/>
                  </a:lnTo>
                  <a:lnTo>
                    <a:pt x="168" y="82"/>
                  </a:lnTo>
                  <a:lnTo>
                    <a:pt x="168" y="78"/>
                  </a:lnTo>
                  <a:lnTo>
                    <a:pt x="164" y="78"/>
                  </a:lnTo>
                  <a:lnTo>
                    <a:pt x="168" y="78"/>
                  </a:lnTo>
                  <a:lnTo>
                    <a:pt x="164" y="78"/>
                  </a:lnTo>
                  <a:lnTo>
                    <a:pt x="164" y="76"/>
                  </a:lnTo>
                  <a:lnTo>
                    <a:pt x="168" y="76"/>
                  </a:lnTo>
                  <a:lnTo>
                    <a:pt x="164" y="76"/>
                  </a:lnTo>
                  <a:lnTo>
                    <a:pt x="160" y="76"/>
                  </a:lnTo>
                  <a:lnTo>
                    <a:pt x="164" y="76"/>
                  </a:lnTo>
                  <a:lnTo>
                    <a:pt x="160" y="76"/>
                  </a:lnTo>
                  <a:lnTo>
                    <a:pt x="160" y="72"/>
                  </a:lnTo>
                  <a:lnTo>
                    <a:pt x="168" y="76"/>
                  </a:lnTo>
                  <a:lnTo>
                    <a:pt x="172" y="78"/>
                  </a:lnTo>
                  <a:lnTo>
                    <a:pt x="172" y="76"/>
                  </a:lnTo>
                  <a:lnTo>
                    <a:pt x="168" y="76"/>
                  </a:lnTo>
                  <a:lnTo>
                    <a:pt x="164" y="72"/>
                  </a:lnTo>
                  <a:lnTo>
                    <a:pt x="168" y="72"/>
                  </a:lnTo>
                  <a:lnTo>
                    <a:pt x="172" y="72"/>
                  </a:lnTo>
                  <a:lnTo>
                    <a:pt x="176" y="72"/>
                  </a:lnTo>
                  <a:lnTo>
                    <a:pt x="180" y="76"/>
                  </a:lnTo>
                  <a:lnTo>
                    <a:pt x="180" y="72"/>
                  </a:lnTo>
                  <a:lnTo>
                    <a:pt x="176" y="72"/>
                  </a:lnTo>
                  <a:lnTo>
                    <a:pt x="180" y="72"/>
                  </a:lnTo>
                  <a:lnTo>
                    <a:pt x="184" y="72"/>
                  </a:lnTo>
                  <a:lnTo>
                    <a:pt x="180" y="72"/>
                  </a:lnTo>
                  <a:lnTo>
                    <a:pt x="184" y="72"/>
                  </a:lnTo>
                  <a:lnTo>
                    <a:pt x="184" y="68"/>
                  </a:lnTo>
                  <a:lnTo>
                    <a:pt x="180" y="68"/>
                  </a:lnTo>
                  <a:lnTo>
                    <a:pt x="176" y="68"/>
                  </a:lnTo>
                  <a:lnTo>
                    <a:pt x="176" y="72"/>
                  </a:lnTo>
                  <a:lnTo>
                    <a:pt x="176" y="68"/>
                  </a:lnTo>
                  <a:lnTo>
                    <a:pt x="172" y="68"/>
                  </a:lnTo>
                  <a:lnTo>
                    <a:pt x="168" y="72"/>
                  </a:lnTo>
                  <a:lnTo>
                    <a:pt x="164" y="68"/>
                  </a:lnTo>
                  <a:lnTo>
                    <a:pt x="168" y="68"/>
                  </a:lnTo>
                  <a:lnTo>
                    <a:pt x="168" y="64"/>
                  </a:lnTo>
                  <a:lnTo>
                    <a:pt x="172" y="64"/>
                  </a:lnTo>
                  <a:lnTo>
                    <a:pt x="176" y="64"/>
                  </a:lnTo>
                  <a:lnTo>
                    <a:pt x="180" y="64"/>
                  </a:lnTo>
                  <a:lnTo>
                    <a:pt x="184" y="64"/>
                  </a:lnTo>
                  <a:lnTo>
                    <a:pt x="180" y="64"/>
                  </a:lnTo>
                  <a:lnTo>
                    <a:pt x="176" y="60"/>
                  </a:lnTo>
                  <a:lnTo>
                    <a:pt x="180" y="60"/>
                  </a:lnTo>
                  <a:lnTo>
                    <a:pt x="184" y="60"/>
                  </a:lnTo>
                  <a:lnTo>
                    <a:pt x="188" y="60"/>
                  </a:lnTo>
                  <a:lnTo>
                    <a:pt x="184" y="60"/>
                  </a:lnTo>
                  <a:lnTo>
                    <a:pt x="180" y="60"/>
                  </a:lnTo>
                  <a:lnTo>
                    <a:pt x="184" y="60"/>
                  </a:lnTo>
                  <a:lnTo>
                    <a:pt x="184" y="56"/>
                  </a:lnTo>
                  <a:lnTo>
                    <a:pt x="184" y="60"/>
                  </a:lnTo>
                  <a:lnTo>
                    <a:pt x="188" y="60"/>
                  </a:lnTo>
                  <a:lnTo>
                    <a:pt x="184" y="56"/>
                  </a:lnTo>
                  <a:lnTo>
                    <a:pt x="180" y="56"/>
                  </a:lnTo>
                  <a:lnTo>
                    <a:pt x="184" y="52"/>
                  </a:lnTo>
                  <a:lnTo>
                    <a:pt x="188" y="52"/>
                  </a:lnTo>
                  <a:lnTo>
                    <a:pt x="190" y="52"/>
                  </a:lnTo>
                  <a:lnTo>
                    <a:pt x="188" y="50"/>
                  </a:lnTo>
                  <a:lnTo>
                    <a:pt x="190" y="50"/>
                  </a:lnTo>
                  <a:lnTo>
                    <a:pt x="190" y="46"/>
                  </a:lnTo>
                  <a:lnTo>
                    <a:pt x="190" y="42"/>
                  </a:lnTo>
                  <a:lnTo>
                    <a:pt x="194" y="46"/>
                  </a:lnTo>
                  <a:lnTo>
                    <a:pt x="194" y="50"/>
                  </a:lnTo>
                  <a:lnTo>
                    <a:pt x="198" y="50"/>
                  </a:lnTo>
                  <a:lnTo>
                    <a:pt x="202" y="50"/>
                  </a:lnTo>
                  <a:lnTo>
                    <a:pt x="198" y="46"/>
                  </a:lnTo>
                  <a:lnTo>
                    <a:pt x="194" y="46"/>
                  </a:lnTo>
                  <a:lnTo>
                    <a:pt x="194" y="42"/>
                  </a:lnTo>
                  <a:lnTo>
                    <a:pt x="198" y="42"/>
                  </a:lnTo>
                  <a:lnTo>
                    <a:pt x="202" y="42"/>
                  </a:lnTo>
                  <a:lnTo>
                    <a:pt x="202" y="46"/>
                  </a:lnTo>
                  <a:lnTo>
                    <a:pt x="206" y="46"/>
                  </a:lnTo>
                  <a:lnTo>
                    <a:pt x="210" y="50"/>
                  </a:lnTo>
                  <a:lnTo>
                    <a:pt x="206" y="50"/>
                  </a:lnTo>
                  <a:lnTo>
                    <a:pt x="210" y="50"/>
                  </a:lnTo>
                  <a:lnTo>
                    <a:pt x="210" y="46"/>
                  </a:lnTo>
                  <a:lnTo>
                    <a:pt x="206" y="46"/>
                  </a:lnTo>
                  <a:lnTo>
                    <a:pt x="202" y="46"/>
                  </a:lnTo>
                  <a:lnTo>
                    <a:pt x="202" y="42"/>
                  </a:lnTo>
                  <a:lnTo>
                    <a:pt x="206" y="42"/>
                  </a:lnTo>
                  <a:lnTo>
                    <a:pt x="202" y="42"/>
                  </a:lnTo>
                  <a:lnTo>
                    <a:pt x="202" y="38"/>
                  </a:lnTo>
                  <a:lnTo>
                    <a:pt x="206" y="38"/>
                  </a:lnTo>
                  <a:lnTo>
                    <a:pt x="206" y="34"/>
                  </a:lnTo>
                  <a:lnTo>
                    <a:pt x="214" y="34"/>
                  </a:lnTo>
                  <a:lnTo>
                    <a:pt x="214" y="38"/>
                  </a:lnTo>
                  <a:lnTo>
                    <a:pt x="214" y="42"/>
                  </a:lnTo>
                  <a:lnTo>
                    <a:pt x="210" y="42"/>
                  </a:lnTo>
                  <a:lnTo>
                    <a:pt x="210" y="46"/>
                  </a:lnTo>
                  <a:lnTo>
                    <a:pt x="214" y="46"/>
                  </a:lnTo>
                  <a:lnTo>
                    <a:pt x="214" y="42"/>
                  </a:lnTo>
                  <a:lnTo>
                    <a:pt x="214" y="38"/>
                  </a:lnTo>
                  <a:lnTo>
                    <a:pt x="218" y="34"/>
                  </a:lnTo>
                  <a:lnTo>
                    <a:pt x="218" y="30"/>
                  </a:lnTo>
                  <a:lnTo>
                    <a:pt x="220" y="30"/>
                  </a:lnTo>
                  <a:lnTo>
                    <a:pt x="220" y="34"/>
                  </a:lnTo>
                  <a:lnTo>
                    <a:pt x="220" y="38"/>
                  </a:lnTo>
                  <a:lnTo>
                    <a:pt x="220" y="42"/>
                  </a:lnTo>
                  <a:lnTo>
                    <a:pt x="220" y="46"/>
                  </a:lnTo>
                  <a:lnTo>
                    <a:pt x="218" y="46"/>
                  </a:lnTo>
                  <a:lnTo>
                    <a:pt x="218" y="50"/>
                  </a:lnTo>
                  <a:lnTo>
                    <a:pt x="220" y="46"/>
                  </a:lnTo>
                  <a:lnTo>
                    <a:pt x="224" y="42"/>
                  </a:lnTo>
                  <a:lnTo>
                    <a:pt x="228" y="42"/>
                  </a:lnTo>
                  <a:lnTo>
                    <a:pt x="224" y="42"/>
                  </a:lnTo>
                  <a:lnTo>
                    <a:pt x="224" y="38"/>
                  </a:lnTo>
                  <a:lnTo>
                    <a:pt x="228" y="34"/>
                  </a:lnTo>
                  <a:lnTo>
                    <a:pt x="232" y="30"/>
                  </a:lnTo>
                  <a:lnTo>
                    <a:pt x="232" y="34"/>
                  </a:lnTo>
                  <a:lnTo>
                    <a:pt x="228" y="34"/>
                  </a:lnTo>
                  <a:lnTo>
                    <a:pt x="232" y="34"/>
                  </a:lnTo>
                  <a:lnTo>
                    <a:pt x="236" y="30"/>
                  </a:lnTo>
                  <a:lnTo>
                    <a:pt x="240" y="30"/>
                  </a:lnTo>
                  <a:lnTo>
                    <a:pt x="240" y="34"/>
                  </a:lnTo>
                  <a:lnTo>
                    <a:pt x="244" y="34"/>
                  </a:lnTo>
                  <a:lnTo>
                    <a:pt x="244" y="38"/>
                  </a:lnTo>
                  <a:lnTo>
                    <a:pt x="248" y="38"/>
                  </a:lnTo>
                  <a:lnTo>
                    <a:pt x="248" y="34"/>
                  </a:lnTo>
                  <a:lnTo>
                    <a:pt x="244" y="30"/>
                  </a:lnTo>
                  <a:lnTo>
                    <a:pt x="248" y="30"/>
                  </a:lnTo>
                  <a:lnTo>
                    <a:pt x="248" y="26"/>
                  </a:lnTo>
                  <a:lnTo>
                    <a:pt x="244" y="26"/>
                  </a:lnTo>
                  <a:lnTo>
                    <a:pt x="244" y="30"/>
                  </a:lnTo>
                  <a:lnTo>
                    <a:pt x="240" y="30"/>
                  </a:lnTo>
                  <a:lnTo>
                    <a:pt x="236" y="26"/>
                  </a:lnTo>
                  <a:lnTo>
                    <a:pt x="236" y="22"/>
                  </a:lnTo>
                  <a:lnTo>
                    <a:pt x="240" y="22"/>
                  </a:lnTo>
                  <a:lnTo>
                    <a:pt x="244" y="22"/>
                  </a:lnTo>
                  <a:lnTo>
                    <a:pt x="248" y="22"/>
                  </a:lnTo>
                  <a:lnTo>
                    <a:pt x="250" y="22"/>
                  </a:lnTo>
                  <a:lnTo>
                    <a:pt x="250" y="26"/>
                  </a:lnTo>
                  <a:lnTo>
                    <a:pt x="254" y="26"/>
                  </a:lnTo>
                  <a:lnTo>
                    <a:pt x="250" y="26"/>
                  </a:lnTo>
                  <a:lnTo>
                    <a:pt x="250" y="22"/>
                  </a:lnTo>
                  <a:lnTo>
                    <a:pt x="254" y="22"/>
                  </a:lnTo>
                  <a:lnTo>
                    <a:pt x="258" y="26"/>
                  </a:lnTo>
                  <a:lnTo>
                    <a:pt x="254" y="26"/>
                  </a:lnTo>
                  <a:lnTo>
                    <a:pt x="250" y="26"/>
                  </a:lnTo>
                  <a:lnTo>
                    <a:pt x="250" y="30"/>
                  </a:lnTo>
                  <a:lnTo>
                    <a:pt x="250" y="26"/>
                  </a:lnTo>
                  <a:lnTo>
                    <a:pt x="254" y="26"/>
                  </a:lnTo>
                  <a:lnTo>
                    <a:pt x="258" y="26"/>
                  </a:lnTo>
                  <a:lnTo>
                    <a:pt x="258" y="30"/>
                  </a:lnTo>
                  <a:lnTo>
                    <a:pt x="262" y="30"/>
                  </a:lnTo>
                  <a:lnTo>
                    <a:pt x="266" y="30"/>
                  </a:lnTo>
                  <a:lnTo>
                    <a:pt x="262" y="30"/>
                  </a:lnTo>
                  <a:lnTo>
                    <a:pt x="262" y="26"/>
                  </a:lnTo>
                  <a:lnTo>
                    <a:pt x="266" y="26"/>
                  </a:lnTo>
                  <a:lnTo>
                    <a:pt x="266" y="22"/>
                  </a:lnTo>
                  <a:lnTo>
                    <a:pt x="270" y="20"/>
                  </a:lnTo>
                  <a:lnTo>
                    <a:pt x="274" y="20"/>
                  </a:lnTo>
                  <a:lnTo>
                    <a:pt x="274" y="16"/>
                  </a:lnTo>
                  <a:lnTo>
                    <a:pt x="276" y="20"/>
                  </a:lnTo>
                  <a:lnTo>
                    <a:pt x="276" y="16"/>
                  </a:lnTo>
                  <a:lnTo>
                    <a:pt x="276" y="12"/>
                  </a:lnTo>
                  <a:lnTo>
                    <a:pt x="280" y="12"/>
                  </a:lnTo>
                  <a:lnTo>
                    <a:pt x="280" y="16"/>
                  </a:lnTo>
                  <a:lnTo>
                    <a:pt x="284" y="16"/>
                  </a:lnTo>
                  <a:lnTo>
                    <a:pt x="284" y="12"/>
                  </a:lnTo>
                  <a:lnTo>
                    <a:pt x="280" y="12"/>
                  </a:lnTo>
                  <a:lnTo>
                    <a:pt x="276" y="12"/>
                  </a:lnTo>
                  <a:lnTo>
                    <a:pt x="276" y="8"/>
                  </a:lnTo>
                  <a:lnTo>
                    <a:pt x="280" y="8"/>
                  </a:lnTo>
                  <a:lnTo>
                    <a:pt x="280" y="12"/>
                  </a:lnTo>
                  <a:lnTo>
                    <a:pt x="284" y="8"/>
                  </a:lnTo>
                  <a:lnTo>
                    <a:pt x="280" y="8"/>
                  </a:lnTo>
                  <a:lnTo>
                    <a:pt x="280" y="4"/>
                  </a:lnTo>
                  <a:lnTo>
                    <a:pt x="284" y="4"/>
                  </a:lnTo>
                  <a:lnTo>
                    <a:pt x="284" y="8"/>
                  </a:lnTo>
                  <a:lnTo>
                    <a:pt x="288" y="8"/>
                  </a:lnTo>
                  <a:lnTo>
                    <a:pt x="288" y="4"/>
                  </a:lnTo>
                  <a:lnTo>
                    <a:pt x="288" y="8"/>
                  </a:lnTo>
                  <a:lnTo>
                    <a:pt x="292" y="8"/>
                  </a:lnTo>
                  <a:lnTo>
                    <a:pt x="292" y="4"/>
                  </a:lnTo>
                  <a:lnTo>
                    <a:pt x="296" y="4"/>
                  </a:lnTo>
                  <a:lnTo>
                    <a:pt x="296" y="8"/>
                  </a:lnTo>
                  <a:lnTo>
                    <a:pt x="300" y="8"/>
                  </a:lnTo>
                  <a:lnTo>
                    <a:pt x="296" y="12"/>
                  </a:lnTo>
                  <a:lnTo>
                    <a:pt x="292" y="16"/>
                  </a:lnTo>
                  <a:lnTo>
                    <a:pt x="288" y="16"/>
                  </a:lnTo>
                  <a:lnTo>
                    <a:pt x="292" y="16"/>
                  </a:lnTo>
                  <a:lnTo>
                    <a:pt x="292" y="20"/>
                  </a:lnTo>
                  <a:lnTo>
                    <a:pt x="288" y="20"/>
                  </a:lnTo>
                  <a:lnTo>
                    <a:pt x="288" y="22"/>
                  </a:lnTo>
                  <a:lnTo>
                    <a:pt x="288" y="26"/>
                  </a:lnTo>
                  <a:lnTo>
                    <a:pt x="288" y="30"/>
                  </a:lnTo>
                  <a:lnTo>
                    <a:pt x="288" y="26"/>
                  </a:lnTo>
                  <a:lnTo>
                    <a:pt x="292" y="26"/>
                  </a:lnTo>
                  <a:lnTo>
                    <a:pt x="296" y="22"/>
                  </a:lnTo>
                  <a:lnTo>
                    <a:pt x="296" y="20"/>
                  </a:lnTo>
                  <a:lnTo>
                    <a:pt x="300" y="16"/>
                  </a:lnTo>
                  <a:lnTo>
                    <a:pt x="304" y="16"/>
                  </a:lnTo>
                  <a:lnTo>
                    <a:pt x="306" y="12"/>
                  </a:lnTo>
                  <a:lnTo>
                    <a:pt x="306" y="8"/>
                  </a:lnTo>
                  <a:lnTo>
                    <a:pt x="310" y="8"/>
                  </a:lnTo>
                  <a:lnTo>
                    <a:pt x="310" y="4"/>
                  </a:lnTo>
                  <a:lnTo>
                    <a:pt x="310" y="8"/>
                  </a:lnTo>
                  <a:lnTo>
                    <a:pt x="310" y="12"/>
                  </a:lnTo>
                  <a:lnTo>
                    <a:pt x="306" y="12"/>
                  </a:lnTo>
                  <a:lnTo>
                    <a:pt x="306" y="16"/>
                  </a:lnTo>
                  <a:lnTo>
                    <a:pt x="306" y="12"/>
                  </a:lnTo>
                  <a:lnTo>
                    <a:pt x="310" y="12"/>
                  </a:lnTo>
                  <a:lnTo>
                    <a:pt x="310" y="16"/>
                  </a:lnTo>
                  <a:lnTo>
                    <a:pt x="310" y="20"/>
                  </a:lnTo>
                  <a:lnTo>
                    <a:pt x="310" y="22"/>
                  </a:lnTo>
                  <a:lnTo>
                    <a:pt x="310" y="20"/>
                  </a:lnTo>
                  <a:lnTo>
                    <a:pt x="314" y="20"/>
                  </a:lnTo>
                  <a:lnTo>
                    <a:pt x="318" y="20"/>
                  </a:lnTo>
                  <a:lnTo>
                    <a:pt x="314" y="16"/>
                  </a:lnTo>
                  <a:lnTo>
                    <a:pt x="318" y="16"/>
                  </a:lnTo>
                  <a:lnTo>
                    <a:pt x="318" y="12"/>
                  </a:lnTo>
                  <a:lnTo>
                    <a:pt x="322" y="12"/>
                  </a:lnTo>
                  <a:lnTo>
                    <a:pt x="322" y="8"/>
                  </a:lnTo>
                  <a:lnTo>
                    <a:pt x="326" y="8"/>
                  </a:lnTo>
                  <a:lnTo>
                    <a:pt x="322" y="8"/>
                  </a:lnTo>
                  <a:lnTo>
                    <a:pt x="318" y="8"/>
                  </a:lnTo>
                  <a:lnTo>
                    <a:pt x="318" y="4"/>
                  </a:lnTo>
                  <a:lnTo>
                    <a:pt x="322" y="4"/>
                  </a:lnTo>
                  <a:lnTo>
                    <a:pt x="326" y="0"/>
                  </a:lnTo>
                  <a:lnTo>
                    <a:pt x="326" y="4"/>
                  </a:lnTo>
                  <a:lnTo>
                    <a:pt x="330" y="4"/>
                  </a:lnTo>
                  <a:lnTo>
                    <a:pt x="332" y="4"/>
                  </a:lnTo>
                  <a:lnTo>
                    <a:pt x="336" y="4"/>
                  </a:lnTo>
                  <a:lnTo>
                    <a:pt x="336" y="8"/>
                  </a:lnTo>
                  <a:lnTo>
                    <a:pt x="332" y="12"/>
                  </a:lnTo>
                  <a:lnTo>
                    <a:pt x="330" y="12"/>
                  </a:lnTo>
                  <a:lnTo>
                    <a:pt x="326" y="12"/>
                  </a:lnTo>
                  <a:lnTo>
                    <a:pt x="330" y="12"/>
                  </a:lnTo>
                  <a:lnTo>
                    <a:pt x="332" y="12"/>
                  </a:lnTo>
                  <a:lnTo>
                    <a:pt x="330" y="12"/>
                  </a:lnTo>
                  <a:lnTo>
                    <a:pt x="326" y="16"/>
                  </a:lnTo>
                  <a:lnTo>
                    <a:pt x="330" y="16"/>
                  </a:lnTo>
                  <a:lnTo>
                    <a:pt x="332" y="12"/>
                  </a:lnTo>
                  <a:lnTo>
                    <a:pt x="332" y="16"/>
                  </a:lnTo>
                  <a:lnTo>
                    <a:pt x="330" y="16"/>
                  </a:lnTo>
                  <a:lnTo>
                    <a:pt x="330" y="20"/>
                  </a:lnTo>
                  <a:lnTo>
                    <a:pt x="332" y="20"/>
                  </a:lnTo>
                  <a:lnTo>
                    <a:pt x="330" y="20"/>
                  </a:lnTo>
                  <a:lnTo>
                    <a:pt x="332" y="20"/>
                  </a:lnTo>
                  <a:lnTo>
                    <a:pt x="332" y="16"/>
                  </a:lnTo>
                  <a:lnTo>
                    <a:pt x="336" y="20"/>
                  </a:lnTo>
                  <a:lnTo>
                    <a:pt x="332" y="20"/>
                  </a:lnTo>
                  <a:lnTo>
                    <a:pt x="332" y="22"/>
                  </a:lnTo>
                  <a:lnTo>
                    <a:pt x="332" y="26"/>
                  </a:lnTo>
                  <a:lnTo>
                    <a:pt x="330" y="30"/>
                  </a:lnTo>
                  <a:lnTo>
                    <a:pt x="332" y="30"/>
                  </a:lnTo>
                  <a:lnTo>
                    <a:pt x="332" y="26"/>
                  </a:lnTo>
                  <a:lnTo>
                    <a:pt x="332" y="22"/>
                  </a:lnTo>
                  <a:lnTo>
                    <a:pt x="332" y="20"/>
                  </a:lnTo>
                  <a:lnTo>
                    <a:pt x="336" y="20"/>
                  </a:lnTo>
                  <a:lnTo>
                    <a:pt x="336" y="16"/>
                  </a:lnTo>
                  <a:lnTo>
                    <a:pt x="336" y="12"/>
                  </a:lnTo>
                  <a:lnTo>
                    <a:pt x="340" y="8"/>
                  </a:lnTo>
                  <a:lnTo>
                    <a:pt x="344" y="8"/>
                  </a:lnTo>
                  <a:lnTo>
                    <a:pt x="348" y="8"/>
                  </a:lnTo>
                  <a:lnTo>
                    <a:pt x="348" y="12"/>
                  </a:lnTo>
                  <a:lnTo>
                    <a:pt x="350" y="12"/>
                  </a:lnTo>
                  <a:lnTo>
                    <a:pt x="354" y="12"/>
                  </a:lnTo>
                  <a:lnTo>
                    <a:pt x="354" y="16"/>
                  </a:lnTo>
                  <a:lnTo>
                    <a:pt x="354" y="12"/>
                  </a:lnTo>
                  <a:lnTo>
                    <a:pt x="358" y="12"/>
                  </a:lnTo>
                  <a:lnTo>
                    <a:pt x="362" y="12"/>
                  </a:lnTo>
                  <a:lnTo>
                    <a:pt x="362" y="16"/>
                  </a:lnTo>
                  <a:lnTo>
                    <a:pt x="358" y="16"/>
                  </a:lnTo>
                  <a:lnTo>
                    <a:pt x="362" y="16"/>
                  </a:lnTo>
                  <a:lnTo>
                    <a:pt x="366" y="16"/>
                  </a:lnTo>
                  <a:lnTo>
                    <a:pt x="366" y="20"/>
                  </a:lnTo>
                  <a:lnTo>
                    <a:pt x="370" y="20"/>
                  </a:lnTo>
                  <a:lnTo>
                    <a:pt x="374" y="20"/>
                  </a:lnTo>
                  <a:lnTo>
                    <a:pt x="374" y="22"/>
                  </a:lnTo>
                  <a:lnTo>
                    <a:pt x="370" y="22"/>
                  </a:lnTo>
                  <a:lnTo>
                    <a:pt x="366" y="22"/>
                  </a:lnTo>
                  <a:lnTo>
                    <a:pt x="362" y="26"/>
                  </a:lnTo>
                  <a:lnTo>
                    <a:pt x="358" y="26"/>
                  </a:lnTo>
                  <a:lnTo>
                    <a:pt x="358" y="30"/>
                  </a:lnTo>
                  <a:lnTo>
                    <a:pt x="354" y="30"/>
                  </a:lnTo>
                  <a:lnTo>
                    <a:pt x="354" y="26"/>
                  </a:lnTo>
                  <a:lnTo>
                    <a:pt x="350" y="26"/>
                  </a:lnTo>
                  <a:lnTo>
                    <a:pt x="348" y="26"/>
                  </a:lnTo>
                  <a:lnTo>
                    <a:pt x="344" y="26"/>
                  </a:lnTo>
                  <a:lnTo>
                    <a:pt x="340" y="26"/>
                  </a:lnTo>
                  <a:lnTo>
                    <a:pt x="344" y="30"/>
                  </a:lnTo>
                  <a:lnTo>
                    <a:pt x="348" y="30"/>
                  </a:lnTo>
                  <a:lnTo>
                    <a:pt x="350" y="30"/>
                  </a:lnTo>
                  <a:lnTo>
                    <a:pt x="354" y="30"/>
                  </a:lnTo>
                  <a:lnTo>
                    <a:pt x="350" y="30"/>
                  </a:lnTo>
                  <a:lnTo>
                    <a:pt x="350" y="34"/>
                  </a:lnTo>
                  <a:lnTo>
                    <a:pt x="348" y="34"/>
                  </a:lnTo>
                  <a:lnTo>
                    <a:pt x="350" y="34"/>
                  </a:lnTo>
                  <a:lnTo>
                    <a:pt x="354" y="34"/>
                  </a:lnTo>
                  <a:lnTo>
                    <a:pt x="350" y="38"/>
                  </a:lnTo>
                  <a:lnTo>
                    <a:pt x="354" y="38"/>
                  </a:lnTo>
                  <a:lnTo>
                    <a:pt x="358" y="38"/>
                  </a:lnTo>
                  <a:lnTo>
                    <a:pt x="362" y="38"/>
                  </a:lnTo>
                  <a:lnTo>
                    <a:pt x="358" y="38"/>
                  </a:lnTo>
                  <a:lnTo>
                    <a:pt x="362" y="38"/>
                  </a:lnTo>
                  <a:lnTo>
                    <a:pt x="358" y="34"/>
                  </a:lnTo>
                  <a:lnTo>
                    <a:pt x="362" y="34"/>
                  </a:lnTo>
                  <a:lnTo>
                    <a:pt x="362" y="38"/>
                  </a:lnTo>
                  <a:lnTo>
                    <a:pt x="366" y="38"/>
                  </a:lnTo>
                  <a:lnTo>
                    <a:pt x="366" y="34"/>
                  </a:lnTo>
                  <a:lnTo>
                    <a:pt x="370" y="34"/>
                  </a:lnTo>
                  <a:lnTo>
                    <a:pt x="370" y="38"/>
                  </a:lnTo>
                  <a:lnTo>
                    <a:pt x="370" y="42"/>
                  </a:lnTo>
                  <a:lnTo>
                    <a:pt x="366" y="42"/>
                  </a:lnTo>
                  <a:lnTo>
                    <a:pt x="362" y="42"/>
                  </a:lnTo>
                  <a:lnTo>
                    <a:pt x="362" y="38"/>
                  </a:lnTo>
                  <a:lnTo>
                    <a:pt x="358" y="38"/>
                  </a:lnTo>
                  <a:lnTo>
                    <a:pt x="362" y="42"/>
                  </a:lnTo>
                  <a:lnTo>
                    <a:pt x="358" y="42"/>
                  </a:lnTo>
                  <a:lnTo>
                    <a:pt x="354" y="46"/>
                  </a:lnTo>
                  <a:lnTo>
                    <a:pt x="350" y="46"/>
                  </a:lnTo>
                  <a:lnTo>
                    <a:pt x="348" y="50"/>
                  </a:lnTo>
                  <a:lnTo>
                    <a:pt x="348" y="52"/>
                  </a:lnTo>
                  <a:lnTo>
                    <a:pt x="344" y="52"/>
                  </a:lnTo>
                  <a:lnTo>
                    <a:pt x="344" y="56"/>
                  </a:lnTo>
                  <a:lnTo>
                    <a:pt x="344" y="52"/>
                  </a:lnTo>
                  <a:lnTo>
                    <a:pt x="340" y="52"/>
                  </a:lnTo>
                  <a:lnTo>
                    <a:pt x="340" y="50"/>
                  </a:lnTo>
                  <a:lnTo>
                    <a:pt x="344" y="50"/>
                  </a:lnTo>
                  <a:lnTo>
                    <a:pt x="344" y="46"/>
                  </a:lnTo>
                  <a:lnTo>
                    <a:pt x="348" y="46"/>
                  </a:lnTo>
                  <a:lnTo>
                    <a:pt x="348" y="42"/>
                  </a:lnTo>
                  <a:lnTo>
                    <a:pt x="348" y="38"/>
                  </a:lnTo>
                  <a:lnTo>
                    <a:pt x="344" y="38"/>
                  </a:lnTo>
                  <a:lnTo>
                    <a:pt x="340" y="38"/>
                  </a:lnTo>
                  <a:lnTo>
                    <a:pt x="336" y="34"/>
                  </a:lnTo>
                  <a:lnTo>
                    <a:pt x="332" y="34"/>
                  </a:lnTo>
                  <a:lnTo>
                    <a:pt x="332" y="30"/>
                  </a:lnTo>
                  <a:lnTo>
                    <a:pt x="330" y="30"/>
                  </a:lnTo>
                  <a:lnTo>
                    <a:pt x="330" y="26"/>
                  </a:lnTo>
                  <a:lnTo>
                    <a:pt x="326" y="26"/>
                  </a:lnTo>
                  <a:lnTo>
                    <a:pt x="322" y="30"/>
                  </a:lnTo>
                  <a:lnTo>
                    <a:pt x="318" y="30"/>
                  </a:lnTo>
                  <a:lnTo>
                    <a:pt x="318" y="34"/>
                  </a:lnTo>
                  <a:lnTo>
                    <a:pt x="314" y="30"/>
                  </a:lnTo>
                  <a:lnTo>
                    <a:pt x="310" y="30"/>
                  </a:lnTo>
                  <a:lnTo>
                    <a:pt x="306" y="30"/>
                  </a:lnTo>
                  <a:lnTo>
                    <a:pt x="306" y="34"/>
                  </a:lnTo>
                  <a:lnTo>
                    <a:pt x="304" y="38"/>
                  </a:lnTo>
                  <a:lnTo>
                    <a:pt x="300" y="38"/>
                  </a:lnTo>
                  <a:lnTo>
                    <a:pt x="304" y="38"/>
                  </a:lnTo>
                  <a:lnTo>
                    <a:pt x="304" y="42"/>
                  </a:lnTo>
                  <a:lnTo>
                    <a:pt x="300" y="42"/>
                  </a:lnTo>
                  <a:lnTo>
                    <a:pt x="300" y="46"/>
                  </a:lnTo>
                  <a:lnTo>
                    <a:pt x="300" y="50"/>
                  </a:lnTo>
                  <a:lnTo>
                    <a:pt x="300" y="52"/>
                  </a:lnTo>
                  <a:lnTo>
                    <a:pt x="300" y="56"/>
                  </a:lnTo>
                  <a:lnTo>
                    <a:pt x="296" y="56"/>
                  </a:lnTo>
                  <a:lnTo>
                    <a:pt x="296" y="60"/>
                  </a:lnTo>
                  <a:lnTo>
                    <a:pt x="296" y="56"/>
                  </a:lnTo>
                  <a:lnTo>
                    <a:pt x="292" y="56"/>
                  </a:lnTo>
                  <a:lnTo>
                    <a:pt x="292" y="60"/>
                  </a:lnTo>
                  <a:lnTo>
                    <a:pt x="288" y="60"/>
                  </a:lnTo>
                  <a:lnTo>
                    <a:pt x="288" y="64"/>
                  </a:lnTo>
                  <a:lnTo>
                    <a:pt x="288" y="68"/>
                  </a:lnTo>
                  <a:lnTo>
                    <a:pt x="284" y="64"/>
                  </a:lnTo>
                  <a:lnTo>
                    <a:pt x="280" y="64"/>
                  </a:lnTo>
                  <a:lnTo>
                    <a:pt x="276" y="64"/>
                  </a:lnTo>
                  <a:lnTo>
                    <a:pt x="276" y="60"/>
                  </a:lnTo>
                  <a:lnTo>
                    <a:pt x="274" y="60"/>
                  </a:lnTo>
                  <a:lnTo>
                    <a:pt x="270" y="60"/>
                  </a:lnTo>
                  <a:lnTo>
                    <a:pt x="270" y="64"/>
                  </a:lnTo>
                  <a:lnTo>
                    <a:pt x="266" y="64"/>
                  </a:lnTo>
                  <a:lnTo>
                    <a:pt x="262" y="64"/>
                  </a:lnTo>
                  <a:lnTo>
                    <a:pt x="258" y="64"/>
                  </a:lnTo>
                  <a:lnTo>
                    <a:pt x="254" y="60"/>
                  </a:lnTo>
                  <a:lnTo>
                    <a:pt x="250" y="64"/>
                  </a:lnTo>
                  <a:lnTo>
                    <a:pt x="250" y="60"/>
                  </a:lnTo>
                  <a:lnTo>
                    <a:pt x="248" y="56"/>
                  </a:lnTo>
                  <a:lnTo>
                    <a:pt x="248" y="52"/>
                  </a:lnTo>
                  <a:lnTo>
                    <a:pt x="244" y="52"/>
                  </a:lnTo>
                  <a:lnTo>
                    <a:pt x="240" y="50"/>
                  </a:lnTo>
                  <a:lnTo>
                    <a:pt x="236" y="50"/>
                  </a:lnTo>
                  <a:lnTo>
                    <a:pt x="232" y="50"/>
                  </a:lnTo>
                  <a:lnTo>
                    <a:pt x="232" y="52"/>
                  </a:lnTo>
                  <a:lnTo>
                    <a:pt x="232" y="56"/>
                  </a:lnTo>
                  <a:lnTo>
                    <a:pt x="232" y="52"/>
                  </a:lnTo>
                  <a:lnTo>
                    <a:pt x="228" y="52"/>
                  </a:lnTo>
                  <a:lnTo>
                    <a:pt x="224" y="52"/>
                  </a:lnTo>
                  <a:lnTo>
                    <a:pt x="218" y="52"/>
                  </a:lnTo>
                  <a:lnTo>
                    <a:pt x="220" y="56"/>
                  </a:lnTo>
                  <a:lnTo>
                    <a:pt x="220" y="60"/>
                  </a:lnTo>
                  <a:lnTo>
                    <a:pt x="220" y="64"/>
                  </a:lnTo>
                  <a:lnTo>
                    <a:pt x="218" y="68"/>
                  </a:lnTo>
                  <a:lnTo>
                    <a:pt x="220" y="68"/>
                  </a:lnTo>
                  <a:lnTo>
                    <a:pt x="218" y="72"/>
                  </a:lnTo>
                  <a:lnTo>
                    <a:pt x="214" y="72"/>
                  </a:lnTo>
                  <a:lnTo>
                    <a:pt x="210" y="72"/>
                  </a:lnTo>
                  <a:lnTo>
                    <a:pt x="202" y="68"/>
                  </a:lnTo>
                  <a:lnTo>
                    <a:pt x="198" y="68"/>
                  </a:lnTo>
                  <a:lnTo>
                    <a:pt x="194" y="68"/>
                  </a:lnTo>
                  <a:lnTo>
                    <a:pt x="190" y="68"/>
                  </a:lnTo>
                  <a:lnTo>
                    <a:pt x="188" y="72"/>
                  </a:lnTo>
                  <a:lnTo>
                    <a:pt x="190" y="72"/>
                  </a:lnTo>
                  <a:lnTo>
                    <a:pt x="190" y="76"/>
                  </a:lnTo>
                  <a:lnTo>
                    <a:pt x="188" y="78"/>
                  </a:lnTo>
                  <a:lnTo>
                    <a:pt x="188" y="82"/>
                  </a:lnTo>
                  <a:lnTo>
                    <a:pt x="184" y="82"/>
                  </a:lnTo>
                  <a:lnTo>
                    <a:pt x="184" y="78"/>
                  </a:lnTo>
                  <a:lnTo>
                    <a:pt x="180" y="78"/>
                  </a:lnTo>
                  <a:lnTo>
                    <a:pt x="176" y="78"/>
                  </a:lnTo>
                  <a:lnTo>
                    <a:pt x="168" y="82"/>
                  </a:lnTo>
                  <a:lnTo>
                    <a:pt x="168" y="86"/>
                  </a:lnTo>
                  <a:lnTo>
                    <a:pt x="168" y="90"/>
                  </a:lnTo>
                  <a:lnTo>
                    <a:pt x="164" y="94"/>
                  </a:lnTo>
                  <a:lnTo>
                    <a:pt x="160" y="94"/>
                  </a:lnTo>
                  <a:lnTo>
                    <a:pt x="160" y="98"/>
                  </a:lnTo>
                  <a:lnTo>
                    <a:pt x="164" y="98"/>
                  </a:lnTo>
                  <a:lnTo>
                    <a:pt x="164" y="102"/>
                  </a:lnTo>
                  <a:lnTo>
                    <a:pt x="164" y="106"/>
                  </a:lnTo>
                  <a:lnTo>
                    <a:pt x="160" y="108"/>
                  </a:lnTo>
                  <a:lnTo>
                    <a:pt x="158" y="112"/>
                  </a:lnTo>
                  <a:lnTo>
                    <a:pt x="154" y="116"/>
                  </a:lnTo>
                  <a:lnTo>
                    <a:pt x="150" y="116"/>
                  </a:lnTo>
                  <a:lnTo>
                    <a:pt x="150" y="120"/>
                  </a:lnTo>
                  <a:lnTo>
                    <a:pt x="154" y="124"/>
                  </a:lnTo>
                  <a:lnTo>
                    <a:pt x="146" y="128"/>
                  </a:lnTo>
                  <a:lnTo>
                    <a:pt x="142" y="128"/>
                  </a:lnTo>
                  <a:lnTo>
                    <a:pt x="138" y="128"/>
                  </a:lnTo>
                  <a:lnTo>
                    <a:pt x="138" y="132"/>
                  </a:lnTo>
                  <a:lnTo>
                    <a:pt x="142" y="136"/>
                  </a:lnTo>
                  <a:lnTo>
                    <a:pt x="138" y="136"/>
                  </a:lnTo>
                  <a:lnTo>
                    <a:pt x="138" y="138"/>
                  </a:lnTo>
                  <a:lnTo>
                    <a:pt x="138" y="142"/>
                  </a:lnTo>
                  <a:lnTo>
                    <a:pt x="138" y="146"/>
                  </a:lnTo>
                  <a:lnTo>
                    <a:pt x="134" y="150"/>
                  </a:lnTo>
                  <a:lnTo>
                    <a:pt x="134" y="154"/>
                  </a:lnTo>
                  <a:lnTo>
                    <a:pt x="130" y="154"/>
                  </a:lnTo>
                  <a:lnTo>
                    <a:pt x="130" y="158"/>
                  </a:lnTo>
                  <a:lnTo>
                    <a:pt x="130" y="162"/>
                  </a:lnTo>
                  <a:lnTo>
                    <a:pt x="128" y="162"/>
                  </a:lnTo>
                  <a:lnTo>
                    <a:pt x="128" y="164"/>
                  </a:lnTo>
                  <a:lnTo>
                    <a:pt x="130" y="164"/>
                  </a:lnTo>
                  <a:lnTo>
                    <a:pt x="134" y="164"/>
                  </a:lnTo>
                  <a:lnTo>
                    <a:pt x="134" y="168"/>
                  </a:lnTo>
                  <a:lnTo>
                    <a:pt x="134" y="172"/>
                  </a:lnTo>
                  <a:lnTo>
                    <a:pt x="130" y="176"/>
                  </a:lnTo>
                  <a:lnTo>
                    <a:pt x="120" y="176"/>
                  </a:lnTo>
                  <a:lnTo>
                    <a:pt x="116" y="176"/>
                  </a:lnTo>
                  <a:lnTo>
                    <a:pt x="112" y="180"/>
                  </a:lnTo>
                  <a:lnTo>
                    <a:pt x="108" y="184"/>
                  </a:lnTo>
                  <a:lnTo>
                    <a:pt x="104" y="188"/>
                  </a:lnTo>
                  <a:lnTo>
                    <a:pt x="104" y="192"/>
                  </a:lnTo>
                  <a:lnTo>
                    <a:pt x="104" y="194"/>
                  </a:lnTo>
                  <a:lnTo>
                    <a:pt x="102" y="194"/>
                  </a:lnTo>
                  <a:lnTo>
                    <a:pt x="104" y="198"/>
                  </a:lnTo>
                  <a:lnTo>
                    <a:pt x="104" y="202"/>
                  </a:lnTo>
                  <a:lnTo>
                    <a:pt x="104" y="206"/>
                  </a:lnTo>
                  <a:lnTo>
                    <a:pt x="104" y="210"/>
                  </a:lnTo>
                  <a:lnTo>
                    <a:pt x="104" y="214"/>
                  </a:lnTo>
                  <a:lnTo>
                    <a:pt x="104" y="218"/>
                  </a:lnTo>
                  <a:lnTo>
                    <a:pt x="108" y="218"/>
                  </a:lnTo>
                  <a:lnTo>
                    <a:pt x="108" y="222"/>
                  </a:lnTo>
                  <a:lnTo>
                    <a:pt x="104" y="224"/>
                  </a:lnTo>
                  <a:lnTo>
                    <a:pt x="104" y="228"/>
                  </a:lnTo>
                  <a:lnTo>
                    <a:pt x="104" y="232"/>
                  </a:lnTo>
                  <a:lnTo>
                    <a:pt x="108" y="236"/>
                  </a:lnTo>
                  <a:lnTo>
                    <a:pt x="112" y="236"/>
                  </a:lnTo>
                  <a:lnTo>
                    <a:pt x="112" y="238"/>
                  </a:lnTo>
                  <a:lnTo>
                    <a:pt x="116" y="238"/>
                  </a:lnTo>
                  <a:lnTo>
                    <a:pt x="116" y="242"/>
                  </a:lnTo>
                  <a:lnTo>
                    <a:pt x="112" y="242"/>
                  </a:lnTo>
                  <a:lnTo>
                    <a:pt x="112" y="246"/>
                  </a:lnTo>
                  <a:lnTo>
                    <a:pt x="108" y="246"/>
                  </a:lnTo>
                  <a:lnTo>
                    <a:pt x="104" y="246"/>
                  </a:lnTo>
                  <a:lnTo>
                    <a:pt x="108" y="250"/>
                  </a:lnTo>
                  <a:lnTo>
                    <a:pt x="108" y="254"/>
                  </a:lnTo>
                  <a:lnTo>
                    <a:pt x="108" y="258"/>
                  </a:lnTo>
                  <a:lnTo>
                    <a:pt x="112" y="258"/>
                  </a:lnTo>
                  <a:lnTo>
                    <a:pt x="112" y="262"/>
                  </a:lnTo>
                  <a:lnTo>
                    <a:pt x="108" y="264"/>
                  </a:lnTo>
                  <a:lnTo>
                    <a:pt x="108" y="268"/>
                  </a:lnTo>
                  <a:lnTo>
                    <a:pt x="108" y="272"/>
                  </a:lnTo>
                  <a:lnTo>
                    <a:pt x="104" y="272"/>
                  </a:lnTo>
                  <a:lnTo>
                    <a:pt x="102" y="272"/>
                  </a:lnTo>
                  <a:lnTo>
                    <a:pt x="102" y="276"/>
                  </a:lnTo>
                  <a:lnTo>
                    <a:pt x="102" y="280"/>
                  </a:lnTo>
                  <a:lnTo>
                    <a:pt x="98" y="280"/>
                  </a:lnTo>
                  <a:lnTo>
                    <a:pt x="102" y="284"/>
                  </a:lnTo>
                  <a:lnTo>
                    <a:pt x="102" y="288"/>
                  </a:lnTo>
                  <a:lnTo>
                    <a:pt x="102" y="292"/>
                  </a:lnTo>
                  <a:lnTo>
                    <a:pt x="98" y="294"/>
                  </a:lnTo>
                  <a:lnTo>
                    <a:pt x="94" y="294"/>
                  </a:lnTo>
                  <a:lnTo>
                    <a:pt x="94" y="292"/>
                  </a:lnTo>
                  <a:lnTo>
                    <a:pt x="90" y="292"/>
                  </a:lnTo>
                  <a:lnTo>
                    <a:pt x="86" y="292"/>
                  </a:lnTo>
                  <a:lnTo>
                    <a:pt x="86" y="288"/>
                  </a:lnTo>
                  <a:lnTo>
                    <a:pt x="82" y="284"/>
                  </a:lnTo>
                  <a:lnTo>
                    <a:pt x="86" y="284"/>
                  </a:lnTo>
                  <a:lnTo>
                    <a:pt x="82" y="280"/>
                  </a:lnTo>
                  <a:lnTo>
                    <a:pt x="82" y="276"/>
                  </a:lnTo>
                  <a:lnTo>
                    <a:pt x="82" y="272"/>
                  </a:lnTo>
                  <a:lnTo>
                    <a:pt x="86" y="276"/>
                  </a:lnTo>
                  <a:lnTo>
                    <a:pt x="86" y="272"/>
                  </a:lnTo>
                  <a:lnTo>
                    <a:pt x="82" y="272"/>
                  </a:lnTo>
                  <a:lnTo>
                    <a:pt x="82" y="276"/>
                  </a:lnTo>
                  <a:lnTo>
                    <a:pt x="82" y="280"/>
                  </a:lnTo>
                  <a:lnTo>
                    <a:pt x="82" y="276"/>
                  </a:lnTo>
                  <a:lnTo>
                    <a:pt x="78" y="276"/>
                  </a:lnTo>
                  <a:lnTo>
                    <a:pt x="78" y="280"/>
                  </a:lnTo>
                  <a:lnTo>
                    <a:pt x="78" y="284"/>
                  </a:lnTo>
                  <a:lnTo>
                    <a:pt x="82" y="284"/>
                  </a:lnTo>
                  <a:lnTo>
                    <a:pt x="82" y="288"/>
                  </a:lnTo>
                  <a:lnTo>
                    <a:pt x="78" y="288"/>
                  </a:lnTo>
                  <a:lnTo>
                    <a:pt x="78" y="292"/>
                  </a:lnTo>
                  <a:lnTo>
                    <a:pt x="74" y="292"/>
                  </a:lnTo>
                  <a:lnTo>
                    <a:pt x="74" y="294"/>
                  </a:lnTo>
                  <a:lnTo>
                    <a:pt x="72" y="294"/>
                  </a:lnTo>
                  <a:lnTo>
                    <a:pt x="72" y="292"/>
                  </a:lnTo>
                  <a:lnTo>
                    <a:pt x="68" y="292"/>
                  </a:lnTo>
                  <a:lnTo>
                    <a:pt x="72" y="292"/>
                  </a:lnTo>
                  <a:lnTo>
                    <a:pt x="72" y="294"/>
                  </a:lnTo>
                  <a:lnTo>
                    <a:pt x="68" y="294"/>
                  </a:lnTo>
                  <a:lnTo>
                    <a:pt x="64" y="298"/>
                  </a:lnTo>
                  <a:lnTo>
                    <a:pt x="64" y="302"/>
                  </a:lnTo>
                  <a:lnTo>
                    <a:pt x="60" y="302"/>
                  </a:lnTo>
                  <a:lnTo>
                    <a:pt x="60" y="306"/>
                  </a:lnTo>
                  <a:lnTo>
                    <a:pt x="56" y="306"/>
                  </a:lnTo>
                  <a:lnTo>
                    <a:pt x="52" y="310"/>
                  </a:lnTo>
                  <a:lnTo>
                    <a:pt x="48" y="310"/>
                  </a:lnTo>
                  <a:lnTo>
                    <a:pt x="48" y="314"/>
                  </a:lnTo>
                  <a:lnTo>
                    <a:pt x="44" y="314"/>
                  </a:lnTo>
                  <a:lnTo>
                    <a:pt x="42" y="314"/>
                  </a:lnTo>
                  <a:lnTo>
                    <a:pt x="38" y="314"/>
                  </a:lnTo>
                  <a:lnTo>
                    <a:pt x="34" y="314"/>
                  </a:lnTo>
                  <a:lnTo>
                    <a:pt x="34" y="318"/>
                  </a:lnTo>
                  <a:lnTo>
                    <a:pt x="30" y="314"/>
                  </a:lnTo>
                  <a:lnTo>
                    <a:pt x="26" y="314"/>
                  </a:lnTo>
                  <a:lnTo>
                    <a:pt x="26" y="310"/>
                  </a:lnTo>
                  <a:lnTo>
                    <a:pt x="30" y="310"/>
                  </a:lnTo>
                  <a:lnTo>
                    <a:pt x="26" y="310"/>
                  </a:lnTo>
                  <a:lnTo>
                    <a:pt x="22" y="310"/>
                  </a:lnTo>
                  <a:lnTo>
                    <a:pt x="18" y="310"/>
                  </a:lnTo>
                  <a:lnTo>
                    <a:pt x="18" y="306"/>
                  </a:lnTo>
                  <a:lnTo>
                    <a:pt x="14" y="306"/>
                  </a:lnTo>
                  <a:lnTo>
                    <a:pt x="12" y="302"/>
                  </a:lnTo>
                  <a:lnTo>
                    <a:pt x="12" y="298"/>
                  </a:lnTo>
                  <a:lnTo>
                    <a:pt x="12" y="294"/>
                  </a:lnTo>
                  <a:lnTo>
                    <a:pt x="12" y="292"/>
                  </a:lnTo>
                  <a:lnTo>
                    <a:pt x="14" y="294"/>
                  </a:lnTo>
                  <a:lnTo>
                    <a:pt x="18" y="294"/>
                  </a:lnTo>
                  <a:lnTo>
                    <a:pt x="18" y="298"/>
                  </a:lnTo>
                  <a:lnTo>
                    <a:pt x="22" y="294"/>
                  </a:lnTo>
                  <a:lnTo>
                    <a:pt x="18" y="294"/>
                  </a:lnTo>
                  <a:lnTo>
                    <a:pt x="22" y="294"/>
                  </a:lnTo>
                  <a:lnTo>
                    <a:pt x="22" y="292"/>
                  </a:lnTo>
                  <a:lnTo>
                    <a:pt x="26" y="292"/>
                  </a:lnTo>
                  <a:lnTo>
                    <a:pt x="22" y="292"/>
                  </a:lnTo>
                  <a:lnTo>
                    <a:pt x="18" y="294"/>
                  </a:lnTo>
                  <a:lnTo>
                    <a:pt x="18" y="292"/>
                  </a:lnTo>
                  <a:lnTo>
                    <a:pt x="14" y="292"/>
                  </a:lnTo>
                  <a:lnTo>
                    <a:pt x="18" y="292"/>
                  </a:lnTo>
                  <a:lnTo>
                    <a:pt x="18" y="288"/>
                  </a:lnTo>
                  <a:lnTo>
                    <a:pt x="22" y="288"/>
                  </a:lnTo>
                  <a:lnTo>
                    <a:pt x="26" y="288"/>
                  </a:lnTo>
                  <a:lnTo>
                    <a:pt x="22" y="288"/>
                  </a:lnTo>
                  <a:lnTo>
                    <a:pt x="18" y="288"/>
                  </a:lnTo>
                  <a:lnTo>
                    <a:pt x="18" y="284"/>
                  </a:lnTo>
                  <a:lnTo>
                    <a:pt x="22" y="284"/>
                  </a:lnTo>
                  <a:lnTo>
                    <a:pt x="22" y="280"/>
                  </a:lnTo>
                  <a:lnTo>
                    <a:pt x="26" y="280"/>
                  </a:lnTo>
                  <a:lnTo>
                    <a:pt x="22" y="280"/>
                  </a:lnTo>
                  <a:lnTo>
                    <a:pt x="18" y="284"/>
                  </a:lnTo>
                  <a:lnTo>
                    <a:pt x="14" y="284"/>
                  </a:lnTo>
                  <a:lnTo>
                    <a:pt x="18" y="284"/>
                  </a:lnTo>
                  <a:lnTo>
                    <a:pt x="14" y="284"/>
                  </a:lnTo>
                  <a:lnTo>
                    <a:pt x="14" y="288"/>
                  </a:lnTo>
                  <a:lnTo>
                    <a:pt x="12" y="288"/>
                  </a:lnTo>
                  <a:lnTo>
                    <a:pt x="12" y="284"/>
                  </a:lnTo>
                  <a:lnTo>
                    <a:pt x="12" y="288"/>
                  </a:lnTo>
                  <a:lnTo>
                    <a:pt x="8" y="288"/>
                  </a:lnTo>
                  <a:lnTo>
                    <a:pt x="8" y="284"/>
                  </a:lnTo>
                  <a:lnTo>
                    <a:pt x="8" y="280"/>
                  </a:lnTo>
                  <a:lnTo>
                    <a:pt x="12" y="276"/>
                  </a:lnTo>
                  <a:lnTo>
                    <a:pt x="12" y="280"/>
                  </a:lnTo>
                  <a:lnTo>
                    <a:pt x="12" y="276"/>
                  </a:lnTo>
                  <a:lnTo>
                    <a:pt x="14" y="276"/>
                  </a:lnTo>
                  <a:lnTo>
                    <a:pt x="18" y="276"/>
                  </a:lnTo>
                  <a:lnTo>
                    <a:pt x="22" y="272"/>
                  </a:lnTo>
                  <a:lnTo>
                    <a:pt x="18" y="276"/>
                  </a:lnTo>
                  <a:lnTo>
                    <a:pt x="14" y="276"/>
                  </a:lnTo>
                  <a:lnTo>
                    <a:pt x="14" y="272"/>
                  </a:lnTo>
                  <a:lnTo>
                    <a:pt x="18" y="272"/>
                  </a:lnTo>
                  <a:lnTo>
                    <a:pt x="18" y="268"/>
                  </a:lnTo>
                  <a:lnTo>
                    <a:pt x="18" y="264"/>
                  </a:lnTo>
                  <a:lnTo>
                    <a:pt x="22" y="264"/>
                  </a:lnTo>
                  <a:lnTo>
                    <a:pt x="22" y="262"/>
                  </a:lnTo>
                  <a:lnTo>
                    <a:pt x="26" y="262"/>
                  </a:lnTo>
                  <a:lnTo>
                    <a:pt x="26" y="264"/>
                  </a:lnTo>
                  <a:lnTo>
                    <a:pt x="26" y="268"/>
                  </a:lnTo>
                  <a:lnTo>
                    <a:pt x="26" y="264"/>
                  </a:lnTo>
                  <a:lnTo>
                    <a:pt x="26" y="262"/>
                  </a:lnTo>
                  <a:lnTo>
                    <a:pt x="30" y="262"/>
                  </a:lnTo>
                  <a:lnTo>
                    <a:pt x="30" y="258"/>
                  </a:lnTo>
                  <a:lnTo>
                    <a:pt x="34" y="262"/>
                  </a:lnTo>
                  <a:lnTo>
                    <a:pt x="34" y="258"/>
                  </a:lnTo>
                  <a:lnTo>
                    <a:pt x="30" y="258"/>
                  </a:lnTo>
                  <a:lnTo>
                    <a:pt x="34" y="258"/>
                  </a:lnTo>
                  <a:lnTo>
                    <a:pt x="30" y="258"/>
                  </a:lnTo>
                  <a:lnTo>
                    <a:pt x="26" y="262"/>
                  </a:lnTo>
                  <a:lnTo>
                    <a:pt x="22" y="262"/>
                  </a:lnTo>
                  <a:lnTo>
                    <a:pt x="18" y="262"/>
                  </a:lnTo>
                  <a:lnTo>
                    <a:pt x="18" y="264"/>
                  </a:lnTo>
                  <a:lnTo>
                    <a:pt x="14" y="268"/>
                  </a:lnTo>
                  <a:lnTo>
                    <a:pt x="14" y="272"/>
                  </a:lnTo>
                  <a:lnTo>
                    <a:pt x="14" y="268"/>
                  </a:lnTo>
                  <a:lnTo>
                    <a:pt x="12" y="268"/>
                  </a:lnTo>
                  <a:lnTo>
                    <a:pt x="12" y="264"/>
                  </a:lnTo>
                  <a:lnTo>
                    <a:pt x="14" y="262"/>
                  </a:lnTo>
                  <a:lnTo>
                    <a:pt x="12" y="262"/>
                  </a:lnTo>
                  <a:lnTo>
                    <a:pt x="12" y="264"/>
                  </a:lnTo>
                  <a:lnTo>
                    <a:pt x="12" y="268"/>
                  </a:lnTo>
                  <a:lnTo>
                    <a:pt x="8" y="268"/>
                  </a:lnTo>
                  <a:lnTo>
                    <a:pt x="8" y="264"/>
                  </a:lnTo>
                  <a:lnTo>
                    <a:pt x="8" y="262"/>
                  </a:lnTo>
                  <a:lnTo>
                    <a:pt x="8" y="258"/>
                  </a:lnTo>
                  <a:lnTo>
                    <a:pt x="8" y="262"/>
                  </a:lnTo>
                  <a:lnTo>
                    <a:pt x="12" y="262"/>
                  </a:lnTo>
                  <a:lnTo>
                    <a:pt x="14" y="262"/>
                  </a:lnTo>
                  <a:lnTo>
                    <a:pt x="14" y="258"/>
                  </a:lnTo>
                  <a:lnTo>
                    <a:pt x="14" y="254"/>
                  </a:lnTo>
                  <a:lnTo>
                    <a:pt x="12" y="254"/>
                  </a:lnTo>
                  <a:lnTo>
                    <a:pt x="12" y="258"/>
                  </a:lnTo>
                  <a:lnTo>
                    <a:pt x="8" y="258"/>
                  </a:lnTo>
                  <a:lnTo>
                    <a:pt x="4" y="254"/>
                  </a:lnTo>
                  <a:lnTo>
                    <a:pt x="8" y="258"/>
                  </a:lnTo>
                  <a:lnTo>
                    <a:pt x="4" y="254"/>
                  </a:lnTo>
                  <a:lnTo>
                    <a:pt x="8" y="254"/>
                  </a:lnTo>
                  <a:lnTo>
                    <a:pt x="8" y="258"/>
                  </a:lnTo>
                  <a:lnTo>
                    <a:pt x="12" y="258"/>
                  </a:lnTo>
                  <a:lnTo>
                    <a:pt x="12" y="254"/>
                  </a:lnTo>
                  <a:lnTo>
                    <a:pt x="8" y="254"/>
                  </a:lnTo>
                  <a:lnTo>
                    <a:pt x="8" y="250"/>
                  </a:lnTo>
                  <a:lnTo>
                    <a:pt x="12" y="250"/>
                  </a:lnTo>
                  <a:lnTo>
                    <a:pt x="8" y="250"/>
                  </a:lnTo>
                  <a:lnTo>
                    <a:pt x="4" y="250"/>
                  </a:lnTo>
                  <a:lnTo>
                    <a:pt x="4" y="246"/>
                  </a:lnTo>
                  <a:lnTo>
                    <a:pt x="8" y="246"/>
                  </a:lnTo>
                  <a:lnTo>
                    <a:pt x="12" y="246"/>
                  </a:lnTo>
                  <a:lnTo>
                    <a:pt x="14" y="246"/>
                  </a:lnTo>
                  <a:lnTo>
                    <a:pt x="18" y="246"/>
                  </a:lnTo>
                  <a:lnTo>
                    <a:pt x="22" y="246"/>
                  </a:lnTo>
                  <a:lnTo>
                    <a:pt x="26" y="246"/>
                  </a:lnTo>
                  <a:lnTo>
                    <a:pt x="26" y="242"/>
                  </a:lnTo>
                  <a:lnTo>
                    <a:pt x="30" y="242"/>
                  </a:lnTo>
                  <a:lnTo>
                    <a:pt x="30" y="246"/>
                  </a:lnTo>
                  <a:lnTo>
                    <a:pt x="34" y="246"/>
                  </a:lnTo>
                  <a:lnTo>
                    <a:pt x="34" y="250"/>
                  </a:lnTo>
                  <a:lnTo>
                    <a:pt x="34" y="246"/>
                  </a:lnTo>
                  <a:lnTo>
                    <a:pt x="38" y="246"/>
                  </a:lnTo>
                  <a:lnTo>
                    <a:pt x="38" y="242"/>
                  </a:lnTo>
                  <a:lnTo>
                    <a:pt x="38" y="238"/>
                  </a:lnTo>
                  <a:lnTo>
                    <a:pt x="42" y="238"/>
                  </a:lnTo>
                  <a:lnTo>
                    <a:pt x="42" y="236"/>
                  </a:lnTo>
                  <a:lnTo>
                    <a:pt x="38" y="238"/>
                  </a:lnTo>
                  <a:lnTo>
                    <a:pt x="38" y="242"/>
                  </a:lnTo>
                  <a:lnTo>
                    <a:pt x="34" y="242"/>
                  </a:lnTo>
                  <a:lnTo>
                    <a:pt x="30" y="246"/>
                  </a:lnTo>
                  <a:lnTo>
                    <a:pt x="30" y="242"/>
                  </a:lnTo>
                  <a:lnTo>
                    <a:pt x="26" y="242"/>
                  </a:lnTo>
                  <a:lnTo>
                    <a:pt x="26" y="238"/>
                  </a:lnTo>
                  <a:lnTo>
                    <a:pt x="26" y="242"/>
                  </a:lnTo>
                  <a:lnTo>
                    <a:pt x="22" y="246"/>
                  </a:lnTo>
                  <a:lnTo>
                    <a:pt x="22" y="242"/>
                  </a:lnTo>
                  <a:lnTo>
                    <a:pt x="18" y="242"/>
                  </a:lnTo>
                  <a:lnTo>
                    <a:pt x="14" y="242"/>
                  </a:lnTo>
                  <a:lnTo>
                    <a:pt x="12" y="242"/>
                  </a:lnTo>
                  <a:lnTo>
                    <a:pt x="12" y="246"/>
                  </a:lnTo>
                  <a:lnTo>
                    <a:pt x="8" y="246"/>
                  </a:lnTo>
                  <a:lnTo>
                    <a:pt x="8" y="242"/>
                  </a:lnTo>
                  <a:lnTo>
                    <a:pt x="4" y="242"/>
                  </a:lnTo>
                  <a:lnTo>
                    <a:pt x="8" y="242"/>
                  </a:lnTo>
                  <a:lnTo>
                    <a:pt x="4" y="242"/>
                  </a:lnTo>
                  <a:lnTo>
                    <a:pt x="8" y="238"/>
                  </a:lnTo>
                  <a:lnTo>
                    <a:pt x="12" y="238"/>
                  </a:lnTo>
                  <a:lnTo>
                    <a:pt x="8" y="238"/>
                  </a:lnTo>
                  <a:lnTo>
                    <a:pt x="4" y="238"/>
                  </a:lnTo>
                  <a:lnTo>
                    <a:pt x="8" y="236"/>
                  </a:lnTo>
                  <a:lnTo>
                    <a:pt x="8" y="238"/>
                  </a:lnTo>
                  <a:lnTo>
                    <a:pt x="12" y="238"/>
                  </a:lnTo>
                  <a:lnTo>
                    <a:pt x="14" y="238"/>
                  </a:lnTo>
                  <a:lnTo>
                    <a:pt x="14" y="236"/>
                  </a:lnTo>
                  <a:lnTo>
                    <a:pt x="12" y="236"/>
                  </a:lnTo>
                  <a:lnTo>
                    <a:pt x="12" y="238"/>
                  </a:lnTo>
                  <a:lnTo>
                    <a:pt x="8" y="236"/>
                  </a:lnTo>
                  <a:lnTo>
                    <a:pt x="4" y="236"/>
                  </a:lnTo>
                  <a:lnTo>
                    <a:pt x="8" y="232"/>
                  </a:lnTo>
                  <a:lnTo>
                    <a:pt x="4" y="232"/>
                  </a:lnTo>
                  <a:lnTo>
                    <a:pt x="8" y="228"/>
                  </a:lnTo>
                  <a:lnTo>
                    <a:pt x="12" y="228"/>
                  </a:lnTo>
                  <a:lnTo>
                    <a:pt x="14" y="228"/>
                  </a:lnTo>
                  <a:lnTo>
                    <a:pt x="18" y="228"/>
                  </a:lnTo>
                  <a:lnTo>
                    <a:pt x="22" y="228"/>
                  </a:lnTo>
                  <a:lnTo>
                    <a:pt x="26" y="228"/>
                  </a:lnTo>
                  <a:lnTo>
                    <a:pt x="30" y="228"/>
                  </a:lnTo>
                  <a:lnTo>
                    <a:pt x="26" y="228"/>
                  </a:lnTo>
                  <a:lnTo>
                    <a:pt x="22" y="228"/>
                  </a:lnTo>
                  <a:lnTo>
                    <a:pt x="18" y="228"/>
                  </a:lnTo>
                  <a:lnTo>
                    <a:pt x="14" y="228"/>
                  </a:lnTo>
                  <a:lnTo>
                    <a:pt x="12" y="228"/>
                  </a:lnTo>
                  <a:lnTo>
                    <a:pt x="8" y="228"/>
                  </a:lnTo>
                  <a:lnTo>
                    <a:pt x="4" y="228"/>
                  </a:lnTo>
                  <a:lnTo>
                    <a:pt x="8" y="224"/>
                  </a:lnTo>
                  <a:lnTo>
                    <a:pt x="8" y="222"/>
                  </a:lnTo>
                  <a:lnTo>
                    <a:pt x="4" y="222"/>
                  </a:lnTo>
                  <a:lnTo>
                    <a:pt x="8" y="222"/>
                  </a:lnTo>
                  <a:lnTo>
                    <a:pt x="12" y="224"/>
                  </a:lnTo>
                  <a:lnTo>
                    <a:pt x="12" y="222"/>
                  </a:lnTo>
                  <a:lnTo>
                    <a:pt x="8" y="222"/>
                  </a:lnTo>
                  <a:lnTo>
                    <a:pt x="12" y="222"/>
                  </a:lnTo>
                  <a:lnTo>
                    <a:pt x="14" y="222"/>
                  </a:lnTo>
                  <a:lnTo>
                    <a:pt x="18" y="222"/>
                  </a:lnTo>
                  <a:lnTo>
                    <a:pt x="22" y="224"/>
                  </a:lnTo>
                  <a:lnTo>
                    <a:pt x="18" y="224"/>
                  </a:lnTo>
                  <a:lnTo>
                    <a:pt x="18" y="222"/>
                  </a:lnTo>
                  <a:lnTo>
                    <a:pt x="14" y="222"/>
                  </a:lnTo>
                  <a:lnTo>
                    <a:pt x="18" y="222"/>
                  </a:lnTo>
                  <a:lnTo>
                    <a:pt x="18" y="218"/>
                  </a:lnTo>
                  <a:lnTo>
                    <a:pt x="22" y="218"/>
                  </a:lnTo>
                  <a:lnTo>
                    <a:pt x="26" y="222"/>
                  </a:lnTo>
                  <a:lnTo>
                    <a:pt x="26" y="218"/>
                  </a:lnTo>
                  <a:lnTo>
                    <a:pt x="22" y="218"/>
                  </a:lnTo>
                  <a:lnTo>
                    <a:pt x="26" y="214"/>
                  </a:lnTo>
                  <a:lnTo>
                    <a:pt x="30" y="218"/>
                  </a:lnTo>
                  <a:lnTo>
                    <a:pt x="34" y="218"/>
                  </a:lnTo>
                  <a:lnTo>
                    <a:pt x="34" y="222"/>
                  </a:lnTo>
                  <a:lnTo>
                    <a:pt x="30" y="222"/>
                  </a:lnTo>
                  <a:lnTo>
                    <a:pt x="30" y="224"/>
                  </a:lnTo>
                  <a:lnTo>
                    <a:pt x="34" y="224"/>
                  </a:lnTo>
                  <a:lnTo>
                    <a:pt x="34" y="222"/>
                  </a:lnTo>
                  <a:lnTo>
                    <a:pt x="30" y="222"/>
                  </a:lnTo>
                  <a:lnTo>
                    <a:pt x="34" y="222"/>
                  </a:lnTo>
                  <a:lnTo>
                    <a:pt x="34" y="218"/>
                  </a:lnTo>
                  <a:lnTo>
                    <a:pt x="38" y="218"/>
                  </a:lnTo>
                  <a:lnTo>
                    <a:pt x="38" y="222"/>
                  </a:lnTo>
                  <a:lnTo>
                    <a:pt x="38" y="218"/>
                  </a:lnTo>
                  <a:lnTo>
                    <a:pt x="34" y="218"/>
                  </a:lnTo>
                  <a:lnTo>
                    <a:pt x="30" y="218"/>
                  </a:lnTo>
                  <a:lnTo>
                    <a:pt x="30" y="214"/>
                  </a:lnTo>
                  <a:lnTo>
                    <a:pt x="26" y="214"/>
                  </a:lnTo>
                  <a:lnTo>
                    <a:pt x="22" y="214"/>
                  </a:lnTo>
                  <a:lnTo>
                    <a:pt x="26" y="214"/>
                  </a:lnTo>
                  <a:lnTo>
                    <a:pt x="22" y="214"/>
                  </a:lnTo>
                  <a:lnTo>
                    <a:pt x="22" y="210"/>
                  </a:lnTo>
                  <a:lnTo>
                    <a:pt x="26" y="210"/>
                  </a:lnTo>
                  <a:lnTo>
                    <a:pt x="30" y="210"/>
                  </a:lnTo>
                  <a:lnTo>
                    <a:pt x="34" y="210"/>
                  </a:lnTo>
                  <a:lnTo>
                    <a:pt x="38" y="210"/>
                  </a:lnTo>
                  <a:lnTo>
                    <a:pt x="42" y="214"/>
                  </a:lnTo>
                  <a:lnTo>
                    <a:pt x="42" y="210"/>
                  </a:lnTo>
                  <a:lnTo>
                    <a:pt x="42" y="214"/>
                  </a:lnTo>
                  <a:lnTo>
                    <a:pt x="38" y="214"/>
                  </a:lnTo>
                  <a:lnTo>
                    <a:pt x="38" y="210"/>
                  </a:lnTo>
                  <a:lnTo>
                    <a:pt x="42" y="210"/>
                  </a:lnTo>
                  <a:lnTo>
                    <a:pt x="44" y="210"/>
                  </a:lnTo>
                  <a:lnTo>
                    <a:pt x="44" y="206"/>
                  </a:lnTo>
                  <a:lnTo>
                    <a:pt x="48" y="210"/>
                  </a:lnTo>
                  <a:lnTo>
                    <a:pt x="48" y="206"/>
                  </a:lnTo>
                  <a:lnTo>
                    <a:pt x="44" y="206"/>
                  </a:lnTo>
                  <a:lnTo>
                    <a:pt x="42" y="210"/>
                  </a:lnTo>
                  <a:lnTo>
                    <a:pt x="38" y="210"/>
                  </a:lnTo>
                  <a:lnTo>
                    <a:pt x="38" y="206"/>
                  </a:lnTo>
                  <a:lnTo>
                    <a:pt x="42" y="206"/>
                  </a:lnTo>
                  <a:lnTo>
                    <a:pt x="38" y="206"/>
                  </a:lnTo>
                  <a:lnTo>
                    <a:pt x="34" y="206"/>
                  </a:lnTo>
                  <a:lnTo>
                    <a:pt x="30" y="210"/>
                  </a:lnTo>
                  <a:lnTo>
                    <a:pt x="30" y="206"/>
                  </a:lnTo>
                  <a:lnTo>
                    <a:pt x="34" y="206"/>
                  </a:lnTo>
                  <a:lnTo>
                    <a:pt x="30" y="202"/>
                  </a:lnTo>
                  <a:lnTo>
                    <a:pt x="34" y="202"/>
                  </a:lnTo>
                  <a:lnTo>
                    <a:pt x="38" y="202"/>
                  </a:lnTo>
                  <a:lnTo>
                    <a:pt x="42" y="202"/>
                  </a:lnTo>
                  <a:lnTo>
                    <a:pt x="44" y="202"/>
                  </a:lnTo>
                  <a:lnTo>
                    <a:pt x="42" y="202"/>
                  </a:lnTo>
                  <a:lnTo>
                    <a:pt x="44" y="202"/>
                  </a:lnTo>
                  <a:lnTo>
                    <a:pt x="48" y="202"/>
                  </a:lnTo>
                  <a:lnTo>
                    <a:pt x="48" y="206"/>
                  </a:lnTo>
                  <a:lnTo>
                    <a:pt x="52" y="206"/>
                  </a:lnTo>
                  <a:lnTo>
                    <a:pt x="52" y="210"/>
                  </a:lnTo>
                  <a:lnTo>
                    <a:pt x="56" y="210"/>
                  </a:lnTo>
                  <a:lnTo>
                    <a:pt x="52" y="210"/>
                  </a:lnTo>
                  <a:lnTo>
                    <a:pt x="52" y="206"/>
                  </a:lnTo>
                  <a:lnTo>
                    <a:pt x="48" y="206"/>
                  </a:lnTo>
                  <a:lnTo>
                    <a:pt x="48" y="202"/>
                  </a:lnTo>
                  <a:lnTo>
                    <a:pt x="44" y="202"/>
                  </a:lnTo>
                  <a:lnTo>
                    <a:pt x="44" y="198"/>
                  </a:lnTo>
                  <a:lnTo>
                    <a:pt x="48" y="198"/>
                  </a:lnTo>
                  <a:lnTo>
                    <a:pt x="48" y="202"/>
                  </a:lnTo>
                  <a:lnTo>
                    <a:pt x="52" y="202"/>
                  </a:lnTo>
                  <a:lnTo>
                    <a:pt x="52" y="206"/>
                  </a:lnTo>
                  <a:lnTo>
                    <a:pt x="52" y="202"/>
                  </a:lnTo>
                  <a:lnTo>
                    <a:pt x="56" y="202"/>
                  </a:lnTo>
                  <a:lnTo>
                    <a:pt x="52" y="202"/>
                  </a:lnTo>
                  <a:lnTo>
                    <a:pt x="48" y="202"/>
                  </a:lnTo>
                  <a:lnTo>
                    <a:pt x="48" y="198"/>
                  </a:lnTo>
                  <a:lnTo>
                    <a:pt x="52" y="198"/>
                  </a:lnTo>
                  <a:lnTo>
                    <a:pt x="56" y="198"/>
                  </a:lnTo>
                  <a:lnTo>
                    <a:pt x="60" y="198"/>
                  </a:lnTo>
                  <a:lnTo>
                    <a:pt x="56" y="198"/>
                  </a:lnTo>
                  <a:lnTo>
                    <a:pt x="52" y="194"/>
                  </a:lnTo>
                  <a:lnTo>
                    <a:pt x="56" y="194"/>
                  </a:lnTo>
                  <a:lnTo>
                    <a:pt x="56" y="192"/>
                  </a:lnTo>
                  <a:lnTo>
                    <a:pt x="60" y="192"/>
                  </a:lnTo>
                  <a:lnTo>
                    <a:pt x="64" y="192"/>
                  </a:lnTo>
                  <a:lnTo>
                    <a:pt x="64" y="194"/>
                  </a:lnTo>
                  <a:lnTo>
                    <a:pt x="68" y="194"/>
                  </a:lnTo>
                  <a:lnTo>
                    <a:pt x="68" y="192"/>
                  </a:lnTo>
                  <a:lnTo>
                    <a:pt x="64" y="194"/>
                  </a:lnTo>
                  <a:lnTo>
                    <a:pt x="64" y="192"/>
                  </a:lnTo>
                  <a:lnTo>
                    <a:pt x="64" y="188"/>
                  </a:lnTo>
                  <a:lnTo>
                    <a:pt x="68" y="188"/>
                  </a:lnTo>
                  <a:lnTo>
                    <a:pt x="72" y="188"/>
                  </a:lnTo>
                  <a:lnTo>
                    <a:pt x="74" y="192"/>
                  </a:lnTo>
                  <a:lnTo>
                    <a:pt x="74" y="194"/>
                  </a:lnTo>
                  <a:lnTo>
                    <a:pt x="78" y="194"/>
                  </a:lnTo>
                  <a:lnTo>
                    <a:pt x="74" y="194"/>
                  </a:lnTo>
                  <a:lnTo>
                    <a:pt x="74" y="192"/>
                  </a:lnTo>
                  <a:lnTo>
                    <a:pt x="78" y="192"/>
                  </a:lnTo>
                  <a:lnTo>
                    <a:pt x="82" y="192"/>
                  </a:lnTo>
                  <a:lnTo>
                    <a:pt x="86" y="192"/>
                  </a:lnTo>
                  <a:lnTo>
                    <a:pt x="86" y="188"/>
                  </a:lnTo>
                  <a:lnTo>
                    <a:pt x="82" y="188"/>
                  </a:lnTo>
                  <a:lnTo>
                    <a:pt x="86" y="188"/>
                  </a:lnTo>
                  <a:lnTo>
                    <a:pt x="86" y="184"/>
                  </a:lnTo>
                  <a:lnTo>
                    <a:pt x="90" y="184"/>
                  </a:lnTo>
                  <a:lnTo>
                    <a:pt x="94" y="184"/>
                  </a:lnTo>
                  <a:lnTo>
                    <a:pt x="94" y="180"/>
                  </a:lnTo>
                  <a:lnTo>
                    <a:pt x="90" y="180"/>
                  </a:lnTo>
                  <a:lnTo>
                    <a:pt x="94" y="180"/>
                  </a:lnTo>
                  <a:lnTo>
                    <a:pt x="98" y="176"/>
                  </a:lnTo>
                  <a:lnTo>
                    <a:pt x="94" y="176"/>
                  </a:lnTo>
                  <a:lnTo>
                    <a:pt x="90" y="176"/>
                  </a:lnTo>
                  <a:lnTo>
                    <a:pt x="90" y="180"/>
                  </a:lnTo>
                  <a:lnTo>
                    <a:pt x="86" y="180"/>
                  </a:lnTo>
                  <a:lnTo>
                    <a:pt x="82" y="184"/>
                  </a:lnTo>
                  <a:lnTo>
                    <a:pt x="86" y="180"/>
                  </a:lnTo>
                  <a:lnTo>
                    <a:pt x="90" y="180"/>
                  </a:lnTo>
                  <a:lnTo>
                    <a:pt x="90" y="184"/>
                  </a:lnTo>
                  <a:lnTo>
                    <a:pt x="86" y="184"/>
                  </a:lnTo>
                  <a:lnTo>
                    <a:pt x="82" y="188"/>
                  </a:lnTo>
                  <a:lnTo>
                    <a:pt x="78" y="188"/>
                  </a:lnTo>
                  <a:lnTo>
                    <a:pt x="74" y="192"/>
                  </a:lnTo>
                  <a:lnTo>
                    <a:pt x="72" y="188"/>
                  </a:lnTo>
                  <a:lnTo>
                    <a:pt x="72" y="184"/>
                  </a:lnTo>
                  <a:lnTo>
                    <a:pt x="74" y="184"/>
                  </a:lnTo>
                  <a:lnTo>
                    <a:pt x="72" y="184"/>
                  </a:lnTo>
                  <a:lnTo>
                    <a:pt x="68" y="188"/>
                  </a:lnTo>
                  <a:lnTo>
                    <a:pt x="68" y="184"/>
                  </a:lnTo>
                  <a:lnTo>
                    <a:pt x="72" y="184"/>
                  </a:lnTo>
                  <a:lnTo>
                    <a:pt x="72" y="180"/>
                  </a:lnTo>
                  <a:lnTo>
                    <a:pt x="74" y="180"/>
                  </a:lnTo>
                  <a:lnTo>
                    <a:pt x="78" y="180"/>
                  </a:lnTo>
                  <a:lnTo>
                    <a:pt x="74" y="180"/>
                  </a:lnTo>
                  <a:lnTo>
                    <a:pt x="74" y="176"/>
                  </a:lnTo>
                  <a:lnTo>
                    <a:pt x="78" y="172"/>
                  </a:lnTo>
                  <a:lnTo>
                    <a:pt x="82" y="168"/>
                  </a:lnTo>
                  <a:lnTo>
                    <a:pt x="82" y="168"/>
                  </a:lnTo>
                  <a:lnTo>
                    <a:pt x="82" y="168"/>
                  </a:lnTo>
                  <a:close/>
                  <a:moveTo>
                    <a:pt x="284" y="4"/>
                  </a:moveTo>
                  <a:lnTo>
                    <a:pt x="284" y="0"/>
                  </a:lnTo>
                  <a:lnTo>
                    <a:pt x="284" y="4"/>
                  </a:lnTo>
                  <a:lnTo>
                    <a:pt x="284" y="4"/>
                  </a:lnTo>
                  <a:lnTo>
                    <a:pt x="284" y="4"/>
                  </a:lnTo>
                  <a:close/>
                  <a:moveTo>
                    <a:pt x="270" y="16"/>
                  </a:moveTo>
                  <a:lnTo>
                    <a:pt x="270" y="12"/>
                  </a:lnTo>
                  <a:lnTo>
                    <a:pt x="274" y="12"/>
                  </a:lnTo>
                  <a:lnTo>
                    <a:pt x="276" y="16"/>
                  </a:lnTo>
                  <a:lnTo>
                    <a:pt x="274" y="16"/>
                  </a:lnTo>
                  <a:lnTo>
                    <a:pt x="270" y="16"/>
                  </a:lnTo>
                  <a:lnTo>
                    <a:pt x="270" y="16"/>
                  </a:lnTo>
                  <a:lnTo>
                    <a:pt x="270" y="16"/>
                  </a:lnTo>
                  <a:close/>
                  <a:moveTo>
                    <a:pt x="258" y="22"/>
                  </a:moveTo>
                  <a:lnTo>
                    <a:pt x="254" y="22"/>
                  </a:lnTo>
                  <a:lnTo>
                    <a:pt x="250" y="22"/>
                  </a:lnTo>
                  <a:lnTo>
                    <a:pt x="250" y="20"/>
                  </a:lnTo>
                  <a:lnTo>
                    <a:pt x="254" y="20"/>
                  </a:lnTo>
                  <a:lnTo>
                    <a:pt x="258" y="22"/>
                  </a:lnTo>
                  <a:lnTo>
                    <a:pt x="258" y="22"/>
                  </a:lnTo>
                  <a:lnTo>
                    <a:pt x="258" y="22"/>
                  </a:lnTo>
                  <a:close/>
                  <a:moveTo>
                    <a:pt x="244" y="22"/>
                  </a:moveTo>
                  <a:lnTo>
                    <a:pt x="240" y="22"/>
                  </a:lnTo>
                  <a:lnTo>
                    <a:pt x="240" y="20"/>
                  </a:lnTo>
                  <a:lnTo>
                    <a:pt x="244" y="20"/>
                  </a:lnTo>
                  <a:lnTo>
                    <a:pt x="244" y="22"/>
                  </a:lnTo>
                  <a:lnTo>
                    <a:pt x="244" y="22"/>
                  </a:lnTo>
                  <a:lnTo>
                    <a:pt x="244" y="22"/>
                  </a:lnTo>
                  <a:close/>
                  <a:moveTo>
                    <a:pt x="206" y="26"/>
                  </a:moveTo>
                  <a:lnTo>
                    <a:pt x="202" y="26"/>
                  </a:lnTo>
                  <a:lnTo>
                    <a:pt x="206" y="22"/>
                  </a:lnTo>
                  <a:lnTo>
                    <a:pt x="206" y="26"/>
                  </a:lnTo>
                  <a:lnTo>
                    <a:pt x="206" y="26"/>
                  </a:lnTo>
                  <a:lnTo>
                    <a:pt x="206" y="26"/>
                  </a:lnTo>
                  <a:close/>
                  <a:moveTo>
                    <a:pt x="198" y="30"/>
                  </a:moveTo>
                  <a:lnTo>
                    <a:pt x="198" y="26"/>
                  </a:lnTo>
                  <a:lnTo>
                    <a:pt x="202" y="26"/>
                  </a:lnTo>
                  <a:lnTo>
                    <a:pt x="202" y="30"/>
                  </a:lnTo>
                  <a:lnTo>
                    <a:pt x="198" y="30"/>
                  </a:lnTo>
                  <a:lnTo>
                    <a:pt x="198" y="30"/>
                  </a:lnTo>
                  <a:lnTo>
                    <a:pt x="198" y="30"/>
                  </a:lnTo>
                  <a:close/>
                  <a:moveTo>
                    <a:pt x="228" y="30"/>
                  </a:moveTo>
                  <a:lnTo>
                    <a:pt x="232" y="30"/>
                  </a:lnTo>
                  <a:lnTo>
                    <a:pt x="228" y="30"/>
                  </a:lnTo>
                  <a:lnTo>
                    <a:pt x="228" y="30"/>
                  </a:lnTo>
                  <a:lnTo>
                    <a:pt x="228" y="30"/>
                  </a:lnTo>
                  <a:close/>
                  <a:moveTo>
                    <a:pt x="210" y="34"/>
                  </a:moveTo>
                  <a:lnTo>
                    <a:pt x="214" y="30"/>
                  </a:lnTo>
                  <a:lnTo>
                    <a:pt x="218" y="30"/>
                  </a:lnTo>
                  <a:lnTo>
                    <a:pt x="214" y="34"/>
                  </a:lnTo>
                  <a:lnTo>
                    <a:pt x="210" y="34"/>
                  </a:lnTo>
                  <a:lnTo>
                    <a:pt x="210" y="34"/>
                  </a:lnTo>
                  <a:lnTo>
                    <a:pt x="210" y="34"/>
                  </a:lnTo>
                  <a:close/>
                  <a:moveTo>
                    <a:pt x="354" y="38"/>
                  </a:moveTo>
                  <a:lnTo>
                    <a:pt x="354" y="34"/>
                  </a:lnTo>
                  <a:lnTo>
                    <a:pt x="358" y="34"/>
                  </a:lnTo>
                  <a:lnTo>
                    <a:pt x="354" y="38"/>
                  </a:lnTo>
                  <a:lnTo>
                    <a:pt x="354" y="38"/>
                  </a:lnTo>
                  <a:lnTo>
                    <a:pt x="354" y="38"/>
                  </a:lnTo>
                  <a:close/>
                  <a:moveTo>
                    <a:pt x="224" y="34"/>
                  </a:moveTo>
                  <a:lnTo>
                    <a:pt x="228" y="34"/>
                  </a:lnTo>
                  <a:lnTo>
                    <a:pt x="224" y="34"/>
                  </a:lnTo>
                  <a:lnTo>
                    <a:pt x="224" y="34"/>
                  </a:lnTo>
                  <a:lnTo>
                    <a:pt x="224" y="34"/>
                  </a:lnTo>
                  <a:close/>
                  <a:moveTo>
                    <a:pt x="202" y="42"/>
                  </a:moveTo>
                  <a:lnTo>
                    <a:pt x="202" y="38"/>
                  </a:lnTo>
                  <a:lnTo>
                    <a:pt x="202" y="42"/>
                  </a:lnTo>
                  <a:lnTo>
                    <a:pt x="202" y="42"/>
                  </a:lnTo>
                  <a:lnTo>
                    <a:pt x="202" y="42"/>
                  </a:lnTo>
                  <a:close/>
                  <a:moveTo>
                    <a:pt x="180" y="56"/>
                  </a:moveTo>
                  <a:lnTo>
                    <a:pt x="180" y="52"/>
                  </a:lnTo>
                  <a:lnTo>
                    <a:pt x="184" y="52"/>
                  </a:lnTo>
                  <a:lnTo>
                    <a:pt x="180" y="56"/>
                  </a:lnTo>
                  <a:lnTo>
                    <a:pt x="180" y="56"/>
                  </a:lnTo>
                  <a:lnTo>
                    <a:pt x="180" y="56"/>
                  </a:lnTo>
                  <a:close/>
                  <a:moveTo>
                    <a:pt x="168" y="60"/>
                  </a:moveTo>
                  <a:lnTo>
                    <a:pt x="164" y="56"/>
                  </a:lnTo>
                  <a:lnTo>
                    <a:pt x="168" y="56"/>
                  </a:lnTo>
                  <a:lnTo>
                    <a:pt x="168" y="60"/>
                  </a:lnTo>
                  <a:lnTo>
                    <a:pt x="168" y="60"/>
                  </a:lnTo>
                  <a:lnTo>
                    <a:pt x="168" y="60"/>
                  </a:lnTo>
                  <a:close/>
                  <a:moveTo>
                    <a:pt x="176" y="60"/>
                  </a:moveTo>
                  <a:lnTo>
                    <a:pt x="176" y="56"/>
                  </a:lnTo>
                  <a:lnTo>
                    <a:pt x="180" y="56"/>
                  </a:lnTo>
                  <a:lnTo>
                    <a:pt x="180" y="60"/>
                  </a:lnTo>
                  <a:lnTo>
                    <a:pt x="176" y="60"/>
                  </a:lnTo>
                  <a:lnTo>
                    <a:pt x="176" y="60"/>
                  </a:lnTo>
                  <a:lnTo>
                    <a:pt x="176" y="60"/>
                  </a:lnTo>
                  <a:close/>
                  <a:moveTo>
                    <a:pt x="172" y="64"/>
                  </a:moveTo>
                  <a:lnTo>
                    <a:pt x="172" y="60"/>
                  </a:lnTo>
                  <a:lnTo>
                    <a:pt x="176" y="60"/>
                  </a:lnTo>
                  <a:lnTo>
                    <a:pt x="172" y="60"/>
                  </a:lnTo>
                  <a:lnTo>
                    <a:pt x="172" y="64"/>
                  </a:lnTo>
                  <a:lnTo>
                    <a:pt x="172" y="64"/>
                  </a:lnTo>
                  <a:lnTo>
                    <a:pt x="172" y="64"/>
                  </a:lnTo>
                  <a:close/>
                  <a:moveTo>
                    <a:pt x="160" y="72"/>
                  </a:moveTo>
                  <a:lnTo>
                    <a:pt x="160" y="68"/>
                  </a:lnTo>
                  <a:lnTo>
                    <a:pt x="164" y="68"/>
                  </a:lnTo>
                  <a:lnTo>
                    <a:pt x="164" y="72"/>
                  </a:lnTo>
                  <a:lnTo>
                    <a:pt x="160" y="72"/>
                  </a:lnTo>
                  <a:lnTo>
                    <a:pt x="160" y="72"/>
                  </a:lnTo>
                  <a:lnTo>
                    <a:pt x="160" y="72"/>
                  </a:lnTo>
                  <a:close/>
                  <a:moveTo>
                    <a:pt x="134" y="76"/>
                  </a:moveTo>
                  <a:lnTo>
                    <a:pt x="130" y="76"/>
                  </a:lnTo>
                  <a:lnTo>
                    <a:pt x="130" y="72"/>
                  </a:lnTo>
                  <a:lnTo>
                    <a:pt x="134" y="72"/>
                  </a:lnTo>
                  <a:lnTo>
                    <a:pt x="134" y="76"/>
                  </a:lnTo>
                  <a:lnTo>
                    <a:pt x="134" y="76"/>
                  </a:lnTo>
                  <a:lnTo>
                    <a:pt x="134" y="76"/>
                  </a:lnTo>
                  <a:close/>
                  <a:moveTo>
                    <a:pt x="120" y="82"/>
                  </a:moveTo>
                  <a:lnTo>
                    <a:pt x="120" y="78"/>
                  </a:lnTo>
                  <a:lnTo>
                    <a:pt x="120" y="76"/>
                  </a:lnTo>
                  <a:lnTo>
                    <a:pt x="124" y="76"/>
                  </a:lnTo>
                  <a:lnTo>
                    <a:pt x="124" y="78"/>
                  </a:lnTo>
                  <a:lnTo>
                    <a:pt x="120" y="82"/>
                  </a:lnTo>
                  <a:lnTo>
                    <a:pt x="120" y="82"/>
                  </a:lnTo>
                  <a:lnTo>
                    <a:pt x="120" y="82"/>
                  </a:lnTo>
                  <a:close/>
                  <a:moveTo>
                    <a:pt x="116" y="86"/>
                  </a:moveTo>
                  <a:lnTo>
                    <a:pt x="116" y="82"/>
                  </a:lnTo>
                  <a:lnTo>
                    <a:pt x="116" y="78"/>
                  </a:lnTo>
                  <a:lnTo>
                    <a:pt x="120" y="78"/>
                  </a:lnTo>
                  <a:lnTo>
                    <a:pt x="120" y="82"/>
                  </a:lnTo>
                  <a:lnTo>
                    <a:pt x="116" y="82"/>
                  </a:lnTo>
                  <a:lnTo>
                    <a:pt x="116" y="86"/>
                  </a:lnTo>
                  <a:lnTo>
                    <a:pt x="116" y="86"/>
                  </a:lnTo>
                  <a:lnTo>
                    <a:pt x="116" y="86"/>
                  </a:lnTo>
                  <a:close/>
                  <a:moveTo>
                    <a:pt x="154" y="82"/>
                  </a:moveTo>
                  <a:lnTo>
                    <a:pt x="154" y="78"/>
                  </a:lnTo>
                  <a:lnTo>
                    <a:pt x="158" y="78"/>
                  </a:lnTo>
                  <a:lnTo>
                    <a:pt x="158" y="82"/>
                  </a:lnTo>
                  <a:lnTo>
                    <a:pt x="154" y="82"/>
                  </a:lnTo>
                  <a:lnTo>
                    <a:pt x="154" y="82"/>
                  </a:lnTo>
                  <a:lnTo>
                    <a:pt x="154" y="82"/>
                  </a:lnTo>
                  <a:close/>
                  <a:moveTo>
                    <a:pt x="146" y="82"/>
                  </a:moveTo>
                  <a:lnTo>
                    <a:pt x="150" y="82"/>
                  </a:lnTo>
                  <a:lnTo>
                    <a:pt x="146" y="82"/>
                  </a:lnTo>
                  <a:lnTo>
                    <a:pt x="146" y="82"/>
                  </a:lnTo>
                  <a:lnTo>
                    <a:pt x="146" y="82"/>
                  </a:lnTo>
                  <a:close/>
                  <a:moveTo>
                    <a:pt x="134" y="106"/>
                  </a:moveTo>
                  <a:lnTo>
                    <a:pt x="130" y="106"/>
                  </a:lnTo>
                  <a:lnTo>
                    <a:pt x="130" y="102"/>
                  </a:lnTo>
                  <a:lnTo>
                    <a:pt x="134" y="102"/>
                  </a:lnTo>
                  <a:lnTo>
                    <a:pt x="134" y="106"/>
                  </a:lnTo>
                  <a:lnTo>
                    <a:pt x="134" y="106"/>
                  </a:lnTo>
                  <a:lnTo>
                    <a:pt x="134" y="106"/>
                  </a:lnTo>
                  <a:close/>
                  <a:moveTo>
                    <a:pt x="102" y="138"/>
                  </a:moveTo>
                  <a:lnTo>
                    <a:pt x="104" y="138"/>
                  </a:lnTo>
                  <a:lnTo>
                    <a:pt x="102" y="138"/>
                  </a:lnTo>
                  <a:lnTo>
                    <a:pt x="102" y="138"/>
                  </a:lnTo>
                  <a:lnTo>
                    <a:pt x="102" y="138"/>
                  </a:lnTo>
                  <a:close/>
                  <a:moveTo>
                    <a:pt x="104" y="150"/>
                  </a:moveTo>
                  <a:lnTo>
                    <a:pt x="104" y="146"/>
                  </a:lnTo>
                  <a:lnTo>
                    <a:pt x="104" y="142"/>
                  </a:lnTo>
                  <a:lnTo>
                    <a:pt x="104" y="138"/>
                  </a:lnTo>
                  <a:lnTo>
                    <a:pt x="108" y="138"/>
                  </a:lnTo>
                  <a:lnTo>
                    <a:pt x="108" y="142"/>
                  </a:lnTo>
                  <a:lnTo>
                    <a:pt x="108" y="146"/>
                  </a:lnTo>
                  <a:lnTo>
                    <a:pt x="104" y="146"/>
                  </a:lnTo>
                  <a:lnTo>
                    <a:pt x="104" y="150"/>
                  </a:lnTo>
                  <a:lnTo>
                    <a:pt x="104" y="150"/>
                  </a:lnTo>
                  <a:lnTo>
                    <a:pt x="104" y="150"/>
                  </a:lnTo>
                  <a:close/>
                  <a:moveTo>
                    <a:pt x="104" y="154"/>
                  </a:moveTo>
                  <a:lnTo>
                    <a:pt x="102" y="154"/>
                  </a:lnTo>
                  <a:lnTo>
                    <a:pt x="104" y="150"/>
                  </a:lnTo>
                  <a:lnTo>
                    <a:pt x="108" y="150"/>
                  </a:lnTo>
                  <a:lnTo>
                    <a:pt x="108" y="154"/>
                  </a:lnTo>
                  <a:lnTo>
                    <a:pt x="104" y="154"/>
                  </a:lnTo>
                  <a:lnTo>
                    <a:pt x="104" y="154"/>
                  </a:lnTo>
                  <a:lnTo>
                    <a:pt x="104" y="154"/>
                  </a:lnTo>
                  <a:close/>
                  <a:moveTo>
                    <a:pt x="86" y="158"/>
                  </a:moveTo>
                  <a:lnTo>
                    <a:pt x="90" y="154"/>
                  </a:lnTo>
                  <a:lnTo>
                    <a:pt x="86" y="158"/>
                  </a:lnTo>
                  <a:lnTo>
                    <a:pt x="86" y="158"/>
                  </a:lnTo>
                  <a:lnTo>
                    <a:pt x="86" y="158"/>
                  </a:lnTo>
                  <a:close/>
                  <a:moveTo>
                    <a:pt x="90" y="158"/>
                  </a:moveTo>
                  <a:lnTo>
                    <a:pt x="86" y="158"/>
                  </a:lnTo>
                  <a:lnTo>
                    <a:pt x="90" y="154"/>
                  </a:lnTo>
                  <a:lnTo>
                    <a:pt x="94" y="158"/>
                  </a:lnTo>
                  <a:lnTo>
                    <a:pt x="90" y="158"/>
                  </a:lnTo>
                  <a:lnTo>
                    <a:pt x="90" y="158"/>
                  </a:lnTo>
                  <a:lnTo>
                    <a:pt x="90" y="158"/>
                  </a:lnTo>
                  <a:close/>
                  <a:moveTo>
                    <a:pt x="94" y="164"/>
                  </a:moveTo>
                  <a:lnTo>
                    <a:pt x="90" y="164"/>
                  </a:lnTo>
                  <a:lnTo>
                    <a:pt x="90" y="162"/>
                  </a:lnTo>
                  <a:lnTo>
                    <a:pt x="94" y="164"/>
                  </a:lnTo>
                  <a:lnTo>
                    <a:pt x="94" y="164"/>
                  </a:lnTo>
                  <a:lnTo>
                    <a:pt x="94" y="164"/>
                  </a:lnTo>
                  <a:close/>
                  <a:moveTo>
                    <a:pt x="52" y="194"/>
                  </a:moveTo>
                  <a:lnTo>
                    <a:pt x="52" y="192"/>
                  </a:lnTo>
                  <a:lnTo>
                    <a:pt x="56" y="192"/>
                  </a:lnTo>
                  <a:lnTo>
                    <a:pt x="56" y="194"/>
                  </a:lnTo>
                  <a:lnTo>
                    <a:pt x="52" y="194"/>
                  </a:lnTo>
                  <a:lnTo>
                    <a:pt x="52" y="194"/>
                  </a:lnTo>
                  <a:lnTo>
                    <a:pt x="52" y="194"/>
                  </a:lnTo>
                  <a:close/>
                  <a:moveTo>
                    <a:pt x="52" y="198"/>
                  </a:moveTo>
                  <a:lnTo>
                    <a:pt x="48" y="194"/>
                  </a:lnTo>
                  <a:lnTo>
                    <a:pt x="52" y="194"/>
                  </a:lnTo>
                  <a:lnTo>
                    <a:pt x="56" y="198"/>
                  </a:lnTo>
                  <a:lnTo>
                    <a:pt x="52" y="198"/>
                  </a:lnTo>
                  <a:lnTo>
                    <a:pt x="52" y="198"/>
                  </a:lnTo>
                  <a:lnTo>
                    <a:pt x="52" y="198"/>
                  </a:lnTo>
                  <a:close/>
                  <a:moveTo>
                    <a:pt x="44" y="198"/>
                  </a:moveTo>
                  <a:lnTo>
                    <a:pt x="48" y="194"/>
                  </a:lnTo>
                  <a:lnTo>
                    <a:pt x="48" y="198"/>
                  </a:lnTo>
                  <a:lnTo>
                    <a:pt x="44" y="198"/>
                  </a:lnTo>
                  <a:lnTo>
                    <a:pt x="44" y="198"/>
                  </a:lnTo>
                  <a:lnTo>
                    <a:pt x="44" y="198"/>
                  </a:lnTo>
                  <a:close/>
                  <a:moveTo>
                    <a:pt x="44" y="202"/>
                  </a:moveTo>
                  <a:lnTo>
                    <a:pt x="42" y="202"/>
                  </a:lnTo>
                  <a:lnTo>
                    <a:pt x="42" y="198"/>
                  </a:lnTo>
                  <a:lnTo>
                    <a:pt x="44" y="198"/>
                  </a:lnTo>
                  <a:lnTo>
                    <a:pt x="44" y="202"/>
                  </a:lnTo>
                  <a:lnTo>
                    <a:pt x="44" y="202"/>
                  </a:lnTo>
                  <a:lnTo>
                    <a:pt x="44" y="202"/>
                  </a:lnTo>
                  <a:close/>
                  <a:moveTo>
                    <a:pt x="42" y="202"/>
                  </a:moveTo>
                  <a:lnTo>
                    <a:pt x="38" y="202"/>
                  </a:lnTo>
                  <a:lnTo>
                    <a:pt x="38" y="198"/>
                  </a:lnTo>
                  <a:lnTo>
                    <a:pt x="42" y="198"/>
                  </a:lnTo>
                  <a:lnTo>
                    <a:pt x="42" y="202"/>
                  </a:lnTo>
                  <a:lnTo>
                    <a:pt x="42" y="202"/>
                  </a:lnTo>
                  <a:lnTo>
                    <a:pt x="42" y="202"/>
                  </a:lnTo>
                  <a:close/>
                  <a:moveTo>
                    <a:pt x="26" y="210"/>
                  </a:moveTo>
                  <a:lnTo>
                    <a:pt x="30" y="206"/>
                  </a:lnTo>
                  <a:lnTo>
                    <a:pt x="30" y="210"/>
                  </a:lnTo>
                  <a:lnTo>
                    <a:pt x="26" y="210"/>
                  </a:lnTo>
                  <a:lnTo>
                    <a:pt x="26" y="210"/>
                  </a:lnTo>
                  <a:lnTo>
                    <a:pt x="26" y="210"/>
                  </a:lnTo>
                  <a:close/>
                  <a:moveTo>
                    <a:pt x="22" y="218"/>
                  </a:moveTo>
                  <a:lnTo>
                    <a:pt x="18" y="218"/>
                  </a:lnTo>
                  <a:lnTo>
                    <a:pt x="18" y="214"/>
                  </a:lnTo>
                  <a:lnTo>
                    <a:pt x="22" y="214"/>
                  </a:lnTo>
                  <a:lnTo>
                    <a:pt x="22" y="218"/>
                  </a:lnTo>
                  <a:lnTo>
                    <a:pt x="22" y="218"/>
                  </a:lnTo>
                  <a:lnTo>
                    <a:pt x="22" y="218"/>
                  </a:lnTo>
                  <a:close/>
                  <a:moveTo>
                    <a:pt x="14" y="222"/>
                  </a:moveTo>
                  <a:lnTo>
                    <a:pt x="14" y="218"/>
                  </a:lnTo>
                  <a:lnTo>
                    <a:pt x="14" y="214"/>
                  </a:lnTo>
                  <a:lnTo>
                    <a:pt x="18" y="214"/>
                  </a:lnTo>
                  <a:lnTo>
                    <a:pt x="18" y="218"/>
                  </a:lnTo>
                  <a:lnTo>
                    <a:pt x="14" y="218"/>
                  </a:lnTo>
                  <a:lnTo>
                    <a:pt x="14" y="222"/>
                  </a:lnTo>
                  <a:lnTo>
                    <a:pt x="14" y="222"/>
                  </a:lnTo>
                  <a:lnTo>
                    <a:pt x="14" y="222"/>
                  </a:lnTo>
                  <a:close/>
                  <a:moveTo>
                    <a:pt x="12" y="222"/>
                  </a:moveTo>
                  <a:lnTo>
                    <a:pt x="12" y="218"/>
                  </a:lnTo>
                  <a:lnTo>
                    <a:pt x="14" y="218"/>
                  </a:lnTo>
                  <a:lnTo>
                    <a:pt x="14" y="222"/>
                  </a:lnTo>
                  <a:lnTo>
                    <a:pt x="12" y="222"/>
                  </a:lnTo>
                  <a:lnTo>
                    <a:pt x="12" y="222"/>
                  </a:lnTo>
                  <a:lnTo>
                    <a:pt x="12" y="222"/>
                  </a:lnTo>
                  <a:close/>
                  <a:moveTo>
                    <a:pt x="4" y="232"/>
                  </a:moveTo>
                  <a:lnTo>
                    <a:pt x="4" y="228"/>
                  </a:lnTo>
                  <a:lnTo>
                    <a:pt x="0" y="228"/>
                  </a:lnTo>
                  <a:lnTo>
                    <a:pt x="4" y="228"/>
                  </a:lnTo>
                  <a:lnTo>
                    <a:pt x="8" y="228"/>
                  </a:lnTo>
                  <a:lnTo>
                    <a:pt x="4" y="228"/>
                  </a:lnTo>
                  <a:lnTo>
                    <a:pt x="4" y="232"/>
                  </a:lnTo>
                  <a:lnTo>
                    <a:pt x="4" y="232"/>
                  </a:lnTo>
                  <a:lnTo>
                    <a:pt x="4" y="232"/>
                  </a:lnTo>
                  <a:close/>
                  <a:moveTo>
                    <a:pt x="0" y="246"/>
                  </a:moveTo>
                  <a:lnTo>
                    <a:pt x="0" y="242"/>
                  </a:lnTo>
                  <a:lnTo>
                    <a:pt x="4" y="242"/>
                  </a:lnTo>
                  <a:lnTo>
                    <a:pt x="4" y="246"/>
                  </a:lnTo>
                  <a:lnTo>
                    <a:pt x="0" y="246"/>
                  </a:lnTo>
                  <a:lnTo>
                    <a:pt x="0" y="246"/>
                  </a:lnTo>
                  <a:lnTo>
                    <a:pt x="0" y="246"/>
                  </a:lnTo>
                  <a:close/>
                  <a:moveTo>
                    <a:pt x="12" y="262"/>
                  </a:moveTo>
                  <a:lnTo>
                    <a:pt x="8" y="258"/>
                  </a:lnTo>
                  <a:lnTo>
                    <a:pt x="12" y="258"/>
                  </a:lnTo>
                  <a:lnTo>
                    <a:pt x="12" y="254"/>
                  </a:lnTo>
                  <a:lnTo>
                    <a:pt x="14" y="254"/>
                  </a:lnTo>
                  <a:lnTo>
                    <a:pt x="14" y="262"/>
                  </a:lnTo>
                  <a:lnTo>
                    <a:pt x="12" y="262"/>
                  </a:lnTo>
                  <a:lnTo>
                    <a:pt x="12" y="262"/>
                  </a:lnTo>
                  <a:lnTo>
                    <a:pt x="12" y="262"/>
                  </a:lnTo>
                  <a:close/>
                  <a:moveTo>
                    <a:pt x="296" y="8"/>
                  </a:moveTo>
                  <a:lnTo>
                    <a:pt x="292" y="4"/>
                  </a:lnTo>
                  <a:lnTo>
                    <a:pt x="296" y="4"/>
                  </a:lnTo>
                  <a:lnTo>
                    <a:pt x="292" y="4"/>
                  </a:lnTo>
                  <a:lnTo>
                    <a:pt x="296" y="0"/>
                  </a:lnTo>
                  <a:lnTo>
                    <a:pt x="300" y="0"/>
                  </a:lnTo>
                  <a:lnTo>
                    <a:pt x="304" y="0"/>
                  </a:lnTo>
                  <a:lnTo>
                    <a:pt x="304" y="4"/>
                  </a:lnTo>
                  <a:lnTo>
                    <a:pt x="300" y="4"/>
                  </a:lnTo>
                  <a:lnTo>
                    <a:pt x="304" y="4"/>
                  </a:lnTo>
                  <a:lnTo>
                    <a:pt x="300" y="4"/>
                  </a:lnTo>
                  <a:lnTo>
                    <a:pt x="296" y="8"/>
                  </a:lnTo>
                  <a:lnTo>
                    <a:pt x="296" y="8"/>
                  </a:lnTo>
                  <a:lnTo>
                    <a:pt x="296" y="8"/>
                  </a:lnTo>
                  <a:close/>
                  <a:moveTo>
                    <a:pt x="274" y="8"/>
                  </a:moveTo>
                  <a:lnTo>
                    <a:pt x="274" y="4"/>
                  </a:lnTo>
                  <a:lnTo>
                    <a:pt x="276" y="4"/>
                  </a:lnTo>
                  <a:lnTo>
                    <a:pt x="276" y="8"/>
                  </a:lnTo>
                  <a:lnTo>
                    <a:pt x="274" y="8"/>
                  </a:lnTo>
                  <a:lnTo>
                    <a:pt x="274" y="8"/>
                  </a:lnTo>
                  <a:lnTo>
                    <a:pt x="274" y="8"/>
                  </a:lnTo>
                  <a:close/>
                  <a:moveTo>
                    <a:pt x="248" y="20"/>
                  </a:moveTo>
                  <a:lnTo>
                    <a:pt x="248" y="16"/>
                  </a:lnTo>
                  <a:lnTo>
                    <a:pt x="244" y="16"/>
                  </a:lnTo>
                  <a:lnTo>
                    <a:pt x="244" y="12"/>
                  </a:lnTo>
                  <a:lnTo>
                    <a:pt x="248" y="12"/>
                  </a:lnTo>
                  <a:lnTo>
                    <a:pt x="248" y="16"/>
                  </a:lnTo>
                  <a:lnTo>
                    <a:pt x="250" y="12"/>
                  </a:lnTo>
                  <a:lnTo>
                    <a:pt x="254" y="12"/>
                  </a:lnTo>
                  <a:lnTo>
                    <a:pt x="254" y="16"/>
                  </a:lnTo>
                  <a:lnTo>
                    <a:pt x="258" y="16"/>
                  </a:lnTo>
                  <a:lnTo>
                    <a:pt x="258" y="12"/>
                  </a:lnTo>
                  <a:lnTo>
                    <a:pt x="254" y="12"/>
                  </a:lnTo>
                  <a:lnTo>
                    <a:pt x="258" y="12"/>
                  </a:lnTo>
                  <a:lnTo>
                    <a:pt x="262" y="12"/>
                  </a:lnTo>
                  <a:lnTo>
                    <a:pt x="266" y="12"/>
                  </a:lnTo>
                  <a:lnTo>
                    <a:pt x="266" y="8"/>
                  </a:lnTo>
                  <a:lnTo>
                    <a:pt x="262" y="8"/>
                  </a:lnTo>
                  <a:lnTo>
                    <a:pt x="266" y="8"/>
                  </a:lnTo>
                  <a:lnTo>
                    <a:pt x="266" y="12"/>
                  </a:lnTo>
                  <a:lnTo>
                    <a:pt x="262" y="12"/>
                  </a:lnTo>
                  <a:lnTo>
                    <a:pt x="262" y="16"/>
                  </a:lnTo>
                  <a:lnTo>
                    <a:pt x="258" y="16"/>
                  </a:lnTo>
                  <a:lnTo>
                    <a:pt x="254" y="16"/>
                  </a:lnTo>
                  <a:lnTo>
                    <a:pt x="250" y="20"/>
                  </a:lnTo>
                  <a:lnTo>
                    <a:pt x="248" y="16"/>
                  </a:lnTo>
                  <a:lnTo>
                    <a:pt x="248" y="20"/>
                  </a:lnTo>
                  <a:lnTo>
                    <a:pt x="248" y="20"/>
                  </a:lnTo>
                  <a:lnTo>
                    <a:pt x="248" y="20"/>
                  </a:lnTo>
                  <a:close/>
                  <a:moveTo>
                    <a:pt x="262" y="22"/>
                  </a:moveTo>
                  <a:lnTo>
                    <a:pt x="258" y="20"/>
                  </a:lnTo>
                  <a:lnTo>
                    <a:pt x="262" y="16"/>
                  </a:lnTo>
                  <a:lnTo>
                    <a:pt x="266" y="16"/>
                  </a:lnTo>
                  <a:lnTo>
                    <a:pt x="270" y="16"/>
                  </a:lnTo>
                  <a:lnTo>
                    <a:pt x="270" y="20"/>
                  </a:lnTo>
                  <a:lnTo>
                    <a:pt x="266" y="20"/>
                  </a:lnTo>
                  <a:lnTo>
                    <a:pt x="266" y="22"/>
                  </a:lnTo>
                  <a:lnTo>
                    <a:pt x="262" y="22"/>
                  </a:lnTo>
                  <a:lnTo>
                    <a:pt x="262" y="22"/>
                  </a:lnTo>
                  <a:lnTo>
                    <a:pt x="262" y="22"/>
                  </a:lnTo>
                  <a:close/>
                  <a:moveTo>
                    <a:pt x="218" y="30"/>
                  </a:moveTo>
                  <a:lnTo>
                    <a:pt x="214" y="30"/>
                  </a:lnTo>
                  <a:lnTo>
                    <a:pt x="214" y="26"/>
                  </a:lnTo>
                  <a:lnTo>
                    <a:pt x="214" y="22"/>
                  </a:lnTo>
                  <a:lnTo>
                    <a:pt x="210" y="22"/>
                  </a:lnTo>
                  <a:lnTo>
                    <a:pt x="214" y="22"/>
                  </a:lnTo>
                  <a:lnTo>
                    <a:pt x="214" y="26"/>
                  </a:lnTo>
                  <a:lnTo>
                    <a:pt x="218" y="26"/>
                  </a:lnTo>
                  <a:lnTo>
                    <a:pt x="218" y="30"/>
                  </a:lnTo>
                  <a:lnTo>
                    <a:pt x="218" y="30"/>
                  </a:lnTo>
                  <a:lnTo>
                    <a:pt x="218" y="30"/>
                  </a:lnTo>
                  <a:close/>
                  <a:moveTo>
                    <a:pt x="224" y="30"/>
                  </a:moveTo>
                  <a:lnTo>
                    <a:pt x="224" y="26"/>
                  </a:lnTo>
                  <a:lnTo>
                    <a:pt x="224" y="30"/>
                  </a:lnTo>
                  <a:lnTo>
                    <a:pt x="224" y="26"/>
                  </a:lnTo>
                  <a:lnTo>
                    <a:pt x="220" y="26"/>
                  </a:lnTo>
                  <a:lnTo>
                    <a:pt x="224" y="26"/>
                  </a:lnTo>
                  <a:lnTo>
                    <a:pt x="224" y="22"/>
                  </a:lnTo>
                  <a:lnTo>
                    <a:pt x="228" y="22"/>
                  </a:lnTo>
                  <a:lnTo>
                    <a:pt x="228" y="26"/>
                  </a:lnTo>
                  <a:lnTo>
                    <a:pt x="228" y="30"/>
                  </a:lnTo>
                  <a:lnTo>
                    <a:pt x="224" y="30"/>
                  </a:lnTo>
                  <a:lnTo>
                    <a:pt x="224" y="30"/>
                  </a:lnTo>
                  <a:lnTo>
                    <a:pt x="224" y="30"/>
                  </a:lnTo>
                  <a:close/>
                  <a:moveTo>
                    <a:pt x="210" y="26"/>
                  </a:moveTo>
                  <a:lnTo>
                    <a:pt x="206" y="26"/>
                  </a:lnTo>
                  <a:lnTo>
                    <a:pt x="210" y="26"/>
                  </a:lnTo>
                  <a:lnTo>
                    <a:pt x="210" y="26"/>
                  </a:lnTo>
                  <a:lnTo>
                    <a:pt x="210" y="26"/>
                  </a:lnTo>
                  <a:close/>
                  <a:moveTo>
                    <a:pt x="206" y="34"/>
                  </a:moveTo>
                  <a:lnTo>
                    <a:pt x="202" y="34"/>
                  </a:lnTo>
                  <a:lnTo>
                    <a:pt x="198" y="34"/>
                  </a:lnTo>
                  <a:lnTo>
                    <a:pt x="198" y="30"/>
                  </a:lnTo>
                  <a:lnTo>
                    <a:pt x="202" y="30"/>
                  </a:lnTo>
                  <a:lnTo>
                    <a:pt x="206" y="30"/>
                  </a:lnTo>
                  <a:lnTo>
                    <a:pt x="206" y="26"/>
                  </a:lnTo>
                  <a:lnTo>
                    <a:pt x="206" y="30"/>
                  </a:lnTo>
                  <a:lnTo>
                    <a:pt x="210" y="30"/>
                  </a:lnTo>
                  <a:lnTo>
                    <a:pt x="214" y="30"/>
                  </a:lnTo>
                  <a:lnTo>
                    <a:pt x="210" y="34"/>
                  </a:lnTo>
                  <a:lnTo>
                    <a:pt x="206" y="34"/>
                  </a:lnTo>
                  <a:lnTo>
                    <a:pt x="206" y="34"/>
                  </a:lnTo>
                  <a:lnTo>
                    <a:pt x="206" y="34"/>
                  </a:lnTo>
                  <a:close/>
                  <a:moveTo>
                    <a:pt x="194" y="38"/>
                  </a:moveTo>
                  <a:lnTo>
                    <a:pt x="198" y="38"/>
                  </a:lnTo>
                  <a:lnTo>
                    <a:pt x="194" y="38"/>
                  </a:lnTo>
                  <a:lnTo>
                    <a:pt x="194" y="34"/>
                  </a:lnTo>
                  <a:lnTo>
                    <a:pt x="194" y="38"/>
                  </a:lnTo>
                  <a:lnTo>
                    <a:pt x="198" y="38"/>
                  </a:lnTo>
                  <a:lnTo>
                    <a:pt x="198" y="34"/>
                  </a:lnTo>
                  <a:lnTo>
                    <a:pt x="202" y="34"/>
                  </a:lnTo>
                  <a:lnTo>
                    <a:pt x="202" y="38"/>
                  </a:lnTo>
                  <a:lnTo>
                    <a:pt x="198" y="38"/>
                  </a:lnTo>
                  <a:lnTo>
                    <a:pt x="198" y="42"/>
                  </a:lnTo>
                  <a:lnTo>
                    <a:pt x="202" y="42"/>
                  </a:lnTo>
                  <a:lnTo>
                    <a:pt x="198" y="42"/>
                  </a:lnTo>
                  <a:lnTo>
                    <a:pt x="194" y="42"/>
                  </a:lnTo>
                  <a:lnTo>
                    <a:pt x="190" y="42"/>
                  </a:lnTo>
                  <a:lnTo>
                    <a:pt x="188" y="42"/>
                  </a:lnTo>
                  <a:lnTo>
                    <a:pt x="190" y="38"/>
                  </a:lnTo>
                  <a:lnTo>
                    <a:pt x="190" y="42"/>
                  </a:lnTo>
                  <a:lnTo>
                    <a:pt x="190" y="38"/>
                  </a:lnTo>
                  <a:lnTo>
                    <a:pt x="194" y="38"/>
                  </a:lnTo>
                  <a:lnTo>
                    <a:pt x="194" y="38"/>
                  </a:lnTo>
                  <a:lnTo>
                    <a:pt x="194" y="38"/>
                  </a:lnTo>
                  <a:close/>
                  <a:moveTo>
                    <a:pt x="172" y="50"/>
                  </a:moveTo>
                  <a:lnTo>
                    <a:pt x="176" y="50"/>
                  </a:lnTo>
                  <a:lnTo>
                    <a:pt x="172" y="50"/>
                  </a:lnTo>
                  <a:lnTo>
                    <a:pt x="176" y="50"/>
                  </a:lnTo>
                  <a:lnTo>
                    <a:pt x="176" y="46"/>
                  </a:lnTo>
                  <a:lnTo>
                    <a:pt x="172" y="46"/>
                  </a:lnTo>
                  <a:lnTo>
                    <a:pt x="176" y="46"/>
                  </a:lnTo>
                  <a:lnTo>
                    <a:pt x="180" y="46"/>
                  </a:lnTo>
                  <a:lnTo>
                    <a:pt x="176" y="46"/>
                  </a:lnTo>
                  <a:lnTo>
                    <a:pt x="176" y="42"/>
                  </a:lnTo>
                  <a:lnTo>
                    <a:pt x="180" y="46"/>
                  </a:lnTo>
                  <a:lnTo>
                    <a:pt x="180" y="42"/>
                  </a:lnTo>
                  <a:lnTo>
                    <a:pt x="184" y="42"/>
                  </a:lnTo>
                  <a:lnTo>
                    <a:pt x="184" y="46"/>
                  </a:lnTo>
                  <a:lnTo>
                    <a:pt x="184" y="42"/>
                  </a:lnTo>
                  <a:lnTo>
                    <a:pt x="180" y="42"/>
                  </a:lnTo>
                  <a:lnTo>
                    <a:pt x="184" y="42"/>
                  </a:lnTo>
                  <a:lnTo>
                    <a:pt x="188" y="42"/>
                  </a:lnTo>
                  <a:lnTo>
                    <a:pt x="190" y="46"/>
                  </a:lnTo>
                  <a:lnTo>
                    <a:pt x="188" y="46"/>
                  </a:lnTo>
                  <a:lnTo>
                    <a:pt x="188" y="50"/>
                  </a:lnTo>
                  <a:lnTo>
                    <a:pt x="188" y="52"/>
                  </a:lnTo>
                  <a:lnTo>
                    <a:pt x="184" y="52"/>
                  </a:lnTo>
                  <a:lnTo>
                    <a:pt x="180" y="50"/>
                  </a:lnTo>
                  <a:lnTo>
                    <a:pt x="180" y="52"/>
                  </a:lnTo>
                  <a:lnTo>
                    <a:pt x="176" y="52"/>
                  </a:lnTo>
                  <a:lnTo>
                    <a:pt x="176" y="56"/>
                  </a:lnTo>
                  <a:lnTo>
                    <a:pt x="176" y="52"/>
                  </a:lnTo>
                  <a:lnTo>
                    <a:pt x="172" y="52"/>
                  </a:lnTo>
                  <a:lnTo>
                    <a:pt x="176" y="52"/>
                  </a:lnTo>
                  <a:lnTo>
                    <a:pt x="176" y="50"/>
                  </a:lnTo>
                  <a:lnTo>
                    <a:pt x="176" y="52"/>
                  </a:lnTo>
                  <a:lnTo>
                    <a:pt x="172" y="50"/>
                  </a:lnTo>
                  <a:lnTo>
                    <a:pt x="172" y="50"/>
                  </a:lnTo>
                  <a:lnTo>
                    <a:pt x="172" y="50"/>
                  </a:lnTo>
                  <a:close/>
                  <a:moveTo>
                    <a:pt x="154" y="60"/>
                  </a:moveTo>
                  <a:lnTo>
                    <a:pt x="154" y="56"/>
                  </a:lnTo>
                  <a:lnTo>
                    <a:pt x="154" y="52"/>
                  </a:lnTo>
                  <a:lnTo>
                    <a:pt x="158" y="52"/>
                  </a:lnTo>
                  <a:lnTo>
                    <a:pt x="158" y="50"/>
                  </a:lnTo>
                  <a:lnTo>
                    <a:pt x="160" y="50"/>
                  </a:lnTo>
                  <a:lnTo>
                    <a:pt x="160" y="52"/>
                  </a:lnTo>
                  <a:lnTo>
                    <a:pt x="158" y="52"/>
                  </a:lnTo>
                  <a:lnTo>
                    <a:pt x="158" y="56"/>
                  </a:lnTo>
                  <a:lnTo>
                    <a:pt x="154" y="56"/>
                  </a:lnTo>
                  <a:lnTo>
                    <a:pt x="154" y="60"/>
                  </a:lnTo>
                  <a:lnTo>
                    <a:pt x="154" y="60"/>
                  </a:lnTo>
                  <a:lnTo>
                    <a:pt x="154" y="60"/>
                  </a:lnTo>
                  <a:close/>
                  <a:moveTo>
                    <a:pt x="138" y="64"/>
                  </a:moveTo>
                  <a:lnTo>
                    <a:pt x="138" y="60"/>
                  </a:lnTo>
                  <a:lnTo>
                    <a:pt x="142" y="60"/>
                  </a:lnTo>
                  <a:lnTo>
                    <a:pt x="146" y="60"/>
                  </a:lnTo>
                  <a:lnTo>
                    <a:pt x="150" y="60"/>
                  </a:lnTo>
                  <a:lnTo>
                    <a:pt x="146" y="60"/>
                  </a:lnTo>
                  <a:lnTo>
                    <a:pt x="146" y="56"/>
                  </a:lnTo>
                  <a:lnTo>
                    <a:pt x="150" y="56"/>
                  </a:lnTo>
                  <a:lnTo>
                    <a:pt x="150" y="60"/>
                  </a:lnTo>
                  <a:lnTo>
                    <a:pt x="150" y="64"/>
                  </a:lnTo>
                  <a:lnTo>
                    <a:pt x="146" y="68"/>
                  </a:lnTo>
                  <a:lnTo>
                    <a:pt x="142" y="68"/>
                  </a:lnTo>
                  <a:lnTo>
                    <a:pt x="142" y="64"/>
                  </a:lnTo>
                  <a:lnTo>
                    <a:pt x="146" y="64"/>
                  </a:lnTo>
                  <a:lnTo>
                    <a:pt x="150" y="64"/>
                  </a:lnTo>
                  <a:lnTo>
                    <a:pt x="146" y="60"/>
                  </a:lnTo>
                  <a:lnTo>
                    <a:pt x="146" y="64"/>
                  </a:lnTo>
                  <a:lnTo>
                    <a:pt x="142" y="64"/>
                  </a:lnTo>
                  <a:lnTo>
                    <a:pt x="138" y="64"/>
                  </a:lnTo>
                  <a:lnTo>
                    <a:pt x="138" y="64"/>
                  </a:lnTo>
                  <a:lnTo>
                    <a:pt x="138" y="64"/>
                  </a:lnTo>
                  <a:close/>
                  <a:moveTo>
                    <a:pt x="168" y="68"/>
                  </a:moveTo>
                  <a:lnTo>
                    <a:pt x="164" y="68"/>
                  </a:lnTo>
                  <a:lnTo>
                    <a:pt x="160" y="68"/>
                  </a:lnTo>
                  <a:lnTo>
                    <a:pt x="160" y="72"/>
                  </a:lnTo>
                  <a:lnTo>
                    <a:pt x="158" y="72"/>
                  </a:lnTo>
                  <a:lnTo>
                    <a:pt x="154" y="72"/>
                  </a:lnTo>
                  <a:lnTo>
                    <a:pt x="150" y="72"/>
                  </a:lnTo>
                  <a:lnTo>
                    <a:pt x="154" y="72"/>
                  </a:lnTo>
                  <a:lnTo>
                    <a:pt x="154" y="68"/>
                  </a:lnTo>
                  <a:lnTo>
                    <a:pt x="154" y="72"/>
                  </a:lnTo>
                  <a:lnTo>
                    <a:pt x="150" y="72"/>
                  </a:lnTo>
                  <a:lnTo>
                    <a:pt x="146" y="76"/>
                  </a:lnTo>
                  <a:lnTo>
                    <a:pt x="146" y="72"/>
                  </a:lnTo>
                  <a:lnTo>
                    <a:pt x="150" y="68"/>
                  </a:lnTo>
                  <a:lnTo>
                    <a:pt x="154" y="64"/>
                  </a:lnTo>
                  <a:lnTo>
                    <a:pt x="158" y="64"/>
                  </a:lnTo>
                  <a:lnTo>
                    <a:pt x="154" y="64"/>
                  </a:lnTo>
                  <a:lnTo>
                    <a:pt x="154" y="60"/>
                  </a:lnTo>
                  <a:lnTo>
                    <a:pt x="154" y="64"/>
                  </a:lnTo>
                  <a:lnTo>
                    <a:pt x="154" y="60"/>
                  </a:lnTo>
                  <a:lnTo>
                    <a:pt x="154" y="56"/>
                  </a:lnTo>
                  <a:lnTo>
                    <a:pt x="158" y="56"/>
                  </a:lnTo>
                  <a:lnTo>
                    <a:pt x="158" y="60"/>
                  </a:lnTo>
                  <a:lnTo>
                    <a:pt x="160" y="60"/>
                  </a:lnTo>
                  <a:lnTo>
                    <a:pt x="160" y="64"/>
                  </a:lnTo>
                  <a:lnTo>
                    <a:pt x="158" y="64"/>
                  </a:lnTo>
                  <a:lnTo>
                    <a:pt x="158" y="68"/>
                  </a:lnTo>
                  <a:lnTo>
                    <a:pt x="158" y="64"/>
                  </a:lnTo>
                  <a:lnTo>
                    <a:pt x="160" y="64"/>
                  </a:lnTo>
                  <a:lnTo>
                    <a:pt x="160" y="60"/>
                  </a:lnTo>
                  <a:lnTo>
                    <a:pt x="164" y="60"/>
                  </a:lnTo>
                  <a:lnTo>
                    <a:pt x="168" y="60"/>
                  </a:lnTo>
                  <a:lnTo>
                    <a:pt x="168" y="64"/>
                  </a:lnTo>
                  <a:lnTo>
                    <a:pt x="168" y="68"/>
                  </a:lnTo>
                  <a:lnTo>
                    <a:pt x="168" y="68"/>
                  </a:lnTo>
                  <a:lnTo>
                    <a:pt x="168" y="68"/>
                  </a:lnTo>
                  <a:close/>
                  <a:moveTo>
                    <a:pt x="134" y="76"/>
                  </a:moveTo>
                  <a:lnTo>
                    <a:pt x="134" y="72"/>
                  </a:lnTo>
                  <a:lnTo>
                    <a:pt x="138" y="72"/>
                  </a:lnTo>
                  <a:lnTo>
                    <a:pt x="142" y="72"/>
                  </a:lnTo>
                  <a:lnTo>
                    <a:pt x="146" y="72"/>
                  </a:lnTo>
                  <a:lnTo>
                    <a:pt x="146" y="68"/>
                  </a:lnTo>
                  <a:lnTo>
                    <a:pt x="150" y="68"/>
                  </a:lnTo>
                  <a:lnTo>
                    <a:pt x="146" y="72"/>
                  </a:lnTo>
                  <a:lnTo>
                    <a:pt x="142" y="76"/>
                  </a:lnTo>
                  <a:lnTo>
                    <a:pt x="138" y="76"/>
                  </a:lnTo>
                  <a:lnTo>
                    <a:pt x="134" y="76"/>
                  </a:lnTo>
                  <a:lnTo>
                    <a:pt x="134" y="76"/>
                  </a:lnTo>
                  <a:lnTo>
                    <a:pt x="134" y="76"/>
                  </a:lnTo>
                  <a:close/>
                  <a:moveTo>
                    <a:pt x="124" y="78"/>
                  </a:moveTo>
                  <a:lnTo>
                    <a:pt x="124" y="76"/>
                  </a:lnTo>
                  <a:lnTo>
                    <a:pt x="128" y="76"/>
                  </a:lnTo>
                  <a:lnTo>
                    <a:pt x="130" y="76"/>
                  </a:lnTo>
                  <a:lnTo>
                    <a:pt x="134" y="76"/>
                  </a:lnTo>
                  <a:lnTo>
                    <a:pt x="130" y="76"/>
                  </a:lnTo>
                  <a:lnTo>
                    <a:pt x="130" y="78"/>
                  </a:lnTo>
                  <a:lnTo>
                    <a:pt x="128" y="78"/>
                  </a:lnTo>
                  <a:lnTo>
                    <a:pt x="124" y="78"/>
                  </a:lnTo>
                  <a:lnTo>
                    <a:pt x="124" y="78"/>
                  </a:lnTo>
                  <a:lnTo>
                    <a:pt x="124" y="78"/>
                  </a:lnTo>
                  <a:close/>
                  <a:moveTo>
                    <a:pt x="108" y="132"/>
                  </a:moveTo>
                  <a:lnTo>
                    <a:pt x="108" y="128"/>
                  </a:lnTo>
                  <a:lnTo>
                    <a:pt x="108" y="124"/>
                  </a:lnTo>
                  <a:lnTo>
                    <a:pt x="112" y="124"/>
                  </a:lnTo>
                  <a:lnTo>
                    <a:pt x="112" y="128"/>
                  </a:lnTo>
                  <a:lnTo>
                    <a:pt x="108" y="128"/>
                  </a:lnTo>
                  <a:lnTo>
                    <a:pt x="108" y="132"/>
                  </a:lnTo>
                  <a:lnTo>
                    <a:pt x="108" y="132"/>
                  </a:lnTo>
                  <a:lnTo>
                    <a:pt x="108" y="132"/>
                  </a:lnTo>
                  <a:close/>
                  <a:moveTo>
                    <a:pt x="108" y="132"/>
                  </a:moveTo>
                  <a:lnTo>
                    <a:pt x="112" y="132"/>
                  </a:lnTo>
                  <a:lnTo>
                    <a:pt x="112" y="128"/>
                  </a:lnTo>
                  <a:lnTo>
                    <a:pt x="116" y="128"/>
                  </a:lnTo>
                  <a:lnTo>
                    <a:pt x="116" y="132"/>
                  </a:lnTo>
                  <a:lnTo>
                    <a:pt x="112" y="132"/>
                  </a:lnTo>
                  <a:lnTo>
                    <a:pt x="108" y="132"/>
                  </a:lnTo>
                  <a:lnTo>
                    <a:pt x="108" y="132"/>
                  </a:lnTo>
                  <a:lnTo>
                    <a:pt x="108" y="132"/>
                  </a:lnTo>
                  <a:close/>
                  <a:moveTo>
                    <a:pt x="52" y="188"/>
                  </a:moveTo>
                  <a:lnTo>
                    <a:pt x="48" y="188"/>
                  </a:lnTo>
                  <a:lnTo>
                    <a:pt x="48" y="184"/>
                  </a:lnTo>
                  <a:lnTo>
                    <a:pt x="52" y="184"/>
                  </a:lnTo>
                  <a:lnTo>
                    <a:pt x="56" y="184"/>
                  </a:lnTo>
                  <a:lnTo>
                    <a:pt x="60" y="184"/>
                  </a:lnTo>
                  <a:lnTo>
                    <a:pt x="56" y="184"/>
                  </a:lnTo>
                  <a:lnTo>
                    <a:pt x="56" y="188"/>
                  </a:lnTo>
                  <a:lnTo>
                    <a:pt x="52" y="188"/>
                  </a:lnTo>
                  <a:lnTo>
                    <a:pt x="52" y="188"/>
                  </a:lnTo>
                  <a:lnTo>
                    <a:pt x="52" y="188"/>
                  </a:lnTo>
                  <a:close/>
                  <a:moveTo>
                    <a:pt x="52" y="192"/>
                  </a:moveTo>
                  <a:lnTo>
                    <a:pt x="48" y="192"/>
                  </a:lnTo>
                  <a:lnTo>
                    <a:pt x="52" y="192"/>
                  </a:lnTo>
                  <a:lnTo>
                    <a:pt x="52" y="188"/>
                  </a:lnTo>
                  <a:lnTo>
                    <a:pt x="56" y="188"/>
                  </a:lnTo>
                  <a:lnTo>
                    <a:pt x="60" y="188"/>
                  </a:lnTo>
                  <a:lnTo>
                    <a:pt x="64" y="188"/>
                  </a:lnTo>
                  <a:lnTo>
                    <a:pt x="60" y="188"/>
                  </a:lnTo>
                  <a:lnTo>
                    <a:pt x="60" y="192"/>
                  </a:lnTo>
                  <a:lnTo>
                    <a:pt x="56" y="192"/>
                  </a:lnTo>
                  <a:lnTo>
                    <a:pt x="52" y="192"/>
                  </a:lnTo>
                  <a:lnTo>
                    <a:pt x="52" y="192"/>
                  </a:lnTo>
                  <a:lnTo>
                    <a:pt x="52" y="192"/>
                  </a:lnTo>
                  <a:close/>
                  <a:moveTo>
                    <a:pt x="44" y="194"/>
                  </a:moveTo>
                  <a:lnTo>
                    <a:pt x="44" y="192"/>
                  </a:lnTo>
                  <a:lnTo>
                    <a:pt x="48" y="192"/>
                  </a:lnTo>
                  <a:lnTo>
                    <a:pt x="48" y="194"/>
                  </a:lnTo>
                  <a:lnTo>
                    <a:pt x="44" y="194"/>
                  </a:lnTo>
                  <a:lnTo>
                    <a:pt x="44" y="194"/>
                  </a:lnTo>
                  <a:lnTo>
                    <a:pt x="44" y="194"/>
                  </a:lnTo>
                  <a:close/>
                  <a:moveTo>
                    <a:pt x="8" y="258"/>
                  </a:moveTo>
                  <a:lnTo>
                    <a:pt x="4" y="258"/>
                  </a:lnTo>
                  <a:lnTo>
                    <a:pt x="4" y="254"/>
                  </a:lnTo>
                  <a:lnTo>
                    <a:pt x="0" y="254"/>
                  </a:lnTo>
                  <a:lnTo>
                    <a:pt x="4" y="254"/>
                  </a:lnTo>
                  <a:lnTo>
                    <a:pt x="4" y="258"/>
                  </a:lnTo>
                  <a:lnTo>
                    <a:pt x="8" y="258"/>
                  </a:lnTo>
                  <a:lnTo>
                    <a:pt x="8" y="258"/>
                  </a:lnTo>
                  <a:lnTo>
                    <a:pt x="8" y="258"/>
                  </a:lnTo>
                  <a:close/>
                  <a:moveTo>
                    <a:pt x="8" y="258"/>
                  </a:moveTo>
                  <a:lnTo>
                    <a:pt x="4" y="258"/>
                  </a:lnTo>
                  <a:lnTo>
                    <a:pt x="8" y="258"/>
                  </a:lnTo>
                  <a:lnTo>
                    <a:pt x="8" y="258"/>
                  </a:lnTo>
                  <a:lnTo>
                    <a:pt x="8" y="258"/>
                  </a:lnTo>
                  <a:close/>
                  <a:moveTo>
                    <a:pt x="8" y="262"/>
                  </a:moveTo>
                  <a:lnTo>
                    <a:pt x="4" y="262"/>
                  </a:lnTo>
                  <a:lnTo>
                    <a:pt x="4" y="258"/>
                  </a:lnTo>
                  <a:lnTo>
                    <a:pt x="8" y="258"/>
                  </a:lnTo>
                  <a:lnTo>
                    <a:pt x="8" y="262"/>
                  </a:lnTo>
                  <a:lnTo>
                    <a:pt x="8" y="262"/>
                  </a:lnTo>
                  <a:lnTo>
                    <a:pt x="8" y="262"/>
                  </a:lnTo>
                  <a:close/>
                  <a:moveTo>
                    <a:pt x="4" y="264"/>
                  </a:moveTo>
                  <a:lnTo>
                    <a:pt x="4" y="262"/>
                  </a:lnTo>
                  <a:lnTo>
                    <a:pt x="4" y="264"/>
                  </a:lnTo>
                  <a:lnTo>
                    <a:pt x="4" y="264"/>
                  </a:lnTo>
                  <a:lnTo>
                    <a:pt x="4" y="264"/>
                  </a:lnTo>
                  <a:close/>
                  <a:moveTo>
                    <a:pt x="12" y="272"/>
                  </a:moveTo>
                  <a:lnTo>
                    <a:pt x="8" y="272"/>
                  </a:lnTo>
                  <a:lnTo>
                    <a:pt x="12" y="268"/>
                  </a:lnTo>
                  <a:lnTo>
                    <a:pt x="12" y="272"/>
                  </a:lnTo>
                  <a:lnTo>
                    <a:pt x="12" y="272"/>
                  </a:lnTo>
                  <a:lnTo>
                    <a:pt x="12" y="272"/>
                  </a:lnTo>
                  <a:close/>
                  <a:moveTo>
                    <a:pt x="8" y="276"/>
                  </a:moveTo>
                  <a:lnTo>
                    <a:pt x="8" y="272"/>
                  </a:lnTo>
                  <a:lnTo>
                    <a:pt x="12" y="272"/>
                  </a:lnTo>
                  <a:lnTo>
                    <a:pt x="12" y="276"/>
                  </a:lnTo>
                  <a:lnTo>
                    <a:pt x="8" y="276"/>
                  </a:lnTo>
                  <a:lnTo>
                    <a:pt x="8" y="276"/>
                  </a:lnTo>
                  <a:lnTo>
                    <a:pt x="8" y="276"/>
                  </a:lnTo>
                  <a:close/>
                  <a:moveTo>
                    <a:pt x="8" y="280"/>
                  </a:moveTo>
                  <a:lnTo>
                    <a:pt x="4" y="280"/>
                  </a:lnTo>
                  <a:lnTo>
                    <a:pt x="4" y="276"/>
                  </a:lnTo>
                  <a:lnTo>
                    <a:pt x="4" y="272"/>
                  </a:lnTo>
                  <a:lnTo>
                    <a:pt x="8" y="272"/>
                  </a:lnTo>
                  <a:lnTo>
                    <a:pt x="8" y="276"/>
                  </a:lnTo>
                  <a:lnTo>
                    <a:pt x="8" y="280"/>
                  </a:lnTo>
                  <a:lnTo>
                    <a:pt x="8" y="280"/>
                  </a:lnTo>
                  <a:lnTo>
                    <a:pt x="8" y="280"/>
                  </a:lnTo>
                  <a:close/>
                  <a:moveTo>
                    <a:pt x="8" y="292"/>
                  </a:moveTo>
                  <a:lnTo>
                    <a:pt x="4" y="288"/>
                  </a:lnTo>
                  <a:lnTo>
                    <a:pt x="8" y="288"/>
                  </a:lnTo>
                  <a:lnTo>
                    <a:pt x="8" y="284"/>
                  </a:lnTo>
                  <a:lnTo>
                    <a:pt x="8" y="288"/>
                  </a:lnTo>
                  <a:lnTo>
                    <a:pt x="8" y="292"/>
                  </a:lnTo>
                  <a:lnTo>
                    <a:pt x="8" y="292"/>
                  </a:lnTo>
                  <a:lnTo>
                    <a:pt x="8" y="29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24" name="Freeform 117"/>
            <p:cNvSpPr>
              <a:spLocks/>
            </p:cNvSpPr>
            <p:nvPr/>
          </p:nvSpPr>
          <p:spPr bwMode="auto">
            <a:xfrm>
              <a:off x="7167137" y="3496191"/>
              <a:ext cx="89173" cy="81070"/>
            </a:xfrm>
            <a:custGeom>
              <a:avLst/>
              <a:gdLst>
                <a:gd name="T0" fmla="*/ 118 w 142"/>
                <a:gd name="T1" fmla="*/ 120 h 124"/>
                <a:gd name="T2" fmla="*/ 116 w 142"/>
                <a:gd name="T3" fmla="*/ 124 h 124"/>
                <a:gd name="T4" fmla="*/ 104 w 142"/>
                <a:gd name="T5" fmla="*/ 116 h 124"/>
                <a:gd name="T6" fmla="*/ 96 w 142"/>
                <a:gd name="T7" fmla="*/ 120 h 124"/>
                <a:gd name="T8" fmla="*/ 90 w 142"/>
                <a:gd name="T9" fmla="*/ 116 h 124"/>
                <a:gd name="T10" fmla="*/ 78 w 142"/>
                <a:gd name="T11" fmla="*/ 120 h 124"/>
                <a:gd name="T12" fmla="*/ 74 w 142"/>
                <a:gd name="T13" fmla="*/ 112 h 124"/>
                <a:gd name="T14" fmla="*/ 66 w 142"/>
                <a:gd name="T15" fmla="*/ 116 h 124"/>
                <a:gd name="T16" fmla="*/ 62 w 142"/>
                <a:gd name="T17" fmla="*/ 108 h 124"/>
                <a:gd name="T18" fmla="*/ 56 w 142"/>
                <a:gd name="T19" fmla="*/ 104 h 124"/>
                <a:gd name="T20" fmla="*/ 48 w 142"/>
                <a:gd name="T21" fmla="*/ 102 h 124"/>
                <a:gd name="T22" fmla="*/ 40 w 142"/>
                <a:gd name="T23" fmla="*/ 98 h 124"/>
                <a:gd name="T24" fmla="*/ 36 w 142"/>
                <a:gd name="T25" fmla="*/ 98 h 124"/>
                <a:gd name="T26" fmla="*/ 36 w 142"/>
                <a:gd name="T27" fmla="*/ 102 h 124"/>
                <a:gd name="T28" fmla="*/ 30 w 142"/>
                <a:gd name="T29" fmla="*/ 98 h 124"/>
                <a:gd name="T30" fmla="*/ 26 w 142"/>
                <a:gd name="T31" fmla="*/ 90 h 124"/>
                <a:gd name="T32" fmla="*/ 14 w 142"/>
                <a:gd name="T33" fmla="*/ 86 h 124"/>
                <a:gd name="T34" fmla="*/ 10 w 142"/>
                <a:gd name="T35" fmla="*/ 86 h 124"/>
                <a:gd name="T36" fmla="*/ 10 w 142"/>
                <a:gd name="T37" fmla="*/ 78 h 124"/>
                <a:gd name="T38" fmla="*/ 6 w 142"/>
                <a:gd name="T39" fmla="*/ 72 h 124"/>
                <a:gd name="T40" fmla="*/ 6 w 142"/>
                <a:gd name="T41" fmla="*/ 64 h 124"/>
                <a:gd name="T42" fmla="*/ 4 w 142"/>
                <a:gd name="T43" fmla="*/ 56 h 124"/>
                <a:gd name="T44" fmla="*/ 6 w 142"/>
                <a:gd name="T45" fmla="*/ 48 h 124"/>
                <a:gd name="T46" fmla="*/ 0 w 142"/>
                <a:gd name="T47" fmla="*/ 46 h 124"/>
                <a:gd name="T48" fmla="*/ 4 w 142"/>
                <a:gd name="T49" fmla="*/ 34 h 124"/>
                <a:gd name="T50" fmla="*/ 4 w 142"/>
                <a:gd name="T51" fmla="*/ 26 h 124"/>
                <a:gd name="T52" fmla="*/ 0 w 142"/>
                <a:gd name="T53" fmla="*/ 20 h 124"/>
                <a:gd name="T54" fmla="*/ 4 w 142"/>
                <a:gd name="T55" fmla="*/ 20 h 124"/>
                <a:gd name="T56" fmla="*/ 14 w 142"/>
                <a:gd name="T57" fmla="*/ 16 h 124"/>
                <a:gd name="T58" fmla="*/ 26 w 142"/>
                <a:gd name="T59" fmla="*/ 16 h 124"/>
                <a:gd name="T60" fmla="*/ 32 w 142"/>
                <a:gd name="T61" fmla="*/ 8 h 124"/>
                <a:gd name="T62" fmla="*/ 44 w 142"/>
                <a:gd name="T63" fmla="*/ 4 h 124"/>
                <a:gd name="T64" fmla="*/ 52 w 142"/>
                <a:gd name="T65" fmla="*/ 0 h 124"/>
                <a:gd name="T66" fmla="*/ 62 w 142"/>
                <a:gd name="T67" fmla="*/ 4 h 124"/>
                <a:gd name="T68" fmla="*/ 60 w 142"/>
                <a:gd name="T69" fmla="*/ 4 h 124"/>
                <a:gd name="T70" fmla="*/ 66 w 142"/>
                <a:gd name="T71" fmla="*/ 12 h 124"/>
                <a:gd name="T72" fmla="*/ 74 w 142"/>
                <a:gd name="T73" fmla="*/ 8 h 124"/>
                <a:gd name="T74" fmla="*/ 74 w 142"/>
                <a:gd name="T75" fmla="*/ 12 h 124"/>
                <a:gd name="T76" fmla="*/ 78 w 142"/>
                <a:gd name="T77" fmla="*/ 12 h 124"/>
                <a:gd name="T78" fmla="*/ 90 w 142"/>
                <a:gd name="T79" fmla="*/ 12 h 124"/>
                <a:gd name="T80" fmla="*/ 100 w 142"/>
                <a:gd name="T81" fmla="*/ 12 h 124"/>
                <a:gd name="T82" fmla="*/ 112 w 142"/>
                <a:gd name="T83" fmla="*/ 12 h 124"/>
                <a:gd name="T84" fmla="*/ 122 w 142"/>
                <a:gd name="T85" fmla="*/ 12 h 124"/>
                <a:gd name="T86" fmla="*/ 130 w 142"/>
                <a:gd name="T87" fmla="*/ 20 h 124"/>
                <a:gd name="T88" fmla="*/ 134 w 142"/>
                <a:gd name="T89" fmla="*/ 26 h 124"/>
                <a:gd name="T90" fmla="*/ 138 w 142"/>
                <a:gd name="T91" fmla="*/ 38 h 124"/>
                <a:gd name="T92" fmla="*/ 138 w 142"/>
                <a:gd name="T93" fmla="*/ 48 h 124"/>
                <a:gd name="T94" fmla="*/ 130 w 142"/>
                <a:gd name="T95" fmla="*/ 52 h 124"/>
                <a:gd name="T96" fmla="*/ 130 w 142"/>
                <a:gd name="T97" fmla="*/ 56 h 124"/>
                <a:gd name="T98" fmla="*/ 130 w 142"/>
                <a:gd name="T99" fmla="*/ 68 h 124"/>
                <a:gd name="T100" fmla="*/ 134 w 142"/>
                <a:gd name="T101" fmla="*/ 74 h 124"/>
                <a:gd name="T102" fmla="*/ 138 w 142"/>
                <a:gd name="T103" fmla="*/ 86 h 124"/>
                <a:gd name="T104" fmla="*/ 138 w 142"/>
                <a:gd name="T105" fmla="*/ 90 h 124"/>
                <a:gd name="T106" fmla="*/ 134 w 142"/>
                <a:gd name="T107" fmla="*/ 94 h 124"/>
                <a:gd name="T108" fmla="*/ 130 w 142"/>
                <a:gd name="T109" fmla="*/ 102 h 124"/>
                <a:gd name="T110" fmla="*/ 118 w 142"/>
                <a:gd name="T111" fmla="*/ 1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2" h="124">
                  <a:moveTo>
                    <a:pt x="118" y="112"/>
                  </a:moveTo>
                  <a:lnTo>
                    <a:pt x="118" y="116"/>
                  </a:lnTo>
                  <a:lnTo>
                    <a:pt x="118" y="120"/>
                  </a:lnTo>
                  <a:lnTo>
                    <a:pt x="122" y="124"/>
                  </a:lnTo>
                  <a:lnTo>
                    <a:pt x="118" y="124"/>
                  </a:lnTo>
                  <a:lnTo>
                    <a:pt x="116" y="124"/>
                  </a:lnTo>
                  <a:lnTo>
                    <a:pt x="112" y="120"/>
                  </a:lnTo>
                  <a:lnTo>
                    <a:pt x="108" y="116"/>
                  </a:lnTo>
                  <a:lnTo>
                    <a:pt x="104" y="116"/>
                  </a:lnTo>
                  <a:lnTo>
                    <a:pt x="100" y="116"/>
                  </a:lnTo>
                  <a:lnTo>
                    <a:pt x="96" y="116"/>
                  </a:lnTo>
                  <a:lnTo>
                    <a:pt x="96" y="120"/>
                  </a:lnTo>
                  <a:lnTo>
                    <a:pt x="92" y="120"/>
                  </a:lnTo>
                  <a:lnTo>
                    <a:pt x="92" y="116"/>
                  </a:lnTo>
                  <a:lnTo>
                    <a:pt x="90" y="116"/>
                  </a:lnTo>
                  <a:lnTo>
                    <a:pt x="86" y="116"/>
                  </a:lnTo>
                  <a:lnTo>
                    <a:pt x="82" y="120"/>
                  </a:lnTo>
                  <a:lnTo>
                    <a:pt x="78" y="120"/>
                  </a:lnTo>
                  <a:lnTo>
                    <a:pt x="78" y="116"/>
                  </a:lnTo>
                  <a:lnTo>
                    <a:pt x="74" y="116"/>
                  </a:lnTo>
                  <a:lnTo>
                    <a:pt x="74" y="112"/>
                  </a:lnTo>
                  <a:lnTo>
                    <a:pt x="70" y="112"/>
                  </a:lnTo>
                  <a:lnTo>
                    <a:pt x="70" y="116"/>
                  </a:lnTo>
                  <a:lnTo>
                    <a:pt x="66" y="116"/>
                  </a:lnTo>
                  <a:lnTo>
                    <a:pt x="66" y="112"/>
                  </a:lnTo>
                  <a:lnTo>
                    <a:pt x="62" y="112"/>
                  </a:lnTo>
                  <a:lnTo>
                    <a:pt x="62" y="108"/>
                  </a:lnTo>
                  <a:lnTo>
                    <a:pt x="62" y="104"/>
                  </a:lnTo>
                  <a:lnTo>
                    <a:pt x="60" y="104"/>
                  </a:lnTo>
                  <a:lnTo>
                    <a:pt x="56" y="104"/>
                  </a:lnTo>
                  <a:lnTo>
                    <a:pt x="56" y="102"/>
                  </a:lnTo>
                  <a:lnTo>
                    <a:pt x="52" y="104"/>
                  </a:lnTo>
                  <a:lnTo>
                    <a:pt x="48" y="102"/>
                  </a:lnTo>
                  <a:lnTo>
                    <a:pt x="48" y="98"/>
                  </a:lnTo>
                  <a:lnTo>
                    <a:pt x="44" y="98"/>
                  </a:lnTo>
                  <a:lnTo>
                    <a:pt x="40" y="98"/>
                  </a:lnTo>
                  <a:lnTo>
                    <a:pt x="40" y="94"/>
                  </a:lnTo>
                  <a:lnTo>
                    <a:pt x="36" y="94"/>
                  </a:lnTo>
                  <a:lnTo>
                    <a:pt x="36" y="98"/>
                  </a:lnTo>
                  <a:lnTo>
                    <a:pt x="40" y="102"/>
                  </a:lnTo>
                  <a:lnTo>
                    <a:pt x="36" y="98"/>
                  </a:lnTo>
                  <a:lnTo>
                    <a:pt x="36" y="102"/>
                  </a:lnTo>
                  <a:lnTo>
                    <a:pt x="32" y="102"/>
                  </a:lnTo>
                  <a:lnTo>
                    <a:pt x="32" y="98"/>
                  </a:lnTo>
                  <a:lnTo>
                    <a:pt x="30" y="98"/>
                  </a:lnTo>
                  <a:lnTo>
                    <a:pt x="30" y="94"/>
                  </a:lnTo>
                  <a:lnTo>
                    <a:pt x="30" y="90"/>
                  </a:lnTo>
                  <a:lnTo>
                    <a:pt x="26" y="90"/>
                  </a:lnTo>
                  <a:lnTo>
                    <a:pt x="22" y="90"/>
                  </a:lnTo>
                  <a:lnTo>
                    <a:pt x="18" y="86"/>
                  </a:lnTo>
                  <a:lnTo>
                    <a:pt x="14" y="86"/>
                  </a:lnTo>
                  <a:lnTo>
                    <a:pt x="14" y="82"/>
                  </a:lnTo>
                  <a:lnTo>
                    <a:pt x="10" y="82"/>
                  </a:lnTo>
                  <a:lnTo>
                    <a:pt x="10" y="86"/>
                  </a:lnTo>
                  <a:lnTo>
                    <a:pt x="6" y="86"/>
                  </a:lnTo>
                  <a:lnTo>
                    <a:pt x="10" y="82"/>
                  </a:lnTo>
                  <a:lnTo>
                    <a:pt x="10" y="78"/>
                  </a:lnTo>
                  <a:lnTo>
                    <a:pt x="10" y="74"/>
                  </a:lnTo>
                  <a:lnTo>
                    <a:pt x="10" y="72"/>
                  </a:lnTo>
                  <a:lnTo>
                    <a:pt x="6" y="72"/>
                  </a:lnTo>
                  <a:lnTo>
                    <a:pt x="6" y="68"/>
                  </a:lnTo>
                  <a:lnTo>
                    <a:pt x="4" y="64"/>
                  </a:lnTo>
                  <a:lnTo>
                    <a:pt x="6" y="64"/>
                  </a:lnTo>
                  <a:lnTo>
                    <a:pt x="6" y="60"/>
                  </a:lnTo>
                  <a:lnTo>
                    <a:pt x="6" y="56"/>
                  </a:lnTo>
                  <a:lnTo>
                    <a:pt x="4" y="56"/>
                  </a:lnTo>
                  <a:lnTo>
                    <a:pt x="4" y="52"/>
                  </a:lnTo>
                  <a:lnTo>
                    <a:pt x="6" y="52"/>
                  </a:lnTo>
                  <a:lnTo>
                    <a:pt x="6" y="48"/>
                  </a:lnTo>
                  <a:lnTo>
                    <a:pt x="4" y="48"/>
                  </a:lnTo>
                  <a:lnTo>
                    <a:pt x="4" y="46"/>
                  </a:lnTo>
                  <a:lnTo>
                    <a:pt x="0" y="46"/>
                  </a:lnTo>
                  <a:lnTo>
                    <a:pt x="0" y="42"/>
                  </a:lnTo>
                  <a:lnTo>
                    <a:pt x="4" y="38"/>
                  </a:lnTo>
                  <a:lnTo>
                    <a:pt x="4" y="34"/>
                  </a:lnTo>
                  <a:lnTo>
                    <a:pt x="0" y="30"/>
                  </a:lnTo>
                  <a:lnTo>
                    <a:pt x="0" y="26"/>
                  </a:lnTo>
                  <a:lnTo>
                    <a:pt x="4" y="26"/>
                  </a:lnTo>
                  <a:lnTo>
                    <a:pt x="4" y="22"/>
                  </a:lnTo>
                  <a:lnTo>
                    <a:pt x="0" y="22"/>
                  </a:lnTo>
                  <a:lnTo>
                    <a:pt x="0" y="20"/>
                  </a:lnTo>
                  <a:lnTo>
                    <a:pt x="0" y="22"/>
                  </a:lnTo>
                  <a:lnTo>
                    <a:pt x="4" y="22"/>
                  </a:lnTo>
                  <a:lnTo>
                    <a:pt x="4" y="20"/>
                  </a:lnTo>
                  <a:lnTo>
                    <a:pt x="6" y="20"/>
                  </a:lnTo>
                  <a:lnTo>
                    <a:pt x="10" y="20"/>
                  </a:lnTo>
                  <a:lnTo>
                    <a:pt x="14" y="16"/>
                  </a:lnTo>
                  <a:lnTo>
                    <a:pt x="18" y="16"/>
                  </a:lnTo>
                  <a:lnTo>
                    <a:pt x="22" y="16"/>
                  </a:lnTo>
                  <a:lnTo>
                    <a:pt x="26" y="16"/>
                  </a:lnTo>
                  <a:lnTo>
                    <a:pt x="30" y="12"/>
                  </a:lnTo>
                  <a:lnTo>
                    <a:pt x="30" y="8"/>
                  </a:lnTo>
                  <a:lnTo>
                    <a:pt x="32" y="8"/>
                  </a:lnTo>
                  <a:lnTo>
                    <a:pt x="36" y="8"/>
                  </a:lnTo>
                  <a:lnTo>
                    <a:pt x="40" y="4"/>
                  </a:lnTo>
                  <a:lnTo>
                    <a:pt x="44" y="4"/>
                  </a:lnTo>
                  <a:lnTo>
                    <a:pt x="48" y="4"/>
                  </a:lnTo>
                  <a:lnTo>
                    <a:pt x="48" y="0"/>
                  </a:lnTo>
                  <a:lnTo>
                    <a:pt x="52" y="0"/>
                  </a:lnTo>
                  <a:lnTo>
                    <a:pt x="60" y="0"/>
                  </a:lnTo>
                  <a:lnTo>
                    <a:pt x="60" y="4"/>
                  </a:lnTo>
                  <a:lnTo>
                    <a:pt x="62" y="4"/>
                  </a:lnTo>
                  <a:lnTo>
                    <a:pt x="62" y="8"/>
                  </a:lnTo>
                  <a:lnTo>
                    <a:pt x="62" y="4"/>
                  </a:lnTo>
                  <a:lnTo>
                    <a:pt x="60" y="4"/>
                  </a:lnTo>
                  <a:lnTo>
                    <a:pt x="60" y="8"/>
                  </a:lnTo>
                  <a:lnTo>
                    <a:pt x="62" y="12"/>
                  </a:lnTo>
                  <a:lnTo>
                    <a:pt x="66" y="12"/>
                  </a:lnTo>
                  <a:lnTo>
                    <a:pt x="70" y="12"/>
                  </a:lnTo>
                  <a:lnTo>
                    <a:pt x="74" y="12"/>
                  </a:lnTo>
                  <a:lnTo>
                    <a:pt x="74" y="8"/>
                  </a:lnTo>
                  <a:lnTo>
                    <a:pt x="78" y="8"/>
                  </a:lnTo>
                  <a:lnTo>
                    <a:pt x="74" y="8"/>
                  </a:lnTo>
                  <a:lnTo>
                    <a:pt x="74" y="12"/>
                  </a:lnTo>
                  <a:lnTo>
                    <a:pt x="70" y="12"/>
                  </a:lnTo>
                  <a:lnTo>
                    <a:pt x="74" y="12"/>
                  </a:lnTo>
                  <a:lnTo>
                    <a:pt x="78" y="12"/>
                  </a:lnTo>
                  <a:lnTo>
                    <a:pt x="82" y="12"/>
                  </a:lnTo>
                  <a:lnTo>
                    <a:pt x="86" y="12"/>
                  </a:lnTo>
                  <a:lnTo>
                    <a:pt x="90" y="12"/>
                  </a:lnTo>
                  <a:lnTo>
                    <a:pt x="92" y="12"/>
                  </a:lnTo>
                  <a:lnTo>
                    <a:pt x="96" y="12"/>
                  </a:lnTo>
                  <a:lnTo>
                    <a:pt x="100" y="12"/>
                  </a:lnTo>
                  <a:lnTo>
                    <a:pt x="104" y="12"/>
                  </a:lnTo>
                  <a:lnTo>
                    <a:pt x="108" y="12"/>
                  </a:lnTo>
                  <a:lnTo>
                    <a:pt x="112" y="12"/>
                  </a:lnTo>
                  <a:lnTo>
                    <a:pt x="116" y="12"/>
                  </a:lnTo>
                  <a:lnTo>
                    <a:pt x="118" y="12"/>
                  </a:lnTo>
                  <a:lnTo>
                    <a:pt x="122" y="12"/>
                  </a:lnTo>
                  <a:lnTo>
                    <a:pt x="126" y="12"/>
                  </a:lnTo>
                  <a:lnTo>
                    <a:pt x="130" y="16"/>
                  </a:lnTo>
                  <a:lnTo>
                    <a:pt x="130" y="20"/>
                  </a:lnTo>
                  <a:lnTo>
                    <a:pt x="130" y="22"/>
                  </a:lnTo>
                  <a:lnTo>
                    <a:pt x="130" y="26"/>
                  </a:lnTo>
                  <a:lnTo>
                    <a:pt x="134" y="26"/>
                  </a:lnTo>
                  <a:lnTo>
                    <a:pt x="134" y="30"/>
                  </a:lnTo>
                  <a:lnTo>
                    <a:pt x="134" y="34"/>
                  </a:lnTo>
                  <a:lnTo>
                    <a:pt x="138" y="38"/>
                  </a:lnTo>
                  <a:lnTo>
                    <a:pt x="138" y="42"/>
                  </a:lnTo>
                  <a:lnTo>
                    <a:pt x="138" y="46"/>
                  </a:lnTo>
                  <a:lnTo>
                    <a:pt x="138" y="48"/>
                  </a:lnTo>
                  <a:lnTo>
                    <a:pt x="134" y="48"/>
                  </a:lnTo>
                  <a:lnTo>
                    <a:pt x="130" y="48"/>
                  </a:lnTo>
                  <a:lnTo>
                    <a:pt x="130" y="52"/>
                  </a:lnTo>
                  <a:lnTo>
                    <a:pt x="126" y="52"/>
                  </a:lnTo>
                  <a:lnTo>
                    <a:pt x="126" y="56"/>
                  </a:lnTo>
                  <a:lnTo>
                    <a:pt x="130" y="56"/>
                  </a:lnTo>
                  <a:lnTo>
                    <a:pt x="134" y="60"/>
                  </a:lnTo>
                  <a:lnTo>
                    <a:pt x="134" y="64"/>
                  </a:lnTo>
                  <a:lnTo>
                    <a:pt x="130" y="68"/>
                  </a:lnTo>
                  <a:lnTo>
                    <a:pt x="130" y="72"/>
                  </a:lnTo>
                  <a:lnTo>
                    <a:pt x="134" y="72"/>
                  </a:lnTo>
                  <a:lnTo>
                    <a:pt x="134" y="74"/>
                  </a:lnTo>
                  <a:lnTo>
                    <a:pt x="134" y="78"/>
                  </a:lnTo>
                  <a:lnTo>
                    <a:pt x="138" y="82"/>
                  </a:lnTo>
                  <a:lnTo>
                    <a:pt x="138" y="86"/>
                  </a:lnTo>
                  <a:lnTo>
                    <a:pt x="142" y="86"/>
                  </a:lnTo>
                  <a:lnTo>
                    <a:pt x="138" y="86"/>
                  </a:lnTo>
                  <a:lnTo>
                    <a:pt x="138" y="90"/>
                  </a:lnTo>
                  <a:lnTo>
                    <a:pt x="142" y="94"/>
                  </a:lnTo>
                  <a:lnTo>
                    <a:pt x="138" y="94"/>
                  </a:lnTo>
                  <a:lnTo>
                    <a:pt x="134" y="94"/>
                  </a:lnTo>
                  <a:lnTo>
                    <a:pt x="134" y="98"/>
                  </a:lnTo>
                  <a:lnTo>
                    <a:pt x="130" y="98"/>
                  </a:lnTo>
                  <a:lnTo>
                    <a:pt x="130" y="102"/>
                  </a:lnTo>
                  <a:lnTo>
                    <a:pt x="126" y="102"/>
                  </a:lnTo>
                  <a:lnTo>
                    <a:pt x="126" y="104"/>
                  </a:lnTo>
                  <a:lnTo>
                    <a:pt x="118" y="112"/>
                  </a:lnTo>
                  <a:lnTo>
                    <a:pt x="118" y="112"/>
                  </a:lnTo>
                  <a:lnTo>
                    <a:pt x="118" y="11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25" name="Freeform 118"/>
            <p:cNvSpPr>
              <a:spLocks/>
            </p:cNvSpPr>
            <p:nvPr/>
          </p:nvSpPr>
          <p:spPr bwMode="auto">
            <a:xfrm>
              <a:off x="7219887" y="3586414"/>
              <a:ext cx="84149" cy="61456"/>
            </a:xfrm>
            <a:custGeom>
              <a:avLst/>
              <a:gdLst>
                <a:gd name="T0" fmla="*/ 56 w 134"/>
                <a:gd name="T1" fmla="*/ 94 h 94"/>
                <a:gd name="T2" fmla="*/ 46 w 134"/>
                <a:gd name="T3" fmla="*/ 90 h 94"/>
                <a:gd name="T4" fmla="*/ 42 w 134"/>
                <a:gd name="T5" fmla="*/ 90 h 94"/>
                <a:gd name="T6" fmla="*/ 38 w 134"/>
                <a:gd name="T7" fmla="*/ 86 h 94"/>
                <a:gd name="T8" fmla="*/ 38 w 134"/>
                <a:gd name="T9" fmla="*/ 86 h 94"/>
                <a:gd name="T10" fmla="*/ 34 w 134"/>
                <a:gd name="T11" fmla="*/ 82 h 94"/>
                <a:gd name="T12" fmla="*/ 34 w 134"/>
                <a:gd name="T13" fmla="*/ 78 h 94"/>
                <a:gd name="T14" fmla="*/ 34 w 134"/>
                <a:gd name="T15" fmla="*/ 76 h 94"/>
                <a:gd name="T16" fmla="*/ 26 w 134"/>
                <a:gd name="T17" fmla="*/ 76 h 94"/>
                <a:gd name="T18" fmla="*/ 24 w 134"/>
                <a:gd name="T19" fmla="*/ 76 h 94"/>
                <a:gd name="T20" fmla="*/ 20 w 134"/>
                <a:gd name="T21" fmla="*/ 72 h 94"/>
                <a:gd name="T22" fmla="*/ 20 w 134"/>
                <a:gd name="T23" fmla="*/ 72 h 94"/>
                <a:gd name="T24" fmla="*/ 16 w 134"/>
                <a:gd name="T25" fmla="*/ 68 h 94"/>
                <a:gd name="T26" fmla="*/ 16 w 134"/>
                <a:gd name="T27" fmla="*/ 64 h 94"/>
                <a:gd name="T28" fmla="*/ 8 w 134"/>
                <a:gd name="T29" fmla="*/ 52 h 94"/>
                <a:gd name="T30" fmla="*/ 4 w 134"/>
                <a:gd name="T31" fmla="*/ 50 h 94"/>
                <a:gd name="T32" fmla="*/ 4 w 134"/>
                <a:gd name="T33" fmla="*/ 46 h 94"/>
                <a:gd name="T34" fmla="*/ 8 w 134"/>
                <a:gd name="T35" fmla="*/ 42 h 94"/>
                <a:gd name="T36" fmla="*/ 12 w 134"/>
                <a:gd name="T37" fmla="*/ 42 h 94"/>
                <a:gd name="T38" fmla="*/ 16 w 134"/>
                <a:gd name="T39" fmla="*/ 34 h 94"/>
                <a:gd name="T40" fmla="*/ 20 w 134"/>
                <a:gd name="T41" fmla="*/ 30 h 94"/>
                <a:gd name="T42" fmla="*/ 24 w 134"/>
                <a:gd name="T43" fmla="*/ 24 h 94"/>
                <a:gd name="T44" fmla="*/ 26 w 134"/>
                <a:gd name="T45" fmla="*/ 20 h 94"/>
                <a:gd name="T46" fmla="*/ 26 w 134"/>
                <a:gd name="T47" fmla="*/ 16 h 94"/>
                <a:gd name="T48" fmla="*/ 34 w 134"/>
                <a:gd name="T49" fmla="*/ 12 h 94"/>
                <a:gd name="T50" fmla="*/ 42 w 134"/>
                <a:gd name="T51" fmla="*/ 8 h 94"/>
                <a:gd name="T52" fmla="*/ 42 w 134"/>
                <a:gd name="T53" fmla="*/ 8 h 94"/>
                <a:gd name="T54" fmla="*/ 52 w 134"/>
                <a:gd name="T55" fmla="*/ 8 h 94"/>
                <a:gd name="T56" fmla="*/ 60 w 134"/>
                <a:gd name="T57" fmla="*/ 8 h 94"/>
                <a:gd name="T58" fmla="*/ 64 w 134"/>
                <a:gd name="T59" fmla="*/ 12 h 94"/>
                <a:gd name="T60" fmla="*/ 68 w 134"/>
                <a:gd name="T61" fmla="*/ 12 h 94"/>
                <a:gd name="T62" fmla="*/ 72 w 134"/>
                <a:gd name="T63" fmla="*/ 8 h 94"/>
                <a:gd name="T64" fmla="*/ 80 w 134"/>
                <a:gd name="T65" fmla="*/ 8 h 94"/>
                <a:gd name="T66" fmla="*/ 86 w 134"/>
                <a:gd name="T67" fmla="*/ 4 h 94"/>
                <a:gd name="T68" fmla="*/ 94 w 134"/>
                <a:gd name="T69" fmla="*/ 4 h 94"/>
                <a:gd name="T70" fmla="*/ 102 w 134"/>
                <a:gd name="T71" fmla="*/ 16 h 94"/>
                <a:gd name="T72" fmla="*/ 106 w 134"/>
                <a:gd name="T73" fmla="*/ 24 h 94"/>
                <a:gd name="T74" fmla="*/ 112 w 134"/>
                <a:gd name="T75" fmla="*/ 30 h 94"/>
                <a:gd name="T76" fmla="*/ 112 w 134"/>
                <a:gd name="T77" fmla="*/ 38 h 94"/>
                <a:gd name="T78" fmla="*/ 112 w 134"/>
                <a:gd name="T79" fmla="*/ 52 h 94"/>
                <a:gd name="T80" fmla="*/ 112 w 134"/>
                <a:gd name="T81" fmla="*/ 60 h 94"/>
                <a:gd name="T82" fmla="*/ 120 w 134"/>
                <a:gd name="T83" fmla="*/ 64 h 94"/>
                <a:gd name="T84" fmla="*/ 130 w 134"/>
                <a:gd name="T85" fmla="*/ 60 h 94"/>
                <a:gd name="T86" fmla="*/ 130 w 134"/>
                <a:gd name="T87" fmla="*/ 64 h 94"/>
                <a:gd name="T88" fmla="*/ 126 w 134"/>
                <a:gd name="T89" fmla="*/ 72 h 94"/>
                <a:gd name="T90" fmla="*/ 122 w 134"/>
                <a:gd name="T91" fmla="*/ 68 h 94"/>
                <a:gd name="T92" fmla="*/ 122 w 134"/>
                <a:gd name="T93" fmla="*/ 72 h 94"/>
                <a:gd name="T94" fmla="*/ 122 w 134"/>
                <a:gd name="T95" fmla="*/ 76 h 94"/>
                <a:gd name="T96" fmla="*/ 122 w 134"/>
                <a:gd name="T97" fmla="*/ 76 h 94"/>
                <a:gd name="T98" fmla="*/ 122 w 134"/>
                <a:gd name="T99" fmla="*/ 78 h 94"/>
                <a:gd name="T100" fmla="*/ 120 w 134"/>
                <a:gd name="T101" fmla="*/ 86 h 94"/>
                <a:gd name="T102" fmla="*/ 116 w 134"/>
                <a:gd name="T103" fmla="*/ 94 h 94"/>
                <a:gd name="T104" fmla="*/ 108 w 134"/>
                <a:gd name="T105" fmla="*/ 90 h 94"/>
                <a:gd name="T106" fmla="*/ 106 w 134"/>
                <a:gd name="T107" fmla="*/ 86 h 94"/>
                <a:gd name="T108" fmla="*/ 98 w 134"/>
                <a:gd name="T109" fmla="*/ 86 h 94"/>
                <a:gd name="T110" fmla="*/ 94 w 134"/>
                <a:gd name="T111" fmla="*/ 86 h 94"/>
                <a:gd name="T112" fmla="*/ 86 w 134"/>
                <a:gd name="T113" fmla="*/ 86 h 94"/>
                <a:gd name="T114" fmla="*/ 80 w 134"/>
                <a:gd name="T115" fmla="*/ 94 h 94"/>
                <a:gd name="T116" fmla="*/ 72 w 134"/>
                <a:gd name="T117" fmla="*/ 94 h 94"/>
                <a:gd name="T118" fmla="*/ 60 w 134"/>
                <a:gd name="T119" fmla="*/ 94 h 94"/>
                <a:gd name="T120" fmla="*/ 56 w 134"/>
                <a:gd name="T121"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4" h="94">
                  <a:moveTo>
                    <a:pt x="56" y="94"/>
                  </a:moveTo>
                  <a:lnTo>
                    <a:pt x="56" y="94"/>
                  </a:lnTo>
                  <a:lnTo>
                    <a:pt x="56" y="94"/>
                  </a:lnTo>
                  <a:lnTo>
                    <a:pt x="56" y="94"/>
                  </a:lnTo>
                  <a:lnTo>
                    <a:pt x="56" y="94"/>
                  </a:lnTo>
                  <a:lnTo>
                    <a:pt x="56" y="94"/>
                  </a:lnTo>
                  <a:lnTo>
                    <a:pt x="56" y="94"/>
                  </a:lnTo>
                  <a:lnTo>
                    <a:pt x="56" y="94"/>
                  </a:lnTo>
                  <a:lnTo>
                    <a:pt x="52" y="94"/>
                  </a:lnTo>
                  <a:lnTo>
                    <a:pt x="52" y="94"/>
                  </a:lnTo>
                  <a:lnTo>
                    <a:pt x="50" y="94"/>
                  </a:lnTo>
                  <a:lnTo>
                    <a:pt x="50" y="94"/>
                  </a:lnTo>
                  <a:lnTo>
                    <a:pt x="50" y="90"/>
                  </a:lnTo>
                  <a:lnTo>
                    <a:pt x="46" y="90"/>
                  </a:lnTo>
                  <a:lnTo>
                    <a:pt x="46" y="90"/>
                  </a:lnTo>
                  <a:lnTo>
                    <a:pt x="46" y="90"/>
                  </a:lnTo>
                  <a:lnTo>
                    <a:pt x="46" y="90"/>
                  </a:lnTo>
                  <a:lnTo>
                    <a:pt x="46" y="90"/>
                  </a:lnTo>
                  <a:lnTo>
                    <a:pt x="42" y="90"/>
                  </a:lnTo>
                  <a:lnTo>
                    <a:pt x="42" y="90"/>
                  </a:lnTo>
                  <a:lnTo>
                    <a:pt x="42" y="90"/>
                  </a:lnTo>
                  <a:lnTo>
                    <a:pt x="42" y="90"/>
                  </a:lnTo>
                  <a:lnTo>
                    <a:pt x="42" y="90"/>
                  </a:lnTo>
                  <a:lnTo>
                    <a:pt x="42" y="90"/>
                  </a:lnTo>
                  <a:lnTo>
                    <a:pt x="42" y="90"/>
                  </a:lnTo>
                  <a:lnTo>
                    <a:pt x="38" y="90"/>
                  </a:lnTo>
                  <a:lnTo>
                    <a:pt x="38" y="90"/>
                  </a:lnTo>
                  <a:lnTo>
                    <a:pt x="38" y="90"/>
                  </a:lnTo>
                  <a:lnTo>
                    <a:pt x="38" y="90"/>
                  </a:lnTo>
                  <a:lnTo>
                    <a:pt x="38" y="90"/>
                  </a:lnTo>
                  <a:lnTo>
                    <a:pt x="38" y="86"/>
                  </a:lnTo>
                  <a:lnTo>
                    <a:pt x="38" y="86"/>
                  </a:lnTo>
                  <a:lnTo>
                    <a:pt x="38" y="86"/>
                  </a:lnTo>
                  <a:lnTo>
                    <a:pt x="38" y="86"/>
                  </a:lnTo>
                  <a:lnTo>
                    <a:pt x="38" y="86"/>
                  </a:lnTo>
                  <a:lnTo>
                    <a:pt x="38" y="86"/>
                  </a:lnTo>
                  <a:lnTo>
                    <a:pt x="38" y="86"/>
                  </a:lnTo>
                  <a:lnTo>
                    <a:pt x="38" y="86"/>
                  </a:lnTo>
                  <a:lnTo>
                    <a:pt x="38" y="86"/>
                  </a:lnTo>
                  <a:lnTo>
                    <a:pt x="38" y="86"/>
                  </a:lnTo>
                  <a:lnTo>
                    <a:pt x="34" y="82"/>
                  </a:lnTo>
                  <a:lnTo>
                    <a:pt x="34" y="82"/>
                  </a:lnTo>
                  <a:lnTo>
                    <a:pt x="34" y="82"/>
                  </a:lnTo>
                  <a:lnTo>
                    <a:pt x="34" y="82"/>
                  </a:lnTo>
                  <a:lnTo>
                    <a:pt x="34" y="82"/>
                  </a:lnTo>
                  <a:lnTo>
                    <a:pt x="34" y="82"/>
                  </a:lnTo>
                  <a:lnTo>
                    <a:pt x="34" y="82"/>
                  </a:lnTo>
                  <a:lnTo>
                    <a:pt x="34" y="82"/>
                  </a:lnTo>
                  <a:lnTo>
                    <a:pt x="34" y="82"/>
                  </a:lnTo>
                  <a:lnTo>
                    <a:pt x="30" y="78"/>
                  </a:lnTo>
                  <a:lnTo>
                    <a:pt x="30" y="78"/>
                  </a:lnTo>
                  <a:lnTo>
                    <a:pt x="34" y="76"/>
                  </a:lnTo>
                  <a:lnTo>
                    <a:pt x="34" y="76"/>
                  </a:lnTo>
                  <a:lnTo>
                    <a:pt x="34" y="78"/>
                  </a:lnTo>
                  <a:lnTo>
                    <a:pt x="34" y="78"/>
                  </a:lnTo>
                  <a:lnTo>
                    <a:pt x="34" y="78"/>
                  </a:lnTo>
                  <a:lnTo>
                    <a:pt x="34" y="78"/>
                  </a:lnTo>
                  <a:lnTo>
                    <a:pt x="34" y="76"/>
                  </a:lnTo>
                  <a:lnTo>
                    <a:pt x="34" y="76"/>
                  </a:lnTo>
                  <a:lnTo>
                    <a:pt x="34" y="76"/>
                  </a:lnTo>
                  <a:lnTo>
                    <a:pt x="34" y="76"/>
                  </a:lnTo>
                  <a:lnTo>
                    <a:pt x="34" y="76"/>
                  </a:lnTo>
                  <a:lnTo>
                    <a:pt x="34" y="76"/>
                  </a:lnTo>
                  <a:lnTo>
                    <a:pt x="34" y="76"/>
                  </a:lnTo>
                  <a:lnTo>
                    <a:pt x="30" y="76"/>
                  </a:lnTo>
                  <a:lnTo>
                    <a:pt x="30" y="76"/>
                  </a:lnTo>
                  <a:lnTo>
                    <a:pt x="30" y="76"/>
                  </a:lnTo>
                  <a:lnTo>
                    <a:pt x="30" y="76"/>
                  </a:lnTo>
                  <a:lnTo>
                    <a:pt x="30" y="76"/>
                  </a:lnTo>
                  <a:lnTo>
                    <a:pt x="30" y="76"/>
                  </a:lnTo>
                  <a:lnTo>
                    <a:pt x="30" y="76"/>
                  </a:lnTo>
                  <a:lnTo>
                    <a:pt x="26" y="76"/>
                  </a:lnTo>
                  <a:lnTo>
                    <a:pt x="26" y="78"/>
                  </a:lnTo>
                  <a:lnTo>
                    <a:pt x="26" y="78"/>
                  </a:lnTo>
                  <a:lnTo>
                    <a:pt x="26" y="78"/>
                  </a:lnTo>
                  <a:lnTo>
                    <a:pt x="26" y="76"/>
                  </a:lnTo>
                  <a:lnTo>
                    <a:pt x="26" y="76"/>
                  </a:lnTo>
                  <a:lnTo>
                    <a:pt x="26" y="76"/>
                  </a:lnTo>
                  <a:lnTo>
                    <a:pt x="24" y="76"/>
                  </a:lnTo>
                  <a:lnTo>
                    <a:pt x="24" y="76"/>
                  </a:lnTo>
                  <a:lnTo>
                    <a:pt x="24" y="76"/>
                  </a:lnTo>
                  <a:lnTo>
                    <a:pt x="20" y="76"/>
                  </a:lnTo>
                  <a:lnTo>
                    <a:pt x="20" y="76"/>
                  </a:lnTo>
                  <a:lnTo>
                    <a:pt x="20" y="76"/>
                  </a:lnTo>
                  <a:lnTo>
                    <a:pt x="20" y="76"/>
                  </a:lnTo>
                  <a:lnTo>
                    <a:pt x="20" y="72"/>
                  </a:lnTo>
                  <a:lnTo>
                    <a:pt x="20" y="72"/>
                  </a:lnTo>
                  <a:lnTo>
                    <a:pt x="20" y="72"/>
                  </a:lnTo>
                  <a:lnTo>
                    <a:pt x="16" y="72"/>
                  </a:lnTo>
                  <a:lnTo>
                    <a:pt x="16" y="72"/>
                  </a:lnTo>
                  <a:lnTo>
                    <a:pt x="16" y="72"/>
                  </a:lnTo>
                  <a:lnTo>
                    <a:pt x="16" y="72"/>
                  </a:lnTo>
                  <a:lnTo>
                    <a:pt x="16" y="72"/>
                  </a:lnTo>
                  <a:lnTo>
                    <a:pt x="16" y="72"/>
                  </a:lnTo>
                  <a:lnTo>
                    <a:pt x="16" y="72"/>
                  </a:lnTo>
                  <a:lnTo>
                    <a:pt x="20" y="72"/>
                  </a:lnTo>
                  <a:lnTo>
                    <a:pt x="20" y="72"/>
                  </a:lnTo>
                  <a:lnTo>
                    <a:pt x="20" y="72"/>
                  </a:lnTo>
                  <a:lnTo>
                    <a:pt x="20" y="72"/>
                  </a:lnTo>
                  <a:lnTo>
                    <a:pt x="20" y="68"/>
                  </a:lnTo>
                  <a:lnTo>
                    <a:pt x="16" y="68"/>
                  </a:lnTo>
                  <a:lnTo>
                    <a:pt x="16" y="68"/>
                  </a:lnTo>
                  <a:lnTo>
                    <a:pt x="16" y="68"/>
                  </a:lnTo>
                  <a:lnTo>
                    <a:pt x="16" y="68"/>
                  </a:lnTo>
                  <a:lnTo>
                    <a:pt x="16" y="68"/>
                  </a:lnTo>
                  <a:lnTo>
                    <a:pt x="16" y="68"/>
                  </a:lnTo>
                  <a:lnTo>
                    <a:pt x="20" y="64"/>
                  </a:lnTo>
                  <a:lnTo>
                    <a:pt x="20" y="64"/>
                  </a:lnTo>
                  <a:lnTo>
                    <a:pt x="16" y="64"/>
                  </a:lnTo>
                  <a:lnTo>
                    <a:pt x="16" y="64"/>
                  </a:lnTo>
                  <a:lnTo>
                    <a:pt x="16" y="64"/>
                  </a:lnTo>
                  <a:lnTo>
                    <a:pt x="16" y="64"/>
                  </a:lnTo>
                  <a:lnTo>
                    <a:pt x="12" y="60"/>
                  </a:lnTo>
                  <a:lnTo>
                    <a:pt x="12" y="60"/>
                  </a:lnTo>
                  <a:lnTo>
                    <a:pt x="8" y="56"/>
                  </a:lnTo>
                  <a:lnTo>
                    <a:pt x="8" y="56"/>
                  </a:lnTo>
                  <a:lnTo>
                    <a:pt x="8" y="56"/>
                  </a:lnTo>
                  <a:lnTo>
                    <a:pt x="8" y="56"/>
                  </a:lnTo>
                  <a:lnTo>
                    <a:pt x="8" y="56"/>
                  </a:lnTo>
                  <a:lnTo>
                    <a:pt x="8" y="52"/>
                  </a:lnTo>
                  <a:lnTo>
                    <a:pt x="8" y="52"/>
                  </a:lnTo>
                  <a:lnTo>
                    <a:pt x="8" y="52"/>
                  </a:lnTo>
                  <a:lnTo>
                    <a:pt x="8" y="52"/>
                  </a:lnTo>
                  <a:lnTo>
                    <a:pt x="4" y="52"/>
                  </a:lnTo>
                  <a:lnTo>
                    <a:pt x="4" y="52"/>
                  </a:lnTo>
                  <a:lnTo>
                    <a:pt x="4" y="50"/>
                  </a:lnTo>
                  <a:lnTo>
                    <a:pt x="4" y="50"/>
                  </a:lnTo>
                  <a:lnTo>
                    <a:pt x="4" y="50"/>
                  </a:lnTo>
                  <a:lnTo>
                    <a:pt x="0" y="50"/>
                  </a:lnTo>
                  <a:lnTo>
                    <a:pt x="0" y="50"/>
                  </a:lnTo>
                  <a:lnTo>
                    <a:pt x="0" y="46"/>
                  </a:lnTo>
                  <a:lnTo>
                    <a:pt x="0" y="46"/>
                  </a:lnTo>
                  <a:lnTo>
                    <a:pt x="0" y="46"/>
                  </a:lnTo>
                  <a:lnTo>
                    <a:pt x="0" y="46"/>
                  </a:lnTo>
                  <a:lnTo>
                    <a:pt x="4" y="46"/>
                  </a:lnTo>
                  <a:lnTo>
                    <a:pt x="4" y="46"/>
                  </a:lnTo>
                  <a:lnTo>
                    <a:pt x="4" y="46"/>
                  </a:lnTo>
                  <a:lnTo>
                    <a:pt x="4" y="46"/>
                  </a:lnTo>
                  <a:lnTo>
                    <a:pt x="4" y="46"/>
                  </a:lnTo>
                  <a:lnTo>
                    <a:pt x="8" y="46"/>
                  </a:lnTo>
                  <a:lnTo>
                    <a:pt x="8" y="46"/>
                  </a:lnTo>
                  <a:lnTo>
                    <a:pt x="8" y="46"/>
                  </a:lnTo>
                  <a:lnTo>
                    <a:pt x="8" y="46"/>
                  </a:lnTo>
                  <a:lnTo>
                    <a:pt x="8" y="42"/>
                  </a:lnTo>
                  <a:lnTo>
                    <a:pt x="8" y="42"/>
                  </a:lnTo>
                  <a:lnTo>
                    <a:pt x="8" y="42"/>
                  </a:lnTo>
                  <a:lnTo>
                    <a:pt x="8" y="42"/>
                  </a:lnTo>
                  <a:lnTo>
                    <a:pt x="8" y="42"/>
                  </a:lnTo>
                  <a:lnTo>
                    <a:pt x="8" y="42"/>
                  </a:lnTo>
                  <a:lnTo>
                    <a:pt x="12" y="42"/>
                  </a:lnTo>
                  <a:lnTo>
                    <a:pt x="12" y="42"/>
                  </a:lnTo>
                  <a:lnTo>
                    <a:pt x="12" y="42"/>
                  </a:lnTo>
                  <a:lnTo>
                    <a:pt x="12" y="42"/>
                  </a:lnTo>
                  <a:lnTo>
                    <a:pt x="12" y="42"/>
                  </a:lnTo>
                  <a:lnTo>
                    <a:pt x="12" y="42"/>
                  </a:lnTo>
                  <a:lnTo>
                    <a:pt x="12" y="42"/>
                  </a:lnTo>
                  <a:lnTo>
                    <a:pt x="16" y="38"/>
                  </a:lnTo>
                  <a:lnTo>
                    <a:pt x="16" y="38"/>
                  </a:lnTo>
                  <a:lnTo>
                    <a:pt x="16" y="38"/>
                  </a:lnTo>
                  <a:lnTo>
                    <a:pt x="16" y="34"/>
                  </a:lnTo>
                  <a:lnTo>
                    <a:pt x="16" y="34"/>
                  </a:lnTo>
                  <a:lnTo>
                    <a:pt x="16" y="34"/>
                  </a:lnTo>
                  <a:lnTo>
                    <a:pt x="20" y="34"/>
                  </a:lnTo>
                  <a:lnTo>
                    <a:pt x="20" y="34"/>
                  </a:lnTo>
                  <a:lnTo>
                    <a:pt x="20" y="34"/>
                  </a:lnTo>
                  <a:lnTo>
                    <a:pt x="20" y="34"/>
                  </a:lnTo>
                  <a:lnTo>
                    <a:pt x="20" y="30"/>
                  </a:lnTo>
                  <a:lnTo>
                    <a:pt x="20" y="30"/>
                  </a:lnTo>
                  <a:lnTo>
                    <a:pt x="20" y="26"/>
                  </a:lnTo>
                  <a:lnTo>
                    <a:pt x="20" y="26"/>
                  </a:lnTo>
                  <a:lnTo>
                    <a:pt x="20" y="26"/>
                  </a:lnTo>
                  <a:lnTo>
                    <a:pt x="20" y="26"/>
                  </a:lnTo>
                  <a:lnTo>
                    <a:pt x="20" y="26"/>
                  </a:lnTo>
                  <a:lnTo>
                    <a:pt x="24" y="26"/>
                  </a:lnTo>
                  <a:lnTo>
                    <a:pt x="24" y="26"/>
                  </a:lnTo>
                  <a:lnTo>
                    <a:pt x="24" y="24"/>
                  </a:lnTo>
                  <a:lnTo>
                    <a:pt x="24" y="24"/>
                  </a:lnTo>
                  <a:lnTo>
                    <a:pt x="24" y="24"/>
                  </a:lnTo>
                  <a:lnTo>
                    <a:pt x="24" y="20"/>
                  </a:lnTo>
                  <a:lnTo>
                    <a:pt x="24" y="20"/>
                  </a:lnTo>
                  <a:lnTo>
                    <a:pt x="24" y="20"/>
                  </a:lnTo>
                  <a:lnTo>
                    <a:pt x="26" y="20"/>
                  </a:lnTo>
                  <a:lnTo>
                    <a:pt x="26" y="20"/>
                  </a:lnTo>
                  <a:lnTo>
                    <a:pt x="26" y="20"/>
                  </a:lnTo>
                  <a:lnTo>
                    <a:pt x="26" y="20"/>
                  </a:lnTo>
                  <a:lnTo>
                    <a:pt x="26" y="16"/>
                  </a:lnTo>
                  <a:lnTo>
                    <a:pt x="26" y="16"/>
                  </a:lnTo>
                  <a:lnTo>
                    <a:pt x="26" y="16"/>
                  </a:lnTo>
                  <a:lnTo>
                    <a:pt x="26" y="16"/>
                  </a:lnTo>
                  <a:lnTo>
                    <a:pt x="26" y="16"/>
                  </a:lnTo>
                  <a:lnTo>
                    <a:pt x="26" y="16"/>
                  </a:lnTo>
                  <a:lnTo>
                    <a:pt x="26" y="16"/>
                  </a:lnTo>
                  <a:lnTo>
                    <a:pt x="26" y="16"/>
                  </a:lnTo>
                  <a:lnTo>
                    <a:pt x="30" y="12"/>
                  </a:lnTo>
                  <a:lnTo>
                    <a:pt x="30" y="12"/>
                  </a:lnTo>
                  <a:lnTo>
                    <a:pt x="30" y="12"/>
                  </a:lnTo>
                  <a:lnTo>
                    <a:pt x="30" y="12"/>
                  </a:lnTo>
                  <a:lnTo>
                    <a:pt x="30" y="12"/>
                  </a:lnTo>
                  <a:lnTo>
                    <a:pt x="34" y="12"/>
                  </a:lnTo>
                  <a:lnTo>
                    <a:pt x="34" y="12"/>
                  </a:lnTo>
                  <a:lnTo>
                    <a:pt x="34" y="12"/>
                  </a:lnTo>
                  <a:lnTo>
                    <a:pt x="34" y="12"/>
                  </a:lnTo>
                  <a:lnTo>
                    <a:pt x="34" y="12"/>
                  </a:lnTo>
                  <a:lnTo>
                    <a:pt x="38" y="8"/>
                  </a:lnTo>
                  <a:lnTo>
                    <a:pt x="38" y="8"/>
                  </a:lnTo>
                  <a:lnTo>
                    <a:pt x="38" y="8"/>
                  </a:lnTo>
                  <a:lnTo>
                    <a:pt x="38" y="8"/>
                  </a:lnTo>
                  <a:lnTo>
                    <a:pt x="42" y="8"/>
                  </a:lnTo>
                  <a:lnTo>
                    <a:pt x="42" y="8"/>
                  </a:lnTo>
                  <a:lnTo>
                    <a:pt x="42" y="4"/>
                  </a:lnTo>
                  <a:lnTo>
                    <a:pt x="42" y="4"/>
                  </a:lnTo>
                  <a:lnTo>
                    <a:pt x="42" y="4"/>
                  </a:lnTo>
                  <a:lnTo>
                    <a:pt x="42" y="4"/>
                  </a:lnTo>
                  <a:lnTo>
                    <a:pt x="42" y="4"/>
                  </a:lnTo>
                  <a:lnTo>
                    <a:pt x="42" y="4"/>
                  </a:lnTo>
                  <a:lnTo>
                    <a:pt x="42" y="8"/>
                  </a:lnTo>
                  <a:lnTo>
                    <a:pt x="46" y="8"/>
                  </a:lnTo>
                  <a:lnTo>
                    <a:pt x="46" y="8"/>
                  </a:lnTo>
                  <a:lnTo>
                    <a:pt x="46" y="8"/>
                  </a:lnTo>
                  <a:lnTo>
                    <a:pt x="46" y="8"/>
                  </a:lnTo>
                  <a:lnTo>
                    <a:pt x="46" y="8"/>
                  </a:lnTo>
                  <a:lnTo>
                    <a:pt x="50" y="8"/>
                  </a:lnTo>
                  <a:lnTo>
                    <a:pt x="52" y="8"/>
                  </a:lnTo>
                  <a:lnTo>
                    <a:pt x="52" y="8"/>
                  </a:lnTo>
                  <a:lnTo>
                    <a:pt x="52" y="8"/>
                  </a:lnTo>
                  <a:lnTo>
                    <a:pt x="56" y="8"/>
                  </a:lnTo>
                  <a:lnTo>
                    <a:pt x="56" y="8"/>
                  </a:lnTo>
                  <a:lnTo>
                    <a:pt x="56" y="8"/>
                  </a:lnTo>
                  <a:lnTo>
                    <a:pt x="60" y="8"/>
                  </a:lnTo>
                  <a:lnTo>
                    <a:pt x="60" y="8"/>
                  </a:lnTo>
                  <a:lnTo>
                    <a:pt x="60" y="8"/>
                  </a:lnTo>
                  <a:lnTo>
                    <a:pt x="60" y="8"/>
                  </a:lnTo>
                  <a:lnTo>
                    <a:pt x="60" y="8"/>
                  </a:lnTo>
                  <a:lnTo>
                    <a:pt x="60" y="8"/>
                  </a:lnTo>
                  <a:lnTo>
                    <a:pt x="64" y="8"/>
                  </a:lnTo>
                  <a:lnTo>
                    <a:pt x="64" y="12"/>
                  </a:lnTo>
                  <a:lnTo>
                    <a:pt x="64" y="12"/>
                  </a:lnTo>
                  <a:lnTo>
                    <a:pt x="64" y="12"/>
                  </a:lnTo>
                  <a:lnTo>
                    <a:pt x="64" y="12"/>
                  </a:lnTo>
                  <a:lnTo>
                    <a:pt x="64" y="12"/>
                  </a:lnTo>
                  <a:lnTo>
                    <a:pt x="64" y="12"/>
                  </a:lnTo>
                  <a:lnTo>
                    <a:pt x="64" y="12"/>
                  </a:lnTo>
                  <a:lnTo>
                    <a:pt x="64" y="12"/>
                  </a:lnTo>
                  <a:lnTo>
                    <a:pt x="68" y="12"/>
                  </a:lnTo>
                  <a:lnTo>
                    <a:pt x="68" y="12"/>
                  </a:lnTo>
                  <a:lnTo>
                    <a:pt x="68" y="12"/>
                  </a:lnTo>
                  <a:lnTo>
                    <a:pt x="68" y="12"/>
                  </a:lnTo>
                  <a:lnTo>
                    <a:pt x="68" y="12"/>
                  </a:lnTo>
                  <a:lnTo>
                    <a:pt x="68" y="12"/>
                  </a:lnTo>
                  <a:lnTo>
                    <a:pt x="68" y="12"/>
                  </a:lnTo>
                  <a:lnTo>
                    <a:pt x="68" y="12"/>
                  </a:lnTo>
                  <a:lnTo>
                    <a:pt x="68" y="12"/>
                  </a:lnTo>
                  <a:lnTo>
                    <a:pt x="72" y="12"/>
                  </a:lnTo>
                  <a:lnTo>
                    <a:pt x="72" y="8"/>
                  </a:lnTo>
                  <a:lnTo>
                    <a:pt x="72" y="8"/>
                  </a:lnTo>
                  <a:lnTo>
                    <a:pt x="72" y="8"/>
                  </a:lnTo>
                  <a:lnTo>
                    <a:pt x="76" y="8"/>
                  </a:lnTo>
                  <a:lnTo>
                    <a:pt x="76" y="8"/>
                  </a:lnTo>
                  <a:lnTo>
                    <a:pt x="76" y="8"/>
                  </a:lnTo>
                  <a:lnTo>
                    <a:pt x="76" y="8"/>
                  </a:lnTo>
                  <a:lnTo>
                    <a:pt x="76" y="8"/>
                  </a:lnTo>
                  <a:lnTo>
                    <a:pt x="80" y="8"/>
                  </a:lnTo>
                  <a:lnTo>
                    <a:pt x="80" y="8"/>
                  </a:lnTo>
                  <a:lnTo>
                    <a:pt x="80" y="8"/>
                  </a:lnTo>
                  <a:lnTo>
                    <a:pt x="80" y="8"/>
                  </a:lnTo>
                  <a:lnTo>
                    <a:pt x="82" y="8"/>
                  </a:lnTo>
                  <a:lnTo>
                    <a:pt x="82" y="8"/>
                  </a:lnTo>
                  <a:lnTo>
                    <a:pt x="82" y="8"/>
                  </a:lnTo>
                  <a:lnTo>
                    <a:pt x="82" y="8"/>
                  </a:lnTo>
                  <a:lnTo>
                    <a:pt x="82" y="8"/>
                  </a:lnTo>
                  <a:lnTo>
                    <a:pt x="86" y="4"/>
                  </a:lnTo>
                  <a:lnTo>
                    <a:pt x="86" y="4"/>
                  </a:lnTo>
                  <a:lnTo>
                    <a:pt x="86" y="4"/>
                  </a:lnTo>
                  <a:lnTo>
                    <a:pt x="90" y="4"/>
                  </a:lnTo>
                  <a:lnTo>
                    <a:pt x="90" y="4"/>
                  </a:lnTo>
                  <a:lnTo>
                    <a:pt x="90" y="4"/>
                  </a:lnTo>
                  <a:lnTo>
                    <a:pt x="90" y="0"/>
                  </a:lnTo>
                  <a:lnTo>
                    <a:pt x="90" y="0"/>
                  </a:lnTo>
                  <a:lnTo>
                    <a:pt x="94" y="0"/>
                  </a:lnTo>
                  <a:lnTo>
                    <a:pt x="94" y="4"/>
                  </a:lnTo>
                  <a:lnTo>
                    <a:pt x="94" y="4"/>
                  </a:lnTo>
                  <a:lnTo>
                    <a:pt x="98" y="8"/>
                  </a:lnTo>
                  <a:lnTo>
                    <a:pt x="98" y="8"/>
                  </a:lnTo>
                  <a:lnTo>
                    <a:pt x="98" y="12"/>
                  </a:lnTo>
                  <a:lnTo>
                    <a:pt x="98" y="12"/>
                  </a:lnTo>
                  <a:lnTo>
                    <a:pt x="102" y="12"/>
                  </a:lnTo>
                  <a:lnTo>
                    <a:pt x="102" y="16"/>
                  </a:lnTo>
                  <a:lnTo>
                    <a:pt x="102" y="16"/>
                  </a:lnTo>
                  <a:lnTo>
                    <a:pt x="102" y="16"/>
                  </a:lnTo>
                  <a:lnTo>
                    <a:pt x="102" y="16"/>
                  </a:lnTo>
                  <a:lnTo>
                    <a:pt x="102" y="20"/>
                  </a:lnTo>
                  <a:lnTo>
                    <a:pt x="106" y="20"/>
                  </a:lnTo>
                  <a:lnTo>
                    <a:pt x="106" y="24"/>
                  </a:lnTo>
                  <a:lnTo>
                    <a:pt x="106" y="24"/>
                  </a:lnTo>
                  <a:lnTo>
                    <a:pt x="106" y="24"/>
                  </a:lnTo>
                  <a:lnTo>
                    <a:pt x="106" y="24"/>
                  </a:lnTo>
                  <a:lnTo>
                    <a:pt x="106" y="24"/>
                  </a:lnTo>
                  <a:lnTo>
                    <a:pt x="106" y="24"/>
                  </a:lnTo>
                  <a:lnTo>
                    <a:pt x="108" y="26"/>
                  </a:lnTo>
                  <a:lnTo>
                    <a:pt x="108" y="26"/>
                  </a:lnTo>
                  <a:lnTo>
                    <a:pt x="108" y="26"/>
                  </a:lnTo>
                  <a:lnTo>
                    <a:pt x="108" y="26"/>
                  </a:lnTo>
                  <a:lnTo>
                    <a:pt x="112" y="26"/>
                  </a:lnTo>
                  <a:lnTo>
                    <a:pt x="112" y="30"/>
                  </a:lnTo>
                  <a:lnTo>
                    <a:pt x="112" y="30"/>
                  </a:lnTo>
                  <a:lnTo>
                    <a:pt x="112" y="30"/>
                  </a:lnTo>
                  <a:lnTo>
                    <a:pt x="112" y="30"/>
                  </a:lnTo>
                  <a:lnTo>
                    <a:pt x="112" y="34"/>
                  </a:lnTo>
                  <a:lnTo>
                    <a:pt x="112" y="34"/>
                  </a:lnTo>
                  <a:lnTo>
                    <a:pt x="112" y="34"/>
                  </a:lnTo>
                  <a:lnTo>
                    <a:pt x="112" y="34"/>
                  </a:lnTo>
                  <a:lnTo>
                    <a:pt x="112" y="38"/>
                  </a:lnTo>
                  <a:lnTo>
                    <a:pt x="112" y="42"/>
                  </a:lnTo>
                  <a:lnTo>
                    <a:pt x="112" y="46"/>
                  </a:lnTo>
                  <a:lnTo>
                    <a:pt x="112" y="46"/>
                  </a:lnTo>
                  <a:lnTo>
                    <a:pt x="112" y="46"/>
                  </a:lnTo>
                  <a:lnTo>
                    <a:pt x="112" y="50"/>
                  </a:lnTo>
                  <a:lnTo>
                    <a:pt x="112" y="50"/>
                  </a:lnTo>
                  <a:lnTo>
                    <a:pt x="112" y="50"/>
                  </a:lnTo>
                  <a:lnTo>
                    <a:pt x="112" y="52"/>
                  </a:lnTo>
                  <a:lnTo>
                    <a:pt x="112" y="52"/>
                  </a:lnTo>
                  <a:lnTo>
                    <a:pt x="112" y="56"/>
                  </a:lnTo>
                  <a:lnTo>
                    <a:pt x="112" y="56"/>
                  </a:lnTo>
                  <a:lnTo>
                    <a:pt x="112" y="56"/>
                  </a:lnTo>
                  <a:lnTo>
                    <a:pt x="112" y="60"/>
                  </a:lnTo>
                  <a:lnTo>
                    <a:pt x="112" y="60"/>
                  </a:lnTo>
                  <a:lnTo>
                    <a:pt x="112" y="60"/>
                  </a:lnTo>
                  <a:lnTo>
                    <a:pt x="112" y="60"/>
                  </a:lnTo>
                  <a:lnTo>
                    <a:pt x="112" y="60"/>
                  </a:lnTo>
                  <a:lnTo>
                    <a:pt x="112" y="60"/>
                  </a:lnTo>
                  <a:lnTo>
                    <a:pt x="112" y="60"/>
                  </a:lnTo>
                  <a:lnTo>
                    <a:pt x="112" y="60"/>
                  </a:lnTo>
                  <a:lnTo>
                    <a:pt x="116" y="60"/>
                  </a:lnTo>
                  <a:lnTo>
                    <a:pt x="116" y="60"/>
                  </a:lnTo>
                  <a:lnTo>
                    <a:pt x="116" y="64"/>
                  </a:lnTo>
                  <a:lnTo>
                    <a:pt x="120" y="64"/>
                  </a:lnTo>
                  <a:lnTo>
                    <a:pt x="120" y="64"/>
                  </a:lnTo>
                  <a:lnTo>
                    <a:pt x="120" y="60"/>
                  </a:lnTo>
                  <a:lnTo>
                    <a:pt x="122" y="60"/>
                  </a:lnTo>
                  <a:lnTo>
                    <a:pt x="126" y="60"/>
                  </a:lnTo>
                  <a:lnTo>
                    <a:pt x="126" y="60"/>
                  </a:lnTo>
                  <a:lnTo>
                    <a:pt x="130" y="60"/>
                  </a:lnTo>
                  <a:lnTo>
                    <a:pt x="130" y="60"/>
                  </a:lnTo>
                  <a:lnTo>
                    <a:pt x="130" y="60"/>
                  </a:lnTo>
                  <a:lnTo>
                    <a:pt x="130" y="60"/>
                  </a:lnTo>
                  <a:lnTo>
                    <a:pt x="130" y="60"/>
                  </a:lnTo>
                  <a:lnTo>
                    <a:pt x="134" y="60"/>
                  </a:lnTo>
                  <a:lnTo>
                    <a:pt x="134" y="60"/>
                  </a:lnTo>
                  <a:lnTo>
                    <a:pt x="134" y="64"/>
                  </a:lnTo>
                  <a:lnTo>
                    <a:pt x="134" y="64"/>
                  </a:lnTo>
                  <a:lnTo>
                    <a:pt x="130" y="64"/>
                  </a:lnTo>
                  <a:lnTo>
                    <a:pt x="130" y="64"/>
                  </a:lnTo>
                  <a:lnTo>
                    <a:pt x="134" y="64"/>
                  </a:lnTo>
                  <a:lnTo>
                    <a:pt x="130" y="68"/>
                  </a:lnTo>
                  <a:lnTo>
                    <a:pt x="130" y="72"/>
                  </a:lnTo>
                  <a:lnTo>
                    <a:pt x="130" y="72"/>
                  </a:lnTo>
                  <a:lnTo>
                    <a:pt x="130" y="72"/>
                  </a:lnTo>
                  <a:lnTo>
                    <a:pt x="130" y="72"/>
                  </a:lnTo>
                  <a:lnTo>
                    <a:pt x="126" y="72"/>
                  </a:lnTo>
                  <a:lnTo>
                    <a:pt x="126" y="72"/>
                  </a:lnTo>
                  <a:lnTo>
                    <a:pt x="126" y="72"/>
                  </a:lnTo>
                  <a:lnTo>
                    <a:pt x="122" y="72"/>
                  </a:lnTo>
                  <a:lnTo>
                    <a:pt x="122" y="72"/>
                  </a:lnTo>
                  <a:lnTo>
                    <a:pt x="122" y="68"/>
                  </a:lnTo>
                  <a:lnTo>
                    <a:pt x="122" y="68"/>
                  </a:lnTo>
                  <a:lnTo>
                    <a:pt x="122" y="68"/>
                  </a:lnTo>
                  <a:lnTo>
                    <a:pt x="122" y="68"/>
                  </a:lnTo>
                  <a:lnTo>
                    <a:pt x="122" y="68"/>
                  </a:lnTo>
                  <a:lnTo>
                    <a:pt x="122" y="68"/>
                  </a:lnTo>
                  <a:lnTo>
                    <a:pt x="122" y="68"/>
                  </a:lnTo>
                  <a:lnTo>
                    <a:pt x="122" y="72"/>
                  </a:lnTo>
                  <a:lnTo>
                    <a:pt x="122" y="72"/>
                  </a:lnTo>
                  <a:lnTo>
                    <a:pt x="122" y="72"/>
                  </a:lnTo>
                  <a:lnTo>
                    <a:pt x="122" y="72"/>
                  </a:lnTo>
                  <a:lnTo>
                    <a:pt x="122" y="72"/>
                  </a:lnTo>
                  <a:lnTo>
                    <a:pt x="122" y="72"/>
                  </a:lnTo>
                  <a:lnTo>
                    <a:pt x="120" y="76"/>
                  </a:lnTo>
                  <a:lnTo>
                    <a:pt x="120" y="76"/>
                  </a:lnTo>
                  <a:lnTo>
                    <a:pt x="120" y="76"/>
                  </a:lnTo>
                  <a:lnTo>
                    <a:pt x="120" y="76"/>
                  </a:lnTo>
                  <a:lnTo>
                    <a:pt x="120" y="76"/>
                  </a:lnTo>
                  <a:lnTo>
                    <a:pt x="120" y="76"/>
                  </a:lnTo>
                  <a:lnTo>
                    <a:pt x="122" y="76"/>
                  </a:lnTo>
                  <a:lnTo>
                    <a:pt x="122" y="76"/>
                  </a:lnTo>
                  <a:lnTo>
                    <a:pt x="122" y="76"/>
                  </a:lnTo>
                  <a:lnTo>
                    <a:pt x="122" y="76"/>
                  </a:lnTo>
                  <a:lnTo>
                    <a:pt x="122" y="76"/>
                  </a:lnTo>
                  <a:lnTo>
                    <a:pt x="122" y="76"/>
                  </a:lnTo>
                  <a:lnTo>
                    <a:pt x="122" y="76"/>
                  </a:lnTo>
                  <a:lnTo>
                    <a:pt x="122" y="76"/>
                  </a:lnTo>
                  <a:lnTo>
                    <a:pt x="122" y="76"/>
                  </a:lnTo>
                  <a:lnTo>
                    <a:pt x="122" y="76"/>
                  </a:lnTo>
                  <a:lnTo>
                    <a:pt x="120" y="76"/>
                  </a:lnTo>
                  <a:lnTo>
                    <a:pt x="120" y="76"/>
                  </a:lnTo>
                  <a:lnTo>
                    <a:pt x="120" y="76"/>
                  </a:lnTo>
                  <a:lnTo>
                    <a:pt x="120" y="78"/>
                  </a:lnTo>
                  <a:lnTo>
                    <a:pt x="120" y="78"/>
                  </a:lnTo>
                  <a:lnTo>
                    <a:pt x="122" y="76"/>
                  </a:lnTo>
                  <a:lnTo>
                    <a:pt x="122" y="76"/>
                  </a:lnTo>
                  <a:lnTo>
                    <a:pt x="122" y="78"/>
                  </a:lnTo>
                  <a:lnTo>
                    <a:pt x="120" y="78"/>
                  </a:lnTo>
                  <a:lnTo>
                    <a:pt x="120" y="78"/>
                  </a:lnTo>
                  <a:lnTo>
                    <a:pt x="120" y="78"/>
                  </a:lnTo>
                  <a:lnTo>
                    <a:pt x="120" y="78"/>
                  </a:lnTo>
                  <a:lnTo>
                    <a:pt x="120" y="82"/>
                  </a:lnTo>
                  <a:lnTo>
                    <a:pt x="120" y="82"/>
                  </a:lnTo>
                  <a:lnTo>
                    <a:pt x="120" y="82"/>
                  </a:lnTo>
                  <a:lnTo>
                    <a:pt x="120" y="86"/>
                  </a:lnTo>
                  <a:lnTo>
                    <a:pt x="120" y="90"/>
                  </a:lnTo>
                  <a:lnTo>
                    <a:pt x="120" y="90"/>
                  </a:lnTo>
                  <a:lnTo>
                    <a:pt x="120" y="90"/>
                  </a:lnTo>
                  <a:lnTo>
                    <a:pt x="120" y="90"/>
                  </a:lnTo>
                  <a:lnTo>
                    <a:pt x="116" y="90"/>
                  </a:lnTo>
                  <a:lnTo>
                    <a:pt x="116" y="94"/>
                  </a:lnTo>
                  <a:lnTo>
                    <a:pt x="116" y="94"/>
                  </a:lnTo>
                  <a:lnTo>
                    <a:pt x="116" y="94"/>
                  </a:lnTo>
                  <a:lnTo>
                    <a:pt x="116" y="94"/>
                  </a:lnTo>
                  <a:lnTo>
                    <a:pt x="112" y="94"/>
                  </a:lnTo>
                  <a:lnTo>
                    <a:pt x="112" y="94"/>
                  </a:lnTo>
                  <a:lnTo>
                    <a:pt x="112" y="94"/>
                  </a:lnTo>
                  <a:lnTo>
                    <a:pt x="112" y="90"/>
                  </a:lnTo>
                  <a:lnTo>
                    <a:pt x="108" y="90"/>
                  </a:lnTo>
                  <a:lnTo>
                    <a:pt x="108" y="90"/>
                  </a:lnTo>
                  <a:lnTo>
                    <a:pt x="108" y="90"/>
                  </a:lnTo>
                  <a:lnTo>
                    <a:pt x="108" y="90"/>
                  </a:lnTo>
                  <a:lnTo>
                    <a:pt x="108" y="86"/>
                  </a:lnTo>
                  <a:lnTo>
                    <a:pt x="108" y="90"/>
                  </a:lnTo>
                  <a:lnTo>
                    <a:pt x="108" y="90"/>
                  </a:lnTo>
                  <a:lnTo>
                    <a:pt x="108" y="90"/>
                  </a:lnTo>
                  <a:lnTo>
                    <a:pt x="106" y="90"/>
                  </a:lnTo>
                  <a:lnTo>
                    <a:pt x="106" y="90"/>
                  </a:lnTo>
                  <a:lnTo>
                    <a:pt x="106" y="86"/>
                  </a:lnTo>
                  <a:lnTo>
                    <a:pt x="106" y="86"/>
                  </a:lnTo>
                  <a:lnTo>
                    <a:pt x="106" y="86"/>
                  </a:lnTo>
                  <a:lnTo>
                    <a:pt x="106" y="86"/>
                  </a:lnTo>
                  <a:lnTo>
                    <a:pt x="102" y="86"/>
                  </a:lnTo>
                  <a:lnTo>
                    <a:pt x="102" y="86"/>
                  </a:lnTo>
                  <a:lnTo>
                    <a:pt x="102" y="86"/>
                  </a:lnTo>
                  <a:lnTo>
                    <a:pt x="102" y="86"/>
                  </a:lnTo>
                  <a:lnTo>
                    <a:pt x="98" y="86"/>
                  </a:lnTo>
                  <a:lnTo>
                    <a:pt x="98" y="86"/>
                  </a:lnTo>
                  <a:lnTo>
                    <a:pt x="98" y="86"/>
                  </a:lnTo>
                  <a:lnTo>
                    <a:pt x="98" y="86"/>
                  </a:lnTo>
                  <a:lnTo>
                    <a:pt x="98" y="86"/>
                  </a:lnTo>
                  <a:lnTo>
                    <a:pt x="98" y="86"/>
                  </a:lnTo>
                  <a:lnTo>
                    <a:pt x="98" y="86"/>
                  </a:lnTo>
                  <a:lnTo>
                    <a:pt x="94" y="86"/>
                  </a:lnTo>
                  <a:lnTo>
                    <a:pt x="94" y="86"/>
                  </a:lnTo>
                  <a:lnTo>
                    <a:pt x="94" y="86"/>
                  </a:lnTo>
                  <a:lnTo>
                    <a:pt x="94" y="86"/>
                  </a:lnTo>
                  <a:lnTo>
                    <a:pt x="90" y="86"/>
                  </a:lnTo>
                  <a:lnTo>
                    <a:pt x="86" y="86"/>
                  </a:lnTo>
                  <a:lnTo>
                    <a:pt x="86" y="86"/>
                  </a:lnTo>
                  <a:lnTo>
                    <a:pt x="86" y="86"/>
                  </a:lnTo>
                  <a:lnTo>
                    <a:pt x="86" y="86"/>
                  </a:lnTo>
                  <a:lnTo>
                    <a:pt x="86" y="86"/>
                  </a:lnTo>
                  <a:lnTo>
                    <a:pt x="82" y="90"/>
                  </a:lnTo>
                  <a:lnTo>
                    <a:pt x="82" y="90"/>
                  </a:lnTo>
                  <a:lnTo>
                    <a:pt x="82" y="90"/>
                  </a:lnTo>
                  <a:lnTo>
                    <a:pt x="80" y="90"/>
                  </a:lnTo>
                  <a:lnTo>
                    <a:pt x="80" y="94"/>
                  </a:lnTo>
                  <a:lnTo>
                    <a:pt x="80" y="94"/>
                  </a:lnTo>
                  <a:lnTo>
                    <a:pt x="80" y="94"/>
                  </a:lnTo>
                  <a:lnTo>
                    <a:pt x="80" y="94"/>
                  </a:lnTo>
                  <a:lnTo>
                    <a:pt x="76" y="94"/>
                  </a:lnTo>
                  <a:lnTo>
                    <a:pt x="76" y="94"/>
                  </a:lnTo>
                  <a:lnTo>
                    <a:pt x="76" y="94"/>
                  </a:lnTo>
                  <a:lnTo>
                    <a:pt x="76" y="94"/>
                  </a:lnTo>
                  <a:lnTo>
                    <a:pt x="76" y="94"/>
                  </a:lnTo>
                  <a:lnTo>
                    <a:pt x="72" y="94"/>
                  </a:lnTo>
                  <a:lnTo>
                    <a:pt x="72" y="94"/>
                  </a:lnTo>
                  <a:lnTo>
                    <a:pt x="72" y="94"/>
                  </a:lnTo>
                  <a:lnTo>
                    <a:pt x="72" y="94"/>
                  </a:lnTo>
                  <a:lnTo>
                    <a:pt x="72" y="94"/>
                  </a:lnTo>
                  <a:lnTo>
                    <a:pt x="68" y="94"/>
                  </a:lnTo>
                  <a:lnTo>
                    <a:pt x="64" y="94"/>
                  </a:lnTo>
                  <a:lnTo>
                    <a:pt x="64" y="94"/>
                  </a:lnTo>
                  <a:lnTo>
                    <a:pt x="64" y="94"/>
                  </a:lnTo>
                  <a:lnTo>
                    <a:pt x="64" y="94"/>
                  </a:lnTo>
                  <a:lnTo>
                    <a:pt x="60" y="94"/>
                  </a:lnTo>
                  <a:lnTo>
                    <a:pt x="60" y="94"/>
                  </a:lnTo>
                  <a:lnTo>
                    <a:pt x="60" y="94"/>
                  </a:lnTo>
                  <a:lnTo>
                    <a:pt x="60" y="94"/>
                  </a:lnTo>
                  <a:lnTo>
                    <a:pt x="60" y="94"/>
                  </a:lnTo>
                  <a:lnTo>
                    <a:pt x="60" y="94"/>
                  </a:lnTo>
                  <a:lnTo>
                    <a:pt x="60" y="94"/>
                  </a:lnTo>
                  <a:lnTo>
                    <a:pt x="56" y="94"/>
                  </a:lnTo>
                  <a:lnTo>
                    <a:pt x="56" y="94"/>
                  </a:lnTo>
                  <a:lnTo>
                    <a:pt x="56" y="94"/>
                  </a:lnTo>
                  <a:lnTo>
                    <a:pt x="56" y="9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26" name="Freeform 119"/>
            <p:cNvSpPr>
              <a:spLocks/>
            </p:cNvSpPr>
            <p:nvPr/>
          </p:nvSpPr>
          <p:spPr bwMode="auto">
            <a:xfrm>
              <a:off x="7203560" y="3615181"/>
              <a:ext cx="40191" cy="56226"/>
            </a:xfrm>
            <a:custGeom>
              <a:avLst/>
              <a:gdLst>
                <a:gd name="T0" fmla="*/ 0 w 64"/>
                <a:gd name="T1" fmla="*/ 68 h 86"/>
                <a:gd name="T2" fmla="*/ 0 w 64"/>
                <a:gd name="T3" fmla="*/ 64 h 86"/>
                <a:gd name="T4" fmla="*/ 4 w 64"/>
                <a:gd name="T5" fmla="*/ 60 h 86"/>
                <a:gd name="T6" fmla="*/ 8 w 64"/>
                <a:gd name="T7" fmla="*/ 58 h 86"/>
                <a:gd name="T8" fmla="*/ 8 w 64"/>
                <a:gd name="T9" fmla="*/ 54 h 86"/>
                <a:gd name="T10" fmla="*/ 12 w 64"/>
                <a:gd name="T11" fmla="*/ 54 h 86"/>
                <a:gd name="T12" fmla="*/ 16 w 64"/>
                <a:gd name="T13" fmla="*/ 50 h 86"/>
                <a:gd name="T14" fmla="*/ 12 w 64"/>
                <a:gd name="T15" fmla="*/ 46 h 86"/>
                <a:gd name="T16" fmla="*/ 16 w 64"/>
                <a:gd name="T17" fmla="*/ 46 h 86"/>
                <a:gd name="T18" fmla="*/ 12 w 64"/>
                <a:gd name="T19" fmla="*/ 38 h 86"/>
                <a:gd name="T20" fmla="*/ 12 w 64"/>
                <a:gd name="T21" fmla="*/ 30 h 86"/>
                <a:gd name="T22" fmla="*/ 12 w 64"/>
                <a:gd name="T23" fmla="*/ 28 h 86"/>
                <a:gd name="T24" fmla="*/ 8 w 64"/>
                <a:gd name="T25" fmla="*/ 24 h 86"/>
                <a:gd name="T26" fmla="*/ 12 w 64"/>
                <a:gd name="T27" fmla="*/ 20 h 86"/>
                <a:gd name="T28" fmla="*/ 12 w 64"/>
                <a:gd name="T29" fmla="*/ 20 h 86"/>
                <a:gd name="T30" fmla="*/ 12 w 64"/>
                <a:gd name="T31" fmla="*/ 16 h 86"/>
                <a:gd name="T32" fmla="*/ 8 w 64"/>
                <a:gd name="T33" fmla="*/ 12 h 86"/>
                <a:gd name="T34" fmla="*/ 8 w 64"/>
                <a:gd name="T35" fmla="*/ 12 h 86"/>
                <a:gd name="T36" fmla="*/ 4 w 64"/>
                <a:gd name="T37" fmla="*/ 4 h 86"/>
                <a:gd name="T38" fmla="*/ 12 w 64"/>
                <a:gd name="T39" fmla="*/ 4 h 86"/>
                <a:gd name="T40" fmla="*/ 16 w 64"/>
                <a:gd name="T41" fmla="*/ 0 h 86"/>
                <a:gd name="T42" fmla="*/ 24 w 64"/>
                <a:gd name="T43" fmla="*/ 0 h 86"/>
                <a:gd name="T44" fmla="*/ 26 w 64"/>
                <a:gd name="T45" fmla="*/ 4 h 86"/>
                <a:gd name="T46" fmla="*/ 34 w 64"/>
                <a:gd name="T47" fmla="*/ 8 h 86"/>
                <a:gd name="T48" fmla="*/ 34 w 64"/>
                <a:gd name="T49" fmla="*/ 12 h 86"/>
                <a:gd name="T50" fmla="*/ 42 w 64"/>
                <a:gd name="T51" fmla="*/ 20 h 86"/>
                <a:gd name="T52" fmla="*/ 42 w 64"/>
                <a:gd name="T53" fmla="*/ 24 h 86"/>
                <a:gd name="T54" fmla="*/ 46 w 64"/>
                <a:gd name="T55" fmla="*/ 28 h 86"/>
                <a:gd name="T56" fmla="*/ 42 w 64"/>
                <a:gd name="T57" fmla="*/ 28 h 86"/>
                <a:gd name="T58" fmla="*/ 46 w 64"/>
                <a:gd name="T59" fmla="*/ 28 h 86"/>
                <a:gd name="T60" fmla="*/ 50 w 64"/>
                <a:gd name="T61" fmla="*/ 30 h 86"/>
                <a:gd name="T62" fmla="*/ 52 w 64"/>
                <a:gd name="T63" fmla="*/ 34 h 86"/>
                <a:gd name="T64" fmla="*/ 56 w 64"/>
                <a:gd name="T65" fmla="*/ 30 h 86"/>
                <a:gd name="T66" fmla="*/ 60 w 64"/>
                <a:gd name="T67" fmla="*/ 30 h 86"/>
                <a:gd name="T68" fmla="*/ 60 w 64"/>
                <a:gd name="T69" fmla="*/ 34 h 86"/>
                <a:gd name="T70" fmla="*/ 56 w 64"/>
                <a:gd name="T71" fmla="*/ 34 h 86"/>
                <a:gd name="T72" fmla="*/ 60 w 64"/>
                <a:gd name="T73" fmla="*/ 38 h 86"/>
                <a:gd name="T74" fmla="*/ 60 w 64"/>
                <a:gd name="T75" fmla="*/ 42 h 86"/>
                <a:gd name="T76" fmla="*/ 60 w 64"/>
                <a:gd name="T77" fmla="*/ 54 h 86"/>
                <a:gd name="T78" fmla="*/ 64 w 64"/>
                <a:gd name="T79" fmla="*/ 58 h 86"/>
                <a:gd name="T80" fmla="*/ 60 w 64"/>
                <a:gd name="T81" fmla="*/ 64 h 86"/>
                <a:gd name="T82" fmla="*/ 56 w 64"/>
                <a:gd name="T83" fmla="*/ 72 h 86"/>
                <a:gd name="T84" fmla="*/ 56 w 64"/>
                <a:gd name="T85" fmla="*/ 76 h 86"/>
                <a:gd name="T86" fmla="*/ 52 w 64"/>
                <a:gd name="T87" fmla="*/ 76 h 86"/>
                <a:gd name="T88" fmla="*/ 46 w 64"/>
                <a:gd name="T89" fmla="*/ 78 h 86"/>
                <a:gd name="T90" fmla="*/ 42 w 64"/>
                <a:gd name="T91" fmla="*/ 78 h 86"/>
                <a:gd name="T92" fmla="*/ 34 w 64"/>
                <a:gd name="T93" fmla="*/ 82 h 86"/>
                <a:gd name="T94" fmla="*/ 30 w 64"/>
                <a:gd name="T95" fmla="*/ 86 h 86"/>
                <a:gd name="T96" fmla="*/ 30 w 64"/>
                <a:gd name="T97" fmla="*/ 78 h 86"/>
                <a:gd name="T98" fmla="*/ 26 w 64"/>
                <a:gd name="T99" fmla="*/ 76 h 86"/>
                <a:gd name="T100" fmla="*/ 20 w 64"/>
                <a:gd name="T101" fmla="*/ 76 h 86"/>
                <a:gd name="T102" fmla="*/ 20 w 64"/>
                <a:gd name="T103" fmla="*/ 72 h 86"/>
                <a:gd name="T104" fmla="*/ 12 w 64"/>
                <a:gd name="T105" fmla="*/ 78 h 86"/>
                <a:gd name="T106" fmla="*/ 12 w 64"/>
                <a:gd name="T107" fmla="*/ 82 h 86"/>
                <a:gd name="T108" fmla="*/ 12 w 64"/>
                <a:gd name="T109" fmla="*/ 82 h 86"/>
                <a:gd name="T110" fmla="*/ 8 w 64"/>
                <a:gd name="T111" fmla="*/ 78 h 86"/>
                <a:gd name="T112" fmla="*/ 4 w 64"/>
                <a:gd name="T113" fmla="*/ 76 h 86"/>
                <a:gd name="T114" fmla="*/ 4 w 64"/>
                <a:gd name="T115" fmla="*/ 76 h 86"/>
                <a:gd name="T116" fmla="*/ 0 w 64"/>
                <a:gd name="T117" fmla="*/ 7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4" h="86">
                  <a:moveTo>
                    <a:pt x="0" y="72"/>
                  </a:moveTo>
                  <a:lnTo>
                    <a:pt x="0" y="72"/>
                  </a:lnTo>
                  <a:lnTo>
                    <a:pt x="0" y="72"/>
                  </a:lnTo>
                  <a:lnTo>
                    <a:pt x="0" y="72"/>
                  </a:lnTo>
                  <a:lnTo>
                    <a:pt x="0" y="72"/>
                  </a:lnTo>
                  <a:lnTo>
                    <a:pt x="0" y="68"/>
                  </a:lnTo>
                  <a:lnTo>
                    <a:pt x="0" y="68"/>
                  </a:lnTo>
                  <a:lnTo>
                    <a:pt x="0" y="68"/>
                  </a:lnTo>
                  <a:lnTo>
                    <a:pt x="0" y="68"/>
                  </a:lnTo>
                  <a:lnTo>
                    <a:pt x="0" y="64"/>
                  </a:lnTo>
                  <a:lnTo>
                    <a:pt x="0" y="64"/>
                  </a:lnTo>
                  <a:lnTo>
                    <a:pt x="0" y="64"/>
                  </a:lnTo>
                  <a:lnTo>
                    <a:pt x="0" y="64"/>
                  </a:lnTo>
                  <a:lnTo>
                    <a:pt x="4" y="64"/>
                  </a:lnTo>
                  <a:lnTo>
                    <a:pt x="4" y="60"/>
                  </a:lnTo>
                  <a:lnTo>
                    <a:pt x="4" y="60"/>
                  </a:lnTo>
                  <a:lnTo>
                    <a:pt x="4" y="60"/>
                  </a:lnTo>
                  <a:lnTo>
                    <a:pt x="4" y="60"/>
                  </a:lnTo>
                  <a:lnTo>
                    <a:pt x="4" y="58"/>
                  </a:lnTo>
                  <a:lnTo>
                    <a:pt x="4" y="58"/>
                  </a:lnTo>
                  <a:lnTo>
                    <a:pt x="8" y="58"/>
                  </a:lnTo>
                  <a:lnTo>
                    <a:pt x="8" y="58"/>
                  </a:lnTo>
                  <a:lnTo>
                    <a:pt x="8" y="58"/>
                  </a:lnTo>
                  <a:lnTo>
                    <a:pt x="8" y="58"/>
                  </a:lnTo>
                  <a:lnTo>
                    <a:pt x="8" y="58"/>
                  </a:lnTo>
                  <a:lnTo>
                    <a:pt x="8" y="58"/>
                  </a:lnTo>
                  <a:lnTo>
                    <a:pt x="8" y="58"/>
                  </a:lnTo>
                  <a:lnTo>
                    <a:pt x="8" y="58"/>
                  </a:lnTo>
                  <a:lnTo>
                    <a:pt x="8" y="54"/>
                  </a:lnTo>
                  <a:lnTo>
                    <a:pt x="8" y="54"/>
                  </a:lnTo>
                  <a:lnTo>
                    <a:pt x="8" y="54"/>
                  </a:lnTo>
                  <a:lnTo>
                    <a:pt x="8" y="54"/>
                  </a:lnTo>
                  <a:lnTo>
                    <a:pt x="8" y="54"/>
                  </a:lnTo>
                  <a:lnTo>
                    <a:pt x="8" y="54"/>
                  </a:lnTo>
                  <a:lnTo>
                    <a:pt x="12" y="54"/>
                  </a:lnTo>
                  <a:lnTo>
                    <a:pt x="12" y="54"/>
                  </a:lnTo>
                  <a:lnTo>
                    <a:pt x="12" y="54"/>
                  </a:lnTo>
                  <a:lnTo>
                    <a:pt x="16" y="54"/>
                  </a:lnTo>
                  <a:lnTo>
                    <a:pt x="16" y="54"/>
                  </a:lnTo>
                  <a:lnTo>
                    <a:pt x="16" y="54"/>
                  </a:lnTo>
                  <a:lnTo>
                    <a:pt x="16" y="50"/>
                  </a:lnTo>
                  <a:lnTo>
                    <a:pt x="16" y="50"/>
                  </a:lnTo>
                  <a:lnTo>
                    <a:pt x="16" y="50"/>
                  </a:lnTo>
                  <a:lnTo>
                    <a:pt x="16" y="50"/>
                  </a:lnTo>
                  <a:lnTo>
                    <a:pt x="16" y="50"/>
                  </a:lnTo>
                  <a:lnTo>
                    <a:pt x="16" y="46"/>
                  </a:lnTo>
                  <a:lnTo>
                    <a:pt x="12" y="46"/>
                  </a:lnTo>
                  <a:lnTo>
                    <a:pt x="12" y="46"/>
                  </a:lnTo>
                  <a:lnTo>
                    <a:pt x="12" y="42"/>
                  </a:lnTo>
                  <a:lnTo>
                    <a:pt x="12" y="42"/>
                  </a:lnTo>
                  <a:lnTo>
                    <a:pt x="12" y="46"/>
                  </a:lnTo>
                  <a:lnTo>
                    <a:pt x="16" y="46"/>
                  </a:lnTo>
                  <a:lnTo>
                    <a:pt x="16" y="46"/>
                  </a:lnTo>
                  <a:lnTo>
                    <a:pt x="16" y="46"/>
                  </a:lnTo>
                  <a:lnTo>
                    <a:pt x="16" y="42"/>
                  </a:lnTo>
                  <a:lnTo>
                    <a:pt x="16" y="42"/>
                  </a:lnTo>
                  <a:lnTo>
                    <a:pt x="16" y="42"/>
                  </a:lnTo>
                  <a:lnTo>
                    <a:pt x="16" y="42"/>
                  </a:lnTo>
                  <a:lnTo>
                    <a:pt x="12" y="38"/>
                  </a:lnTo>
                  <a:lnTo>
                    <a:pt x="12" y="38"/>
                  </a:lnTo>
                  <a:lnTo>
                    <a:pt x="12" y="38"/>
                  </a:lnTo>
                  <a:lnTo>
                    <a:pt x="12" y="38"/>
                  </a:lnTo>
                  <a:lnTo>
                    <a:pt x="12" y="38"/>
                  </a:lnTo>
                  <a:lnTo>
                    <a:pt x="12" y="34"/>
                  </a:lnTo>
                  <a:lnTo>
                    <a:pt x="12" y="34"/>
                  </a:lnTo>
                  <a:lnTo>
                    <a:pt x="12" y="30"/>
                  </a:lnTo>
                  <a:lnTo>
                    <a:pt x="12" y="30"/>
                  </a:lnTo>
                  <a:lnTo>
                    <a:pt x="12" y="28"/>
                  </a:lnTo>
                  <a:lnTo>
                    <a:pt x="12" y="28"/>
                  </a:lnTo>
                  <a:lnTo>
                    <a:pt x="16" y="28"/>
                  </a:lnTo>
                  <a:lnTo>
                    <a:pt x="16" y="28"/>
                  </a:lnTo>
                  <a:lnTo>
                    <a:pt x="12" y="28"/>
                  </a:lnTo>
                  <a:lnTo>
                    <a:pt x="12" y="24"/>
                  </a:lnTo>
                  <a:lnTo>
                    <a:pt x="12" y="28"/>
                  </a:lnTo>
                  <a:lnTo>
                    <a:pt x="8" y="28"/>
                  </a:lnTo>
                  <a:lnTo>
                    <a:pt x="8" y="28"/>
                  </a:lnTo>
                  <a:lnTo>
                    <a:pt x="8" y="28"/>
                  </a:lnTo>
                  <a:lnTo>
                    <a:pt x="8" y="24"/>
                  </a:lnTo>
                  <a:lnTo>
                    <a:pt x="12" y="24"/>
                  </a:lnTo>
                  <a:lnTo>
                    <a:pt x="12" y="24"/>
                  </a:lnTo>
                  <a:lnTo>
                    <a:pt x="12" y="20"/>
                  </a:lnTo>
                  <a:lnTo>
                    <a:pt x="12" y="20"/>
                  </a:lnTo>
                  <a:lnTo>
                    <a:pt x="12" y="20"/>
                  </a:lnTo>
                  <a:lnTo>
                    <a:pt x="12" y="20"/>
                  </a:lnTo>
                  <a:lnTo>
                    <a:pt x="12" y="20"/>
                  </a:lnTo>
                  <a:lnTo>
                    <a:pt x="16" y="20"/>
                  </a:lnTo>
                  <a:lnTo>
                    <a:pt x="16" y="20"/>
                  </a:lnTo>
                  <a:lnTo>
                    <a:pt x="16" y="20"/>
                  </a:lnTo>
                  <a:lnTo>
                    <a:pt x="16" y="20"/>
                  </a:lnTo>
                  <a:lnTo>
                    <a:pt x="12" y="20"/>
                  </a:lnTo>
                  <a:lnTo>
                    <a:pt x="12" y="20"/>
                  </a:lnTo>
                  <a:lnTo>
                    <a:pt x="12" y="20"/>
                  </a:lnTo>
                  <a:lnTo>
                    <a:pt x="12" y="20"/>
                  </a:lnTo>
                  <a:lnTo>
                    <a:pt x="12" y="20"/>
                  </a:lnTo>
                  <a:lnTo>
                    <a:pt x="12" y="20"/>
                  </a:lnTo>
                  <a:lnTo>
                    <a:pt x="12" y="16"/>
                  </a:lnTo>
                  <a:lnTo>
                    <a:pt x="8" y="16"/>
                  </a:lnTo>
                  <a:lnTo>
                    <a:pt x="8" y="12"/>
                  </a:lnTo>
                  <a:lnTo>
                    <a:pt x="8" y="12"/>
                  </a:lnTo>
                  <a:lnTo>
                    <a:pt x="8" y="12"/>
                  </a:lnTo>
                  <a:lnTo>
                    <a:pt x="8" y="12"/>
                  </a:lnTo>
                  <a:lnTo>
                    <a:pt x="8" y="12"/>
                  </a:lnTo>
                  <a:lnTo>
                    <a:pt x="8" y="12"/>
                  </a:lnTo>
                  <a:lnTo>
                    <a:pt x="8" y="12"/>
                  </a:lnTo>
                  <a:lnTo>
                    <a:pt x="8" y="12"/>
                  </a:lnTo>
                  <a:lnTo>
                    <a:pt x="8" y="12"/>
                  </a:lnTo>
                  <a:lnTo>
                    <a:pt x="8" y="12"/>
                  </a:lnTo>
                  <a:lnTo>
                    <a:pt x="8" y="12"/>
                  </a:lnTo>
                  <a:lnTo>
                    <a:pt x="8" y="12"/>
                  </a:lnTo>
                  <a:lnTo>
                    <a:pt x="8" y="8"/>
                  </a:lnTo>
                  <a:lnTo>
                    <a:pt x="8" y="8"/>
                  </a:lnTo>
                  <a:lnTo>
                    <a:pt x="8" y="8"/>
                  </a:lnTo>
                  <a:lnTo>
                    <a:pt x="8" y="8"/>
                  </a:lnTo>
                  <a:lnTo>
                    <a:pt x="4" y="4"/>
                  </a:lnTo>
                  <a:lnTo>
                    <a:pt x="4" y="4"/>
                  </a:lnTo>
                  <a:lnTo>
                    <a:pt x="4" y="4"/>
                  </a:lnTo>
                  <a:lnTo>
                    <a:pt x="8" y="4"/>
                  </a:lnTo>
                  <a:lnTo>
                    <a:pt x="8" y="4"/>
                  </a:lnTo>
                  <a:lnTo>
                    <a:pt x="8" y="4"/>
                  </a:lnTo>
                  <a:lnTo>
                    <a:pt x="12" y="4"/>
                  </a:lnTo>
                  <a:lnTo>
                    <a:pt x="12" y="4"/>
                  </a:lnTo>
                  <a:lnTo>
                    <a:pt x="12" y="4"/>
                  </a:lnTo>
                  <a:lnTo>
                    <a:pt x="16" y="0"/>
                  </a:lnTo>
                  <a:lnTo>
                    <a:pt x="16" y="0"/>
                  </a:lnTo>
                  <a:lnTo>
                    <a:pt x="16" y="0"/>
                  </a:lnTo>
                  <a:lnTo>
                    <a:pt x="16" y="0"/>
                  </a:lnTo>
                  <a:lnTo>
                    <a:pt x="20" y="0"/>
                  </a:lnTo>
                  <a:lnTo>
                    <a:pt x="20" y="0"/>
                  </a:lnTo>
                  <a:lnTo>
                    <a:pt x="20" y="0"/>
                  </a:lnTo>
                  <a:lnTo>
                    <a:pt x="20" y="0"/>
                  </a:lnTo>
                  <a:lnTo>
                    <a:pt x="24" y="0"/>
                  </a:lnTo>
                  <a:lnTo>
                    <a:pt x="24" y="0"/>
                  </a:lnTo>
                  <a:lnTo>
                    <a:pt x="26" y="0"/>
                  </a:lnTo>
                  <a:lnTo>
                    <a:pt x="26" y="0"/>
                  </a:lnTo>
                  <a:lnTo>
                    <a:pt x="26" y="0"/>
                  </a:lnTo>
                  <a:lnTo>
                    <a:pt x="26" y="0"/>
                  </a:lnTo>
                  <a:lnTo>
                    <a:pt x="26" y="4"/>
                  </a:lnTo>
                  <a:lnTo>
                    <a:pt x="26" y="4"/>
                  </a:lnTo>
                  <a:lnTo>
                    <a:pt x="30" y="4"/>
                  </a:lnTo>
                  <a:lnTo>
                    <a:pt x="30" y="4"/>
                  </a:lnTo>
                  <a:lnTo>
                    <a:pt x="30" y="4"/>
                  </a:lnTo>
                  <a:lnTo>
                    <a:pt x="30" y="8"/>
                  </a:lnTo>
                  <a:lnTo>
                    <a:pt x="30" y="8"/>
                  </a:lnTo>
                  <a:lnTo>
                    <a:pt x="34" y="8"/>
                  </a:lnTo>
                  <a:lnTo>
                    <a:pt x="34" y="8"/>
                  </a:lnTo>
                  <a:lnTo>
                    <a:pt x="34" y="8"/>
                  </a:lnTo>
                  <a:lnTo>
                    <a:pt x="34" y="8"/>
                  </a:lnTo>
                  <a:lnTo>
                    <a:pt x="34" y="12"/>
                  </a:lnTo>
                  <a:lnTo>
                    <a:pt x="34" y="12"/>
                  </a:lnTo>
                  <a:lnTo>
                    <a:pt x="34" y="12"/>
                  </a:lnTo>
                  <a:lnTo>
                    <a:pt x="34" y="12"/>
                  </a:lnTo>
                  <a:lnTo>
                    <a:pt x="34" y="12"/>
                  </a:lnTo>
                  <a:lnTo>
                    <a:pt x="38" y="16"/>
                  </a:lnTo>
                  <a:lnTo>
                    <a:pt x="38" y="16"/>
                  </a:lnTo>
                  <a:lnTo>
                    <a:pt x="42" y="20"/>
                  </a:lnTo>
                  <a:lnTo>
                    <a:pt x="42" y="20"/>
                  </a:lnTo>
                  <a:lnTo>
                    <a:pt x="42" y="20"/>
                  </a:lnTo>
                  <a:lnTo>
                    <a:pt x="42" y="20"/>
                  </a:lnTo>
                  <a:lnTo>
                    <a:pt x="46" y="20"/>
                  </a:lnTo>
                  <a:lnTo>
                    <a:pt x="46" y="20"/>
                  </a:lnTo>
                  <a:lnTo>
                    <a:pt x="42" y="24"/>
                  </a:lnTo>
                  <a:lnTo>
                    <a:pt x="42" y="24"/>
                  </a:lnTo>
                  <a:lnTo>
                    <a:pt x="42" y="24"/>
                  </a:lnTo>
                  <a:lnTo>
                    <a:pt x="42" y="24"/>
                  </a:lnTo>
                  <a:lnTo>
                    <a:pt x="42" y="24"/>
                  </a:lnTo>
                  <a:lnTo>
                    <a:pt x="42" y="24"/>
                  </a:lnTo>
                  <a:lnTo>
                    <a:pt x="46" y="24"/>
                  </a:lnTo>
                  <a:lnTo>
                    <a:pt x="46" y="28"/>
                  </a:lnTo>
                  <a:lnTo>
                    <a:pt x="46" y="28"/>
                  </a:lnTo>
                  <a:lnTo>
                    <a:pt x="46" y="28"/>
                  </a:lnTo>
                  <a:lnTo>
                    <a:pt x="46" y="28"/>
                  </a:lnTo>
                  <a:lnTo>
                    <a:pt x="42" y="28"/>
                  </a:lnTo>
                  <a:lnTo>
                    <a:pt x="42" y="28"/>
                  </a:lnTo>
                  <a:lnTo>
                    <a:pt x="42" y="28"/>
                  </a:lnTo>
                  <a:lnTo>
                    <a:pt x="42" y="28"/>
                  </a:lnTo>
                  <a:lnTo>
                    <a:pt x="42" y="28"/>
                  </a:lnTo>
                  <a:lnTo>
                    <a:pt x="42" y="28"/>
                  </a:lnTo>
                  <a:lnTo>
                    <a:pt x="42" y="28"/>
                  </a:lnTo>
                  <a:lnTo>
                    <a:pt x="46" y="28"/>
                  </a:lnTo>
                  <a:lnTo>
                    <a:pt x="46" y="28"/>
                  </a:lnTo>
                  <a:lnTo>
                    <a:pt x="46" y="28"/>
                  </a:lnTo>
                  <a:lnTo>
                    <a:pt x="46" y="30"/>
                  </a:lnTo>
                  <a:lnTo>
                    <a:pt x="46" y="30"/>
                  </a:lnTo>
                  <a:lnTo>
                    <a:pt x="46" y="30"/>
                  </a:lnTo>
                  <a:lnTo>
                    <a:pt x="46" y="30"/>
                  </a:lnTo>
                  <a:lnTo>
                    <a:pt x="50" y="30"/>
                  </a:lnTo>
                  <a:lnTo>
                    <a:pt x="50" y="30"/>
                  </a:lnTo>
                  <a:lnTo>
                    <a:pt x="50" y="30"/>
                  </a:lnTo>
                  <a:lnTo>
                    <a:pt x="52" y="30"/>
                  </a:lnTo>
                  <a:lnTo>
                    <a:pt x="52" y="30"/>
                  </a:lnTo>
                  <a:lnTo>
                    <a:pt x="52" y="30"/>
                  </a:lnTo>
                  <a:lnTo>
                    <a:pt x="52" y="34"/>
                  </a:lnTo>
                  <a:lnTo>
                    <a:pt x="52" y="34"/>
                  </a:lnTo>
                  <a:lnTo>
                    <a:pt x="52" y="34"/>
                  </a:lnTo>
                  <a:lnTo>
                    <a:pt x="52" y="30"/>
                  </a:lnTo>
                  <a:lnTo>
                    <a:pt x="56" y="30"/>
                  </a:lnTo>
                  <a:lnTo>
                    <a:pt x="56" y="30"/>
                  </a:lnTo>
                  <a:lnTo>
                    <a:pt x="56" y="30"/>
                  </a:lnTo>
                  <a:lnTo>
                    <a:pt x="56" y="30"/>
                  </a:lnTo>
                  <a:lnTo>
                    <a:pt x="56" y="30"/>
                  </a:lnTo>
                  <a:lnTo>
                    <a:pt x="56" y="30"/>
                  </a:lnTo>
                  <a:lnTo>
                    <a:pt x="56" y="30"/>
                  </a:lnTo>
                  <a:lnTo>
                    <a:pt x="60" y="30"/>
                  </a:lnTo>
                  <a:lnTo>
                    <a:pt x="60" y="30"/>
                  </a:lnTo>
                  <a:lnTo>
                    <a:pt x="60" y="30"/>
                  </a:lnTo>
                  <a:lnTo>
                    <a:pt x="60" y="30"/>
                  </a:lnTo>
                  <a:lnTo>
                    <a:pt x="60" y="30"/>
                  </a:lnTo>
                  <a:lnTo>
                    <a:pt x="60" y="30"/>
                  </a:lnTo>
                  <a:lnTo>
                    <a:pt x="60" y="30"/>
                  </a:lnTo>
                  <a:lnTo>
                    <a:pt x="60" y="34"/>
                  </a:lnTo>
                  <a:lnTo>
                    <a:pt x="60" y="34"/>
                  </a:lnTo>
                  <a:lnTo>
                    <a:pt x="60" y="34"/>
                  </a:lnTo>
                  <a:lnTo>
                    <a:pt x="60" y="34"/>
                  </a:lnTo>
                  <a:lnTo>
                    <a:pt x="60" y="30"/>
                  </a:lnTo>
                  <a:lnTo>
                    <a:pt x="60" y="30"/>
                  </a:lnTo>
                  <a:lnTo>
                    <a:pt x="56" y="34"/>
                  </a:lnTo>
                  <a:lnTo>
                    <a:pt x="56" y="34"/>
                  </a:lnTo>
                  <a:lnTo>
                    <a:pt x="60" y="38"/>
                  </a:lnTo>
                  <a:lnTo>
                    <a:pt x="60" y="38"/>
                  </a:lnTo>
                  <a:lnTo>
                    <a:pt x="60" y="38"/>
                  </a:lnTo>
                  <a:lnTo>
                    <a:pt x="60" y="38"/>
                  </a:lnTo>
                  <a:lnTo>
                    <a:pt x="60" y="38"/>
                  </a:lnTo>
                  <a:lnTo>
                    <a:pt x="60" y="38"/>
                  </a:lnTo>
                  <a:lnTo>
                    <a:pt x="60" y="38"/>
                  </a:lnTo>
                  <a:lnTo>
                    <a:pt x="60" y="38"/>
                  </a:lnTo>
                  <a:lnTo>
                    <a:pt x="60" y="38"/>
                  </a:lnTo>
                  <a:lnTo>
                    <a:pt x="60" y="38"/>
                  </a:lnTo>
                  <a:lnTo>
                    <a:pt x="60" y="42"/>
                  </a:lnTo>
                  <a:lnTo>
                    <a:pt x="60" y="42"/>
                  </a:lnTo>
                  <a:lnTo>
                    <a:pt x="60" y="42"/>
                  </a:lnTo>
                  <a:lnTo>
                    <a:pt x="56" y="42"/>
                  </a:lnTo>
                  <a:lnTo>
                    <a:pt x="56" y="46"/>
                  </a:lnTo>
                  <a:lnTo>
                    <a:pt x="56" y="50"/>
                  </a:lnTo>
                  <a:lnTo>
                    <a:pt x="60" y="54"/>
                  </a:lnTo>
                  <a:lnTo>
                    <a:pt x="60" y="54"/>
                  </a:lnTo>
                  <a:lnTo>
                    <a:pt x="60" y="58"/>
                  </a:lnTo>
                  <a:lnTo>
                    <a:pt x="60" y="58"/>
                  </a:lnTo>
                  <a:lnTo>
                    <a:pt x="60" y="58"/>
                  </a:lnTo>
                  <a:lnTo>
                    <a:pt x="64" y="58"/>
                  </a:lnTo>
                  <a:lnTo>
                    <a:pt x="64" y="58"/>
                  </a:lnTo>
                  <a:lnTo>
                    <a:pt x="64" y="60"/>
                  </a:lnTo>
                  <a:lnTo>
                    <a:pt x="64" y="60"/>
                  </a:lnTo>
                  <a:lnTo>
                    <a:pt x="64" y="60"/>
                  </a:lnTo>
                  <a:lnTo>
                    <a:pt x="64" y="60"/>
                  </a:lnTo>
                  <a:lnTo>
                    <a:pt x="64" y="60"/>
                  </a:lnTo>
                  <a:lnTo>
                    <a:pt x="60" y="64"/>
                  </a:lnTo>
                  <a:lnTo>
                    <a:pt x="60" y="64"/>
                  </a:lnTo>
                  <a:lnTo>
                    <a:pt x="60" y="64"/>
                  </a:lnTo>
                  <a:lnTo>
                    <a:pt x="60" y="64"/>
                  </a:lnTo>
                  <a:lnTo>
                    <a:pt x="56" y="64"/>
                  </a:lnTo>
                  <a:lnTo>
                    <a:pt x="56" y="68"/>
                  </a:lnTo>
                  <a:lnTo>
                    <a:pt x="56" y="72"/>
                  </a:lnTo>
                  <a:lnTo>
                    <a:pt x="56" y="72"/>
                  </a:lnTo>
                  <a:lnTo>
                    <a:pt x="56" y="72"/>
                  </a:lnTo>
                  <a:lnTo>
                    <a:pt x="60" y="72"/>
                  </a:lnTo>
                  <a:lnTo>
                    <a:pt x="60" y="72"/>
                  </a:lnTo>
                  <a:lnTo>
                    <a:pt x="60" y="76"/>
                  </a:lnTo>
                  <a:lnTo>
                    <a:pt x="56" y="76"/>
                  </a:lnTo>
                  <a:lnTo>
                    <a:pt x="56" y="76"/>
                  </a:lnTo>
                  <a:lnTo>
                    <a:pt x="56" y="76"/>
                  </a:lnTo>
                  <a:lnTo>
                    <a:pt x="56" y="76"/>
                  </a:lnTo>
                  <a:lnTo>
                    <a:pt x="56" y="76"/>
                  </a:lnTo>
                  <a:lnTo>
                    <a:pt x="52" y="76"/>
                  </a:lnTo>
                  <a:lnTo>
                    <a:pt x="52" y="76"/>
                  </a:lnTo>
                  <a:lnTo>
                    <a:pt x="52" y="76"/>
                  </a:lnTo>
                  <a:lnTo>
                    <a:pt x="52" y="76"/>
                  </a:lnTo>
                  <a:lnTo>
                    <a:pt x="50" y="76"/>
                  </a:lnTo>
                  <a:lnTo>
                    <a:pt x="50" y="76"/>
                  </a:lnTo>
                  <a:lnTo>
                    <a:pt x="50" y="78"/>
                  </a:lnTo>
                  <a:lnTo>
                    <a:pt x="46" y="78"/>
                  </a:lnTo>
                  <a:lnTo>
                    <a:pt x="46" y="78"/>
                  </a:lnTo>
                  <a:lnTo>
                    <a:pt x="46" y="78"/>
                  </a:lnTo>
                  <a:lnTo>
                    <a:pt x="46" y="78"/>
                  </a:lnTo>
                  <a:lnTo>
                    <a:pt x="42" y="78"/>
                  </a:lnTo>
                  <a:lnTo>
                    <a:pt x="42" y="78"/>
                  </a:lnTo>
                  <a:lnTo>
                    <a:pt x="42" y="78"/>
                  </a:lnTo>
                  <a:lnTo>
                    <a:pt x="42" y="78"/>
                  </a:lnTo>
                  <a:lnTo>
                    <a:pt x="38" y="78"/>
                  </a:lnTo>
                  <a:lnTo>
                    <a:pt x="38" y="78"/>
                  </a:lnTo>
                  <a:lnTo>
                    <a:pt x="34" y="78"/>
                  </a:lnTo>
                  <a:lnTo>
                    <a:pt x="34" y="82"/>
                  </a:lnTo>
                  <a:lnTo>
                    <a:pt x="34" y="82"/>
                  </a:lnTo>
                  <a:lnTo>
                    <a:pt x="34" y="82"/>
                  </a:lnTo>
                  <a:lnTo>
                    <a:pt x="34" y="82"/>
                  </a:lnTo>
                  <a:lnTo>
                    <a:pt x="34" y="86"/>
                  </a:lnTo>
                  <a:lnTo>
                    <a:pt x="34" y="86"/>
                  </a:lnTo>
                  <a:lnTo>
                    <a:pt x="30" y="86"/>
                  </a:lnTo>
                  <a:lnTo>
                    <a:pt x="30" y="86"/>
                  </a:lnTo>
                  <a:lnTo>
                    <a:pt x="30" y="82"/>
                  </a:lnTo>
                  <a:lnTo>
                    <a:pt x="30" y="82"/>
                  </a:lnTo>
                  <a:lnTo>
                    <a:pt x="30" y="82"/>
                  </a:lnTo>
                  <a:lnTo>
                    <a:pt x="30" y="82"/>
                  </a:lnTo>
                  <a:lnTo>
                    <a:pt x="30" y="78"/>
                  </a:lnTo>
                  <a:lnTo>
                    <a:pt x="30" y="78"/>
                  </a:lnTo>
                  <a:lnTo>
                    <a:pt x="30" y="78"/>
                  </a:lnTo>
                  <a:lnTo>
                    <a:pt x="26" y="76"/>
                  </a:lnTo>
                  <a:lnTo>
                    <a:pt x="26" y="76"/>
                  </a:lnTo>
                  <a:lnTo>
                    <a:pt x="26" y="76"/>
                  </a:lnTo>
                  <a:lnTo>
                    <a:pt x="26" y="76"/>
                  </a:lnTo>
                  <a:lnTo>
                    <a:pt x="26" y="76"/>
                  </a:lnTo>
                  <a:lnTo>
                    <a:pt x="26" y="72"/>
                  </a:lnTo>
                  <a:lnTo>
                    <a:pt x="24" y="72"/>
                  </a:lnTo>
                  <a:lnTo>
                    <a:pt x="24" y="72"/>
                  </a:lnTo>
                  <a:lnTo>
                    <a:pt x="24" y="72"/>
                  </a:lnTo>
                  <a:lnTo>
                    <a:pt x="24" y="72"/>
                  </a:lnTo>
                  <a:lnTo>
                    <a:pt x="20" y="76"/>
                  </a:lnTo>
                  <a:lnTo>
                    <a:pt x="20" y="72"/>
                  </a:lnTo>
                  <a:lnTo>
                    <a:pt x="20" y="72"/>
                  </a:lnTo>
                  <a:lnTo>
                    <a:pt x="20" y="72"/>
                  </a:lnTo>
                  <a:lnTo>
                    <a:pt x="20" y="72"/>
                  </a:lnTo>
                  <a:lnTo>
                    <a:pt x="20" y="72"/>
                  </a:lnTo>
                  <a:lnTo>
                    <a:pt x="20" y="72"/>
                  </a:lnTo>
                  <a:lnTo>
                    <a:pt x="20" y="72"/>
                  </a:lnTo>
                  <a:lnTo>
                    <a:pt x="20" y="72"/>
                  </a:lnTo>
                  <a:lnTo>
                    <a:pt x="16" y="72"/>
                  </a:lnTo>
                  <a:lnTo>
                    <a:pt x="16" y="72"/>
                  </a:lnTo>
                  <a:lnTo>
                    <a:pt x="16" y="76"/>
                  </a:lnTo>
                  <a:lnTo>
                    <a:pt x="12" y="78"/>
                  </a:lnTo>
                  <a:lnTo>
                    <a:pt x="12" y="78"/>
                  </a:lnTo>
                  <a:lnTo>
                    <a:pt x="16" y="78"/>
                  </a:lnTo>
                  <a:lnTo>
                    <a:pt x="16" y="78"/>
                  </a:lnTo>
                  <a:lnTo>
                    <a:pt x="16" y="82"/>
                  </a:lnTo>
                  <a:lnTo>
                    <a:pt x="12" y="82"/>
                  </a:lnTo>
                  <a:lnTo>
                    <a:pt x="12" y="82"/>
                  </a:lnTo>
                  <a:lnTo>
                    <a:pt x="16" y="86"/>
                  </a:lnTo>
                  <a:lnTo>
                    <a:pt x="12" y="86"/>
                  </a:lnTo>
                  <a:lnTo>
                    <a:pt x="12" y="86"/>
                  </a:lnTo>
                  <a:lnTo>
                    <a:pt x="12" y="82"/>
                  </a:lnTo>
                  <a:lnTo>
                    <a:pt x="12" y="82"/>
                  </a:lnTo>
                  <a:lnTo>
                    <a:pt x="12" y="82"/>
                  </a:lnTo>
                  <a:lnTo>
                    <a:pt x="12" y="82"/>
                  </a:lnTo>
                  <a:lnTo>
                    <a:pt x="12" y="82"/>
                  </a:lnTo>
                  <a:lnTo>
                    <a:pt x="12" y="82"/>
                  </a:lnTo>
                  <a:lnTo>
                    <a:pt x="8" y="78"/>
                  </a:lnTo>
                  <a:lnTo>
                    <a:pt x="8" y="78"/>
                  </a:lnTo>
                  <a:lnTo>
                    <a:pt x="8" y="78"/>
                  </a:lnTo>
                  <a:lnTo>
                    <a:pt x="8" y="78"/>
                  </a:lnTo>
                  <a:lnTo>
                    <a:pt x="8" y="78"/>
                  </a:lnTo>
                  <a:lnTo>
                    <a:pt x="8" y="76"/>
                  </a:lnTo>
                  <a:lnTo>
                    <a:pt x="4" y="78"/>
                  </a:lnTo>
                  <a:lnTo>
                    <a:pt x="4" y="76"/>
                  </a:lnTo>
                  <a:lnTo>
                    <a:pt x="4" y="76"/>
                  </a:lnTo>
                  <a:lnTo>
                    <a:pt x="4" y="76"/>
                  </a:lnTo>
                  <a:lnTo>
                    <a:pt x="0" y="76"/>
                  </a:lnTo>
                  <a:lnTo>
                    <a:pt x="4" y="76"/>
                  </a:lnTo>
                  <a:lnTo>
                    <a:pt x="4" y="76"/>
                  </a:lnTo>
                  <a:lnTo>
                    <a:pt x="4" y="76"/>
                  </a:lnTo>
                  <a:lnTo>
                    <a:pt x="4" y="76"/>
                  </a:lnTo>
                  <a:lnTo>
                    <a:pt x="4" y="76"/>
                  </a:lnTo>
                  <a:lnTo>
                    <a:pt x="0" y="76"/>
                  </a:lnTo>
                  <a:lnTo>
                    <a:pt x="0" y="76"/>
                  </a:lnTo>
                  <a:lnTo>
                    <a:pt x="0" y="76"/>
                  </a:lnTo>
                  <a:lnTo>
                    <a:pt x="0" y="76"/>
                  </a:lnTo>
                  <a:lnTo>
                    <a:pt x="0" y="72"/>
                  </a:lnTo>
                  <a:lnTo>
                    <a:pt x="0" y="72"/>
                  </a:lnTo>
                  <a:lnTo>
                    <a:pt x="0" y="72"/>
                  </a:lnTo>
                  <a:lnTo>
                    <a:pt x="0" y="72"/>
                  </a:lnTo>
                  <a:lnTo>
                    <a:pt x="0" y="7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27" name="Freeform 120"/>
            <p:cNvSpPr>
              <a:spLocks/>
            </p:cNvSpPr>
            <p:nvPr/>
          </p:nvSpPr>
          <p:spPr bwMode="auto">
            <a:xfrm>
              <a:off x="7189744" y="3569416"/>
              <a:ext cx="51494" cy="24844"/>
            </a:xfrm>
            <a:custGeom>
              <a:avLst/>
              <a:gdLst>
                <a:gd name="T0" fmla="*/ 30 w 82"/>
                <a:gd name="T1" fmla="*/ 30 h 38"/>
                <a:gd name="T2" fmla="*/ 26 w 82"/>
                <a:gd name="T3" fmla="*/ 34 h 38"/>
                <a:gd name="T4" fmla="*/ 30 w 82"/>
                <a:gd name="T5" fmla="*/ 38 h 38"/>
                <a:gd name="T6" fmla="*/ 26 w 82"/>
                <a:gd name="T7" fmla="*/ 38 h 38"/>
                <a:gd name="T8" fmla="*/ 22 w 82"/>
                <a:gd name="T9" fmla="*/ 38 h 38"/>
                <a:gd name="T10" fmla="*/ 22 w 82"/>
                <a:gd name="T11" fmla="*/ 38 h 38"/>
                <a:gd name="T12" fmla="*/ 20 w 82"/>
                <a:gd name="T13" fmla="*/ 38 h 38"/>
                <a:gd name="T14" fmla="*/ 16 w 82"/>
                <a:gd name="T15" fmla="*/ 38 h 38"/>
                <a:gd name="T16" fmla="*/ 8 w 82"/>
                <a:gd name="T17" fmla="*/ 34 h 38"/>
                <a:gd name="T18" fmla="*/ 8 w 82"/>
                <a:gd name="T19" fmla="*/ 34 h 38"/>
                <a:gd name="T20" fmla="*/ 4 w 82"/>
                <a:gd name="T21" fmla="*/ 34 h 38"/>
                <a:gd name="T22" fmla="*/ 4 w 82"/>
                <a:gd name="T23" fmla="*/ 30 h 38"/>
                <a:gd name="T24" fmla="*/ 0 w 82"/>
                <a:gd name="T25" fmla="*/ 26 h 38"/>
                <a:gd name="T26" fmla="*/ 0 w 82"/>
                <a:gd name="T27" fmla="*/ 22 h 38"/>
                <a:gd name="T28" fmla="*/ 0 w 82"/>
                <a:gd name="T29" fmla="*/ 18 h 38"/>
                <a:gd name="T30" fmla="*/ 4 w 82"/>
                <a:gd name="T31" fmla="*/ 14 h 38"/>
                <a:gd name="T32" fmla="*/ 8 w 82"/>
                <a:gd name="T33" fmla="*/ 14 h 38"/>
                <a:gd name="T34" fmla="*/ 12 w 82"/>
                <a:gd name="T35" fmla="*/ 14 h 38"/>
                <a:gd name="T36" fmla="*/ 16 w 82"/>
                <a:gd name="T37" fmla="*/ 12 h 38"/>
                <a:gd name="T38" fmla="*/ 20 w 82"/>
                <a:gd name="T39" fmla="*/ 8 h 38"/>
                <a:gd name="T40" fmla="*/ 20 w 82"/>
                <a:gd name="T41" fmla="*/ 8 h 38"/>
                <a:gd name="T42" fmla="*/ 22 w 82"/>
                <a:gd name="T43" fmla="*/ 4 h 38"/>
                <a:gd name="T44" fmla="*/ 30 w 82"/>
                <a:gd name="T45" fmla="*/ 0 h 38"/>
                <a:gd name="T46" fmla="*/ 30 w 82"/>
                <a:gd name="T47" fmla="*/ 4 h 38"/>
                <a:gd name="T48" fmla="*/ 34 w 82"/>
                <a:gd name="T49" fmla="*/ 0 h 38"/>
                <a:gd name="T50" fmla="*/ 38 w 82"/>
                <a:gd name="T51" fmla="*/ 0 h 38"/>
                <a:gd name="T52" fmla="*/ 42 w 82"/>
                <a:gd name="T53" fmla="*/ 4 h 38"/>
                <a:gd name="T54" fmla="*/ 42 w 82"/>
                <a:gd name="T55" fmla="*/ 8 h 38"/>
                <a:gd name="T56" fmla="*/ 42 w 82"/>
                <a:gd name="T57" fmla="*/ 8 h 38"/>
                <a:gd name="T58" fmla="*/ 46 w 82"/>
                <a:gd name="T59" fmla="*/ 8 h 38"/>
                <a:gd name="T60" fmla="*/ 46 w 82"/>
                <a:gd name="T61" fmla="*/ 8 h 38"/>
                <a:gd name="T62" fmla="*/ 48 w 82"/>
                <a:gd name="T63" fmla="*/ 4 h 38"/>
                <a:gd name="T64" fmla="*/ 56 w 82"/>
                <a:gd name="T65" fmla="*/ 4 h 38"/>
                <a:gd name="T66" fmla="*/ 60 w 82"/>
                <a:gd name="T67" fmla="*/ 8 h 38"/>
                <a:gd name="T68" fmla="*/ 64 w 82"/>
                <a:gd name="T69" fmla="*/ 4 h 38"/>
                <a:gd name="T70" fmla="*/ 68 w 82"/>
                <a:gd name="T71" fmla="*/ 4 h 38"/>
                <a:gd name="T72" fmla="*/ 72 w 82"/>
                <a:gd name="T73" fmla="*/ 4 h 38"/>
                <a:gd name="T74" fmla="*/ 74 w 82"/>
                <a:gd name="T75" fmla="*/ 8 h 38"/>
                <a:gd name="T76" fmla="*/ 82 w 82"/>
                <a:gd name="T77" fmla="*/ 12 h 38"/>
                <a:gd name="T78" fmla="*/ 78 w 82"/>
                <a:gd name="T79" fmla="*/ 14 h 38"/>
                <a:gd name="T80" fmla="*/ 74 w 82"/>
                <a:gd name="T81" fmla="*/ 22 h 38"/>
                <a:gd name="T82" fmla="*/ 74 w 82"/>
                <a:gd name="T83" fmla="*/ 26 h 38"/>
                <a:gd name="T84" fmla="*/ 72 w 82"/>
                <a:gd name="T85" fmla="*/ 26 h 38"/>
                <a:gd name="T86" fmla="*/ 68 w 82"/>
                <a:gd name="T87" fmla="*/ 26 h 38"/>
                <a:gd name="T88" fmla="*/ 64 w 82"/>
                <a:gd name="T89" fmla="*/ 22 h 38"/>
                <a:gd name="T90" fmla="*/ 60 w 82"/>
                <a:gd name="T91" fmla="*/ 22 h 38"/>
                <a:gd name="T92" fmla="*/ 56 w 82"/>
                <a:gd name="T93" fmla="*/ 22 h 38"/>
                <a:gd name="T94" fmla="*/ 52 w 82"/>
                <a:gd name="T95" fmla="*/ 22 h 38"/>
                <a:gd name="T96" fmla="*/ 48 w 82"/>
                <a:gd name="T97" fmla="*/ 26 h 38"/>
                <a:gd name="T98" fmla="*/ 48 w 82"/>
                <a:gd name="T99" fmla="*/ 26 h 38"/>
                <a:gd name="T100" fmla="*/ 46 w 82"/>
                <a:gd name="T101" fmla="*/ 30 h 38"/>
                <a:gd name="T102" fmla="*/ 46 w 82"/>
                <a:gd name="T103" fmla="*/ 30 h 38"/>
                <a:gd name="T104" fmla="*/ 42 w 82"/>
                <a:gd name="T105" fmla="*/ 30 h 38"/>
                <a:gd name="T106" fmla="*/ 38 w 82"/>
                <a:gd name="T107" fmla="*/ 30 h 38"/>
                <a:gd name="T108" fmla="*/ 30 w 82"/>
                <a:gd name="T109"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2" h="38">
                  <a:moveTo>
                    <a:pt x="30" y="30"/>
                  </a:moveTo>
                  <a:lnTo>
                    <a:pt x="30" y="30"/>
                  </a:lnTo>
                  <a:lnTo>
                    <a:pt x="30" y="30"/>
                  </a:lnTo>
                  <a:lnTo>
                    <a:pt x="30" y="30"/>
                  </a:lnTo>
                  <a:lnTo>
                    <a:pt x="30" y="34"/>
                  </a:lnTo>
                  <a:lnTo>
                    <a:pt x="26" y="34"/>
                  </a:lnTo>
                  <a:lnTo>
                    <a:pt x="26" y="34"/>
                  </a:lnTo>
                  <a:lnTo>
                    <a:pt x="26" y="34"/>
                  </a:lnTo>
                  <a:lnTo>
                    <a:pt x="26" y="34"/>
                  </a:lnTo>
                  <a:lnTo>
                    <a:pt x="26" y="38"/>
                  </a:lnTo>
                  <a:lnTo>
                    <a:pt x="30" y="38"/>
                  </a:lnTo>
                  <a:lnTo>
                    <a:pt x="30" y="38"/>
                  </a:lnTo>
                  <a:lnTo>
                    <a:pt x="26" y="38"/>
                  </a:lnTo>
                  <a:lnTo>
                    <a:pt x="26" y="38"/>
                  </a:lnTo>
                  <a:lnTo>
                    <a:pt x="26" y="38"/>
                  </a:lnTo>
                  <a:lnTo>
                    <a:pt x="26" y="38"/>
                  </a:lnTo>
                  <a:lnTo>
                    <a:pt x="26" y="38"/>
                  </a:lnTo>
                  <a:lnTo>
                    <a:pt x="26" y="38"/>
                  </a:lnTo>
                  <a:lnTo>
                    <a:pt x="26" y="38"/>
                  </a:lnTo>
                  <a:lnTo>
                    <a:pt x="22" y="38"/>
                  </a:lnTo>
                  <a:lnTo>
                    <a:pt x="22" y="38"/>
                  </a:lnTo>
                  <a:lnTo>
                    <a:pt x="22" y="38"/>
                  </a:lnTo>
                  <a:lnTo>
                    <a:pt x="22" y="38"/>
                  </a:lnTo>
                  <a:lnTo>
                    <a:pt x="22" y="38"/>
                  </a:lnTo>
                  <a:lnTo>
                    <a:pt x="20" y="38"/>
                  </a:lnTo>
                  <a:lnTo>
                    <a:pt x="20" y="38"/>
                  </a:lnTo>
                  <a:lnTo>
                    <a:pt x="20" y="38"/>
                  </a:lnTo>
                  <a:lnTo>
                    <a:pt x="20" y="38"/>
                  </a:lnTo>
                  <a:lnTo>
                    <a:pt x="16" y="38"/>
                  </a:lnTo>
                  <a:lnTo>
                    <a:pt x="16" y="38"/>
                  </a:lnTo>
                  <a:lnTo>
                    <a:pt x="16" y="38"/>
                  </a:lnTo>
                  <a:lnTo>
                    <a:pt x="16" y="38"/>
                  </a:lnTo>
                  <a:lnTo>
                    <a:pt x="12" y="38"/>
                  </a:lnTo>
                  <a:lnTo>
                    <a:pt x="8" y="34"/>
                  </a:lnTo>
                  <a:lnTo>
                    <a:pt x="8" y="34"/>
                  </a:lnTo>
                  <a:lnTo>
                    <a:pt x="8" y="34"/>
                  </a:lnTo>
                  <a:lnTo>
                    <a:pt x="8" y="34"/>
                  </a:lnTo>
                  <a:lnTo>
                    <a:pt x="8" y="34"/>
                  </a:lnTo>
                  <a:lnTo>
                    <a:pt x="8" y="34"/>
                  </a:lnTo>
                  <a:lnTo>
                    <a:pt x="8" y="34"/>
                  </a:lnTo>
                  <a:lnTo>
                    <a:pt x="4" y="34"/>
                  </a:lnTo>
                  <a:lnTo>
                    <a:pt x="4" y="34"/>
                  </a:lnTo>
                  <a:lnTo>
                    <a:pt x="4" y="34"/>
                  </a:lnTo>
                  <a:lnTo>
                    <a:pt x="4" y="34"/>
                  </a:lnTo>
                  <a:lnTo>
                    <a:pt x="4" y="34"/>
                  </a:lnTo>
                  <a:lnTo>
                    <a:pt x="4" y="30"/>
                  </a:lnTo>
                  <a:lnTo>
                    <a:pt x="4" y="30"/>
                  </a:lnTo>
                  <a:lnTo>
                    <a:pt x="4" y="30"/>
                  </a:lnTo>
                  <a:lnTo>
                    <a:pt x="4" y="30"/>
                  </a:lnTo>
                  <a:lnTo>
                    <a:pt x="0" y="30"/>
                  </a:lnTo>
                  <a:lnTo>
                    <a:pt x="0" y="26"/>
                  </a:lnTo>
                  <a:lnTo>
                    <a:pt x="0" y="26"/>
                  </a:lnTo>
                  <a:lnTo>
                    <a:pt x="0" y="26"/>
                  </a:lnTo>
                  <a:lnTo>
                    <a:pt x="0" y="26"/>
                  </a:lnTo>
                  <a:lnTo>
                    <a:pt x="0" y="22"/>
                  </a:lnTo>
                  <a:lnTo>
                    <a:pt x="0" y="22"/>
                  </a:lnTo>
                  <a:lnTo>
                    <a:pt x="0" y="22"/>
                  </a:lnTo>
                  <a:lnTo>
                    <a:pt x="0" y="22"/>
                  </a:lnTo>
                  <a:lnTo>
                    <a:pt x="0" y="22"/>
                  </a:lnTo>
                  <a:lnTo>
                    <a:pt x="0" y="18"/>
                  </a:lnTo>
                  <a:lnTo>
                    <a:pt x="0" y="18"/>
                  </a:lnTo>
                  <a:lnTo>
                    <a:pt x="4" y="18"/>
                  </a:lnTo>
                  <a:lnTo>
                    <a:pt x="4" y="18"/>
                  </a:lnTo>
                  <a:lnTo>
                    <a:pt x="4" y="14"/>
                  </a:lnTo>
                  <a:lnTo>
                    <a:pt x="4" y="14"/>
                  </a:lnTo>
                  <a:lnTo>
                    <a:pt x="4" y="14"/>
                  </a:lnTo>
                  <a:lnTo>
                    <a:pt x="8" y="14"/>
                  </a:lnTo>
                  <a:lnTo>
                    <a:pt x="8" y="14"/>
                  </a:lnTo>
                  <a:lnTo>
                    <a:pt x="8" y="14"/>
                  </a:lnTo>
                  <a:lnTo>
                    <a:pt x="8" y="14"/>
                  </a:lnTo>
                  <a:lnTo>
                    <a:pt x="12" y="14"/>
                  </a:lnTo>
                  <a:lnTo>
                    <a:pt x="12" y="14"/>
                  </a:lnTo>
                  <a:lnTo>
                    <a:pt x="12" y="14"/>
                  </a:lnTo>
                  <a:lnTo>
                    <a:pt x="12" y="14"/>
                  </a:lnTo>
                  <a:lnTo>
                    <a:pt x="16" y="14"/>
                  </a:lnTo>
                  <a:lnTo>
                    <a:pt x="16" y="12"/>
                  </a:lnTo>
                  <a:lnTo>
                    <a:pt x="20" y="12"/>
                  </a:lnTo>
                  <a:lnTo>
                    <a:pt x="20" y="12"/>
                  </a:lnTo>
                  <a:lnTo>
                    <a:pt x="20" y="12"/>
                  </a:lnTo>
                  <a:lnTo>
                    <a:pt x="20" y="8"/>
                  </a:lnTo>
                  <a:lnTo>
                    <a:pt x="20" y="8"/>
                  </a:lnTo>
                  <a:lnTo>
                    <a:pt x="20" y="8"/>
                  </a:lnTo>
                  <a:lnTo>
                    <a:pt x="20" y="8"/>
                  </a:lnTo>
                  <a:lnTo>
                    <a:pt x="20" y="8"/>
                  </a:lnTo>
                  <a:lnTo>
                    <a:pt x="20" y="8"/>
                  </a:lnTo>
                  <a:lnTo>
                    <a:pt x="20" y="8"/>
                  </a:lnTo>
                  <a:lnTo>
                    <a:pt x="22" y="4"/>
                  </a:lnTo>
                  <a:lnTo>
                    <a:pt x="22" y="4"/>
                  </a:lnTo>
                  <a:lnTo>
                    <a:pt x="22" y="4"/>
                  </a:lnTo>
                  <a:lnTo>
                    <a:pt x="26" y="0"/>
                  </a:lnTo>
                  <a:lnTo>
                    <a:pt x="26" y="0"/>
                  </a:lnTo>
                  <a:lnTo>
                    <a:pt x="30" y="0"/>
                  </a:lnTo>
                  <a:lnTo>
                    <a:pt x="30" y="4"/>
                  </a:lnTo>
                  <a:lnTo>
                    <a:pt x="30" y="4"/>
                  </a:lnTo>
                  <a:lnTo>
                    <a:pt x="30" y="4"/>
                  </a:lnTo>
                  <a:lnTo>
                    <a:pt x="30" y="4"/>
                  </a:lnTo>
                  <a:lnTo>
                    <a:pt x="34" y="4"/>
                  </a:lnTo>
                  <a:lnTo>
                    <a:pt x="34" y="4"/>
                  </a:lnTo>
                  <a:lnTo>
                    <a:pt x="34" y="4"/>
                  </a:lnTo>
                  <a:lnTo>
                    <a:pt x="34" y="0"/>
                  </a:lnTo>
                  <a:lnTo>
                    <a:pt x="34" y="0"/>
                  </a:lnTo>
                  <a:lnTo>
                    <a:pt x="38" y="0"/>
                  </a:lnTo>
                  <a:lnTo>
                    <a:pt x="38" y="0"/>
                  </a:lnTo>
                  <a:lnTo>
                    <a:pt x="38" y="0"/>
                  </a:lnTo>
                  <a:lnTo>
                    <a:pt x="38" y="0"/>
                  </a:lnTo>
                  <a:lnTo>
                    <a:pt x="38" y="4"/>
                  </a:lnTo>
                  <a:lnTo>
                    <a:pt x="42" y="4"/>
                  </a:lnTo>
                  <a:lnTo>
                    <a:pt x="42" y="4"/>
                  </a:lnTo>
                  <a:lnTo>
                    <a:pt x="42" y="4"/>
                  </a:lnTo>
                  <a:lnTo>
                    <a:pt x="42" y="4"/>
                  </a:lnTo>
                  <a:lnTo>
                    <a:pt x="42" y="8"/>
                  </a:lnTo>
                  <a:lnTo>
                    <a:pt x="42" y="8"/>
                  </a:lnTo>
                  <a:lnTo>
                    <a:pt x="42" y="8"/>
                  </a:lnTo>
                  <a:lnTo>
                    <a:pt x="42" y="8"/>
                  </a:lnTo>
                  <a:lnTo>
                    <a:pt x="42" y="8"/>
                  </a:lnTo>
                  <a:lnTo>
                    <a:pt x="42" y="8"/>
                  </a:lnTo>
                  <a:lnTo>
                    <a:pt x="42" y="8"/>
                  </a:lnTo>
                  <a:lnTo>
                    <a:pt x="46" y="8"/>
                  </a:lnTo>
                  <a:lnTo>
                    <a:pt x="46" y="8"/>
                  </a:lnTo>
                  <a:lnTo>
                    <a:pt x="46" y="8"/>
                  </a:lnTo>
                  <a:lnTo>
                    <a:pt x="46" y="8"/>
                  </a:lnTo>
                  <a:lnTo>
                    <a:pt x="46" y="8"/>
                  </a:lnTo>
                  <a:lnTo>
                    <a:pt x="46" y="8"/>
                  </a:lnTo>
                  <a:lnTo>
                    <a:pt x="46" y="8"/>
                  </a:lnTo>
                  <a:lnTo>
                    <a:pt x="46" y="8"/>
                  </a:lnTo>
                  <a:lnTo>
                    <a:pt x="46" y="8"/>
                  </a:lnTo>
                  <a:lnTo>
                    <a:pt x="46" y="8"/>
                  </a:lnTo>
                  <a:lnTo>
                    <a:pt x="48" y="4"/>
                  </a:lnTo>
                  <a:lnTo>
                    <a:pt x="48" y="4"/>
                  </a:lnTo>
                  <a:lnTo>
                    <a:pt x="48" y="4"/>
                  </a:lnTo>
                  <a:lnTo>
                    <a:pt x="52" y="4"/>
                  </a:lnTo>
                  <a:lnTo>
                    <a:pt x="56" y="4"/>
                  </a:lnTo>
                  <a:lnTo>
                    <a:pt x="56" y="4"/>
                  </a:lnTo>
                  <a:lnTo>
                    <a:pt x="56" y="8"/>
                  </a:lnTo>
                  <a:lnTo>
                    <a:pt x="60" y="8"/>
                  </a:lnTo>
                  <a:lnTo>
                    <a:pt x="60" y="8"/>
                  </a:lnTo>
                  <a:lnTo>
                    <a:pt x="60" y="4"/>
                  </a:lnTo>
                  <a:lnTo>
                    <a:pt x="60" y="4"/>
                  </a:lnTo>
                  <a:lnTo>
                    <a:pt x="60" y="4"/>
                  </a:lnTo>
                  <a:lnTo>
                    <a:pt x="64" y="4"/>
                  </a:lnTo>
                  <a:lnTo>
                    <a:pt x="64" y="4"/>
                  </a:lnTo>
                  <a:lnTo>
                    <a:pt x="64" y="4"/>
                  </a:lnTo>
                  <a:lnTo>
                    <a:pt x="64" y="4"/>
                  </a:lnTo>
                  <a:lnTo>
                    <a:pt x="68" y="4"/>
                  </a:lnTo>
                  <a:lnTo>
                    <a:pt x="68" y="4"/>
                  </a:lnTo>
                  <a:lnTo>
                    <a:pt x="68" y="4"/>
                  </a:lnTo>
                  <a:lnTo>
                    <a:pt x="72" y="4"/>
                  </a:lnTo>
                  <a:lnTo>
                    <a:pt x="72" y="4"/>
                  </a:lnTo>
                  <a:lnTo>
                    <a:pt x="74" y="8"/>
                  </a:lnTo>
                  <a:lnTo>
                    <a:pt x="74" y="8"/>
                  </a:lnTo>
                  <a:lnTo>
                    <a:pt x="74" y="8"/>
                  </a:lnTo>
                  <a:lnTo>
                    <a:pt x="74" y="8"/>
                  </a:lnTo>
                  <a:lnTo>
                    <a:pt x="78" y="12"/>
                  </a:lnTo>
                  <a:lnTo>
                    <a:pt x="78" y="12"/>
                  </a:lnTo>
                  <a:lnTo>
                    <a:pt x="82" y="12"/>
                  </a:lnTo>
                  <a:lnTo>
                    <a:pt x="82" y="12"/>
                  </a:lnTo>
                  <a:lnTo>
                    <a:pt x="82" y="12"/>
                  </a:lnTo>
                  <a:lnTo>
                    <a:pt x="82" y="12"/>
                  </a:lnTo>
                  <a:lnTo>
                    <a:pt x="78" y="14"/>
                  </a:lnTo>
                  <a:lnTo>
                    <a:pt x="78" y="14"/>
                  </a:lnTo>
                  <a:lnTo>
                    <a:pt x="78" y="14"/>
                  </a:lnTo>
                  <a:lnTo>
                    <a:pt x="78" y="18"/>
                  </a:lnTo>
                  <a:lnTo>
                    <a:pt x="74" y="18"/>
                  </a:lnTo>
                  <a:lnTo>
                    <a:pt x="74" y="22"/>
                  </a:lnTo>
                  <a:lnTo>
                    <a:pt x="74" y="22"/>
                  </a:lnTo>
                  <a:lnTo>
                    <a:pt x="74" y="26"/>
                  </a:lnTo>
                  <a:lnTo>
                    <a:pt x="74" y="26"/>
                  </a:lnTo>
                  <a:lnTo>
                    <a:pt x="74" y="26"/>
                  </a:lnTo>
                  <a:lnTo>
                    <a:pt x="74" y="26"/>
                  </a:lnTo>
                  <a:lnTo>
                    <a:pt x="74" y="26"/>
                  </a:lnTo>
                  <a:lnTo>
                    <a:pt x="72" y="26"/>
                  </a:lnTo>
                  <a:lnTo>
                    <a:pt x="72" y="26"/>
                  </a:lnTo>
                  <a:lnTo>
                    <a:pt x="72" y="26"/>
                  </a:lnTo>
                  <a:lnTo>
                    <a:pt x="72" y="26"/>
                  </a:lnTo>
                  <a:lnTo>
                    <a:pt x="72" y="26"/>
                  </a:lnTo>
                  <a:lnTo>
                    <a:pt x="68" y="26"/>
                  </a:lnTo>
                  <a:lnTo>
                    <a:pt x="68" y="22"/>
                  </a:lnTo>
                  <a:lnTo>
                    <a:pt x="68" y="22"/>
                  </a:lnTo>
                  <a:lnTo>
                    <a:pt x="68" y="22"/>
                  </a:lnTo>
                  <a:lnTo>
                    <a:pt x="64" y="22"/>
                  </a:lnTo>
                  <a:lnTo>
                    <a:pt x="64" y="22"/>
                  </a:lnTo>
                  <a:lnTo>
                    <a:pt x="64" y="22"/>
                  </a:lnTo>
                  <a:lnTo>
                    <a:pt x="60" y="22"/>
                  </a:lnTo>
                  <a:lnTo>
                    <a:pt x="60" y="22"/>
                  </a:lnTo>
                  <a:lnTo>
                    <a:pt x="56" y="22"/>
                  </a:lnTo>
                  <a:lnTo>
                    <a:pt x="56" y="22"/>
                  </a:lnTo>
                  <a:lnTo>
                    <a:pt x="56" y="22"/>
                  </a:lnTo>
                  <a:lnTo>
                    <a:pt x="56" y="22"/>
                  </a:lnTo>
                  <a:lnTo>
                    <a:pt x="56" y="22"/>
                  </a:lnTo>
                  <a:lnTo>
                    <a:pt x="52" y="22"/>
                  </a:lnTo>
                  <a:lnTo>
                    <a:pt x="52" y="22"/>
                  </a:lnTo>
                  <a:lnTo>
                    <a:pt x="52" y="22"/>
                  </a:lnTo>
                  <a:lnTo>
                    <a:pt x="52" y="22"/>
                  </a:lnTo>
                  <a:lnTo>
                    <a:pt x="52" y="22"/>
                  </a:lnTo>
                  <a:lnTo>
                    <a:pt x="52" y="22"/>
                  </a:lnTo>
                  <a:lnTo>
                    <a:pt x="48" y="26"/>
                  </a:lnTo>
                  <a:lnTo>
                    <a:pt x="48" y="26"/>
                  </a:lnTo>
                  <a:lnTo>
                    <a:pt x="48" y="26"/>
                  </a:lnTo>
                  <a:lnTo>
                    <a:pt x="48" y="26"/>
                  </a:lnTo>
                  <a:lnTo>
                    <a:pt x="48" y="26"/>
                  </a:lnTo>
                  <a:lnTo>
                    <a:pt x="48" y="26"/>
                  </a:lnTo>
                  <a:lnTo>
                    <a:pt x="48" y="26"/>
                  </a:lnTo>
                  <a:lnTo>
                    <a:pt x="46" y="30"/>
                  </a:lnTo>
                  <a:lnTo>
                    <a:pt x="46" y="30"/>
                  </a:lnTo>
                  <a:lnTo>
                    <a:pt x="46" y="30"/>
                  </a:lnTo>
                  <a:lnTo>
                    <a:pt x="46" y="30"/>
                  </a:lnTo>
                  <a:lnTo>
                    <a:pt x="46" y="30"/>
                  </a:lnTo>
                  <a:lnTo>
                    <a:pt x="46" y="30"/>
                  </a:lnTo>
                  <a:lnTo>
                    <a:pt x="46" y="30"/>
                  </a:lnTo>
                  <a:lnTo>
                    <a:pt x="42" y="30"/>
                  </a:lnTo>
                  <a:lnTo>
                    <a:pt x="42" y="30"/>
                  </a:lnTo>
                  <a:lnTo>
                    <a:pt x="42" y="30"/>
                  </a:lnTo>
                  <a:lnTo>
                    <a:pt x="38" y="30"/>
                  </a:lnTo>
                  <a:lnTo>
                    <a:pt x="38" y="30"/>
                  </a:lnTo>
                  <a:lnTo>
                    <a:pt x="38" y="30"/>
                  </a:lnTo>
                  <a:lnTo>
                    <a:pt x="38" y="30"/>
                  </a:lnTo>
                  <a:lnTo>
                    <a:pt x="38" y="30"/>
                  </a:lnTo>
                  <a:lnTo>
                    <a:pt x="34" y="30"/>
                  </a:lnTo>
                  <a:lnTo>
                    <a:pt x="34" y="30"/>
                  </a:lnTo>
                  <a:lnTo>
                    <a:pt x="30" y="30"/>
                  </a:lnTo>
                  <a:lnTo>
                    <a:pt x="30" y="30"/>
                  </a:lnTo>
                  <a:lnTo>
                    <a:pt x="30" y="30"/>
                  </a:lnTo>
                  <a:lnTo>
                    <a:pt x="30" y="3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28" name="Freeform 121"/>
            <p:cNvSpPr>
              <a:spLocks/>
            </p:cNvSpPr>
            <p:nvPr/>
          </p:nvSpPr>
          <p:spPr bwMode="auto">
            <a:xfrm>
              <a:off x="7159601" y="3606028"/>
              <a:ext cx="27631" cy="19614"/>
            </a:xfrm>
            <a:custGeom>
              <a:avLst/>
              <a:gdLst>
                <a:gd name="T0" fmla="*/ 26 w 44"/>
                <a:gd name="T1" fmla="*/ 26 h 30"/>
                <a:gd name="T2" fmla="*/ 26 w 44"/>
                <a:gd name="T3" fmla="*/ 30 h 30"/>
                <a:gd name="T4" fmla="*/ 22 w 44"/>
                <a:gd name="T5" fmla="*/ 26 h 30"/>
                <a:gd name="T6" fmla="*/ 18 w 44"/>
                <a:gd name="T7" fmla="*/ 26 h 30"/>
                <a:gd name="T8" fmla="*/ 14 w 44"/>
                <a:gd name="T9" fmla="*/ 22 h 30"/>
                <a:gd name="T10" fmla="*/ 14 w 44"/>
                <a:gd name="T11" fmla="*/ 26 h 30"/>
                <a:gd name="T12" fmla="*/ 12 w 44"/>
                <a:gd name="T13" fmla="*/ 30 h 30"/>
                <a:gd name="T14" fmla="*/ 8 w 44"/>
                <a:gd name="T15" fmla="*/ 30 h 30"/>
                <a:gd name="T16" fmla="*/ 4 w 44"/>
                <a:gd name="T17" fmla="*/ 30 h 30"/>
                <a:gd name="T18" fmla="*/ 4 w 44"/>
                <a:gd name="T19" fmla="*/ 26 h 30"/>
                <a:gd name="T20" fmla="*/ 4 w 44"/>
                <a:gd name="T21" fmla="*/ 26 h 30"/>
                <a:gd name="T22" fmla="*/ 8 w 44"/>
                <a:gd name="T23" fmla="*/ 26 h 30"/>
                <a:gd name="T24" fmla="*/ 4 w 44"/>
                <a:gd name="T25" fmla="*/ 22 h 30"/>
                <a:gd name="T26" fmla="*/ 4 w 44"/>
                <a:gd name="T27" fmla="*/ 20 h 30"/>
                <a:gd name="T28" fmla="*/ 4 w 44"/>
                <a:gd name="T29" fmla="*/ 20 h 30"/>
                <a:gd name="T30" fmla="*/ 0 w 44"/>
                <a:gd name="T31" fmla="*/ 20 h 30"/>
                <a:gd name="T32" fmla="*/ 0 w 44"/>
                <a:gd name="T33" fmla="*/ 20 h 30"/>
                <a:gd name="T34" fmla="*/ 0 w 44"/>
                <a:gd name="T35" fmla="*/ 16 h 30"/>
                <a:gd name="T36" fmla="*/ 4 w 44"/>
                <a:gd name="T37" fmla="*/ 16 h 30"/>
                <a:gd name="T38" fmla="*/ 0 w 44"/>
                <a:gd name="T39" fmla="*/ 12 h 30"/>
                <a:gd name="T40" fmla="*/ 0 w 44"/>
                <a:gd name="T41" fmla="*/ 12 h 30"/>
                <a:gd name="T42" fmla="*/ 4 w 44"/>
                <a:gd name="T43" fmla="*/ 8 h 30"/>
                <a:gd name="T44" fmla="*/ 4 w 44"/>
                <a:gd name="T45" fmla="*/ 8 h 30"/>
                <a:gd name="T46" fmla="*/ 8 w 44"/>
                <a:gd name="T47" fmla="*/ 8 h 30"/>
                <a:gd name="T48" fmla="*/ 12 w 44"/>
                <a:gd name="T49" fmla="*/ 8 h 30"/>
                <a:gd name="T50" fmla="*/ 14 w 44"/>
                <a:gd name="T51" fmla="*/ 8 h 30"/>
                <a:gd name="T52" fmla="*/ 18 w 44"/>
                <a:gd name="T53" fmla="*/ 8 h 30"/>
                <a:gd name="T54" fmla="*/ 22 w 44"/>
                <a:gd name="T55" fmla="*/ 4 h 30"/>
                <a:gd name="T56" fmla="*/ 26 w 44"/>
                <a:gd name="T57" fmla="*/ 4 h 30"/>
                <a:gd name="T58" fmla="*/ 34 w 44"/>
                <a:gd name="T59" fmla="*/ 4 h 30"/>
                <a:gd name="T60" fmla="*/ 38 w 44"/>
                <a:gd name="T61" fmla="*/ 0 h 30"/>
                <a:gd name="T62" fmla="*/ 38 w 44"/>
                <a:gd name="T63" fmla="*/ 0 h 30"/>
                <a:gd name="T64" fmla="*/ 42 w 44"/>
                <a:gd name="T65" fmla="*/ 0 h 30"/>
                <a:gd name="T66" fmla="*/ 42 w 44"/>
                <a:gd name="T67" fmla="*/ 0 h 30"/>
                <a:gd name="T68" fmla="*/ 42 w 44"/>
                <a:gd name="T69" fmla="*/ 4 h 30"/>
                <a:gd name="T70" fmla="*/ 42 w 44"/>
                <a:gd name="T71" fmla="*/ 4 h 30"/>
                <a:gd name="T72" fmla="*/ 44 w 44"/>
                <a:gd name="T73" fmla="*/ 8 h 30"/>
                <a:gd name="T74" fmla="*/ 44 w 44"/>
                <a:gd name="T75" fmla="*/ 8 h 30"/>
                <a:gd name="T76" fmla="*/ 42 w 44"/>
                <a:gd name="T77" fmla="*/ 8 h 30"/>
                <a:gd name="T78" fmla="*/ 42 w 44"/>
                <a:gd name="T79" fmla="*/ 8 h 30"/>
                <a:gd name="T80" fmla="*/ 38 w 44"/>
                <a:gd name="T81" fmla="*/ 12 h 30"/>
                <a:gd name="T82" fmla="*/ 38 w 44"/>
                <a:gd name="T83" fmla="*/ 12 h 30"/>
                <a:gd name="T84" fmla="*/ 30 w 44"/>
                <a:gd name="T85" fmla="*/ 12 h 30"/>
                <a:gd name="T86" fmla="*/ 30 w 44"/>
                <a:gd name="T87" fmla="*/ 16 h 30"/>
                <a:gd name="T88" fmla="*/ 34 w 44"/>
                <a:gd name="T89" fmla="*/ 16 h 30"/>
                <a:gd name="T90" fmla="*/ 30 w 44"/>
                <a:gd name="T91" fmla="*/ 22 h 30"/>
                <a:gd name="T92" fmla="*/ 30 w 44"/>
                <a:gd name="T93" fmla="*/ 22 h 30"/>
                <a:gd name="T94" fmla="*/ 26 w 44"/>
                <a:gd name="T95" fmla="*/ 22 h 30"/>
                <a:gd name="T96" fmla="*/ 26 w 44"/>
                <a:gd name="T97" fmla="*/ 26 h 30"/>
                <a:gd name="T98" fmla="*/ 26 w 44"/>
                <a:gd name="T99"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 h="30">
                  <a:moveTo>
                    <a:pt x="26" y="26"/>
                  </a:moveTo>
                  <a:lnTo>
                    <a:pt x="26" y="26"/>
                  </a:lnTo>
                  <a:lnTo>
                    <a:pt x="26" y="26"/>
                  </a:lnTo>
                  <a:lnTo>
                    <a:pt x="26" y="30"/>
                  </a:lnTo>
                  <a:lnTo>
                    <a:pt x="26" y="30"/>
                  </a:lnTo>
                  <a:lnTo>
                    <a:pt x="26" y="30"/>
                  </a:lnTo>
                  <a:lnTo>
                    <a:pt x="22" y="30"/>
                  </a:lnTo>
                  <a:lnTo>
                    <a:pt x="22" y="26"/>
                  </a:lnTo>
                  <a:lnTo>
                    <a:pt x="22" y="26"/>
                  </a:lnTo>
                  <a:lnTo>
                    <a:pt x="18" y="30"/>
                  </a:lnTo>
                  <a:lnTo>
                    <a:pt x="18" y="30"/>
                  </a:lnTo>
                  <a:lnTo>
                    <a:pt x="18" y="26"/>
                  </a:lnTo>
                  <a:lnTo>
                    <a:pt x="14" y="26"/>
                  </a:lnTo>
                  <a:lnTo>
                    <a:pt x="14" y="26"/>
                  </a:lnTo>
                  <a:lnTo>
                    <a:pt x="14" y="22"/>
                  </a:lnTo>
                  <a:lnTo>
                    <a:pt x="14" y="22"/>
                  </a:lnTo>
                  <a:lnTo>
                    <a:pt x="14" y="26"/>
                  </a:lnTo>
                  <a:lnTo>
                    <a:pt x="14" y="26"/>
                  </a:lnTo>
                  <a:lnTo>
                    <a:pt x="14" y="26"/>
                  </a:lnTo>
                  <a:lnTo>
                    <a:pt x="14" y="26"/>
                  </a:lnTo>
                  <a:lnTo>
                    <a:pt x="12" y="30"/>
                  </a:lnTo>
                  <a:lnTo>
                    <a:pt x="8" y="30"/>
                  </a:lnTo>
                  <a:lnTo>
                    <a:pt x="8" y="30"/>
                  </a:lnTo>
                  <a:lnTo>
                    <a:pt x="8" y="30"/>
                  </a:lnTo>
                  <a:lnTo>
                    <a:pt x="4" y="30"/>
                  </a:lnTo>
                  <a:lnTo>
                    <a:pt x="4" y="30"/>
                  </a:lnTo>
                  <a:lnTo>
                    <a:pt x="4" y="30"/>
                  </a:lnTo>
                  <a:lnTo>
                    <a:pt x="4" y="30"/>
                  </a:lnTo>
                  <a:lnTo>
                    <a:pt x="4" y="26"/>
                  </a:lnTo>
                  <a:lnTo>
                    <a:pt x="4" y="26"/>
                  </a:lnTo>
                  <a:lnTo>
                    <a:pt x="4" y="26"/>
                  </a:lnTo>
                  <a:lnTo>
                    <a:pt x="4" y="26"/>
                  </a:lnTo>
                  <a:lnTo>
                    <a:pt x="4" y="26"/>
                  </a:lnTo>
                  <a:lnTo>
                    <a:pt x="4" y="26"/>
                  </a:lnTo>
                  <a:lnTo>
                    <a:pt x="4" y="26"/>
                  </a:lnTo>
                  <a:lnTo>
                    <a:pt x="8" y="26"/>
                  </a:lnTo>
                  <a:lnTo>
                    <a:pt x="8" y="26"/>
                  </a:lnTo>
                  <a:lnTo>
                    <a:pt x="8" y="22"/>
                  </a:lnTo>
                  <a:lnTo>
                    <a:pt x="4" y="22"/>
                  </a:lnTo>
                  <a:lnTo>
                    <a:pt x="4" y="22"/>
                  </a:lnTo>
                  <a:lnTo>
                    <a:pt x="4" y="22"/>
                  </a:lnTo>
                  <a:lnTo>
                    <a:pt x="4" y="20"/>
                  </a:lnTo>
                  <a:lnTo>
                    <a:pt x="4" y="20"/>
                  </a:lnTo>
                  <a:lnTo>
                    <a:pt x="4" y="20"/>
                  </a:lnTo>
                  <a:lnTo>
                    <a:pt x="4" y="20"/>
                  </a:lnTo>
                  <a:lnTo>
                    <a:pt x="4" y="20"/>
                  </a:lnTo>
                  <a:lnTo>
                    <a:pt x="4" y="20"/>
                  </a:lnTo>
                  <a:lnTo>
                    <a:pt x="0" y="20"/>
                  </a:lnTo>
                  <a:lnTo>
                    <a:pt x="0" y="20"/>
                  </a:lnTo>
                  <a:lnTo>
                    <a:pt x="0" y="20"/>
                  </a:lnTo>
                  <a:lnTo>
                    <a:pt x="0" y="20"/>
                  </a:lnTo>
                  <a:lnTo>
                    <a:pt x="0" y="16"/>
                  </a:lnTo>
                  <a:lnTo>
                    <a:pt x="0" y="16"/>
                  </a:lnTo>
                  <a:lnTo>
                    <a:pt x="0" y="16"/>
                  </a:lnTo>
                  <a:lnTo>
                    <a:pt x="4" y="16"/>
                  </a:lnTo>
                  <a:lnTo>
                    <a:pt x="4" y="16"/>
                  </a:lnTo>
                  <a:lnTo>
                    <a:pt x="4" y="16"/>
                  </a:lnTo>
                  <a:lnTo>
                    <a:pt x="0" y="16"/>
                  </a:lnTo>
                  <a:lnTo>
                    <a:pt x="0" y="12"/>
                  </a:lnTo>
                  <a:lnTo>
                    <a:pt x="0" y="12"/>
                  </a:lnTo>
                  <a:lnTo>
                    <a:pt x="0" y="16"/>
                  </a:lnTo>
                  <a:lnTo>
                    <a:pt x="0" y="12"/>
                  </a:lnTo>
                  <a:lnTo>
                    <a:pt x="0" y="12"/>
                  </a:lnTo>
                  <a:lnTo>
                    <a:pt x="0" y="12"/>
                  </a:lnTo>
                  <a:lnTo>
                    <a:pt x="4" y="8"/>
                  </a:lnTo>
                  <a:lnTo>
                    <a:pt x="4" y="8"/>
                  </a:lnTo>
                  <a:lnTo>
                    <a:pt x="4" y="8"/>
                  </a:lnTo>
                  <a:lnTo>
                    <a:pt x="4" y="8"/>
                  </a:lnTo>
                  <a:lnTo>
                    <a:pt x="4" y="8"/>
                  </a:lnTo>
                  <a:lnTo>
                    <a:pt x="4" y="8"/>
                  </a:lnTo>
                  <a:lnTo>
                    <a:pt x="8" y="8"/>
                  </a:lnTo>
                  <a:lnTo>
                    <a:pt x="8" y="8"/>
                  </a:lnTo>
                  <a:lnTo>
                    <a:pt x="8" y="8"/>
                  </a:lnTo>
                  <a:lnTo>
                    <a:pt x="12" y="8"/>
                  </a:lnTo>
                  <a:lnTo>
                    <a:pt x="12" y="8"/>
                  </a:lnTo>
                  <a:lnTo>
                    <a:pt x="12" y="8"/>
                  </a:lnTo>
                  <a:lnTo>
                    <a:pt x="14" y="8"/>
                  </a:lnTo>
                  <a:lnTo>
                    <a:pt x="14" y="8"/>
                  </a:lnTo>
                  <a:lnTo>
                    <a:pt x="18" y="8"/>
                  </a:lnTo>
                  <a:lnTo>
                    <a:pt x="18" y="8"/>
                  </a:lnTo>
                  <a:lnTo>
                    <a:pt x="18" y="8"/>
                  </a:lnTo>
                  <a:lnTo>
                    <a:pt x="18" y="4"/>
                  </a:lnTo>
                  <a:lnTo>
                    <a:pt x="22" y="4"/>
                  </a:lnTo>
                  <a:lnTo>
                    <a:pt x="22" y="4"/>
                  </a:lnTo>
                  <a:lnTo>
                    <a:pt x="22" y="4"/>
                  </a:lnTo>
                  <a:lnTo>
                    <a:pt x="22" y="4"/>
                  </a:lnTo>
                  <a:lnTo>
                    <a:pt x="26" y="4"/>
                  </a:lnTo>
                  <a:lnTo>
                    <a:pt x="30" y="4"/>
                  </a:lnTo>
                  <a:lnTo>
                    <a:pt x="34" y="4"/>
                  </a:lnTo>
                  <a:lnTo>
                    <a:pt x="34" y="4"/>
                  </a:lnTo>
                  <a:lnTo>
                    <a:pt x="34" y="4"/>
                  </a:lnTo>
                  <a:lnTo>
                    <a:pt x="38" y="4"/>
                  </a:lnTo>
                  <a:lnTo>
                    <a:pt x="38" y="0"/>
                  </a:lnTo>
                  <a:lnTo>
                    <a:pt x="38" y="0"/>
                  </a:lnTo>
                  <a:lnTo>
                    <a:pt x="38" y="0"/>
                  </a:lnTo>
                  <a:lnTo>
                    <a:pt x="38" y="0"/>
                  </a:lnTo>
                  <a:lnTo>
                    <a:pt x="38" y="0"/>
                  </a:lnTo>
                  <a:lnTo>
                    <a:pt x="42" y="0"/>
                  </a:lnTo>
                  <a:lnTo>
                    <a:pt x="42" y="0"/>
                  </a:lnTo>
                  <a:lnTo>
                    <a:pt x="42" y="0"/>
                  </a:lnTo>
                  <a:lnTo>
                    <a:pt x="42" y="0"/>
                  </a:lnTo>
                  <a:lnTo>
                    <a:pt x="42" y="0"/>
                  </a:lnTo>
                  <a:lnTo>
                    <a:pt x="42" y="0"/>
                  </a:lnTo>
                  <a:lnTo>
                    <a:pt x="42" y="4"/>
                  </a:lnTo>
                  <a:lnTo>
                    <a:pt x="42" y="4"/>
                  </a:lnTo>
                  <a:lnTo>
                    <a:pt x="42" y="4"/>
                  </a:lnTo>
                  <a:lnTo>
                    <a:pt x="42" y="4"/>
                  </a:lnTo>
                  <a:lnTo>
                    <a:pt x="42" y="4"/>
                  </a:lnTo>
                  <a:lnTo>
                    <a:pt x="44" y="8"/>
                  </a:lnTo>
                  <a:lnTo>
                    <a:pt x="44" y="8"/>
                  </a:lnTo>
                  <a:lnTo>
                    <a:pt x="44" y="8"/>
                  </a:lnTo>
                  <a:lnTo>
                    <a:pt x="44" y="8"/>
                  </a:lnTo>
                  <a:lnTo>
                    <a:pt x="44" y="8"/>
                  </a:lnTo>
                  <a:lnTo>
                    <a:pt x="44" y="8"/>
                  </a:lnTo>
                  <a:lnTo>
                    <a:pt x="42" y="8"/>
                  </a:lnTo>
                  <a:lnTo>
                    <a:pt x="42" y="8"/>
                  </a:lnTo>
                  <a:lnTo>
                    <a:pt x="42" y="8"/>
                  </a:lnTo>
                  <a:lnTo>
                    <a:pt x="42" y="8"/>
                  </a:lnTo>
                  <a:lnTo>
                    <a:pt x="42" y="8"/>
                  </a:lnTo>
                  <a:lnTo>
                    <a:pt x="42" y="8"/>
                  </a:lnTo>
                  <a:lnTo>
                    <a:pt x="42" y="8"/>
                  </a:lnTo>
                  <a:lnTo>
                    <a:pt x="38" y="8"/>
                  </a:lnTo>
                  <a:lnTo>
                    <a:pt x="38" y="12"/>
                  </a:lnTo>
                  <a:lnTo>
                    <a:pt x="38" y="12"/>
                  </a:lnTo>
                  <a:lnTo>
                    <a:pt x="38" y="12"/>
                  </a:lnTo>
                  <a:lnTo>
                    <a:pt x="38" y="12"/>
                  </a:lnTo>
                  <a:lnTo>
                    <a:pt x="34" y="12"/>
                  </a:lnTo>
                  <a:lnTo>
                    <a:pt x="34" y="12"/>
                  </a:lnTo>
                  <a:lnTo>
                    <a:pt x="30" y="12"/>
                  </a:lnTo>
                  <a:lnTo>
                    <a:pt x="30" y="16"/>
                  </a:lnTo>
                  <a:lnTo>
                    <a:pt x="30" y="16"/>
                  </a:lnTo>
                  <a:lnTo>
                    <a:pt x="30" y="16"/>
                  </a:lnTo>
                  <a:lnTo>
                    <a:pt x="30" y="16"/>
                  </a:lnTo>
                  <a:lnTo>
                    <a:pt x="30" y="16"/>
                  </a:lnTo>
                  <a:lnTo>
                    <a:pt x="34" y="16"/>
                  </a:lnTo>
                  <a:lnTo>
                    <a:pt x="34" y="20"/>
                  </a:lnTo>
                  <a:lnTo>
                    <a:pt x="34" y="22"/>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29" name="Freeform 122"/>
            <p:cNvSpPr>
              <a:spLocks noEditPoints="1"/>
            </p:cNvSpPr>
            <p:nvPr/>
          </p:nvSpPr>
          <p:spPr bwMode="auto">
            <a:xfrm>
              <a:off x="7133226" y="3072534"/>
              <a:ext cx="205978" cy="116375"/>
            </a:xfrm>
            <a:custGeom>
              <a:avLst/>
              <a:gdLst>
                <a:gd name="T0" fmla="*/ 154 w 328"/>
                <a:gd name="T1" fmla="*/ 4 h 178"/>
                <a:gd name="T2" fmla="*/ 198 w 328"/>
                <a:gd name="T3" fmla="*/ 10 h 178"/>
                <a:gd name="T4" fmla="*/ 112 w 328"/>
                <a:gd name="T5" fmla="*/ 14 h 178"/>
                <a:gd name="T6" fmla="*/ 328 w 328"/>
                <a:gd name="T7" fmla="*/ 14 h 178"/>
                <a:gd name="T8" fmla="*/ 250 w 328"/>
                <a:gd name="T9" fmla="*/ 18 h 178"/>
                <a:gd name="T10" fmla="*/ 8 w 328"/>
                <a:gd name="T11" fmla="*/ 30 h 178"/>
                <a:gd name="T12" fmla="*/ 136 w 328"/>
                <a:gd name="T13" fmla="*/ 40 h 178"/>
                <a:gd name="T14" fmla="*/ 142 w 328"/>
                <a:gd name="T15" fmla="*/ 52 h 178"/>
                <a:gd name="T16" fmla="*/ 268 w 328"/>
                <a:gd name="T17" fmla="*/ 56 h 178"/>
                <a:gd name="T18" fmla="*/ 228 w 328"/>
                <a:gd name="T19" fmla="*/ 64 h 178"/>
                <a:gd name="T20" fmla="*/ 228 w 328"/>
                <a:gd name="T21" fmla="*/ 64 h 178"/>
                <a:gd name="T22" fmla="*/ 120 w 328"/>
                <a:gd name="T23" fmla="*/ 174 h 178"/>
                <a:gd name="T24" fmla="*/ 222 w 328"/>
                <a:gd name="T25" fmla="*/ 34 h 178"/>
                <a:gd name="T26" fmla="*/ 196 w 328"/>
                <a:gd name="T27" fmla="*/ 44 h 178"/>
                <a:gd name="T28" fmla="*/ 162 w 328"/>
                <a:gd name="T29" fmla="*/ 40 h 178"/>
                <a:gd name="T30" fmla="*/ 138 w 328"/>
                <a:gd name="T31" fmla="*/ 34 h 178"/>
                <a:gd name="T32" fmla="*/ 166 w 328"/>
                <a:gd name="T33" fmla="*/ 30 h 178"/>
                <a:gd name="T34" fmla="*/ 128 w 328"/>
                <a:gd name="T35" fmla="*/ 30 h 178"/>
                <a:gd name="T36" fmla="*/ 108 w 328"/>
                <a:gd name="T37" fmla="*/ 18 h 178"/>
                <a:gd name="T38" fmla="*/ 124 w 328"/>
                <a:gd name="T39" fmla="*/ 10 h 178"/>
                <a:gd name="T40" fmla="*/ 142 w 328"/>
                <a:gd name="T41" fmla="*/ 10 h 178"/>
                <a:gd name="T42" fmla="*/ 168 w 328"/>
                <a:gd name="T43" fmla="*/ 22 h 178"/>
                <a:gd name="T44" fmla="*/ 184 w 328"/>
                <a:gd name="T45" fmla="*/ 10 h 178"/>
                <a:gd name="T46" fmla="*/ 196 w 328"/>
                <a:gd name="T47" fmla="*/ 14 h 178"/>
                <a:gd name="T48" fmla="*/ 218 w 328"/>
                <a:gd name="T49" fmla="*/ 18 h 178"/>
                <a:gd name="T50" fmla="*/ 50 w 328"/>
                <a:gd name="T51" fmla="*/ 96 h 178"/>
                <a:gd name="T52" fmla="*/ 82 w 328"/>
                <a:gd name="T53" fmla="*/ 92 h 178"/>
                <a:gd name="T54" fmla="*/ 82 w 328"/>
                <a:gd name="T55" fmla="*/ 86 h 178"/>
                <a:gd name="T56" fmla="*/ 68 w 328"/>
                <a:gd name="T57" fmla="*/ 82 h 178"/>
                <a:gd name="T58" fmla="*/ 52 w 328"/>
                <a:gd name="T59" fmla="*/ 78 h 178"/>
                <a:gd name="T60" fmla="*/ 76 w 328"/>
                <a:gd name="T61" fmla="*/ 70 h 178"/>
                <a:gd name="T62" fmla="*/ 82 w 328"/>
                <a:gd name="T63" fmla="*/ 66 h 178"/>
                <a:gd name="T64" fmla="*/ 68 w 328"/>
                <a:gd name="T65" fmla="*/ 66 h 178"/>
                <a:gd name="T66" fmla="*/ 56 w 328"/>
                <a:gd name="T67" fmla="*/ 66 h 178"/>
                <a:gd name="T68" fmla="*/ 38 w 328"/>
                <a:gd name="T69" fmla="*/ 74 h 178"/>
                <a:gd name="T70" fmla="*/ 26 w 328"/>
                <a:gd name="T71" fmla="*/ 64 h 178"/>
                <a:gd name="T72" fmla="*/ 26 w 328"/>
                <a:gd name="T73" fmla="*/ 52 h 178"/>
                <a:gd name="T74" fmla="*/ 12 w 328"/>
                <a:gd name="T75" fmla="*/ 48 h 178"/>
                <a:gd name="T76" fmla="*/ 12 w 328"/>
                <a:gd name="T77" fmla="*/ 30 h 178"/>
                <a:gd name="T78" fmla="*/ 22 w 328"/>
                <a:gd name="T79" fmla="*/ 26 h 178"/>
                <a:gd name="T80" fmla="*/ 38 w 328"/>
                <a:gd name="T81" fmla="*/ 30 h 178"/>
                <a:gd name="T82" fmla="*/ 42 w 328"/>
                <a:gd name="T83" fmla="*/ 36 h 178"/>
                <a:gd name="T84" fmla="*/ 64 w 328"/>
                <a:gd name="T85" fmla="*/ 34 h 178"/>
                <a:gd name="T86" fmla="*/ 82 w 328"/>
                <a:gd name="T87" fmla="*/ 52 h 178"/>
                <a:gd name="T88" fmla="*/ 80 w 328"/>
                <a:gd name="T89" fmla="*/ 26 h 178"/>
                <a:gd name="T90" fmla="*/ 108 w 328"/>
                <a:gd name="T91" fmla="*/ 30 h 178"/>
                <a:gd name="T92" fmla="*/ 120 w 328"/>
                <a:gd name="T93" fmla="*/ 40 h 178"/>
                <a:gd name="T94" fmla="*/ 154 w 328"/>
                <a:gd name="T95" fmla="*/ 56 h 178"/>
                <a:gd name="T96" fmla="*/ 128 w 328"/>
                <a:gd name="T97" fmla="*/ 64 h 178"/>
                <a:gd name="T98" fmla="*/ 112 w 328"/>
                <a:gd name="T99" fmla="*/ 86 h 178"/>
                <a:gd name="T100" fmla="*/ 90 w 328"/>
                <a:gd name="T101" fmla="*/ 110 h 178"/>
                <a:gd name="T102" fmla="*/ 76 w 328"/>
                <a:gd name="T103" fmla="*/ 110 h 178"/>
                <a:gd name="T104" fmla="*/ 64 w 328"/>
                <a:gd name="T105" fmla="*/ 104 h 178"/>
                <a:gd name="T106" fmla="*/ 8 w 328"/>
                <a:gd name="T107" fmla="*/ 64 h 178"/>
                <a:gd name="T108" fmla="*/ 22 w 328"/>
                <a:gd name="T109" fmla="*/ 70 h 178"/>
                <a:gd name="T110" fmla="*/ 166 w 328"/>
                <a:gd name="T111" fmla="*/ 64 h 178"/>
                <a:gd name="T112" fmla="*/ 146 w 328"/>
                <a:gd name="T113" fmla="*/ 74 h 178"/>
                <a:gd name="T114" fmla="*/ 168 w 328"/>
                <a:gd name="T115" fmla="*/ 92 h 178"/>
                <a:gd name="T116" fmla="*/ 154 w 328"/>
                <a:gd name="T117" fmla="*/ 86 h 178"/>
                <a:gd name="T118" fmla="*/ 176 w 328"/>
                <a:gd name="T119" fmla="*/ 74 h 178"/>
                <a:gd name="T120" fmla="*/ 192 w 328"/>
                <a:gd name="T121" fmla="*/ 82 h 178"/>
                <a:gd name="T122" fmla="*/ 180 w 328"/>
                <a:gd name="T123" fmla="*/ 9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8" h="178">
                  <a:moveTo>
                    <a:pt x="146" y="4"/>
                  </a:moveTo>
                  <a:lnTo>
                    <a:pt x="146" y="0"/>
                  </a:lnTo>
                  <a:lnTo>
                    <a:pt x="142" y="0"/>
                  </a:lnTo>
                  <a:lnTo>
                    <a:pt x="146" y="0"/>
                  </a:lnTo>
                  <a:lnTo>
                    <a:pt x="150" y="0"/>
                  </a:lnTo>
                  <a:lnTo>
                    <a:pt x="150" y="4"/>
                  </a:lnTo>
                  <a:lnTo>
                    <a:pt x="146" y="4"/>
                  </a:lnTo>
                  <a:lnTo>
                    <a:pt x="146" y="4"/>
                  </a:lnTo>
                  <a:lnTo>
                    <a:pt x="146" y="4"/>
                  </a:lnTo>
                  <a:close/>
                  <a:moveTo>
                    <a:pt x="150" y="4"/>
                  </a:moveTo>
                  <a:lnTo>
                    <a:pt x="154" y="0"/>
                  </a:lnTo>
                  <a:lnTo>
                    <a:pt x="154" y="4"/>
                  </a:lnTo>
                  <a:lnTo>
                    <a:pt x="150" y="4"/>
                  </a:lnTo>
                  <a:lnTo>
                    <a:pt x="150" y="4"/>
                  </a:lnTo>
                  <a:lnTo>
                    <a:pt x="150" y="4"/>
                  </a:lnTo>
                  <a:close/>
                  <a:moveTo>
                    <a:pt x="136" y="6"/>
                  </a:moveTo>
                  <a:lnTo>
                    <a:pt x="132" y="6"/>
                  </a:lnTo>
                  <a:lnTo>
                    <a:pt x="136" y="6"/>
                  </a:lnTo>
                  <a:lnTo>
                    <a:pt x="136" y="6"/>
                  </a:lnTo>
                  <a:lnTo>
                    <a:pt x="136" y="6"/>
                  </a:lnTo>
                  <a:close/>
                  <a:moveTo>
                    <a:pt x="196" y="10"/>
                  </a:moveTo>
                  <a:lnTo>
                    <a:pt x="196" y="6"/>
                  </a:lnTo>
                  <a:lnTo>
                    <a:pt x="196" y="10"/>
                  </a:lnTo>
                  <a:lnTo>
                    <a:pt x="198" y="10"/>
                  </a:lnTo>
                  <a:lnTo>
                    <a:pt x="196" y="10"/>
                  </a:lnTo>
                  <a:lnTo>
                    <a:pt x="196" y="10"/>
                  </a:lnTo>
                  <a:lnTo>
                    <a:pt x="196" y="10"/>
                  </a:lnTo>
                  <a:close/>
                  <a:moveTo>
                    <a:pt x="112" y="14"/>
                  </a:moveTo>
                  <a:lnTo>
                    <a:pt x="108" y="14"/>
                  </a:lnTo>
                  <a:lnTo>
                    <a:pt x="108" y="10"/>
                  </a:lnTo>
                  <a:lnTo>
                    <a:pt x="112" y="10"/>
                  </a:lnTo>
                  <a:lnTo>
                    <a:pt x="116" y="10"/>
                  </a:lnTo>
                  <a:lnTo>
                    <a:pt x="116" y="14"/>
                  </a:lnTo>
                  <a:lnTo>
                    <a:pt x="112" y="14"/>
                  </a:lnTo>
                  <a:lnTo>
                    <a:pt x="112" y="14"/>
                  </a:lnTo>
                  <a:lnTo>
                    <a:pt x="112" y="14"/>
                  </a:lnTo>
                  <a:close/>
                  <a:moveTo>
                    <a:pt x="298" y="18"/>
                  </a:moveTo>
                  <a:lnTo>
                    <a:pt x="296" y="18"/>
                  </a:lnTo>
                  <a:lnTo>
                    <a:pt x="298" y="18"/>
                  </a:lnTo>
                  <a:lnTo>
                    <a:pt x="302" y="18"/>
                  </a:lnTo>
                  <a:lnTo>
                    <a:pt x="306" y="18"/>
                  </a:lnTo>
                  <a:lnTo>
                    <a:pt x="310" y="18"/>
                  </a:lnTo>
                  <a:lnTo>
                    <a:pt x="314" y="18"/>
                  </a:lnTo>
                  <a:lnTo>
                    <a:pt x="318" y="18"/>
                  </a:lnTo>
                  <a:lnTo>
                    <a:pt x="318" y="14"/>
                  </a:lnTo>
                  <a:lnTo>
                    <a:pt x="322" y="14"/>
                  </a:lnTo>
                  <a:lnTo>
                    <a:pt x="326" y="14"/>
                  </a:lnTo>
                  <a:lnTo>
                    <a:pt x="328" y="14"/>
                  </a:lnTo>
                  <a:lnTo>
                    <a:pt x="326" y="14"/>
                  </a:lnTo>
                  <a:lnTo>
                    <a:pt x="326" y="18"/>
                  </a:lnTo>
                  <a:lnTo>
                    <a:pt x="322" y="18"/>
                  </a:lnTo>
                  <a:lnTo>
                    <a:pt x="318" y="18"/>
                  </a:lnTo>
                  <a:lnTo>
                    <a:pt x="314" y="18"/>
                  </a:lnTo>
                  <a:lnTo>
                    <a:pt x="310" y="18"/>
                  </a:lnTo>
                  <a:lnTo>
                    <a:pt x="306" y="18"/>
                  </a:lnTo>
                  <a:lnTo>
                    <a:pt x="298" y="18"/>
                  </a:lnTo>
                  <a:lnTo>
                    <a:pt x="298" y="18"/>
                  </a:lnTo>
                  <a:lnTo>
                    <a:pt x="298" y="18"/>
                  </a:lnTo>
                  <a:close/>
                  <a:moveTo>
                    <a:pt x="248" y="18"/>
                  </a:moveTo>
                  <a:lnTo>
                    <a:pt x="250" y="18"/>
                  </a:lnTo>
                  <a:lnTo>
                    <a:pt x="248" y="18"/>
                  </a:lnTo>
                  <a:lnTo>
                    <a:pt x="244" y="18"/>
                  </a:lnTo>
                  <a:lnTo>
                    <a:pt x="248" y="18"/>
                  </a:lnTo>
                  <a:lnTo>
                    <a:pt x="248" y="18"/>
                  </a:lnTo>
                  <a:lnTo>
                    <a:pt x="248" y="18"/>
                  </a:lnTo>
                  <a:close/>
                  <a:moveTo>
                    <a:pt x="8" y="30"/>
                  </a:moveTo>
                  <a:lnTo>
                    <a:pt x="4" y="30"/>
                  </a:lnTo>
                  <a:lnTo>
                    <a:pt x="0" y="30"/>
                  </a:lnTo>
                  <a:lnTo>
                    <a:pt x="4" y="30"/>
                  </a:lnTo>
                  <a:lnTo>
                    <a:pt x="8" y="30"/>
                  </a:lnTo>
                  <a:lnTo>
                    <a:pt x="8" y="30"/>
                  </a:lnTo>
                  <a:lnTo>
                    <a:pt x="8" y="30"/>
                  </a:lnTo>
                  <a:close/>
                  <a:moveTo>
                    <a:pt x="4" y="34"/>
                  </a:moveTo>
                  <a:lnTo>
                    <a:pt x="4" y="30"/>
                  </a:lnTo>
                  <a:lnTo>
                    <a:pt x="8" y="30"/>
                  </a:lnTo>
                  <a:lnTo>
                    <a:pt x="8" y="34"/>
                  </a:lnTo>
                  <a:lnTo>
                    <a:pt x="4" y="34"/>
                  </a:lnTo>
                  <a:lnTo>
                    <a:pt x="4" y="34"/>
                  </a:lnTo>
                  <a:lnTo>
                    <a:pt x="4" y="34"/>
                  </a:lnTo>
                  <a:close/>
                  <a:moveTo>
                    <a:pt x="136" y="40"/>
                  </a:moveTo>
                  <a:lnTo>
                    <a:pt x="132" y="40"/>
                  </a:lnTo>
                  <a:lnTo>
                    <a:pt x="128" y="40"/>
                  </a:lnTo>
                  <a:lnTo>
                    <a:pt x="132" y="40"/>
                  </a:lnTo>
                  <a:lnTo>
                    <a:pt x="136" y="40"/>
                  </a:lnTo>
                  <a:lnTo>
                    <a:pt x="138" y="40"/>
                  </a:lnTo>
                  <a:lnTo>
                    <a:pt x="136" y="40"/>
                  </a:lnTo>
                  <a:lnTo>
                    <a:pt x="136" y="40"/>
                  </a:lnTo>
                  <a:lnTo>
                    <a:pt x="136" y="40"/>
                  </a:lnTo>
                  <a:close/>
                  <a:moveTo>
                    <a:pt x="138" y="52"/>
                  </a:moveTo>
                  <a:lnTo>
                    <a:pt x="136" y="52"/>
                  </a:lnTo>
                  <a:lnTo>
                    <a:pt x="136" y="48"/>
                  </a:lnTo>
                  <a:lnTo>
                    <a:pt x="138" y="48"/>
                  </a:lnTo>
                  <a:lnTo>
                    <a:pt x="142" y="48"/>
                  </a:lnTo>
                  <a:lnTo>
                    <a:pt x="146" y="48"/>
                  </a:lnTo>
                  <a:lnTo>
                    <a:pt x="146" y="52"/>
                  </a:lnTo>
                  <a:lnTo>
                    <a:pt x="142" y="52"/>
                  </a:lnTo>
                  <a:lnTo>
                    <a:pt x="138" y="52"/>
                  </a:lnTo>
                  <a:lnTo>
                    <a:pt x="138" y="52"/>
                  </a:lnTo>
                  <a:lnTo>
                    <a:pt x="138" y="52"/>
                  </a:lnTo>
                  <a:close/>
                  <a:moveTo>
                    <a:pt x="250" y="56"/>
                  </a:moveTo>
                  <a:lnTo>
                    <a:pt x="248" y="56"/>
                  </a:lnTo>
                  <a:lnTo>
                    <a:pt x="250" y="52"/>
                  </a:lnTo>
                  <a:lnTo>
                    <a:pt x="254" y="52"/>
                  </a:lnTo>
                  <a:lnTo>
                    <a:pt x="258" y="52"/>
                  </a:lnTo>
                  <a:lnTo>
                    <a:pt x="262" y="52"/>
                  </a:lnTo>
                  <a:lnTo>
                    <a:pt x="262" y="56"/>
                  </a:lnTo>
                  <a:lnTo>
                    <a:pt x="266" y="56"/>
                  </a:lnTo>
                  <a:lnTo>
                    <a:pt x="268" y="56"/>
                  </a:lnTo>
                  <a:lnTo>
                    <a:pt x="268" y="52"/>
                  </a:lnTo>
                  <a:lnTo>
                    <a:pt x="272" y="52"/>
                  </a:lnTo>
                  <a:lnTo>
                    <a:pt x="272" y="56"/>
                  </a:lnTo>
                  <a:lnTo>
                    <a:pt x="268" y="56"/>
                  </a:lnTo>
                  <a:lnTo>
                    <a:pt x="266" y="56"/>
                  </a:lnTo>
                  <a:lnTo>
                    <a:pt x="262" y="56"/>
                  </a:lnTo>
                  <a:lnTo>
                    <a:pt x="258" y="56"/>
                  </a:lnTo>
                  <a:lnTo>
                    <a:pt x="254" y="56"/>
                  </a:lnTo>
                  <a:lnTo>
                    <a:pt x="250" y="56"/>
                  </a:lnTo>
                  <a:lnTo>
                    <a:pt x="250" y="56"/>
                  </a:lnTo>
                  <a:lnTo>
                    <a:pt x="250" y="56"/>
                  </a:lnTo>
                  <a:close/>
                  <a:moveTo>
                    <a:pt x="228" y="64"/>
                  </a:moveTo>
                  <a:lnTo>
                    <a:pt x="228" y="60"/>
                  </a:lnTo>
                  <a:lnTo>
                    <a:pt x="224" y="60"/>
                  </a:lnTo>
                  <a:lnTo>
                    <a:pt x="224" y="56"/>
                  </a:lnTo>
                  <a:lnTo>
                    <a:pt x="228" y="56"/>
                  </a:lnTo>
                  <a:lnTo>
                    <a:pt x="228" y="60"/>
                  </a:lnTo>
                  <a:lnTo>
                    <a:pt x="232" y="60"/>
                  </a:lnTo>
                  <a:lnTo>
                    <a:pt x="236" y="60"/>
                  </a:lnTo>
                  <a:lnTo>
                    <a:pt x="232" y="60"/>
                  </a:lnTo>
                  <a:lnTo>
                    <a:pt x="232" y="64"/>
                  </a:lnTo>
                  <a:lnTo>
                    <a:pt x="228" y="64"/>
                  </a:lnTo>
                  <a:lnTo>
                    <a:pt x="228" y="64"/>
                  </a:lnTo>
                  <a:lnTo>
                    <a:pt x="228" y="64"/>
                  </a:lnTo>
                  <a:close/>
                  <a:moveTo>
                    <a:pt x="206" y="122"/>
                  </a:moveTo>
                  <a:lnTo>
                    <a:pt x="206" y="118"/>
                  </a:lnTo>
                  <a:lnTo>
                    <a:pt x="210" y="118"/>
                  </a:lnTo>
                  <a:lnTo>
                    <a:pt x="210" y="114"/>
                  </a:lnTo>
                  <a:lnTo>
                    <a:pt x="214" y="114"/>
                  </a:lnTo>
                  <a:lnTo>
                    <a:pt x="210" y="118"/>
                  </a:lnTo>
                  <a:lnTo>
                    <a:pt x="206" y="122"/>
                  </a:lnTo>
                  <a:lnTo>
                    <a:pt x="206" y="122"/>
                  </a:lnTo>
                  <a:lnTo>
                    <a:pt x="206" y="122"/>
                  </a:lnTo>
                  <a:close/>
                  <a:moveTo>
                    <a:pt x="120" y="178"/>
                  </a:moveTo>
                  <a:lnTo>
                    <a:pt x="116" y="174"/>
                  </a:lnTo>
                  <a:lnTo>
                    <a:pt x="120" y="174"/>
                  </a:lnTo>
                  <a:lnTo>
                    <a:pt x="124" y="174"/>
                  </a:lnTo>
                  <a:lnTo>
                    <a:pt x="124" y="178"/>
                  </a:lnTo>
                  <a:lnTo>
                    <a:pt x="120" y="178"/>
                  </a:lnTo>
                  <a:lnTo>
                    <a:pt x="120" y="178"/>
                  </a:lnTo>
                  <a:lnTo>
                    <a:pt x="120" y="178"/>
                  </a:lnTo>
                  <a:close/>
                  <a:moveTo>
                    <a:pt x="236" y="22"/>
                  </a:moveTo>
                  <a:lnTo>
                    <a:pt x="236" y="26"/>
                  </a:lnTo>
                  <a:lnTo>
                    <a:pt x="232" y="26"/>
                  </a:lnTo>
                  <a:lnTo>
                    <a:pt x="232" y="30"/>
                  </a:lnTo>
                  <a:lnTo>
                    <a:pt x="228" y="30"/>
                  </a:lnTo>
                  <a:lnTo>
                    <a:pt x="224" y="30"/>
                  </a:lnTo>
                  <a:lnTo>
                    <a:pt x="222" y="34"/>
                  </a:lnTo>
                  <a:lnTo>
                    <a:pt x="218" y="34"/>
                  </a:lnTo>
                  <a:lnTo>
                    <a:pt x="218" y="36"/>
                  </a:lnTo>
                  <a:lnTo>
                    <a:pt x="222" y="36"/>
                  </a:lnTo>
                  <a:lnTo>
                    <a:pt x="218" y="36"/>
                  </a:lnTo>
                  <a:lnTo>
                    <a:pt x="218" y="40"/>
                  </a:lnTo>
                  <a:lnTo>
                    <a:pt x="214" y="40"/>
                  </a:lnTo>
                  <a:lnTo>
                    <a:pt x="210" y="40"/>
                  </a:lnTo>
                  <a:lnTo>
                    <a:pt x="206" y="40"/>
                  </a:lnTo>
                  <a:lnTo>
                    <a:pt x="202" y="40"/>
                  </a:lnTo>
                  <a:lnTo>
                    <a:pt x="198" y="40"/>
                  </a:lnTo>
                  <a:lnTo>
                    <a:pt x="196" y="40"/>
                  </a:lnTo>
                  <a:lnTo>
                    <a:pt x="196" y="44"/>
                  </a:lnTo>
                  <a:lnTo>
                    <a:pt x="192" y="44"/>
                  </a:lnTo>
                  <a:lnTo>
                    <a:pt x="188" y="44"/>
                  </a:lnTo>
                  <a:lnTo>
                    <a:pt x="184" y="44"/>
                  </a:lnTo>
                  <a:lnTo>
                    <a:pt x="180" y="44"/>
                  </a:lnTo>
                  <a:lnTo>
                    <a:pt x="176" y="44"/>
                  </a:lnTo>
                  <a:lnTo>
                    <a:pt x="172" y="44"/>
                  </a:lnTo>
                  <a:lnTo>
                    <a:pt x="172" y="40"/>
                  </a:lnTo>
                  <a:lnTo>
                    <a:pt x="176" y="40"/>
                  </a:lnTo>
                  <a:lnTo>
                    <a:pt x="172" y="40"/>
                  </a:lnTo>
                  <a:lnTo>
                    <a:pt x="168" y="40"/>
                  </a:lnTo>
                  <a:lnTo>
                    <a:pt x="166" y="40"/>
                  </a:lnTo>
                  <a:lnTo>
                    <a:pt x="162" y="40"/>
                  </a:lnTo>
                  <a:lnTo>
                    <a:pt x="158" y="40"/>
                  </a:lnTo>
                  <a:lnTo>
                    <a:pt x="154" y="40"/>
                  </a:lnTo>
                  <a:lnTo>
                    <a:pt x="150" y="40"/>
                  </a:lnTo>
                  <a:lnTo>
                    <a:pt x="146" y="40"/>
                  </a:lnTo>
                  <a:lnTo>
                    <a:pt x="146" y="36"/>
                  </a:lnTo>
                  <a:lnTo>
                    <a:pt x="142" y="36"/>
                  </a:lnTo>
                  <a:lnTo>
                    <a:pt x="138" y="36"/>
                  </a:lnTo>
                  <a:lnTo>
                    <a:pt x="136" y="36"/>
                  </a:lnTo>
                  <a:lnTo>
                    <a:pt x="132" y="36"/>
                  </a:lnTo>
                  <a:lnTo>
                    <a:pt x="132" y="34"/>
                  </a:lnTo>
                  <a:lnTo>
                    <a:pt x="136" y="34"/>
                  </a:lnTo>
                  <a:lnTo>
                    <a:pt x="138" y="34"/>
                  </a:lnTo>
                  <a:lnTo>
                    <a:pt x="142" y="34"/>
                  </a:lnTo>
                  <a:lnTo>
                    <a:pt x="146" y="34"/>
                  </a:lnTo>
                  <a:lnTo>
                    <a:pt x="150" y="34"/>
                  </a:lnTo>
                  <a:lnTo>
                    <a:pt x="146" y="34"/>
                  </a:lnTo>
                  <a:lnTo>
                    <a:pt x="142" y="34"/>
                  </a:lnTo>
                  <a:lnTo>
                    <a:pt x="150" y="30"/>
                  </a:lnTo>
                  <a:lnTo>
                    <a:pt x="154" y="30"/>
                  </a:lnTo>
                  <a:lnTo>
                    <a:pt x="158" y="30"/>
                  </a:lnTo>
                  <a:lnTo>
                    <a:pt x="162" y="30"/>
                  </a:lnTo>
                  <a:lnTo>
                    <a:pt x="166" y="30"/>
                  </a:lnTo>
                  <a:lnTo>
                    <a:pt x="168" y="30"/>
                  </a:lnTo>
                  <a:lnTo>
                    <a:pt x="166" y="30"/>
                  </a:lnTo>
                  <a:lnTo>
                    <a:pt x="162" y="30"/>
                  </a:lnTo>
                  <a:lnTo>
                    <a:pt x="158" y="30"/>
                  </a:lnTo>
                  <a:lnTo>
                    <a:pt x="162" y="30"/>
                  </a:lnTo>
                  <a:lnTo>
                    <a:pt x="162" y="26"/>
                  </a:lnTo>
                  <a:lnTo>
                    <a:pt x="158" y="26"/>
                  </a:lnTo>
                  <a:lnTo>
                    <a:pt x="154" y="26"/>
                  </a:lnTo>
                  <a:lnTo>
                    <a:pt x="150" y="26"/>
                  </a:lnTo>
                  <a:lnTo>
                    <a:pt x="146" y="30"/>
                  </a:lnTo>
                  <a:lnTo>
                    <a:pt x="142" y="30"/>
                  </a:lnTo>
                  <a:lnTo>
                    <a:pt x="138" y="30"/>
                  </a:lnTo>
                  <a:lnTo>
                    <a:pt x="136" y="30"/>
                  </a:lnTo>
                  <a:lnTo>
                    <a:pt x="128" y="30"/>
                  </a:lnTo>
                  <a:lnTo>
                    <a:pt x="120" y="30"/>
                  </a:lnTo>
                  <a:lnTo>
                    <a:pt x="116" y="30"/>
                  </a:lnTo>
                  <a:lnTo>
                    <a:pt x="112" y="30"/>
                  </a:lnTo>
                  <a:lnTo>
                    <a:pt x="108" y="26"/>
                  </a:lnTo>
                  <a:lnTo>
                    <a:pt x="112" y="22"/>
                  </a:lnTo>
                  <a:lnTo>
                    <a:pt x="116" y="22"/>
                  </a:lnTo>
                  <a:lnTo>
                    <a:pt x="112" y="22"/>
                  </a:lnTo>
                  <a:lnTo>
                    <a:pt x="108" y="22"/>
                  </a:lnTo>
                  <a:lnTo>
                    <a:pt x="108" y="18"/>
                  </a:lnTo>
                  <a:lnTo>
                    <a:pt x="108" y="22"/>
                  </a:lnTo>
                  <a:lnTo>
                    <a:pt x="112" y="18"/>
                  </a:lnTo>
                  <a:lnTo>
                    <a:pt x="108" y="18"/>
                  </a:lnTo>
                  <a:lnTo>
                    <a:pt x="106" y="18"/>
                  </a:lnTo>
                  <a:lnTo>
                    <a:pt x="108" y="18"/>
                  </a:lnTo>
                  <a:lnTo>
                    <a:pt x="112" y="18"/>
                  </a:lnTo>
                  <a:lnTo>
                    <a:pt x="116" y="18"/>
                  </a:lnTo>
                  <a:lnTo>
                    <a:pt x="120" y="18"/>
                  </a:lnTo>
                  <a:lnTo>
                    <a:pt x="124" y="18"/>
                  </a:lnTo>
                  <a:lnTo>
                    <a:pt x="128" y="18"/>
                  </a:lnTo>
                  <a:lnTo>
                    <a:pt x="124" y="18"/>
                  </a:lnTo>
                  <a:lnTo>
                    <a:pt x="124" y="14"/>
                  </a:lnTo>
                  <a:lnTo>
                    <a:pt x="120" y="14"/>
                  </a:lnTo>
                  <a:lnTo>
                    <a:pt x="120" y="10"/>
                  </a:lnTo>
                  <a:lnTo>
                    <a:pt x="124" y="10"/>
                  </a:lnTo>
                  <a:lnTo>
                    <a:pt x="128" y="14"/>
                  </a:lnTo>
                  <a:lnTo>
                    <a:pt x="132" y="14"/>
                  </a:lnTo>
                  <a:lnTo>
                    <a:pt x="132" y="10"/>
                  </a:lnTo>
                  <a:lnTo>
                    <a:pt x="136" y="10"/>
                  </a:lnTo>
                  <a:lnTo>
                    <a:pt x="132" y="10"/>
                  </a:lnTo>
                  <a:lnTo>
                    <a:pt x="128" y="10"/>
                  </a:lnTo>
                  <a:lnTo>
                    <a:pt x="128" y="6"/>
                  </a:lnTo>
                  <a:lnTo>
                    <a:pt x="132" y="6"/>
                  </a:lnTo>
                  <a:lnTo>
                    <a:pt x="136" y="6"/>
                  </a:lnTo>
                  <a:lnTo>
                    <a:pt x="136" y="10"/>
                  </a:lnTo>
                  <a:lnTo>
                    <a:pt x="138" y="10"/>
                  </a:lnTo>
                  <a:lnTo>
                    <a:pt x="142" y="10"/>
                  </a:lnTo>
                  <a:lnTo>
                    <a:pt x="142" y="14"/>
                  </a:lnTo>
                  <a:lnTo>
                    <a:pt x="146" y="14"/>
                  </a:lnTo>
                  <a:lnTo>
                    <a:pt x="150" y="14"/>
                  </a:lnTo>
                  <a:lnTo>
                    <a:pt x="154" y="14"/>
                  </a:lnTo>
                  <a:lnTo>
                    <a:pt x="158" y="14"/>
                  </a:lnTo>
                  <a:lnTo>
                    <a:pt x="162" y="14"/>
                  </a:lnTo>
                  <a:lnTo>
                    <a:pt x="162" y="18"/>
                  </a:lnTo>
                  <a:lnTo>
                    <a:pt x="158" y="18"/>
                  </a:lnTo>
                  <a:lnTo>
                    <a:pt x="162" y="18"/>
                  </a:lnTo>
                  <a:lnTo>
                    <a:pt x="166" y="18"/>
                  </a:lnTo>
                  <a:lnTo>
                    <a:pt x="166" y="22"/>
                  </a:lnTo>
                  <a:lnTo>
                    <a:pt x="168" y="22"/>
                  </a:lnTo>
                  <a:lnTo>
                    <a:pt x="168" y="18"/>
                  </a:lnTo>
                  <a:lnTo>
                    <a:pt x="168" y="14"/>
                  </a:lnTo>
                  <a:lnTo>
                    <a:pt x="172" y="14"/>
                  </a:lnTo>
                  <a:lnTo>
                    <a:pt x="168" y="14"/>
                  </a:lnTo>
                  <a:lnTo>
                    <a:pt x="168" y="10"/>
                  </a:lnTo>
                  <a:lnTo>
                    <a:pt x="172" y="10"/>
                  </a:lnTo>
                  <a:lnTo>
                    <a:pt x="172" y="14"/>
                  </a:lnTo>
                  <a:lnTo>
                    <a:pt x="176" y="10"/>
                  </a:lnTo>
                  <a:lnTo>
                    <a:pt x="176" y="6"/>
                  </a:lnTo>
                  <a:lnTo>
                    <a:pt x="180" y="6"/>
                  </a:lnTo>
                  <a:lnTo>
                    <a:pt x="180" y="10"/>
                  </a:lnTo>
                  <a:lnTo>
                    <a:pt x="184" y="10"/>
                  </a:lnTo>
                  <a:lnTo>
                    <a:pt x="180" y="10"/>
                  </a:lnTo>
                  <a:lnTo>
                    <a:pt x="184" y="10"/>
                  </a:lnTo>
                  <a:lnTo>
                    <a:pt x="180" y="14"/>
                  </a:lnTo>
                  <a:lnTo>
                    <a:pt x="176" y="14"/>
                  </a:lnTo>
                  <a:lnTo>
                    <a:pt x="176" y="18"/>
                  </a:lnTo>
                  <a:lnTo>
                    <a:pt x="180" y="18"/>
                  </a:lnTo>
                  <a:lnTo>
                    <a:pt x="184" y="14"/>
                  </a:lnTo>
                  <a:lnTo>
                    <a:pt x="184" y="18"/>
                  </a:lnTo>
                  <a:lnTo>
                    <a:pt x="188" y="18"/>
                  </a:lnTo>
                  <a:lnTo>
                    <a:pt x="188" y="14"/>
                  </a:lnTo>
                  <a:lnTo>
                    <a:pt x="192" y="14"/>
                  </a:lnTo>
                  <a:lnTo>
                    <a:pt x="196" y="14"/>
                  </a:lnTo>
                  <a:lnTo>
                    <a:pt x="198" y="14"/>
                  </a:lnTo>
                  <a:lnTo>
                    <a:pt x="196" y="10"/>
                  </a:lnTo>
                  <a:lnTo>
                    <a:pt x="198" y="10"/>
                  </a:lnTo>
                  <a:lnTo>
                    <a:pt x="198" y="14"/>
                  </a:lnTo>
                  <a:lnTo>
                    <a:pt x="202" y="14"/>
                  </a:lnTo>
                  <a:lnTo>
                    <a:pt x="202" y="10"/>
                  </a:lnTo>
                  <a:lnTo>
                    <a:pt x="202" y="14"/>
                  </a:lnTo>
                  <a:lnTo>
                    <a:pt x="206" y="14"/>
                  </a:lnTo>
                  <a:lnTo>
                    <a:pt x="210" y="14"/>
                  </a:lnTo>
                  <a:lnTo>
                    <a:pt x="214" y="14"/>
                  </a:lnTo>
                  <a:lnTo>
                    <a:pt x="218" y="14"/>
                  </a:lnTo>
                  <a:lnTo>
                    <a:pt x="218" y="18"/>
                  </a:lnTo>
                  <a:lnTo>
                    <a:pt x="222" y="18"/>
                  </a:lnTo>
                  <a:lnTo>
                    <a:pt x="224" y="18"/>
                  </a:lnTo>
                  <a:lnTo>
                    <a:pt x="228" y="18"/>
                  </a:lnTo>
                  <a:lnTo>
                    <a:pt x="232" y="18"/>
                  </a:lnTo>
                  <a:lnTo>
                    <a:pt x="236" y="18"/>
                  </a:lnTo>
                  <a:lnTo>
                    <a:pt x="236" y="22"/>
                  </a:lnTo>
                  <a:lnTo>
                    <a:pt x="236" y="22"/>
                  </a:lnTo>
                  <a:lnTo>
                    <a:pt x="236" y="22"/>
                  </a:lnTo>
                  <a:close/>
                  <a:moveTo>
                    <a:pt x="56" y="104"/>
                  </a:moveTo>
                  <a:lnTo>
                    <a:pt x="52" y="100"/>
                  </a:lnTo>
                  <a:lnTo>
                    <a:pt x="52" y="96"/>
                  </a:lnTo>
                  <a:lnTo>
                    <a:pt x="50" y="96"/>
                  </a:lnTo>
                  <a:lnTo>
                    <a:pt x="50" y="92"/>
                  </a:lnTo>
                  <a:lnTo>
                    <a:pt x="52" y="92"/>
                  </a:lnTo>
                  <a:lnTo>
                    <a:pt x="56" y="92"/>
                  </a:lnTo>
                  <a:lnTo>
                    <a:pt x="60" y="92"/>
                  </a:lnTo>
                  <a:lnTo>
                    <a:pt x="64" y="92"/>
                  </a:lnTo>
                  <a:lnTo>
                    <a:pt x="68" y="92"/>
                  </a:lnTo>
                  <a:lnTo>
                    <a:pt x="72" y="92"/>
                  </a:lnTo>
                  <a:lnTo>
                    <a:pt x="76" y="92"/>
                  </a:lnTo>
                  <a:lnTo>
                    <a:pt x="80" y="92"/>
                  </a:lnTo>
                  <a:lnTo>
                    <a:pt x="80" y="96"/>
                  </a:lnTo>
                  <a:lnTo>
                    <a:pt x="82" y="96"/>
                  </a:lnTo>
                  <a:lnTo>
                    <a:pt x="82" y="92"/>
                  </a:lnTo>
                  <a:lnTo>
                    <a:pt x="80" y="92"/>
                  </a:lnTo>
                  <a:lnTo>
                    <a:pt x="76" y="92"/>
                  </a:lnTo>
                  <a:lnTo>
                    <a:pt x="72" y="92"/>
                  </a:lnTo>
                  <a:lnTo>
                    <a:pt x="68" y="88"/>
                  </a:lnTo>
                  <a:lnTo>
                    <a:pt x="64" y="88"/>
                  </a:lnTo>
                  <a:lnTo>
                    <a:pt x="60" y="88"/>
                  </a:lnTo>
                  <a:lnTo>
                    <a:pt x="64" y="88"/>
                  </a:lnTo>
                  <a:lnTo>
                    <a:pt x="68" y="88"/>
                  </a:lnTo>
                  <a:lnTo>
                    <a:pt x="72" y="86"/>
                  </a:lnTo>
                  <a:lnTo>
                    <a:pt x="76" y="86"/>
                  </a:lnTo>
                  <a:lnTo>
                    <a:pt x="80" y="86"/>
                  </a:lnTo>
                  <a:lnTo>
                    <a:pt x="82" y="86"/>
                  </a:lnTo>
                  <a:lnTo>
                    <a:pt x="86" y="86"/>
                  </a:lnTo>
                  <a:lnTo>
                    <a:pt x="90" y="86"/>
                  </a:lnTo>
                  <a:lnTo>
                    <a:pt x="90" y="82"/>
                  </a:lnTo>
                  <a:lnTo>
                    <a:pt x="94" y="82"/>
                  </a:lnTo>
                  <a:lnTo>
                    <a:pt x="90" y="82"/>
                  </a:lnTo>
                  <a:lnTo>
                    <a:pt x="86" y="82"/>
                  </a:lnTo>
                  <a:lnTo>
                    <a:pt x="86" y="86"/>
                  </a:lnTo>
                  <a:lnTo>
                    <a:pt x="82" y="86"/>
                  </a:lnTo>
                  <a:lnTo>
                    <a:pt x="80" y="86"/>
                  </a:lnTo>
                  <a:lnTo>
                    <a:pt x="76" y="86"/>
                  </a:lnTo>
                  <a:lnTo>
                    <a:pt x="72" y="82"/>
                  </a:lnTo>
                  <a:lnTo>
                    <a:pt x="68" y="82"/>
                  </a:lnTo>
                  <a:lnTo>
                    <a:pt x="68" y="86"/>
                  </a:lnTo>
                  <a:lnTo>
                    <a:pt x="64" y="86"/>
                  </a:lnTo>
                  <a:lnTo>
                    <a:pt x="60" y="86"/>
                  </a:lnTo>
                  <a:lnTo>
                    <a:pt x="56" y="86"/>
                  </a:lnTo>
                  <a:lnTo>
                    <a:pt x="52" y="86"/>
                  </a:lnTo>
                  <a:lnTo>
                    <a:pt x="50" y="86"/>
                  </a:lnTo>
                  <a:lnTo>
                    <a:pt x="50" y="88"/>
                  </a:lnTo>
                  <a:lnTo>
                    <a:pt x="46" y="86"/>
                  </a:lnTo>
                  <a:lnTo>
                    <a:pt x="46" y="82"/>
                  </a:lnTo>
                  <a:lnTo>
                    <a:pt x="46" y="78"/>
                  </a:lnTo>
                  <a:lnTo>
                    <a:pt x="50" y="78"/>
                  </a:lnTo>
                  <a:lnTo>
                    <a:pt x="52" y="78"/>
                  </a:lnTo>
                  <a:lnTo>
                    <a:pt x="52" y="82"/>
                  </a:lnTo>
                  <a:lnTo>
                    <a:pt x="56" y="82"/>
                  </a:lnTo>
                  <a:lnTo>
                    <a:pt x="52" y="78"/>
                  </a:lnTo>
                  <a:lnTo>
                    <a:pt x="56" y="78"/>
                  </a:lnTo>
                  <a:lnTo>
                    <a:pt x="60" y="78"/>
                  </a:lnTo>
                  <a:lnTo>
                    <a:pt x="64" y="78"/>
                  </a:lnTo>
                  <a:lnTo>
                    <a:pt x="64" y="74"/>
                  </a:lnTo>
                  <a:lnTo>
                    <a:pt x="68" y="74"/>
                  </a:lnTo>
                  <a:lnTo>
                    <a:pt x="72" y="74"/>
                  </a:lnTo>
                  <a:lnTo>
                    <a:pt x="76" y="74"/>
                  </a:lnTo>
                  <a:lnTo>
                    <a:pt x="72" y="70"/>
                  </a:lnTo>
                  <a:lnTo>
                    <a:pt x="76" y="70"/>
                  </a:lnTo>
                  <a:lnTo>
                    <a:pt x="80" y="70"/>
                  </a:lnTo>
                  <a:lnTo>
                    <a:pt x="82" y="70"/>
                  </a:lnTo>
                  <a:lnTo>
                    <a:pt x="86" y="70"/>
                  </a:lnTo>
                  <a:lnTo>
                    <a:pt x="90" y="70"/>
                  </a:lnTo>
                  <a:lnTo>
                    <a:pt x="94" y="70"/>
                  </a:lnTo>
                  <a:lnTo>
                    <a:pt x="98" y="66"/>
                  </a:lnTo>
                  <a:lnTo>
                    <a:pt x="94" y="66"/>
                  </a:lnTo>
                  <a:lnTo>
                    <a:pt x="90" y="66"/>
                  </a:lnTo>
                  <a:lnTo>
                    <a:pt x="90" y="70"/>
                  </a:lnTo>
                  <a:lnTo>
                    <a:pt x="90" y="66"/>
                  </a:lnTo>
                  <a:lnTo>
                    <a:pt x="86" y="66"/>
                  </a:lnTo>
                  <a:lnTo>
                    <a:pt x="82" y="66"/>
                  </a:lnTo>
                  <a:lnTo>
                    <a:pt x="82" y="64"/>
                  </a:lnTo>
                  <a:lnTo>
                    <a:pt x="86" y="64"/>
                  </a:lnTo>
                  <a:lnTo>
                    <a:pt x="90" y="64"/>
                  </a:lnTo>
                  <a:lnTo>
                    <a:pt x="90" y="60"/>
                  </a:lnTo>
                  <a:lnTo>
                    <a:pt x="86" y="60"/>
                  </a:lnTo>
                  <a:lnTo>
                    <a:pt x="82" y="60"/>
                  </a:lnTo>
                  <a:lnTo>
                    <a:pt x="82" y="64"/>
                  </a:lnTo>
                  <a:lnTo>
                    <a:pt x="80" y="64"/>
                  </a:lnTo>
                  <a:lnTo>
                    <a:pt x="80" y="66"/>
                  </a:lnTo>
                  <a:lnTo>
                    <a:pt x="76" y="66"/>
                  </a:lnTo>
                  <a:lnTo>
                    <a:pt x="72" y="66"/>
                  </a:lnTo>
                  <a:lnTo>
                    <a:pt x="68" y="66"/>
                  </a:lnTo>
                  <a:lnTo>
                    <a:pt x="68" y="64"/>
                  </a:lnTo>
                  <a:lnTo>
                    <a:pt x="72" y="64"/>
                  </a:lnTo>
                  <a:lnTo>
                    <a:pt x="72" y="60"/>
                  </a:lnTo>
                  <a:lnTo>
                    <a:pt x="72" y="56"/>
                  </a:lnTo>
                  <a:lnTo>
                    <a:pt x="68" y="56"/>
                  </a:lnTo>
                  <a:lnTo>
                    <a:pt x="68" y="60"/>
                  </a:lnTo>
                  <a:lnTo>
                    <a:pt x="64" y="64"/>
                  </a:lnTo>
                  <a:lnTo>
                    <a:pt x="60" y="64"/>
                  </a:lnTo>
                  <a:lnTo>
                    <a:pt x="60" y="60"/>
                  </a:lnTo>
                  <a:lnTo>
                    <a:pt x="56" y="60"/>
                  </a:lnTo>
                  <a:lnTo>
                    <a:pt x="56" y="64"/>
                  </a:lnTo>
                  <a:lnTo>
                    <a:pt x="56" y="66"/>
                  </a:lnTo>
                  <a:lnTo>
                    <a:pt x="60" y="66"/>
                  </a:lnTo>
                  <a:lnTo>
                    <a:pt x="60" y="70"/>
                  </a:lnTo>
                  <a:lnTo>
                    <a:pt x="56" y="70"/>
                  </a:lnTo>
                  <a:lnTo>
                    <a:pt x="56" y="66"/>
                  </a:lnTo>
                  <a:lnTo>
                    <a:pt x="52" y="70"/>
                  </a:lnTo>
                  <a:lnTo>
                    <a:pt x="50" y="70"/>
                  </a:lnTo>
                  <a:lnTo>
                    <a:pt x="46" y="70"/>
                  </a:lnTo>
                  <a:lnTo>
                    <a:pt x="46" y="74"/>
                  </a:lnTo>
                  <a:lnTo>
                    <a:pt x="50" y="74"/>
                  </a:lnTo>
                  <a:lnTo>
                    <a:pt x="46" y="74"/>
                  </a:lnTo>
                  <a:lnTo>
                    <a:pt x="42" y="74"/>
                  </a:lnTo>
                  <a:lnTo>
                    <a:pt x="38" y="74"/>
                  </a:lnTo>
                  <a:lnTo>
                    <a:pt x="34" y="74"/>
                  </a:lnTo>
                  <a:lnTo>
                    <a:pt x="34" y="70"/>
                  </a:lnTo>
                  <a:lnTo>
                    <a:pt x="30" y="70"/>
                  </a:lnTo>
                  <a:lnTo>
                    <a:pt x="30" y="66"/>
                  </a:lnTo>
                  <a:lnTo>
                    <a:pt x="26" y="66"/>
                  </a:lnTo>
                  <a:lnTo>
                    <a:pt x="30" y="66"/>
                  </a:lnTo>
                  <a:lnTo>
                    <a:pt x="34" y="66"/>
                  </a:lnTo>
                  <a:lnTo>
                    <a:pt x="38" y="66"/>
                  </a:lnTo>
                  <a:lnTo>
                    <a:pt x="38" y="64"/>
                  </a:lnTo>
                  <a:lnTo>
                    <a:pt x="34" y="64"/>
                  </a:lnTo>
                  <a:lnTo>
                    <a:pt x="30" y="64"/>
                  </a:lnTo>
                  <a:lnTo>
                    <a:pt x="26" y="64"/>
                  </a:lnTo>
                  <a:lnTo>
                    <a:pt x="22" y="64"/>
                  </a:lnTo>
                  <a:lnTo>
                    <a:pt x="20" y="64"/>
                  </a:lnTo>
                  <a:lnTo>
                    <a:pt x="16" y="60"/>
                  </a:lnTo>
                  <a:lnTo>
                    <a:pt x="16" y="56"/>
                  </a:lnTo>
                  <a:lnTo>
                    <a:pt x="20" y="56"/>
                  </a:lnTo>
                  <a:lnTo>
                    <a:pt x="16" y="56"/>
                  </a:lnTo>
                  <a:lnTo>
                    <a:pt x="12" y="52"/>
                  </a:lnTo>
                  <a:lnTo>
                    <a:pt x="16" y="52"/>
                  </a:lnTo>
                  <a:lnTo>
                    <a:pt x="20" y="52"/>
                  </a:lnTo>
                  <a:lnTo>
                    <a:pt x="22" y="56"/>
                  </a:lnTo>
                  <a:lnTo>
                    <a:pt x="26" y="56"/>
                  </a:lnTo>
                  <a:lnTo>
                    <a:pt x="26" y="52"/>
                  </a:lnTo>
                  <a:lnTo>
                    <a:pt x="22" y="52"/>
                  </a:lnTo>
                  <a:lnTo>
                    <a:pt x="20" y="52"/>
                  </a:lnTo>
                  <a:lnTo>
                    <a:pt x="20" y="48"/>
                  </a:lnTo>
                  <a:lnTo>
                    <a:pt x="20" y="44"/>
                  </a:lnTo>
                  <a:lnTo>
                    <a:pt x="22" y="44"/>
                  </a:lnTo>
                  <a:lnTo>
                    <a:pt x="22" y="40"/>
                  </a:lnTo>
                  <a:lnTo>
                    <a:pt x="20" y="44"/>
                  </a:lnTo>
                  <a:lnTo>
                    <a:pt x="16" y="44"/>
                  </a:lnTo>
                  <a:lnTo>
                    <a:pt x="16" y="40"/>
                  </a:lnTo>
                  <a:lnTo>
                    <a:pt x="16" y="44"/>
                  </a:lnTo>
                  <a:lnTo>
                    <a:pt x="16" y="48"/>
                  </a:lnTo>
                  <a:lnTo>
                    <a:pt x="12" y="48"/>
                  </a:lnTo>
                  <a:lnTo>
                    <a:pt x="8" y="48"/>
                  </a:lnTo>
                  <a:lnTo>
                    <a:pt x="8" y="44"/>
                  </a:lnTo>
                  <a:lnTo>
                    <a:pt x="4" y="40"/>
                  </a:lnTo>
                  <a:lnTo>
                    <a:pt x="4" y="36"/>
                  </a:lnTo>
                  <a:lnTo>
                    <a:pt x="4" y="34"/>
                  </a:lnTo>
                  <a:lnTo>
                    <a:pt x="8" y="34"/>
                  </a:lnTo>
                  <a:lnTo>
                    <a:pt x="8" y="36"/>
                  </a:lnTo>
                  <a:lnTo>
                    <a:pt x="8" y="34"/>
                  </a:lnTo>
                  <a:lnTo>
                    <a:pt x="4" y="34"/>
                  </a:lnTo>
                  <a:lnTo>
                    <a:pt x="8" y="34"/>
                  </a:lnTo>
                  <a:lnTo>
                    <a:pt x="12" y="34"/>
                  </a:lnTo>
                  <a:lnTo>
                    <a:pt x="12" y="30"/>
                  </a:lnTo>
                  <a:lnTo>
                    <a:pt x="8" y="30"/>
                  </a:lnTo>
                  <a:lnTo>
                    <a:pt x="12" y="30"/>
                  </a:lnTo>
                  <a:lnTo>
                    <a:pt x="16" y="30"/>
                  </a:lnTo>
                  <a:lnTo>
                    <a:pt x="16" y="26"/>
                  </a:lnTo>
                  <a:lnTo>
                    <a:pt x="20" y="26"/>
                  </a:lnTo>
                  <a:lnTo>
                    <a:pt x="20" y="30"/>
                  </a:lnTo>
                  <a:lnTo>
                    <a:pt x="22" y="30"/>
                  </a:lnTo>
                  <a:lnTo>
                    <a:pt x="22" y="34"/>
                  </a:lnTo>
                  <a:lnTo>
                    <a:pt x="26" y="34"/>
                  </a:lnTo>
                  <a:lnTo>
                    <a:pt x="26" y="30"/>
                  </a:lnTo>
                  <a:lnTo>
                    <a:pt x="22" y="30"/>
                  </a:lnTo>
                  <a:lnTo>
                    <a:pt x="22" y="26"/>
                  </a:lnTo>
                  <a:lnTo>
                    <a:pt x="26" y="26"/>
                  </a:lnTo>
                  <a:lnTo>
                    <a:pt x="26" y="30"/>
                  </a:lnTo>
                  <a:lnTo>
                    <a:pt x="30" y="30"/>
                  </a:lnTo>
                  <a:lnTo>
                    <a:pt x="34" y="30"/>
                  </a:lnTo>
                  <a:lnTo>
                    <a:pt x="34" y="26"/>
                  </a:lnTo>
                  <a:lnTo>
                    <a:pt x="42" y="26"/>
                  </a:lnTo>
                  <a:lnTo>
                    <a:pt x="46" y="26"/>
                  </a:lnTo>
                  <a:lnTo>
                    <a:pt x="50" y="26"/>
                  </a:lnTo>
                  <a:lnTo>
                    <a:pt x="50" y="30"/>
                  </a:lnTo>
                  <a:lnTo>
                    <a:pt x="46" y="30"/>
                  </a:lnTo>
                  <a:lnTo>
                    <a:pt x="42" y="30"/>
                  </a:lnTo>
                  <a:lnTo>
                    <a:pt x="38" y="30"/>
                  </a:lnTo>
                  <a:lnTo>
                    <a:pt x="34" y="30"/>
                  </a:lnTo>
                  <a:lnTo>
                    <a:pt x="34" y="34"/>
                  </a:lnTo>
                  <a:lnTo>
                    <a:pt x="30" y="34"/>
                  </a:lnTo>
                  <a:lnTo>
                    <a:pt x="26" y="34"/>
                  </a:lnTo>
                  <a:lnTo>
                    <a:pt x="26" y="36"/>
                  </a:lnTo>
                  <a:lnTo>
                    <a:pt x="30" y="36"/>
                  </a:lnTo>
                  <a:lnTo>
                    <a:pt x="34" y="34"/>
                  </a:lnTo>
                  <a:lnTo>
                    <a:pt x="38" y="34"/>
                  </a:lnTo>
                  <a:lnTo>
                    <a:pt x="42" y="34"/>
                  </a:lnTo>
                  <a:lnTo>
                    <a:pt x="42" y="36"/>
                  </a:lnTo>
                  <a:lnTo>
                    <a:pt x="38" y="36"/>
                  </a:lnTo>
                  <a:lnTo>
                    <a:pt x="42" y="36"/>
                  </a:lnTo>
                  <a:lnTo>
                    <a:pt x="46" y="36"/>
                  </a:lnTo>
                  <a:lnTo>
                    <a:pt x="50" y="40"/>
                  </a:lnTo>
                  <a:lnTo>
                    <a:pt x="50" y="44"/>
                  </a:lnTo>
                  <a:lnTo>
                    <a:pt x="52" y="44"/>
                  </a:lnTo>
                  <a:lnTo>
                    <a:pt x="52" y="40"/>
                  </a:lnTo>
                  <a:lnTo>
                    <a:pt x="50" y="36"/>
                  </a:lnTo>
                  <a:lnTo>
                    <a:pt x="50" y="34"/>
                  </a:lnTo>
                  <a:lnTo>
                    <a:pt x="52" y="34"/>
                  </a:lnTo>
                  <a:lnTo>
                    <a:pt x="56" y="30"/>
                  </a:lnTo>
                  <a:lnTo>
                    <a:pt x="60" y="30"/>
                  </a:lnTo>
                  <a:lnTo>
                    <a:pt x="64" y="30"/>
                  </a:lnTo>
                  <a:lnTo>
                    <a:pt x="64" y="34"/>
                  </a:lnTo>
                  <a:lnTo>
                    <a:pt x="68" y="34"/>
                  </a:lnTo>
                  <a:lnTo>
                    <a:pt x="68" y="36"/>
                  </a:lnTo>
                  <a:lnTo>
                    <a:pt x="72" y="40"/>
                  </a:lnTo>
                  <a:lnTo>
                    <a:pt x="72" y="44"/>
                  </a:lnTo>
                  <a:lnTo>
                    <a:pt x="76" y="44"/>
                  </a:lnTo>
                  <a:lnTo>
                    <a:pt x="76" y="48"/>
                  </a:lnTo>
                  <a:lnTo>
                    <a:pt x="80" y="48"/>
                  </a:lnTo>
                  <a:lnTo>
                    <a:pt x="80" y="52"/>
                  </a:lnTo>
                  <a:lnTo>
                    <a:pt x="82" y="52"/>
                  </a:lnTo>
                  <a:lnTo>
                    <a:pt x="82" y="56"/>
                  </a:lnTo>
                  <a:lnTo>
                    <a:pt x="86" y="52"/>
                  </a:lnTo>
                  <a:lnTo>
                    <a:pt x="82" y="52"/>
                  </a:lnTo>
                  <a:lnTo>
                    <a:pt x="82" y="48"/>
                  </a:lnTo>
                  <a:lnTo>
                    <a:pt x="80" y="48"/>
                  </a:lnTo>
                  <a:lnTo>
                    <a:pt x="80" y="44"/>
                  </a:lnTo>
                  <a:lnTo>
                    <a:pt x="80" y="40"/>
                  </a:lnTo>
                  <a:lnTo>
                    <a:pt x="76" y="40"/>
                  </a:lnTo>
                  <a:lnTo>
                    <a:pt x="76" y="36"/>
                  </a:lnTo>
                  <a:lnTo>
                    <a:pt x="76" y="34"/>
                  </a:lnTo>
                  <a:lnTo>
                    <a:pt x="76" y="30"/>
                  </a:lnTo>
                  <a:lnTo>
                    <a:pt x="72" y="30"/>
                  </a:lnTo>
                  <a:lnTo>
                    <a:pt x="72" y="26"/>
                  </a:lnTo>
                  <a:lnTo>
                    <a:pt x="76" y="26"/>
                  </a:lnTo>
                  <a:lnTo>
                    <a:pt x="80" y="26"/>
                  </a:lnTo>
                  <a:lnTo>
                    <a:pt x="80" y="22"/>
                  </a:lnTo>
                  <a:lnTo>
                    <a:pt x="82" y="22"/>
                  </a:lnTo>
                  <a:lnTo>
                    <a:pt x="86" y="22"/>
                  </a:lnTo>
                  <a:lnTo>
                    <a:pt x="86" y="26"/>
                  </a:lnTo>
                  <a:lnTo>
                    <a:pt x="90" y="26"/>
                  </a:lnTo>
                  <a:lnTo>
                    <a:pt x="90" y="22"/>
                  </a:lnTo>
                  <a:lnTo>
                    <a:pt x="94" y="22"/>
                  </a:lnTo>
                  <a:lnTo>
                    <a:pt x="94" y="26"/>
                  </a:lnTo>
                  <a:lnTo>
                    <a:pt x="98" y="26"/>
                  </a:lnTo>
                  <a:lnTo>
                    <a:pt x="102" y="26"/>
                  </a:lnTo>
                  <a:lnTo>
                    <a:pt x="106" y="30"/>
                  </a:lnTo>
                  <a:lnTo>
                    <a:pt x="108" y="30"/>
                  </a:lnTo>
                  <a:lnTo>
                    <a:pt x="106" y="30"/>
                  </a:lnTo>
                  <a:lnTo>
                    <a:pt x="106" y="34"/>
                  </a:lnTo>
                  <a:lnTo>
                    <a:pt x="102" y="36"/>
                  </a:lnTo>
                  <a:lnTo>
                    <a:pt x="102" y="40"/>
                  </a:lnTo>
                  <a:lnTo>
                    <a:pt x="106" y="40"/>
                  </a:lnTo>
                  <a:lnTo>
                    <a:pt x="106" y="36"/>
                  </a:lnTo>
                  <a:lnTo>
                    <a:pt x="108" y="34"/>
                  </a:lnTo>
                  <a:lnTo>
                    <a:pt x="112" y="34"/>
                  </a:lnTo>
                  <a:lnTo>
                    <a:pt x="116" y="34"/>
                  </a:lnTo>
                  <a:lnTo>
                    <a:pt x="116" y="36"/>
                  </a:lnTo>
                  <a:lnTo>
                    <a:pt x="120" y="36"/>
                  </a:lnTo>
                  <a:lnTo>
                    <a:pt x="120" y="40"/>
                  </a:lnTo>
                  <a:lnTo>
                    <a:pt x="120" y="44"/>
                  </a:lnTo>
                  <a:lnTo>
                    <a:pt x="120" y="48"/>
                  </a:lnTo>
                  <a:lnTo>
                    <a:pt x="124" y="48"/>
                  </a:lnTo>
                  <a:lnTo>
                    <a:pt x="124" y="44"/>
                  </a:lnTo>
                  <a:lnTo>
                    <a:pt x="132" y="48"/>
                  </a:lnTo>
                  <a:lnTo>
                    <a:pt x="136" y="52"/>
                  </a:lnTo>
                  <a:lnTo>
                    <a:pt x="138" y="52"/>
                  </a:lnTo>
                  <a:lnTo>
                    <a:pt x="142" y="52"/>
                  </a:lnTo>
                  <a:lnTo>
                    <a:pt x="146" y="52"/>
                  </a:lnTo>
                  <a:lnTo>
                    <a:pt x="150" y="52"/>
                  </a:lnTo>
                  <a:lnTo>
                    <a:pt x="150" y="56"/>
                  </a:lnTo>
                  <a:lnTo>
                    <a:pt x="154" y="56"/>
                  </a:lnTo>
                  <a:lnTo>
                    <a:pt x="158" y="56"/>
                  </a:lnTo>
                  <a:lnTo>
                    <a:pt x="158" y="60"/>
                  </a:lnTo>
                  <a:lnTo>
                    <a:pt x="154" y="60"/>
                  </a:lnTo>
                  <a:lnTo>
                    <a:pt x="150" y="60"/>
                  </a:lnTo>
                  <a:lnTo>
                    <a:pt x="150" y="64"/>
                  </a:lnTo>
                  <a:lnTo>
                    <a:pt x="146" y="60"/>
                  </a:lnTo>
                  <a:lnTo>
                    <a:pt x="142" y="60"/>
                  </a:lnTo>
                  <a:lnTo>
                    <a:pt x="142" y="64"/>
                  </a:lnTo>
                  <a:lnTo>
                    <a:pt x="138" y="64"/>
                  </a:lnTo>
                  <a:lnTo>
                    <a:pt x="136" y="64"/>
                  </a:lnTo>
                  <a:lnTo>
                    <a:pt x="132" y="64"/>
                  </a:lnTo>
                  <a:lnTo>
                    <a:pt x="128" y="64"/>
                  </a:lnTo>
                  <a:lnTo>
                    <a:pt x="132" y="64"/>
                  </a:lnTo>
                  <a:lnTo>
                    <a:pt x="132" y="66"/>
                  </a:lnTo>
                  <a:lnTo>
                    <a:pt x="128" y="66"/>
                  </a:lnTo>
                  <a:lnTo>
                    <a:pt x="124" y="66"/>
                  </a:lnTo>
                  <a:lnTo>
                    <a:pt x="120" y="66"/>
                  </a:lnTo>
                  <a:lnTo>
                    <a:pt x="120" y="70"/>
                  </a:lnTo>
                  <a:lnTo>
                    <a:pt x="120" y="74"/>
                  </a:lnTo>
                  <a:lnTo>
                    <a:pt x="120" y="78"/>
                  </a:lnTo>
                  <a:lnTo>
                    <a:pt x="116" y="78"/>
                  </a:lnTo>
                  <a:lnTo>
                    <a:pt x="112" y="78"/>
                  </a:lnTo>
                  <a:lnTo>
                    <a:pt x="112" y="82"/>
                  </a:lnTo>
                  <a:lnTo>
                    <a:pt x="112" y="86"/>
                  </a:lnTo>
                  <a:lnTo>
                    <a:pt x="112" y="88"/>
                  </a:lnTo>
                  <a:lnTo>
                    <a:pt x="108" y="92"/>
                  </a:lnTo>
                  <a:lnTo>
                    <a:pt x="106" y="92"/>
                  </a:lnTo>
                  <a:lnTo>
                    <a:pt x="102" y="92"/>
                  </a:lnTo>
                  <a:lnTo>
                    <a:pt x="102" y="96"/>
                  </a:lnTo>
                  <a:lnTo>
                    <a:pt x="98" y="100"/>
                  </a:lnTo>
                  <a:lnTo>
                    <a:pt x="98" y="104"/>
                  </a:lnTo>
                  <a:lnTo>
                    <a:pt x="98" y="108"/>
                  </a:lnTo>
                  <a:lnTo>
                    <a:pt x="94" y="108"/>
                  </a:lnTo>
                  <a:lnTo>
                    <a:pt x="98" y="108"/>
                  </a:lnTo>
                  <a:lnTo>
                    <a:pt x="94" y="110"/>
                  </a:lnTo>
                  <a:lnTo>
                    <a:pt x="90" y="110"/>
                  </a:lnTo>
                  <a:lnTo>
                    <a:pt x="90" y="114"/>
                  </a:lnTo>
                  <a:lnTo>
                    <a:pt x="94" y="114"/>
                  </a:lnTo>
                  <a:lnTo>
                    <a:pt x="94" y="118"/>
                  </a:lnTo>
                  <a:lnTo>
                    <a:pt x="90" y="118"/>
                  </a:lnTo>
                  <a:lnTo>
                    <a:pt x="86" y="118"/>
                  </a:lnTo>
                  <a:lnTo>
                    <a:pt x="82" y="118"/>
                  </a:lnTo>
                  <a:lnTo>
                    <a:pt x="82" y="114"/>
                  </a:lnTo>
                  <a:lnTo>
                    <a:pt x="80" y="114"/>
                  </a:lnTo>
                  <a:lnTo>
                    <a:pt x="76" y="114"/>
                  </a:lnTo>
                  <a:lnTo>
                    <a:pt x="76" y="110"/>
                  </a:lnTo>
                  <a:lnTo>
                    <a:pt x="72" y="110"/>
                  </a:lnTo>
                  <a:lnTo>
                    <a:pt x="76" y="110"/>
                  </a:lnTo>
                  <a:lnTo>
                    <a:pt x="76" y="108"/>
                  </a:lnTo>
                  <a:lnTo>
                    <a:pt x="80" y="108"/>
                  </a:lnTo>
                  <a:lnTo>
                    <a:pt x="82" y="108"/>
                  </a:lnTo>
                  <a:lnTo>
                    <a:pt x="86" y="108"/>
                  </a:lnTo>
                  <a:lnTo>
                    <a:pt x="82" y="108"/>
                  </a:lnTo>
                  <a:lnTo>
                    <a:pt x="80" y="108"/>
                  </a:lnTo>
                  <a:lnTo>
                    <a:pt x="80" y="104"/>
                  </a:lnTo>
                  <a:lnTo>
                    <a:pt x="76" y="108"/>
                  </a:lnTo>
                  <a:lnTo>
                    <a:pt x="72" y="108"/>
                  </a:lnTo>
                  <a:lnTo>
                    <a:pt x="68" y="108"/>
                  </a:lnTo>
                  <a:lnTo>
                    <a:pt x="64" y="108"/>
                  </a:lnTo>
                  <a:lnTo>
                    <a:pt x="64" y="104"/>
                  </a:lnTo>
                  <a:lnTo>
                    <a:pt x="60" y="104"/>
                  </a:lnTo>
                  <a:lnTo>
                    <a:pt x="56" y="104"/>
                  </a:lnTo>
                  <a:lnTo>
                    <a:pt x="56" y="104"/>
                  </a:lnTo>
                  <a:lnTo>
                    <a:pt x="56" y="104"/>
                  </a:lnTo>
                  <a:close/>
                  <a:moveTo>
                    <a:pt x="22" y="74"/>
                  </a:moveTo>
                  <a:lnTo>
                    <a:pt x="20" y="74"/>
                  </a:lnTo>
                  <a:lnTo>
                    <a:pt x="20" y="70"/>
                  </a:lnTo>
                  <a:lnTo>
                    <a:pt x="16" y="70"/>
                  </a:lnTo>
                  <a:lnTo>
                    <a:pt x="16" y="66"/>
                  </a:lnTo>
                  <a:lnTo>
                    <a:pt x="12" y="66"/>
                  </a:lnTo>
                  <a:lnTo>
                    <a:pt x="8" y="66"/>
                  </a:lnTo>
                  <a:lnTo>
                    <a:pt x="8" y="64"/>
                  </a:lnTo>
                  <a:lnTo>
                    <a:pt x="4" y="64"/>
                  </a:lnTo>
                  <a:lnTo>
                    <a:pt x="4" y="60"/>
                  </a:lnTo>
                  <a:lnTo>
                    <a:pt x="0" y="60"/>
                  </a:lnTo>
                  <a:lnTo>
                    <a:pt x="0" y="56"/>
                  </a:lnTo>
                  <a:lnTo>
                    <a:pt x="4" y="56"/>
                  </a:lnTo>
                  <a:lnTo>
                    <a:pt x="8" y="56"/>
                  </a:lnTo>
                  <a:lnTo>
                    <a:pt x="8" y="60"/>
                  </a:lnTo>
                  <a:lnTo>
                    <a:pt x="12" y="64"/>
                  </a:lnTo>
                  <a:lnTo>
                    <a:pt x="16" y="64"/>
                  </a:lnTo>
                  <a:lnTo>
                    <a:pt x="16" y="66"/>
                  </a:lnTo>
                  <a:lnTo>
                    <a:pt x="20" y="66"/>
                  </a:lnTo>
                  <a:lnTo>
                    <a:pt x="22" y="70"/>
                  </a:lnTo>
                  <a:lnTo>
                    <a:pt x="22" y="74"/>
                  </a:lnTo>
                  <a:lnTo>
                    <a:pt x="22" y="74"/>
                  </a:lnTo>
                  <a:lnTo>
                    <a:pt x="22" y="74"/>
                  </a:lnTo>
                  <a:close/>
                  <a:moveTo>
                    <a:pt x="136" y="66"/>
                  </a:moveTo>
                  <a:lnTo>
                    <a:pt x="138" y="66"/>
                  </a:lnTo>
                  <a:lnTo>
                    <a:pt x="142" y="64"/>
                  </a:lnTo>
                  <a:lnTo>
                    <a:pt x="146" y="64"/>
                  </a:lnTo>
                  <a:lnTo>
                    <a:pt x="150" y="64"/>
                  </a:lnTo>
                  <a:lnTo>
                    <a:pt x="154" y="64"/>
                  </a:lnTo>
                  <a:lnTo>
                    <a:pt x="158" y="64"/>
                  </a:lnTo>
                  <a:lnTo>
                    <a:pt x="162" y="64"/>
                  </a:lnTo>
                  <a:lnTo>
                    <a:pt x="166" y="64"/>
                  </a:lnTo>
                  <a:lnTo>
                    <a:pt x="166" y="66"/>
                  </a:lnTo>
                  <a:lnTo>
                    <a:pt x="166" y="70"/>
                  </a:lnTo>
                  <a:lnTo>
                    <a:pt x="168" y="70"/>
                  </a:lnTo>
                  <a:lnTo>
                    <a:pt x="166" y="74"/>
                  </a:lnTo>
                  <a:lnTo>
                    <a:pt x="162" y="74"/>
                  </a:lnTo>
                  <a:lnTo>
                    <a:pt x="162" y="70"/>
                  </a:lnTo>
                  <a:lnTo>
                    <a:pt x="158" y="74"/>
                  </a:lnTo>
                  <a:lnTo>
                    <a:pt x="154" y="74"/>
                  </a:lnTo>
                  <a:lnTo>
                    <a:pt x="150" y="74"/>
                  </a:lnTo>
                  <a:lnTo>
                    <a:pt x="146" y="74"/>
                  </a:lnTo>
                  <a:lnTo>
                    <a:pt x="142" y="74"/>
                  </a:lnTo>
                  <a:lnTo>
                    <a:pt x="146" y="74"/>
                  </a:lnTo>
                  <a:lnTo>
                    <a:pt x="146" y="70"/>
                  </a:lnTo>
                  <a:lnTo>
                    <a:pt x="142" y="70"/>
                  </a:lnTo>
                  <a:lnTo>
                    <a:pt x="142" y="66"/>
                  </a:lnTo>
                  <a:lnTo>
                    <a:pt x="138" y="66"/>
                  </a:lnTo>
                  <a:lnTo>
                    <a:pt x="136" y="66"/>
                  </a:lnTo>
                  <a:lnTo>
                    <a:pt x="136" y="66"/>
                  </a:lnTo>
                  <a:lnTo>
                    <a:pt x="136" y="66"/>
                  </a:lnTo>
                  <a:close/>
                  <a:moveTo>
                    <a:pt x="172" y="100"/>
                  </a:moveTo>
                  <a:lnTo>
                    <a:pt x="168" y="100"/>
                  </a:lnTo>
                  <a:lnTo>
                    <a:pt x="168" y="96"/>
                  </a:lnTo>
                  <a:lnTo>
                    <a:pt x="172" y="92"/>
                  </a:lnTo>
                  <a:lnTo>
                    <a:pt x="168" y="92"/>
                  </a:lnTo>
                  <a:lnTo>
                    <a:pt x="166" y="92"/>
                  </a:lnTo>
                  <a:lnTo>
                    <a:pt x="162" y="92"/>
                  </a:lnTo>
                  <a:lnTo>
                    <a:pt x="158" y="92"/>
                  </a:lnTo>
                  <a:lnTo>
                    <a:pt x="154" y="92"/>
                  </a:lnTo>
                  <a:lnTo>
                    <a:pt x="154" y="96"/>
                  </a:lnTo>
                  <a:lnTo>
                    <a:pt x="150" y="96"/>
                  </a:lnTo>
                  <a:lnTo>
                    <a:pt x="146" y="96"/>
                  </a:lnTo>
                  <a:lnTo>
                    <a:pt x="146" y="92"/>
                  </a:lnTo>
                  <a:lnTo>
                    <a:pt x="150" y="92"/>
                  </a:lnTo>
                  <a:lnTo>
                    <a:pt x="150" y="88"/>
                  </a:lnTo>
                  <a:lnTo>
                    <a:pt x="154" y="88"/>
                  </a:lnTo>
                  <a:lnTo>
                    <a:pt x="154" y="86"/>
                  </a:lnTo>
                  <a:lnTo>
                    <a:pt x="158" y="82"/>
                  </a:lnTo>
                  <a:lnTo>
                    <a:pt x="154" y="82"/>
                  </a:lnTo>
                  <a:lnTo>
                    <a:pt x="150" y="78"/>
                  </a:lnTo>
                  <a:lnTo>
                    <a:pt x="146" y="78"/>
                  </a:lnTo>
                  <a:lnTo>
                    <a:pt x="146" y="74"/>
                  </a:lnTo>
                  <a:lnTo>
                    <a:pt x="150" y="74"/>
                  </a:lnTo>
                  <a:lnTo>
                    <a:pt x="154" y="74"/>
                  </a:lnTo>
                  <a:lnTo>
                    <a:pt x="158" y="74"/>
                  </a:lnTo>
                  <a:lnTo>
                    <a:pt x="162" y="74"/>
                  </a:lnTo>
                  <a:lnTo>
                    <a:pt x="166" y="74"/>
                  </a:lnTo>
                  <a:lnTo>
                    <a:pt x="168" y="74"/>
                  </a:lnTo>
                  <a:lnTo>
                    <a:pt x="176" y="74"/>
                  </a:lnTo>
                  <a:lnTo>
                    <a:pt x="180" y="74"/>
                  </a:lnTo>
                  <a:lnTo>
                    <a:pt x="184" y="74"/>
                  </a:lnTo>
                  <a:lnTo>
                    <a:pt x="184" y="78"/>
                  </a:lnTo>
                  <a:lnTo>
                    <a:pt x="180" y="78"/>
                  </a:lnTo>
                  <a:lnTo>
                    <a:pt x="176" y="78"/>
                  </a:lnTo>
                  <a:lnTo>
                    <a:pt x="180" y="78"/>
                  </a:lnTo>
                  <a:lnTo>
                    <a:pt x="180" y="82"/>
                  </a:lnTo>
                  <a:lnTo>
                    <a:pt x="184" y="82"/>
                  </a:lnTo>
                  <a:lnTo>
                    <a:pt x="188" y="82"/>
                  </a:lnTo>
                  <a:lnTo>
                    <a:pt x="188" y="86"/>
                  </a:lnTo>
                  <a:lnTo>
                    <a:pt x="192" y="86"/>
                  </a:lnTo>
                  <a:lnTo>
                    <a:pt x="192" y="82"/>
                  </a:lnTo>
                  <a:lnTo>
                    <a:pt x="196" y="82"/>
                  </a:lnTo>
                  <a:lnTo>
                    <a:pt x="198" y="86"/>
                  </a:lnTo>
                  <a:lnTo>
                    <a:pt x="202" y="86"/>
                  </a:lnTo>
                  <a:lnTo>
                    <a:pt x="206" y="86"/>
                  </a:lnTo>
                  <a:lnTo>
                    <a:pt x="202" y="86"/>
                  </a:lnTo>
                  <a:lnTo>
                    <a:pt x="198" y="88"/>
                  </a:lnTo>
                  <a:lnTo>
                    <a:pt x="196" y="88"/>
                  </a:lnTo>
                  <a:lnTo>
                    <a:pt x="192" y="88"/>
                  </a:lnTo>
                  <a:lnTo>
                    <a:pt x="192" y="92"/>
                  </a:lnTo>
                  <a:lnTo>
                    <a:pt x="188" y="96"/>
                  </a:lnTo>
                  <a:lnTo>
                    <a:pt x="184" y="96"/>
                  </a:lnTo>
                  <a:lnTo>
                    <a:pt x="180" y="96"/>
                  </a:lnTo>
                  <a:lnTo>
                    <a:pt x="176" y="96"/>
                  </a:lnTo>
                  <a:lnTo>
                    <a:pt x="176" y="100"/>
                  </a:lnTo>
                  <a:lnTo>
                    <a:pt x="172" y="100"/>
                  </a:lnTo>
                  <a:lnTo>
                    <a:pt x="172" y="100"/>
                  </a:lnTo>
                  <a:lnTo>
                    <a:pt x="172" y="10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30" name="Freeform 123"/>
            <p:cNvSpPr>
              <a:spLocks noEditPoints="1"/>
            </p:cNvSpPr>
            <p:nvPr/>
          </p:nvSpPr>
          <p:spPr bwMode="auto">
            <a:xfrm>
              <a:off x="7138250" y="3279132"/>
              <a:ext cx="118060" cy="209213"/>
            </a:xfrm>
            <a:custGeom>
              <a:avLst/>
              <a:gdLst>
                <a:gd name="T0" fmla="*/ 106 w 188"/>
                <a:gd name="T1" fmla="*/ 232 h 320"/>
                <a:gd name="T2" fmla="*/ 98 w 188"/>
                <a:gd name="T3" fmla="*/ 238 h 320"/>
                <a:gd name="T4" fmla="*/ 78 w 188"/>
                <a:gd name="T5" fmla="*/ 250 h 320"/>
                <a:gd name="T6" fmla="*/ 76 w 188"/>
                <a:gd name="T7" fmla="*/ 254 h 320"/>
                <a:gd name="T8" fmla="*/ 82 w 188"/>
                <a:gd name="T9" fmla="*/ 264 h 320"/>
                <a:gd name="T10" fmla="*/ 76 w 188"/>
                <a:gd name="T11" fmla="*/ 280 h 320"/>
                <a:gd name="T12" fmla="*/ 64 w 188"/>
                <a:gd name="T13" fmla="*/ 302 h 320"/>
                <a:gd name="T14" fmla="*/ 46 w 188"/>
                <a:gd name="T15" fmla="*/ 314 h 320"/>
                <a:gd name="T16" fmla="*/ 30 w 188"/>
                <a:gd name="T17" fmla="*/ 320 h 320"/>
                <a:gd name="T18" fmla="*/ 26 w 188"/>
                <a:gd name="T19" fmla="*/ 302 h 320"/>
                <a:gd name="T20" fmla="*/ 18 w 188"/>
                <a:gd name="T21" fmla="*/ 284 h 320"/>
                <a:gd name="T22" fmla="*/ 8 w 188"/>
                <a:gd name="T23" fmla="*/ 264 h 320"/>
                <a:gd name="T24" fmla="*/ 4 w 188"/>
                <a:gd name="T25" fmla="*/ 246 h 320"/>
                <a:gd name="T26" fmla="*/ 8 w 188"/>
                <a:gd name="T27" fmla="*/ 242 h 320"/>
                <a:gd name="T28" fmla="*/ 16 w 188"/>
                <a:gd name="T29" fmla="*/ 220 h 320"/>
                <a:gd name="T30" fmla="*/ 18 w 188"/>
                <a:gd name="T31" fmla="*/ 198 h 320"/>
                <a:gd name="T32" fmla="*/ 22 w 188"/>
                <a:gd name="T33" fmla="*/ 182 h 320"/>
                <a:gd name="T34" fmla="*/ 16 w 188"/>
                <a:gd name="T35" fmla="*/ 162 h 320"/>
                <a:gd name="T36" fmla="*/ 16 w 188"/>
                <a:gd name="T37" fmla="*/ 134 h 320"/>
                <a:gd name="T38" fmla="*/ 46 w 188"/>
                <a:gd name="T39" fmla="*/ 112 h 320"/>
                <a:gd name="T40" fmla="*/ 46 w 188"/>
                <a:gd name="T41" fmla="*/ 98 h 320"/>
                <a:gd name="T42" fmla="*/ 52 w 188"/>
                <a:gd name="T43" fmla="*/ 76 h 320"/>
                <a:gd name="T44" fmla="*/ 76 w 188"/>
                <a:gd name="T45" fmla="*/ 52 h 320"/>
                <a:gd name="T46" fmla="*/ 78 w 188"/>
                <a:gd name="T47" fmla="*/ 30 h 320"/>
                <a:gd name="T48" fmla="*/ 102 w 188"/>
                <a:gd name="T49" fmla="*/ 20 h 320"/>
                <a:gd name="T50" fmla="*/ 128 w 188"/>
                <a:gd name="T51" fmla="*/ 20 h 320"/>
                <a:gd name="T52" fmla="*/ 138 w 188"/>
                <a:gd name="T53" fmla="*/ 4 h 320"/>
                <a:gd name="T54" fmla="*/ 162 w 188"/>
                <a:gd name="T55" fmla="*/ 16 h 320"/>
                <a:gd name="T56" fmla="*/ 176 w 188"/>
                <a:gd name="T57" fmla="*/ 42 h 320"/>
                <a:gd name="T58" fmla="*/ 180 w 188"/>
                <a:gd name="T59" fmla="*/ 64 h 320"/>
                <a:gd name="T60" fmla="*/ 176 w 188"/>
                <a:gd name="T61" fmla="*/ 82 h 320"/>
                <a:gd name="T62" fmla="*/ 158 w 188"/>
                <a:gd name="T63" fmla="*/ 86 h 320"/>
                <a:gd name="T64" fmla="*/ 158 w 188"/>
                <a:gd name="T65" fmla="*/ 90 h 320"/>
                <a:gd name="T66" fmla="*/ 150 w 188"/>
                <a:gd name="T67" fmla="*/ 98 h 320"/>
                <a:gd name="T68" fmla="*/ 142 w 188"/>
                <a:gd name="T69" fmla="*/ 108 h 320"/>
                <a:gd name="T70" fmla="*/ 146 w 188"/>
                <a:gd name="T71" fmla="*/ 120 h 320"/>
                <a:gd name="T72" fmla="*/ 124 w 188"/>
                <a:gd name="T73" fmla="*/ 134 h 320"/>
                <a:gd name="T74" fmla="*/ 116 w 188"/>
                <a:gd name="T75" fmla="*/ 142 h 320"/>
                <a:gd name="T76" fmla="*/ 106 w 188"/>
                <a:gd name="T77" fmla="*/ 150 h 320"/>
                <a:gd name="T78" fmla="*/ 98 w 188"/>
                <a:gd name="T79" fmla="*/ 150 h 320"/>
                <a:gd name="T80" fmla="*/ 90 w 188"/>
                <a:gd name="T81" fmla="*/ 168 h 320"/>
                <a:gd name="T82" fmla="*/ 86 w 188"/>
                <a:gd name="T83" fmla="*/ 178 h 320"/>
                <a:gd name="T84" fmla="*/ 90 w 188"/>
                <a:gd name="T85" fmla="*/ 206 h 320"/>
                <a:gd name="T86" fmla="*/ 108 w 188"/>
                <a:gd name="T87" fmla="*/ 212 h 320"/>
                <a:gd name="T88" fmla="*/ 106 w 188"/>
                <a:gd name="T89" fmla="*/ 232 h 320"/>
                <a:gd name="T90" fmla="*/ 94 w 188"/>
                <a:gd name="T91" fmla="*/ 224 h 320"/>
                <a:gd name="T92" fmla="*/ 94 w 188"/>
                <a:gd name="T93" fmla="*/ 228 h 320"/>
                <a:gd name="T94" fmla="*/ 78 w 188"/>
                <a:gd name="T95" fmla="*/ 228 h 320"/>
                <a:gd name="T96" fmla="*/ 86 w 188"/>
                <a:gd name="T97" fmla="*/ 232 h 320"/>
                <a:gd name="T98" fmla="*/ 90 w 188"/>
                <a:gd name="T99" fmla="*/ 162 h 320"/>
                <a:gd name="T100" fmla="*/ 86 w 188"/>
                <a:gd name="T101" fmla="*/ 232 h 320"/>
                <a:gd name="T102" fmla="*/ 94 w 188"/>
                <a:gd name="T103" fmla="*/ 234 h 320"/>
                <a:gd name="T104" fmla="*/ 106 w 188"/>
                <a:gd name="T105" fmla="*/ 206 h 320"/>
                <a:gd name="T106" fmla="*/ 12 w 188"/>
                <a:gd name="T107" fmla="*/ 258 h 320"/>
                <a:gd name="T108" fmla="*/ 12 w 188"/>
                <a:gd name="T109" fmla="*/ 264 h 320"/>
                <a:gd name="T110" fmla="*/ 108 w 188"/>
                <a:gd name="T111" fmla="*/ 276 h 320"/>
                <a:gd name="T112" fmla="*/ 102 w 188"/>
                <a:gd name="T113" fmla="*/ 272 h 320"/>
                <a:gd name="T114" fmla="*/ 76 w 188"/>
                <a:gd name="T115" fmla="*/ 294 h 320"/>
                <a:gd name="T116" fmla="*/ 86 w 188"/>
                <a:gd name="T117" fmla="*/ 284 h 320"/>
                <a:gd name="T118" fmla="*/ 76 w 188"/>
                <a:gd name="T119" fmla="*/ 30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8" h="320">
                  <a:moveTo>
                    <a:pt x="90" y="234"/>
                  </a:moveTo>
                  <a:lnTo>
                    <a:pt x="94" y="234"/>
                  </a:lnTo>
                  <a:lnTo>
                    <a:pt x="98" y="234"/>
                  </a:lnTo>
                  <a:lnTo>
                    <a:pt x="98" y="232"/>
                  </a:lnTo>
                  <a:lnTo>
                    <a:pt x="98" y="234"/>
                  </a:lnTo>
                  <a:lnTo>
                    <a:pt x="102" y="234"/>
                  </a:lnTo>
                  <a:lnTo>
                    <a:pt x="102" y="232"/>
                  </a:lnTo>
                  <a:lnTo>
                    <a:pt x="106" y="232"/>
                  </a:lnTo>
                  <a:lnTo>
                    <a:pt x="106" y="234"/>
                  </a:lnTo>
                  <a:lnTo>
                    <a:pt x="106" y="232"/>
                  </a:lnTo>
                  <a:lnTo>
                    <a:pt x="108" y="232"/>
                  </a:lnTo>
                  <a:lnTo>
                    <a:pt x="108" y="234"/>
                  </a:lnTo>
                  <a:lnTo>
                    <a:pt x="106" y="234"/>
                  </a:lnTo>
                  <a:lnTo>
                    <a:pt x="102" y="234"/>
                  </a:lnTo>
                  <a:lnTo>
                    <a:pt x="102" y="238"/>
                  </a:lnTo>
                  <a:lnTo>
                    <a:pt x="98" y="238"/>
                  </a:lnTo>
                  <a:lnTo>
                    <a:pt x="98" y="242"/>
                  </a:lnTo>
                  <a:lnTo>
                    <a:pt x="94" y="238"/>
                  </a:lnTo>
                  <a:lnTo>
                    <a:pt x="94" y="242"/>
                  </a:lnTo>
                  <a:lnTo>
                    <a:pt x="90" y="246"/>
                  </a:lnTo>
                  <a:lnTo>
                    <a:pt x="86" y="246"/>
                  </a:lnTo>
                  <a:lnTo>
                    <a:pt x="86" y="250"/>
                  </a:lnTo>
                  <a:lnTo>
                    <a:pt x="82" y="250"/>
                  </a:lnTo>
                  <a:lnTo>
                    <a:pt x="78" y="250"/>
                  </a:lnTo>
                  <a:lnTo>
                    <a:pt x="76" y="250"/>
                  </a:lnTo>
                  <a:lnTo>
                    <a:pt x="72" y="250"/>
                  </a:lnTo>
                  <a:lnTo>
                    <a:pt x="76" y="250"/>
                  </a:lnTo>
                  <a:lnTo>
                    <a:pt x="78" y="250"/>
                  </a:lnTo>
                  <a:lnTo>
                    <a:pt x="82" y="250"/>
                  </a:lnTo>
                  <a:lnTo>
                    <a:pt x="82" y="254"/>
                  </a:lnTo>
                  <a:lnTo>
                    <a:pt x="78" y="254"/>
                  </a:lnTo>
                  <a:lnTo>
                    <a:pt x="76" y="254"/>
                  </a:lnTo>
                  <a:lnTo>
                    <a:pt x="78" y="254"/>
                  </a:lnTo>
                  <a:lnTo>
                    <a:pt x="82" y="254"/>
                  </a:lnTo>
                  <a:lnTo>
                    <a:pt x="82" y="258"/>
                  </a:lnTo>
                  <a:lnTo>
                    <a:pt x="82" y="262"/>
                  </a:lnTo>
                  <a:lnTo>
                    <a:pt x="78" y="262"/>
                  </a:lnTo>
                  <a:lnTo>
                    <a:pt x="82" y="262"/>
                  </a:lnTo>
                  <a:lnTo>
                    <a:pt x="78" y="264"/>
                  </a:lnTo>
                  <a:lnTo>
                    <a:pt x="82" y="264"/>
                  </a:lnTo>
                  <a:lnTo>
                    <a:pt x="78" y="264"/>
                  </a:lnTo>
                  <a:lnTo>
                    <a:pt x="78" y="268"/>
                  </a:lnTo>
                  <a:lnTo>
                    <a:pt x="76" y="264"/>
                  </a:lnTo>
                  <a:lnTo>
                    <a:pt x="78" y="268"/>
                  </a:lnTo>
                  <a:lnTo>
                    <a:pt x="78" y="272"/>
                  </a:lnTo>
                  <a:lnTo>
                    <a:pt x="78" y="276"/>
                  </a:lnTo>
                  <a:lnTo>
                    <a:pt x="78" y="280"/>
                  </a:lnTo>
                  <a:lnTo>
                    <a:pt x="76" y="280"/>
                  </a:lnTo>
                  <a:lnTo>
                    <a:pt x="78" y="284"/>
                  </a:lnTo>
                  <a:lnTo>
                    <a:pt x="76" y="288"/>
                  </a:lnTo>
                  <a:lnTo>
                    <a:pt x="76" y="292"/>
                  </a:lnTo>
                  <a:lnTo>
                    <a:pt x="76" y="294"/>
                  </a:lnTo>
                  <a:lnTo>
                    <a:pt x="72" y="298"/>
                  </a:lnTo>
                  <a:lnTo>
                    <a:pt x="72" y="302"/>
                  </a:lnTo>
                  <a:lnTo>
                    <a:pt x="68" y="306"/>
                  </a:lnTo>
                  <a:lnTo>
                    <a:pt x="64" y="302"/>
                  </a:lnTo>
                  <a:lnTo>
                    <a:pt x="60" y="306"/>
                  </a:lnTo>
                  <a:lnTo>
                    <a:pt x="56" y="302"/>
                  </a:lnTo>
                  <a:lnTo>
                    <a:pt x="52" y="302"/>
                  </a:lnTo>
                  <a:lnTo>
                    <a:pt x="52" y="306"/>
                  </a:lnTo>
                  <a:lnTo>
                    <a:pt x="48" y="306"/>
                  </a:lnTo>
                  <a:lnTo>
                    <a:pt x="48" y="310"/>
                  </a:lnTo>
                  <a:lnTo>
                    <a:pt x="46" y="310"/>
                  </a:lnTo>
                  <a:lnTo>
                    <a:pt x="46" y="314"/>
                  </a:lnTo>
                  <a:lnTo>
                    <a:pt x="46" y="318"/>
                  </a:lnTo>
                  <a:lnTo>
                    <a:pt x="48" y="318"/>
                  </a:lnTo>
                  <a:lnTo>
                    <a:pt x="46" y="318"/>
                  </a:lnTo>
                  <a:lnTo>
                    <a:pt x="46" y="320"/>
                  </a:lnTo>
                  <a:lnTo>
                    <a:pt x="42" y="320"/>
                  </a:lnTo>
                  <a:lnTo>
                    <a:pt x="38" y="320"/>
                  </a:lnTo>
                  <a:lnTo>
                    <a:pt x="34" y="320"/>
                  </a:lnTo>
                  <a:lnTo>
                    <a:pt x="30" y="320"/>
                  </a:lnTo>
                  <a:lnTo>
                    <a:pt x="26" y="320"/>
                  </a:lnTo>
                  <a:lnTo>
                    <a:pt x="26" y="318"/>
                  </a:lnTo>
                  <a:lnTo>
                    <a:pt x="30" y="314"/>
                  </a:lnTo>
                  <a:lnTo>
                    <a:pt x="26" y="310"/>
                  </a:lnTo>
                  <a:lnTo>
                    <a:pt x="22" y="306"/>
                  </a:lnTo>
                  <a:lnTo>
                    <a:pt x="18" y="302"/>
                  </a:lnTo>
                  <a:lnTo>
                    <a:pt x="22" y="302"/>
                  </a:lnTo>
                  <a:lnTo>
                    <a:pt x="26" y="302"/>
                  </a:lnTo>
                  <a:lnTo>
                    <a:pt x="22" y="298"/>
                  </a:lnTo>
                  <a:lnTo>
                    <a:pt x="26" y="298"/>
                  </a:lnTo>
                  <a:lnTo>
                    <a:pt x="26" y="294"/>
                  </a:lnTo>
                  <a:lnTo>
                    <a:pt x="22" y="294"/>
                  </a:lnTo>
                  <a:lnTo>
                    <a:pt x="22" y="292"/>
                  </a:lnTo>
                  <a:lnTo>
                    <a:pt x="22" y="288"/>
                  </a:lnTo>
                  <a:lnTo>
                    <a:pt x="18" y="288"/>
                  </a:lnTo>
                  <a:lnTo>
                    <a:pt x="18" y="284"/>
                  </a:lnTo>
                  <a:lnTo>
                    <a:pt x="16" y="284"/>
                  </a:lnTo>
                  <a:lnTo>
                    <a:pt x="16" y="280"/>
                  </a:lnTo>
                  <a:lnTo>
                    <a:pt x="16" y="276"/>
                  </a:lnTo>
                  <a:lnTo>
                    <a:pt x="12" y="276"/>
                  </a:lnTo>
                  <a:lnTo>
                    <a:pt x="12" y="272"/>
                  </a:lnTo>
                  <a:lnTo>
                    <a:pt x="12" y="268"/>
                  </a:lnTo>
                  <a:lnTo>
                    <a:pt x="8" y="268"/>
                  </a:lnTo>
                  <a:lnTo>
                    <a:pt x="8" y="264"/>
                  </a:lnTo>
                  <a:lnTo>
                    <a:pt x="12" y="264"/>
                  </a:lnTo>
                  <a:lnTo>
                    <a:pt x="12" y="262"/>
                  </a:lnTo>
                  <a:lnTo>
                    <a:pt x="12" y="258"/>
                  </a:lnTo>
                  <a:lnTo>
                    <a:pt x="8" y="258"/>
                  </a:lnTo>
                  <a:lnTo>
                    <a:pt x="4" y="258"/>
                  </a:lnTo>
                  <a:lnTo>
                    <a:pt x="4" y="254"/>
                  </a:lnTo>
                  <a:lnTo>
                    <a:pt x="4" y="250"/>
                  </a:lnTo>
                  <a:lnTo>
                    <a:pt x="4" y="246"/>
                  </a:lnTo>
                  <a:lnTo>
                    <a:pt x="0" y="246"/>
                  </a:lnTo>
                  <a:lnTo>
                    <a:pt x="4" y="246"/>
                  </a:lnTo>
                  <a:lnTo>
                    <a:pt x="4" y="242"/>
                  </a:lnTo>
                  <a:lnTo>
                    <a:pt x="0" y="242"/>
                  </a:lnTo>
                  <a:lnTo>
                    <a:pt x="0" y="238"/>
                  </a:lnTo>
                  <a:lnTo>
                    <a:pt x="4" y="238"/>
                  </a:lnTo>
                  <a:lnTo>
                    <a:pt x="4" y="242"/>
                  </a:lnTo>
                  <a:lnTo>
                    <a:pt x="8" y="242"/>
                  </a:lnTo>
                  <a:lnTo>
                    <a:pt x="12" y="238"/>
                  </a:lnTo>
                  <a:lnTo>
                    <a:pt x="12" y="234"/>
                  </a:lnTo>
                  <a:lnTo>
                    <a:pt x="12" y="232"/>
                  </a:lnTo>
                  <a:lnTo>
                    <a:pt x="8" y="228"/>
                  </a:lnTo>
                  <a:lnTo>
                    <a:pt x="12" y="228"/>
                  </a:lnTo>
                  <a:lnTo>
                    <a:pt x="12" y="224"/>
                  </a:lnTo>
                  <a:lnTo>
                    <a:pt x="12" y="220"/>
                  </a:lnTo>
                  <a:lnTo>
                    <a:pt x="16" y="220"/>
                  </a:lnTo>
                  <a:lnTo>
                    <a:pt x="18" y="220"/>
                  </a:lnTo>
                  <a:lnTo>
                    <a:pt x="18" y="216"/>
                  </a:lnTo>
                  <a:lnTo>
                    <a:pt x="18" y="212"/>
                  </a:lnTo>
                  <a:lnTo>
                    <a:pt x="22" y="208"/>
                  </a:lnTo>
                  <a:lnTo>
                    <a:pt x="22" y="206"/>
                  </a:lnTo>
                  <a:lnTo>
                    <a:pt x="18" y="206"/>
                  </a:lnTo>
                  <a:lnTo>
                    <a:pt x="18" y="202"/>
                  </a:lnTo>
                  <a:lnTo>
                    <a:pt x="18" y="198"/>
                  </a:lnTo>
                  <a:lnTo>
                    <a:pt x="16" y="194"/>
                  </a:lnTo>
                  <a:lnTo>
                    <a:pt x="18" y="194"/>
                  </a:lnTo>
                  <a:lnTo>
                    <a:pt x="22" y="194"/>
                  </a:lnTo>
                  <a:lnTo>
                    <a:pt x="22" y="190"/>
                  </a:lnTo>
                  <a:lnTo>
                    <a:pt x="26" y="190"/>
                  </a:lnTo>
                  <a:lnTo>
                    <a:pt x="26" y="186"/>
                  </a:lnTo>
                  <a:lnTo>
                    <a:pt x="22" y="186"/>
                  </a:lnTo>
                  <a:lnTo>
                    <a:pt x="22" y="182"/>
                  </a:lnTo>
                  <a:lnTo>
                    <a:pt x="18" y="182"/>
                  </a:lnTo>
                  <a:lnTo>
                    <a:pt x="16" y="178"/>
                  </a:lnTo>
                  <a:lnTo>
                    <a:pt x="16" y="176"/>
                  </a:lnTo>
                  <a:lnTo>
                    <a:pt x="16" y="172"/>
                  </a:lnTo>
                  <a:lnTo>
                    <a:pt x="18" y="168"/>
                  </a:lnTo>
                  <a:lnTo>
                    <a:pt x="18" y="164"/>
                  </a:lnTo>
                  <a:lnTo>
                    <a:pt x="16" y="164"/>
                  </a:lnTo>
                  <a:lnTo>
                    <a:pt x="16" y="162"/>
                  </a:lnTo>
                  <a:lnTo>
                    <a:pt x="16" y="158"/>
                  </a:lnTo>
                  <a:lnTo>
                    <a:pt x="16" y="154"/>
                  </a:lnTo>
                  <a:lnTo>
                    <a:pt x="16" y="150"/>
                  </a:lnTo>
                  <a:lnTo>
                    <a:pt x="16" y="146"/>
                  </a:lnTo>
                  <a:lnTo>
                    <a:pt x="12" y="142"/>
                  </a:lnTo>
                  <a:lnTo>
                    <a:pt x="16" y="142"/>
                  </a:lnTo>
                  <a:lnTo>
                    <a:pt x="16" y="138"/>
                  </a:lnTo>
                  <a:lnTo>
                    <a:pt x="16" y="134"/>
                  </a:lnTo>
                  <a:lnTo>
                    <a:pt x="18" y="132"/>
                  </a:lnTo>
                  <a:lnTo>
                    <a:pt x="22" y="128"/>
                  </a:lnTo>
                  <a:lnTo>
                    <a:pt x="26" y="124"/>
                  </a:lnTo>
                  <a:lnTo>
                    <a:pt x="30" y="124"/>
                  </a:lnTo>
                  <a:lnTo>
                    <a:pt x="42" y="124"/>
                  </a:lnTo>
                  <a:lnTo>
                    <a:pt x="46" y="120"/>
                  </a:lnTo>
                  <a:lnTo>
                    <a:pt x="46" y="116"/>
                  </a:lnTo>
                  <a:lnTo>
                    <a:pt x="46" y="112"/>
                  </a:lnTo>
                  <a:lnTo>
                    <a:pt x="42" y="112"/>
                  </a:lnTo>
                  <a:lnTo>
                    <a:pt x="38" y="112"/>
                  </a:lnTo>
                  <a:lnTo>
                    <a:pt x="38" y="108"/>
                  </a:lnTo>
                  <a:lnTo>
                    <a:pt x="42" y="108"/>
                  </a:lnTo>
                  <a:lnTo>
                    <a:pt x="42" y="106"/>
                  </a:lnTo>
                  <a:lnTo>
                    <a:pt x="42" y="102"/>
                  </a:lnTo>
                  <a:lnTo>
                    <a:pt x="46" y="102"/>
                  </a:lnTo>
                  <a:lnTo>
                    <a:pt x="46" y="98"/>
                  </a:lnTo>
                  <a:lnTo>
                    <a:pt x="48" y="94"/>
                  </a:lnTo>
                  <a:lnTo>
                    <a:pt x="48" y="90"/>
                  </a:lnTo>
                  <a:lnTo>
                    <a:pt x="48" y="86"/>
                  </a:lnTo>
                  <a:lnTo>
                    <a:pt x="48" y="82"/>
                  </a:lnTo>
                  <a:lnTo>
                    <a:pt x="52" y="82"/>
                  </a:lnTo>
                  <a:lnTo>
                    <a:pt x="48" y="78"/>
                  </a:lnTo>
                  <a:lnTo>
                    <a:pt x="48" y="76"/>
                  </a:lnTo>
                  <a:lnTo>
                    <a:pt x="52" y="76"/>
                  </a:lnTo>
                  <a:lnTo>
                    <a:pt x="56" y="76"/>
                  </a:lnTo>
                  <a:lnTo>
                    <a:pt x="64" y="72"/>
                  </a:lnTo>
                  <a:lnTo>
                    <a:pt x="60" y="68"/>
                  </a:lnTo>
                  <a:lnTo>
                    <a:pt x="60" y="64"/>
                  </a:lnTo>
                  <a:lnTo>
                    <a:pt x="64" y="64"/>
                  </a:lnTo>
                  <a:lnTo>
                    <a:pt x="68" y="60"/>
                  </a:lnTo>
                  <a:lnTo>
                    <a:pt x="72" y="56"/>
                  </a:lnTo>
                  <a:lnTo>
                    <a:pt x="76" y="52"/>
                  </a:lnTo>
                  <a:lnTo>
                    <a:pt x="76" y="48"/>
                  </a:lnTo>
                  <a:lnTo>
                    <a:pt x="76" y="46"/>
                  </a:lnTo>
                  <a:lnTo>
                    <a:pt x="72" y="46"/>
                  </a:lnTo>
                  <a:lnTo>
                    <a:pt x="72" y="42"/>
                  </a:lnTo>
                  <a:lnTo>
                    <a:pt x="76" y="42"/>
                  </a:lnTo>
                  <a:lnTo>
                    <a:pt x="78" y="38"/>
                  </a:lnTo>
                  <a:lnTo>
                    <a:pt x="78" y="34"/>
                  </a:lnTo>
                  <a:lnTo>
                    <a:pt x="78" y="30"/>
                  </a:lnTo>
                  <a:lnTo>
                    <a:pt x="86" y="26"/>
                  </a:lnTo>
                  <a:lnTo>
                    <a:pt x="90" y="26"/>
                  </a:lnTo>
                  <a:lnTo>
                    <a:pt x="94" y="26"/>
                  </a:lnTo>
                  <a:lnTo>
                    <a:pt x="94" y="30"/>
                  </a:lnTo>
                  <a:lnTo>
                    <a:pt x="98" y="30"/>
                  </a:lnTo>
                  <a:lnTo>
                    <a:pt x="98" y="26"/>
                  </a:lnTo>
                  <a:lnTo>
                    <a:pt x="102" y="22"/>
                  </a:lnTo>
                  <a:lnTo>
                    <a:pt x="102" y="20"/>
                  </a:lnTo>
                  <a:lnTo>
                    <a:pt x="98" y="20"/>
                  </a:lnTo>
                  <a:lnTo>
                    <a:pt x="102" y="16"/>
                  </a:lnTo>
                  <a:lnTo>
                    <a:pt x="106" y="16"/>
                  </a:lnTo>
                  <a:lnTo>
                    <a:pt x="108" y="16"/>
                  </a:lnTo>
                  <a:lnTo>
                    <a:pt x="112" y="16"/>
                  </a:lnTo>
                  <a:lnTo>
                    <a:pt x="120" y="20"/>
                  </a:lnTo>
                  <a:lnTo>
                    <a:pt x="124" y="20"/>
                  </a:lnTo>
                  <a:lnTo>
                    <a:pt x="128" y="20"/>
                  </a:lnTo>
                  <a:lnTo>
                    <a:pt x="132" y="16"/>
                  </a:lnTo>
                  <a:lnTo>
                    <a:pt x="128" y="16"/>
                  </a:lnTo>
                  <a:lnTo>
                    <a:pt x="132" y="12"/>
                  </a:lnTo>
                  <a:lnTo>
                    <a:pt x="132" y="8"/>
                  </a:lnTo>
                  <a:lnTo>
                    <a:pt x="132" y="4"/>
                  </a:lnTo>
                  <a:lnTo>
                    <a:pt x="128" y="0"/>
                  </a:lnTo>
                  <a:lnTo>
                    <a:pt x="134" y="0"/>
                  </a:lnTo>
                  <a:lnTo>
                    <a:pt x="138" y="4"/>
                  </a:lnTo>
                  <a:lnTo>
                    <a:pt x="142" y="8"/>
                  </a:lnTo>
                  <a:lnTo>
                    <a:pt x="146" y="8"/>
                  </a:lnTo>
                  <a:lnTo>
                    <a:pt x="146" y="12"/>
                  </a:lnTo>
                  <a:lnTo>
                    <a:pt x="150" y="12"/>
                  </a:lnTo>
                  <a:lnTo>
                    <a:pt x="150" y="16"/>
                  </a:lnTo>
                  <a:lnTo>
                    <a:pt x="154" y="16"/>
                  </a:lnTo>
                  <a:lnTo>
                    <a:pt x="158" y="16"/>
                  </a:lnTo>
                  <a:lnTo>
                    <a:pt x="162" y="16"/>
                  </a:lnTo>
                  <a:lnTo>
                    <a:pt x="164" y="20"/>
                  </a:lnTo>
                  <a:lnTo>
                    <a:pt x="168" y="20"/>
                  </a:lnTo>
                  <a:lnTo>
                    <a:pt x="176" y="26"/>
                  </a:lnTo>
                  <a:lnTo>
                    <a:pt x="180" y="30"/>
                  </a:lnTo>
                  <a:lnTo>
                    <a:pt x="176" y="30"/>
                  </a:lnTo>
                  <a:lnTo>
                    <a:pt x="176" y="34"/>
                  </a:lnTo>
                  <a:lnTo>
                    <a:pt x="176" y="38"/>
                  </a:lnTo>
                  <a:lnTo>
                    <a:pt x="176" y="42"/>
                  </a:lnTo>
                  <a:lnTo>
                    <a:pt x="180" y="42"/>
                  </a:lnTo>
                  <a:lnTo>
                    <a:pt x="180" y="46"/>
                  </a:lnTo>
                  <a:lnTo>
                    <a:pt x="176" y="48"/>
                  </a:lnTo>
                  <a:lnTo>
                    <a:pt x="180" y="52"/>
                  </a:lnTo>
                  <a:lnTo>
                    <a:pt x="184" y="56"/>
                  </a:lnTo>
                  <a:lnTo>
                    <a:pt x="184" y="60"/>
                  </a:lnTo>
                  <a:lnTo>
                    <a:pt x="184" y="64"/>
                  </a:lnTo>
                  <a:lnTo>
                    <a:pt x="180" y="64"/>
                  </a:lnTo>
                  <a:lnTo>
                    <a:pt x="180" y="68"/>
                  </a:lnTo>
                  <a:lnTo>
                    <a:pt x="180" y="72"/>
                  </a:lnTo>
                  <a:lnTo>
                    <a:pt x="180" y="76"/>
                  </a:lnTo>
                  <a:lnTo>
                    <a:pt x="184" y="76"/>
                  </a:lnTo>
                  <a:lnTo>
                    <a:pt x="188" y="82"/>
                  </a:lnTo>
                  <a:lnTo>
                    <a:pt x="184" y="82"/>
                  </a:lnTo>
                  <a:lnTo>
                    <a:pt x="180" y="82"/>
                  </a:lnTo>
                  <a:lnTo>
                    <a:pt x="176" y="82"/>
                  </a:lnTo>
                  <a:lnTo>
                    <a:pt x="172" y="82"/>
                  </a:lnTo>
                  <a:lnTo>
                    <a:pt x="172" y="86"/>
                  </a:lnTo>
                  <a:lnTo>
                    <a:pt x="168" y="82"/>
                  </a:lnTo>
                  <a:lnTo>
                    <a:pt x="164" y="82"/>
                  </a:lnTo>
                  <a:lnTo>
                    <a:pt x="164" y="78"/>
                  </a:lnTo>
                  <a:lnTo>
                    <a:pt x="164" y="82"/>
                  </a:lnTo>
                  <a:lnTo>
                    <a:pt x="162" y="82"/>
                  </a:lnTo>
                  <a:lnTo>
                    <a:pt x="158" y="86"/>
                  </a:lnTo>
                  <a:lnTo>
                    <a:pt x="162" y="86"/>
                  </a:lnTo>
                  <a:lnTo>
                    <a:pt x="162" y="90"/>
                  </a:lnTo>
                  <a:lnTo>
                    <a:pt x="158" y="86"/>
                  </a:lnTo>
                  <a:lnTo>
                    <a:pt x="154" y="86"/>
                  </a:lnTo>
                  <a:lnTo>
                    <a:pt x="154" y="82"/>
                  </a:lnTo>
                  <a:lnTo>
                    <a:pt x="154" y="86"/>
                  </a:lnTo>
                  <a:lnTo>
                    <a:pt x="158" y="86"/>
                  </a:lnTo>
                  <a:lnTo>
                    <a:pt x="158" y="90"/>
                  </a:lnTo>
                  <a:lnTo>
                    <a:pt x="154" y="90"/>
                  </a:lnTo>
                  <a:lnTo>
                    <a:pt x="158" y="90"/>
                  </a:lnTo>
                  <a:lnTo>
                    <a:pt x="154" y="94"/>
                  </a:lnTo>
                  <a:lnTo>
                    <a:pt x="150" y="94"/>
                  </a:lnTo>
                  <a:lnTo>
                    <a:pt x="150" y="90"/>
                  </a:lnTo>
                  <a:lnTo>
                    <a:pt x="146" y="94"/>
                  </a:lnTo>
                  <a:lnTo>
                    <a:pt x="150" y="94"/>
                  </a:lnTo>
                  <a:lnTo>
                    <a:pt x="150" y="98"/>
                  </a:lnTo>
                  <a:lnTo>
                    <a:pt x="150" y="94"/>
                  </a:lnTo>
                  <a:lnTo>
                    <a:pt x="146" y="94"/>
                  </a:lnTo>
                  <a:lnTo>
                    <a:pt x="150" y="94"/>
                  </a:lnTo>
                  <a:lnTo>
                    <a:pt x="150" y="98"/>
                  </a:lnTo>
                  <a:lnTo>
                    <a:pt x="150" y="102"/>
                  </a:lnTo>
                  <a:lnTo>
                    <a:pt x="146" y="102"/>
                  </a:lnTo>
                  <a:lnTo>
                    <a:pt x="142" y="106"/>
                  </a:lnTo>
                  <a:lnTo>
                    <a:pt x="142" y="108"/>
                  </a:lnTo>
                  <a:lnTo>
                    <a:pt x="146" y="106"/>
                  </a:lnTo>
                  <a:lnTo>
                    <a:pt x="146" y="108"/>
                  </a:lnTo>
                  <a:lnTo>
                    <a:pt x="142" y="108"/>
                  </a:lnTo>
                  <a:lnTo>
                    <a:pt x="146" y="112"/>
                  </a:lnTo>
                  <a:lnTo>
                    <a:pt x="150" y="112"/>
                  </a:lnTo>
                  <a:lnTo>
                    <a:pt x="150" y="116"/>
                  </a:lnTo>
                  <a:lnTo>
                    <a:pt x="146" y="116"/>
                  </a:lnTo>
                  <a:lnTo>
                    <a:pt x="146" y="120"/>
                  </a:lnTo>
                  <a:lnTo>
                    <a:pt x="142" y="124"/>
                  </a:lnTo>
                  <a:lnTo>
                    <a:pt x="138" y="124"/>
                  </a:lnTo>
                  <a:lnTo>
                    <a:pt x="138" y="128"/>
                  </a:lnTo>
                  <a:lnTo>
                    <a:pt x="134" y="132"/>
                  </a:lnTo>
                  <a:lnTo>
                    <a:pt x="132" y="132"/>
                  </a:lnTo>
                  <a:lnTo>
                    <a:pt x="132" y="134"/>
                  </a:lnTo>
                  <a:lnTo>
                    <a:pt x="128" y="134"/>
                  </a:lnTo>
                  <a:lnTo>
                    <a:pt x="124" y="134"/>
                  </a:lnTo>
                  <a:lnTo>
                    <a:pt x="124" y="138"/>
                  </a:lnTo>
                  <a:lnTo>
                    <a:pt x="120" y="138"/>
                  </a:lnTo>
                  <a:lnTo>
                    <a:pt x="120" y="134"/>
                  </a:lnTo>
                  <a:lnTo>
                    <a:pt x="120" y="138"/>
                  </a:lnTo>
                  <a:lnTo>
                    <a:pt x="116" y="138"/>
                  </a:lnTo>
                  <a:lnTo>
                    <a:pt x="116" y="142"/>
                  </a:lnTo>
                  <a:lnTo>
                    <a:pt x="112" y="142"/>
                  </a:lnTo>
                  <a:lnTo>
                    <a:pt x="116" y="142"/>
                  </a:lnTo>
                  <a:lnTo>
                    <a:pt x="112" y="146"/>
                  </a:lnTo>
                  <a:lnTo>
                    <a:pt x="112" y="142"/>
                  </a:lnTo>
                  <a:lnTo>
                    <a:pt x="108" y="142"/>
                  </a:lnTo>
                  <a:lnTo>
                    <a:pt x="112" y="142"/>
                  </a:lnTo>
                  <a:lnTo>
                    <a:pt x="112" y="146"/>
                  </a:lnTo>
                  <a:lnTo>
                    <a:pt x="108" y="146"/>
                  </a:lnTo>
                  <a:lnTo>
                    <a:pt x="106" y="146"/>
                  </a:lnTo>
                  <a:lnTo>
                    <a:pt x="106" y="150"/>
                  </a:lnTo>
                  <a:lnTo>
                    <a:pt x="102" y="150"/>
                  </a:lnTo>
                  <a:lnTo>
                    <a:pt x="106" y="150"/>
                  </a:lnTo>
                  <a:lnTo>
                    <a:pt x="106" y="154"/>
                  </a:lnTo>
                  <a:lnTo>
                    <a:pt x="102" y="154"/>
                  </a:lnTo>
                  <a:lnTo>
                    <a:pt x="98" y="154"/>
                  </a:lnTo>
                  <a:lnTo>
                    <a:pt x="98" y="150"/>
                  </a:lnTo>
                  <a:lnTo>
                    <a:pt x="94" y="150"/>
                  </a:lnTo>
                  <a:lnTo>
                    <a:pt x="98" y="150"/>
                  </a:lnTo>
                  <a:lnTo>
                    <a:pt x="98" y="154"/>
                  </a:lnTo>
                  <a:lnTo>
                    <a:pt x="98" y="158"/>
                  </a:lnTo>
                  <a:lnTo>
                    <a:pt x="98" y="162"/>
                  </a:lnTo>
                  <a:lnTo>
                    <a:pt x="94" y="162"/>
                  </a:lnTo>
                  <a:lnTo>
                    <a:pt x="90" y="162"/>
                  </a:lnTo>
                  <a:lnTo>
                    <a:pt x="90" y="164"/>
                  </a:lnTo>
                  <a:lnTo>
                    <a:pt x="94" y="168"/>
                  </a:lnTo>
                  <a:lnTo>
                    <a:pt x="90" y="168"/>
                  </a:lnTo>
                  <a:lnTo>
                    <a:pt x="90" y="172"/>
                  </a:lnTo>
                  <a:lnTo>
                    <a:pt x="90" y="176"/>
                  </a:lnTo>
                  <a:lnTo>
                    <a:pt x="90" y="178"/>
                  </a:lnTo>
                  <a:lnTo>
                    <a:pt x="94" y="178"/>
                  </a:lnTo>
                  <a:lnTo>
                    <a:pt x="90" y="178"/>
                  </a:lnTo>
                  <a:lnTo>
                    <a:pt x="86" y="178"/>
                  </a:lnTo>
                  <a:lnTo>
                    <a:pt x="90" y="178"/>
                  </a:lnTo>
                  <a:lnTo>
                    <a:pt x="86" y="178"/>
                  </a:lnTo>
                  <a:lnTo>
                    <a:pt x="86" y="182"/>
                  </a:lnTo>
                  <a:lnTo>
                    <a:pt x="86" y="186"/>
                  </a:lnTo>
                  <a:lnTo>
                    <a:pt x="86" y="190"/>
                  </a:lnTo>
                  <a:lnTo>
                    <a:pt x="86" y="194"/>
                  </a:lnTo>
                  <a:lnTo>
                    <a:pt x="86" y="198"/>
                  </a:lnTo>
                  <a:lnTo>
                    <a:pt x="90" y="198"/>
                  </a:lnTo>
                  <a:lnTo>
                    <a:pt x="90" y="202"/>
                  </a:lnTo>
                  <a:lnTo>
                    <a:pt x="90" y="206"/>
                  </a:lnTo>
                  <a:lnTo>
                    <a:pt x="90" y="202"/>
                  </a:lnTo>
                  <a:lnTo>
                    <a:pt x="94" y="202"/>
                  </a:lnTo>
                  <a:lnTo>
                    <a:pt x="94" y="206"/>
                  </a:lnTo>
                  <a:lnTo>
                    <a:pt x="98" y="206"/>
                  </a:lnTo>
                  <a:lnTo>
                    <a:pt x="102" y="208"/>
                  </a:lnTo>
                  <a:lnTo>
                    <a:pt x="106" y="208"/>
                  </a:lnTo>
                  <a:lnTo>
                    <a:pt x="106" y="212"/>
                  </a:lnTo>
                  <a:lnTo>
                    <a:pt x="108" y="212"/>
                  </a:lnTo>
                  <a:lnTo>
                    <a:pt x="106" y="212"/>
                  </a:lnTo>
                  <a:lnTo>
                    <a:pt x="106" y="216"/>
                  </a:lnTo>
                  <a:lnTo>
                    <a:pt x="108" y="216"/>
                  </a:lnTo>
                  <a:lnTo>
                    <a:pt x="112" y="220"/>
                  </a:lnTo>
                  <a:lnTo>
                    <a:pt x="112" y="224"/>
                  </a:lnTo>
                  <a:lnTo>
                    <a:pt x="108" y="224"/>
                  </a:lnTo>
                  <a:lnTo>
                    <a:pt x="108" y="228"/>
                  </a:lnTo>
                  <a:lnTo>
                    <a:pt x="106" y="232"/>
                  </a:lnTo>
                  <a:lnTo>
                    <a:pt x="102" y="232"/>
                  </a:lnTo>
                  <a:lnTo>
                    <a:pt x="106" y="232"/>
                  </a:lnTo>
                  <a:lnTo>
                    <a:pt x="102" y="232"/>
                  </a:lnTo>
                  <a:lnTo>
                    <a:pt x="98" y="232"/>
                  </a:lnTo>
                  <a:lnTo>
                    <a:pt x="94" y="232"/>
                  </a:lnTo>
                  <a:lnTo>
                    <a:pt x="98" y="228"/>
                  </a:lnTo>
                  <a:lnTo>
                    <a:pt x="94" y="228"/>
                  </a:lnTo>
                  <a:lnTo>
                    <a:pt x="94" y="224"/>
                  </a:lnTo>
                  <a:lnTo>
                    <a:pt x="94" y="228"/>
                  </a:lnTo>
                  <a:lnTo>
                    <a:pt x="94" y="224"/>
                  </a:lnTo>
                  <a:lnTo>
                    <a:pt x="90" y="224"/>
                  </a:lnTo>
                  <a:lnTo>
                    <a:pt x="94" y="228"/>
                  </a:lnTo>
                  <a:lnTo>
                    <a:pt x="90" y="228"/>
                  </a:lnTo>
                  <a:lnTo>
                    <a:pt x="90" y="224"/>
                  </a:lnTo>
                  <a:lnTo>
                    <a:pt x="94" y="224"/>
                  </a:lnTo>
                  <a:lnTo>
                    <a:pt x="94" y="228"/>
                  </a:lnTo>
                  <a:lnTo>
                    <a:pt x="94" y="232"/>
                  </a:lnTo>
                  <a:lnTo>
                    <a:pt x="90" y="228"/>
                  </a:lnTo>
                  <a:lnTo>
                    <a:pt x="94" y="228"/>
                  </a:lnTo>
                  <a:lnTo>
                    <a:pt x="90" y="228"/>
                  </a:lnTo>
                  <a:lnTo>
                    <a:pt x="90" y="232"/>
                  </a:lnTo>
                  <a:lnTo>
                    <a:pt x="86" y="228"/>
                  </a:lnTo>
                  <a:lnTo>
                    <a:pt x="82" y="228"/>
                  </a:lnTo>
                  <a:lnTo>
                    <a:pt x="78" y="228"/>
                  </a:lnTo>
                  <a:lnTo>
                    <a:pt x="76" y="232"/>
                  </a:lnTo>
                  <a:lnTo>
                    <a:pt x="72" y="232"/>
                  </a:lnTo>
                  <a:lnTo>
                    <a:pt x="76" y="232"/>
                  </a:lnTo>
                  <a:lnTo>
                    <a:pt x="78" y="232"/>
                  </a:lnTo>
                  <a:lnTo>
                    <a:pt x="82" y="232"/>
                  </a:lnTo>
                  <a:lnTo>
                    <a:pt x="78" y="232"/>
                  </a:lnTo>
                  <a:lnTo>
                    <a:pt x="82" y="232"/>
                  </a:lnTo>
                  <a:lnTo>
                    <a:pt x="86" y="232"/>
                  </a:lnTo>
                  <a:lnTo>
                    <a:pt x="90" y="232"/>
                  </a:lnTo>
                  <a:lnTo>
                    <a:pt x="90" y="234"/>
                  </a:lnTo>
                  <a:lnTo>
                    <a:pt x="86" y="234"/>
                  </a:lnTo>
                  <a:lnTo>
                    <a:pt x="90" y="234"/>
                  </a:lnTo>
                  <a:lnTo>
                    <a:pt x="90" y="234"/>
                  </a:lnTo>
                  <a:lnTo>
                    <a:pt x="90" y="234"/>
                  </a:lnTo>
                  <a:close/>
                  <a:moveTo>
                    <a:pt x="90" y="164"/>
                  </a:moveTo>
                  <a:lnTo>
                    <a:pt x="90" y="162"/>
                  </a:lnTo>
                  <a:lnTo>
                    <a:pt x="90" y="164"/>
                  </a:lnTo>
                  <a:lnTo>
                    <a:pt x="94" y="164"/>
                  </a:lnTo>
                  <a:lnTo>
                    <a:pt x="90" y="164"/>
                  </a:lnTo>
                  <a:lnTo>
                    <a:pt x="90" y="164"/>
                  </a:lnTo>
                  <a:lnTo>
                    <a:pt x="90" y="164"/>
                  </a:lnTo>
                  <a:close/>
                  <a:moveTo>
                    <a:pt x="86" y="232"/>
                  </a:moveTo>
                  <a:lnTo>
                    <a:pt x="90" y="232"/>
                  </a:lnTo>
                  <a:lnTo>
                    <a:pt x="86" y="232"/>
                  </a:lnTo>
                  <a:lnTo>
                    <a:pt x="86" y="232"/>
                  </a:lnTo>
                  <a:lnTo>
                    <a:pt x="86" y="232"/>
                  </a:lnTo>
                  <a:close/>
                  <a:moveTo>
                    <a:pt x="94" y="234"/>
                  </a:moveTo>
                  <a:lnTo>
                    <a:pt x="94" y="232"/>
                  </a:lnTo>
                  <a:lnTo>
                    <a:pt x="98" y="234"/>
                  </a:lnTo>
                  <a:lnTo>
                    <a:pt x="94" y="234"/>
                  </a:lnTo>
                  <a:lnTo>
                    <a:pt x="94" y="234"/>
                  </a:lnTo>
                  <a:lnTo>
                    <a:pt x="94" y="234"/>
                  </a:lnTo>
                  <a:close/>
                  <a:moveTo>
                    <a:pt x="116" y="264"/>
                  </a:moveTo>
                  <a:lnTo>
                    <a:pt x="112" y="264"/>
                  </a:lnTo>
                  <a:lnTo>
                    <a:pt x="116" y="264"/>
                  </a:lnTo>
                  <a:lnTo>
                    <a:pt x="116" y="264"/>
                  </a:lnTo>
                  <a:lnTo>
                    <a:pt x="116" y="264"/>
                  </a:lnTo>
                  <a:close/>
                  <a:moveTo>
                    <a:pt x="106" y="212"/>
                  </a:moveTo>
                  <a:lnTo>
                    <a:pt x="106" y="208"/>
                  </a:lnTo>
                  <a:lnTo>
                    <a:pt x="106" y="206"/>
                  </a:lnTo>
                  <a:lnTo>
                    <a:pt x="106" y="208"/>
                  </a:lnTo>
                  <a:lnTo>
                    <a:pt x="106" y="212"/>
                  </a:lnTo>
                  <a:lnTo>
                    <a:pt x="106" y="212"/>
                  </a:lnTo>
                  <a:lnTo>
                    <a:pt x="106" y="212"/>
                  </a:lnTo>
                  <a:close/>
                  <a:moveTo>
                    <a:pt x="8" y="262"/>
                  </a:moveTo>
                  <a:lnTo>
                    <a:pt x="4" y="262"/>
                  </a:lnTo>
                  <a:lnTo>
                    <a:pt x="8" y="258"/>
                  </a:lnTo>
                  <a:lnTo>
                    <a:pt x="12" y="258"/>
                  </a:lnTo>
                  <a:lnTo>
                    <a:pt x="12" y="262"/>
                  </a:lnTo>
                  <a:lnTo>
                    <a:pt x="8" y="262"/>
                  </a:lnTo>
                  <a:lnTo>
                    <a:pt x="8" y="262"/>
                  </a:lnTo>
                  <a:lnTo>
                    <a:pt x="8" y="262"/>
                  </a:lnTo>
                  <a:close/>
                  <a:moveTo>
                    <a:pt x="8" y="264"/>
                  </a:moveTo>
                  <a:lnTo>
                    <a:pt x="8" y="262"/>
                  </a:lnTo>
                  <a:lnTo>
                    <a:pt x="12" y="262"/>
                  </a:lnTo>
                  <a:lnTo>
                    <a:pt x="12" y="264"/>
                  </a:lnTo>
                  <a:lnTo>
                    <a:pt x="8" y="264"/>
                  </a:lnTo>
                  <a:lnTo>
                    <a:pt x="8" y="264"/>
                  </a:lnTo>
                  <a:lnTo>
                    <a:pt x="8" y="264"/>
                  </a:lnTo>
                  <a:close/>
                  <a:moveTo>
                    <a:pt x="112" y="264"/>
                  </a:moveTo>
                  <a:lnTo>
                    <a:pt x="112" y="268"/>
                  </a:lnTo>
                  <a:lnTo>
                    <a:pt x="108" y="268"/>
                  </a:lnTo>
                  <a:lnTo>
                    <a:pt x="108" y="272"/>
                  </a:lnTo>
                  <a:lnTo>
                    <a:pt x="108" y="276"/>
                  </a:lnTo>
                  <a:lnTo>
                    <a:pt x="108" y="280"/>
                  </a:lnTo>
                  <a:lnTo>
                    <a:pt x="106" y="280"/>
                  </a:lnTo>
                  <a:lnTo>
                    <a:pt x="106" y="284"/>
                  </a:lnTo>
                  <a:lnTo>
                    <a:pt x="102" y="288"/>
                  </a:lnTo>
                  <a:lnTo>
                    <a:pt x="102" y="284"/>
                  </a:lnTo>
                  <a:lnTo>
                    <a:pt x="102" y="280"/>
                  </a:lnTo>
                  <a:lnTo>
                    <a:pt x="102" y="276"/>
                  </a:lnTo>
                  <a:lnTo>
                    <a:pt x="102" y="272"/>
                  </a:lnTo>
                  <a:lnTo>
                    <a:pt x="106" y="268"/>
                  </a:lnTo>
                  <a:lnTo>
                    <a:pt x="108" y="264"/>
                  </a:lnTo>
                  <a:lnTo>
                    <a:pt x="112" y="264"/>
                  </a:lnTo>
                  <a:lnTo>
                    <a:pt x="112" y="264"/>
                  </a:lnTo>
                  <a:lnTo>
                    <a:pt x="112" y="264"/>
                  </a:lnTo>
                  <a:close/>
                  <a:moveTo>
                    <a:pt x="76" y="302"/>
                  </a:moveTo>
                  <a:lnTo>
                    <a:pt x="76" y="298"/>
                  </a:lnTo>
                  <a:lnTo>
                    <a:pt x="76" y="294"/>
                  </a:lnTo>
                  <a:lnTo>
                    <a:pt x="78" y="292"/>
                  </a:lnTo>
                  <a:lnTo>
                    <a:pt x="78" y="288"/>
                  </a:lnTo>
                  <a:lnTo>
                    <a:pt x="82" y="288"/>
                  </a:lnTo>
                  <a:lnTo>
                    <a:pt x="82" y="284"/>
                  </a:lnTo>
                  <a:lnTo>
                    <a:pt x="82" y="280"/>
                  </a:lnTo>
                  <a:lnTo>
                    <a:pt x="86" y="276"/>
                  </a:lnTo>
                  <a:lnTo>
                    <a:pt x="86" y="280"/>
                  </a:lnTo>
                  <a:lnTo>
                    <a:pt x="86" y="284"/>
                  </a:lnTo>
                  <a:lnTo>
                    <a:pt x="82" y="284"/>
                  </a:lnTo>
                  <a:lnTo>
                    <a:pt x="82" y="288"/>
                  </a:lnTo>
                  <a:lnTo>
                    <a:pt x="82" y="292"/>
                  </a:lnTo>
                  <a:lnTo>
                    <a:pt x="78" y="292"/>
                  </a:lnTo>
                  <a:lnTo>
                    <a:pt x="78" y="294"/>
                  </a:lnTo>
                  <a:lnTo>
                    <a:pt x="78" y="298"/>
                  </a:lnTo>
                  <a:lnTo>
                    <a:pt x="78" y="302"/>
                  </a:lnTo>
                  <a:lnTo>
                    <a:pt x="76" y="302"/>
                  </a:lnTo>
                  <a:lnTo>
                    <a:pt x="76" y="302"/>
                  </a:lnTo>
                  <a:lnTo>
                    <a:pt x="76" y="30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31" name="Freeform 124"/>
            <p:cNvSpPr>
              <a:spLocks noEditPoints="1"/>
            </p:cNvSpPr>
            <p:nvPr/>
          </p:nvSpPr>
          <p:spPr bwMode="auto">
            <a:xfrm>
              <a:off x="7094291" y="3594260"/>
              <a:ext cx="38935" cy="26152"/>
            </a:xfrm>
            <a:custGeom>
              <a:avLst/>
              <a:gdLst>
                <a:gd name="T0" fmla="*/ 6 w 62"/>
                <a:gd name="T1" fmla="*/ 14 h 40"/>
                <a:gd name="T2" fmla="*/ 10 w 62"/>
                <a:gd name="T3" fmla="*/ 10 h 40"/>
                <a:gd name="T4" fmla="*/ 10 w 62"/>
                <a:gd name="T5" fmla="*/ 6 h 40"/>
                <a:gd name="T6" fmla="*/ 18 w 62"/>
                <a:gd name="T7" fmla="*/ 6 h 40"/>
                <a:gd name="T8" fmla="*/ 18 w 62"/>
                <a:gd name="T9" fmla="*/ 6 h 40"/>
                <a:gd name="T10" fmla="*/ 18 w 62"/>
                <a:gd name="T11" fmla="*/ 6 h 40"/>
                <a:gd name="T12" fmla="*/ 22 w 62"/>
                <a:gd name="T13" fmla="*/ 4 h 40"/>
                <a:gd name="T14" fmla="*/ 22 w 62"/>
                <a:gd name="T15" fmla="*/ 4 h 40"/>
                <a:gd name="T16" fmla="*/ 26 w 62"/>
                <a:gd name="T17" fmla="*/ 4 h 40"/>
                <a:gd name="T18" fmla="*/ 28 w 62"/>
                <a:gd name="T19" fmla="*/ 4 h 40"/>
                <a:gd name="T20" fmla="*/ 32 w 62"/>
                <a:gd name="T21" fmla="*/ 4 h 40"/>
                <a:gd name="T22" fmla="*/ 36 w 62"/>
                <a:gd name="T23" fmla="*/ 4 h 40"/>
                <a:gd name="T24" fmla="*/ 32 w 62"/>
                <a:gd name="T25" fmla="*/ 4 h 40"/>
                <a:gd name="T26" fmla="*/ 36 w 62"/>
                <a:gd name="T27" fmla="*/ 0 h 40"/>
                <a:gd name="T28" fmla="*/ 36 w 62"/>
                <a:gd name="T29" fmla="*/ 0 h 40"/>
                <a:gd name="T30" fmla="*/ 40 w 62"/>
                <a:gd name="T31" fmla="*/ 0 h 40"/>
                <a:gd name="T32" fmla="*/ 40 w 62"/>
                <a:gd name="T33" fmla="*/ 4 h 40"/>
                <a:gd name="T34" fmla="*/ 48 w 62"/>
                <a:gd name="T35" fmla="*/ 4 h 40"/>
                <a:gd name="T36" fmla="*/ 52 w 62"/>
                <a:gd name="T37" fmla="*/ 6 h 40"/>
                <a:gd name="T38" fmla="*/ 48 w 62"/>
                <a:gd name="T39" fmla="*/ 10 h 40"/>
                <a:gd name="T40" fmla="*/ 48 w 62"/>
                <a:gd name="T41" fmla="*/ 14 h 40"/>
                <a:gd name="T42" fmla="*/ 52 w 62"/>
                <a:gd name="T43" fmla="*/ 14 h 40"/>
                <a:gd name="T44" fmla="*/ 52 w 62"/>
                <a:gd name="T45" fmla="*/ 18 h 40"/>
                <a:gd name="T46" fmla="*/ 56 w 62"/>
                <a:gd name="T47" fmla="*/ 18 h 40"/>
                <a:gd name="T48" fmla="*/ 58 w 62"/>
                <a:gd name="T49" fmla="*/ 14 h 40"/>
                <a:gd name="T50" fmla="*/ 62 w 62"/>
                <a:gd name="T51" fmla="*/ 22 h 40"/>
                <a:gd name="T52" fmla="*/ 62 w 62"/>
                <a:gd name="T53" fmla="*/ 26 h 40"/>
                <a:gd name="T54" fmla="*/ 58 w 62"/>
                <a:gd name="T55" fmla="*/ 22 h 40"/>
                <a:gd name="T56" fmla="*/ 56 w 62"/>
                <a:gd name="T57" fmla="*/ 26 h 40"/>
                <a:gd name="T58" fmla="*/ 56 w 62"/>
                <a:gd name="T59" fmla="*/ 30 h 40"/>
                <a:gd name="T60" fmla="*/ 56 w 62"/>
                <a:gd name="T61" fmla="*/ 30 h 40"/>
                <a:gd name="T62" fmla="*/ 52 w 62"/>
                <a:gd name="T63" fmla="*/ 30 h 40"/>
                <a:gd name="T64" fmla="*/ 48 w 62"/>
                <a:gd name="T65" fmla="*/ 30 h 40"/>
                <a:gd name="T66" fmla="*/ 44 w 62"/>
                <a:gd name="T67" fmla="*/ 26 h 40"/>
                <a:gd name="T68" fmla="*/ 44 w 62"/>
                <a:gd name="T69" fmla="*/ 30 h 40"/>
                <a:gd name="T70" fmla="*/ 40 w 62"/>
                <a:gd name="T71" fmla="*/ 34 h 40"/>
                <a:gd name="T72" fmla="*/ 40 w 62"/>
                <a:gd name="T73" fmla="*/ 36 h 40"/>
                <a:gd name="T74" fmla="*/ 40 w 62"/>
                <a:gd name="T75" fmla="*/ 36 h 40"/>
                <a:gd name="T76" fmla="*/ 40 w 62"/>
                <a:gd name="T77" fmla="*/ 34 h 40"/>
                <a:gd name="T78" fmla="*/ 36 w 62"/>
                <a:gd name="T79" fmla="*/ 34 h 40"/>
                <a:gd name="T80" fmla="*/ 32 w 62"/>
                <a:gd name="T81" fmla="*/ 30 h 40"/>
                <a:gd name="T82" fmla="*/ 32 w 62"/>
                <a:gd name="T83" fmla="*/ 26 h 40"/>
                <a:gd name="T84" fmla="*/ 26 w 62"/>
                <a:gd name="T85" fmla="*/ 36 h 40"/>
                <a:gd name="T86" fmla="*/ 26 w 62"/>
                <a:gd name="T87" fmla="*/ 36 h 40"/>
                <a:gd name="T88" fmla="*/ 22 w 62"/>
                <a:gd name="T89" fmla="*/ 36 h 40"/>
                <a:gd name="T90" fmla="*/ 18 w 62"/>
                <a:gd name="T91" fmla="*/ 36 h 40"/>
                <a:gd name="T92" fmla="*/ 14 w 62"/>
                <a:gd name="T93" fmla="*/ 36 h 40"/>
                <a:gd name="T94" fmla="*/ 10 w 62"/>
                <a:gd name="T95" fmla="*/ 34 h 40"/>
                <a:gd name="T96" fmla="*/ 10 w 62"/>
                <a:gd name="T97" fmla="*/ 26 h 40"/>
                <a:gd name="T98" fmla="*/ 2 w 62"/>
                <a:gd name="T99" fmla="*/ 26 h 40"/>
                <a:gd name="T100" fmla="*/ 2 w 62"/>
                <a:gd name="T101" fmla="*/ 30 h 40"/>
                <a:gd name="T102" fmla="*/ 0 w 62"/>
                <a:gd name="T103" fmla="*/ 34 h 40"/>
                <a:gd name="T104" fmla="*/ 0 w 62"/>
                <a:gd name="T105" fmla="*/ 30 h 40"/>
                <a:gd name="T106" fmla="*/ 0 w 62"/>
                <a:gd name="T107" fmla="*/ 26 h 40"/>
                <a:gd name="T108" fmla="*/ 2 w 62"/>
                <a:gd name="T109" fmla="*/ 22 h 40"/>
                <a:gd name="T110" fmla="*/ 2 w 62"/>
                <a:gd name="T111" fmla="*/ 18 h 40"/>
                <a:gd name="T112" fmla="*/ 36 w 62"/>
                <a:gd name="T11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2" h="40">
                  <a:moveTo>
                    <a:pt x="2" y="18"/>
                  </a:moveTo>
                  <a:lnTo>
                    <a:pt x="6" y="18"/>
                  </a:lnTo>
                  <a:lnTo>
                    <a:pt x="6" y="14"/>
                  </a:lnTo>
                  <a:lnTo>
                    <a:pt x="6" y="14"/>
                  </a:lnTo>
                  <a:lnTo>
                    <a:pt x="6" y="14"/>
                  </a:lnTo>
                  <a:lnTo>
                    <a:pt x="6" y="14"/>
                  </a:lnTo>
                  <a:lnTo>
                    <a:pt x="6" y="14"/>
                  </a:lnTo>
                  <a:lnTo>
                    <a:pt x="10" y="14"/>
                  </a:lnTo>
                  <a:lnTo>
                    <a:pt x="10" y="10"/>
                  </a:lnTo>
                  <a:lnTo>
                    <a:pt x="10" y="10"/>
                  </a:lnTo>
                  <a:lnTo>
                    <a:pt x="10" y="10"/>
                  </a:lnTo>
                  <a:lnTo>
                    <a:pt x="14" y="6"/>
                  </a:lnTo>
                  <a:lnTo>
                    <a:pt x="10" y="6"/>
                  </a:lnTo>
                  <a:lnTo>
                    <a:pt x="10" y="6"/>
                  </a:lnTo>
                  <a:lnTo>
                    <a:pt x="10" y="6"/>
                  </a:lnTo>
                  <a:lnTo>
                    <a:pt x="14" y="6"/>
                  </a:lnTo>
                  <a:lnTo>
                    <a:pt x="14" y="4"/>
                  </a:lnTo>
                  <a:lnTo>
                    <a:pt x="14" y="6"/>
                  </a:lnTo>
                  <a:lnTo>
                    <a:pt x="14" y="6"/>
                  </a:lnTo>
                  <a:lnTo>
                    <a:pt x="18" y="6"/>
                  </a:lnTo>
                  <a:lnTo>
                    <a:pt x="18" y="6"/>
                  </a:lnTo>
                  <a:lnTo>
                    <a:pt x="18" y="6"/>
                  </a:lnTo>
                  <a:lnTo>
                    <a:pt x="18" y="6"/>
                  </a:lnTo>
                  <a:lnTo>
                    <a:pt x="18" y="6"/>
                  </a:lnTo>
                  <a:lnTo>
                    <a:pt x="18" y="6"/>
                  </a:lnTo>
                  <a:lnTo>
                    <a:pt x="18" y="6"/>
                  </a:lnTo>
                  <a:lnTo>
                    <a:pt x="18" y="6"/>
                  </a:lnTo>
                  <a:lnTo>
                    <a:pt x="18" y="6"/>
                  </a:lnTo>
                  <a:lnTo>
                    <a:pt x="18" y="6"/>
                  </a:lnTo>
                  <a:lnTo>
                    <a:pt x="18" y="6"/>
                  </a:lnTo>
                  <a:lnTo>
                    <a:pt x="18" y="6"/>
                  </a:lnTo>
                  <a:lnTo>
                    <a:pt x="18" y="4"/>
                  </a:lnTo>
                  <a:lnTo>
                    <a:pt x="22" y="4"/>
                  </a:lnTo>
                  <a:lnTo>
                    <a:pt x="22" y="4"/>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28" y="4"/>
                  </a:lnTo>
                  <a:lnTo>
                    <a:pt x="28" y="4"/>
                  </a:lnTo>
                  <a:lnTo>
                    <a:pt x="28" y="4"/>
                  </a:lnTo>
                  <a:lnTo>
                    <a:pt x="28" y="4"/>
                  </a:lnTo>
                  <a:lnTo>
                    <a:pt x="32" y="4"/>
                  </a:lnTo>
                  <a:lnTo>
                    <a:pt x="32" y="4"/>
                  </a:lnTo>
                  <a:lnTo>
                    <a:pt x="32" y="4"/>
                  </a:lnTo>
                  <a:lnTo>
                    <a:pt x="32" y="4"/>
                  </a:lnTo>
                  <a:lnTo>
                    <a:pt x="32" y="4"/>
                  </a:lnTo>
                  <a:lnTo>
                    <a:pt x="36" y="4"/>
                  </a:lnTo>
                  <a:lnTo>
                    <a:pt x="36" y="4"/>
                  </a:lnTo>
                  <a:lnTo>
                    <a:pt x="36" y="4"/>
                  </a:lnTo>
                  <a:lnTo>
                    <a:pt x="36" y="4"/>
                  </a:lnTo>
                  <a:lnTo>
                    <a:pt x="36" y="4"/>
                  </a:lnTo>
                  <a:lnTo>
                    <a:pt x="36" y="4"/>
                  </a:lnTo>
                  <a:lnTo>
                    <a:pt x="32" y="4"/>
                  </a:lnTo>
                  <a:lnTo>
                    <a:pt x="32" y="4"/>
                  </a:lnTo>
                  <a:lnTo>
                    <a:pt x="32" y="4"/>
                  </a:lnTo>
                  <a:lnTo>
                    <a:pt x="32" y="4"/>
                  </a:lnTo>
                  <a:lnTo>
                    <a:pt x="32" y="0"/>
                  </a:lnTo>
                  <a:lnTo>
                    <a:pt x="32" y="0"/>
                  </a:lnTo>
                  <a:lnTo>
                    <a:pt x="32" y="0"/>
                  </a:lnTo>
                  <a:lnTo>
                    <a:pt x="36" y="0"/>
                  </a:lnTo>
                  <a:lnTo>
                    <a:pt x="36" y="0"/>
                  </a:lnTo>
                  <a:lnTo>
                    <a:pt x="36" y="0"/>
                  </a:lnTo>
                  <a:lnTo>
                    <a:pt x="36" y="0"/>
                  </a:lnTo>
                  <a:lnTo>
                    <a:pt x="36" y="0"/>
                  </a:lnTo>
                  <a:lnTo>
                    <a:pt x="36" y="0"/>
                  </a:lnTo>
                  <a:lnTo>
                    <a:pt x="36" y="0"/>
                  </a:lnTo>
                  <a:lnTo>
                    <a:pt x="36" y="4"/>
                  </a:lnTo>
                  <a:lnTo>
                    <a:pt x="36" y="0"/>
                  </a:lnTo>
                  <a:lnTo>
                    <a:pt x="36" y="0"/>
                  </a:lnTo>
                  <a:lnTo>
                    <a:pt x="40" y="0"/>
                  </a:lnTo>
                  <a:lnTo>
                    <a:pt x="40" y="0"/>
                  </a:lnTo>
                  <a:lnTo>
                    <a:pt x="40" y="4"/>
                  </a:lnTo>
                  <a:lnTo>
                    <a:pt x="40" y="4"/>
                  </a:lnTo>
                  <a:lnTo>
                    <a:pt x="40" y="4"/>
                  </a:lnTo>
                  <a:lnTo>
                    <a:pt x="40" y="4"/>
                  </a:lnTo>
                  <a:lnTo>
                    <a:pt x="40" y="4"/>
                  </a:lnTo>
                  <a:lnTo>
                    <a:pt x="40" y="4"/>
                  </a:lnTo>
                  <a:lnTo>
                    <a:pt x="40" y="0"/>
                  </a:lnTo>
                  <a:lnTo>
                    <a:pt x="40" y="4"/>
                  </a:lnTo>
                  <a:lnTo>
                    <a:pt x="44" y="4"/>
                  </a:lnTo>
                  <a:lnTo>
                    <a:pt x="48" y="4"/>
                  </a:lnTo>
                  <a:lnTo>
                    <a:pt x="48" y="4"/>
                  </a:lnTo>
                  <a:lnTo>
                    <a:pt x="48" y="6"/>
                  </a:lnTo>
                  <a:lnTo>
                    <a:pt x="48" y="6"/>
                  </a:lnTo>
                  <a:lnTo>
                    <a:pt x="52" y="6"/>
                  </a:lnTo>
                  <a:lnTo>
                    <a:pt x="52" y="6"/>
                  </a:lnTo>
                  <a:lnTo>
                    <a:pt x="52" y="6"/>
                  </a:lnTo>
                  <a:lnTo>
                    <a:pt x="48" y="6"/>
                  </a:lnTo>
                  <a:lnTo>
                    <a:pt x="48" y="10"/>
                  </a:lnTo>
                  <a:lnTo>
                    <a:pt x="48" y="10"/>
                  </a:lnTo>
                  <a:lnTo>
                    <a:pt x="48" y="10"/>
                  </a:lnTo>
                  <a:lnTo>
                    <a:pt x="48" y="10"/>
                  </a:lnTo>
                  <a:lnTo>
                    <a:pt x="48" y="10"/>
                  </a:lnTo>
                  <a:lnTo>
                    <a:pt x="48" y="10"/>
                  </a:lnTo>
                  <a:lnTo>
                    <a:pt x="48" y="14"/>
                  </a:lnTo>
                  <a:lnTo>
                    <a:pt x="48" y="14"/>
                  </a:lnTo>
                  <a:lnTo>
                    <a:pt x="48" y="14"/>
                  </a:lnTo>
                  <a:lnTo>
                    <a:pt x="48" y="14"/>
                  </a:lnTo>
                  <a:lnTo>
                    <a:pt x="48" y="14"/>
                  </a:lnTo>
                  <a:lnTo>
                    <a:pt x="48" y="14"/>
                  </a:lnTo>
                  <a:lnTo>
                    <a:pt x="52" y="14"/>
                  </a:lnTo>
                  <a:lnTo>
                    <a:pt x="52" y="14"/>
                  </a:lnTo>
                  <a:lnTo>
                    <a:pt x="52" y="14"/>
                  </a:lnTo>
                  <a:lnTo>
                    <a:pt x="56" y="14"/>
                  </a:lnTo>
                  <a:lnTo>
                    <a:pt x="52" y="14"/>
                  </a:lnTo>
                  <a:lnTo>
                    <a:pt x="52" y="18"/>
                  </a:lnTo>
                  <a:lnTo>
                    <a:pt x="56" y="18"/>
                  </a:lnTo>
                  <a:lnTo>
                    <a:pt x="56" y="18"/>
                  </a:lnTo>
                  <a:lnTo>
                    <a:pt x="56" y="18"/>
                  </a:lnTo>
                  <a:lnTo>
                    <a:pt x="56" y="18"/>
                  </a:lnTo>
                  <a:lnTo>
                    <a:pt x="56" y="18"/>
                  </a:lnTo>
                  <a:lnTo>
                    <a:pt x="58" y="18"/>
                  </a:lnTo>
                  <a:lnTo>
                    <a:pt x="58" y="18"/>
                  </a:lnTo>
                  <a:lnTo>
                    <a:pt x="58" y="18"/>
                  </a:lnTo>
                  <a:lnTo>
                    <a:pt x="58" y="14"/>
                  </a:lnTo>
                  <a:lnTo>
                    <a:pt x="58" y="14"/>
                  </a:lnTo>
                  <a:lnTo>
                    <a:pt x="58" y="14"/>
                  </a:lnTo>
                  <a:lnTo>
                    <a:pt x="62" y="14"/>
                  </a:lnTo>
                  <a:lnTo>
                    <a:pt x="62" y="18"/>
                  </a:lnTo>
                  <a:lnTo>
                    <a:pt x="62" y="18"/>
                  </a:lnTo>
                  <a:lnTo>
                    <a:pt x="62" y="22"/>
                  </a:lnTo>
                  <a:lnTo>
                    <a:pt x="62" y="22"/>
                  </a:lnTo>
                  <a:lnTo>
                    <a:pt x="62" y="22"/>
                  </a:lnTo>
                  <a:lnTo>
                    <a:pt x="62" y="22"/>
                  </a:lnTo>
                  <a:lnTo>
                    <a:pt x="62" y="26"/>
                  </a:lnTo>
                  <a:lnTo>
                    <a:pt x="62" y="26"/>
                  </a:lnTo>
                  <a:lnTo>
                    <a:pt x="62" y="26"/>
                  </a:lnTo>
                  <a:lnTo>
                    <a:pt x="58" y="26"/>
                  </a:lnTo>
                  <a:lnTo>
                    <a:pt x="58" y="26"/>
                  </a:lnTo>
                  <a:lnTo>
                    <a:pt x="58" y="22"/>
                  </a:lnTo>
                  <a:lnTo>
                    <a:pt x="58" y="22"/>
                  </a:lnTo>
                  <a:lnTo>
                    <a:pt x="58" y="22"/>
                  </a:lnTo>
                  <a:lnTo>
                    <a:pt x="58" y="22"/>
                  </a:lnTo>
                  <a:lnTo>
                    <a:pt x="56" y="22"/>
                  </a:lnTo>
                  <a:lnTo>
                    <a:pt x="56" y="26"/>
                  </a:lnTo>
                  <a:lnTo>
                    <a:pt x="56" y="26"/>
                  </a:lnTo>
                  <a:lnTo>
                    <a:pt x="56" y="26"/>
                  </a:lnTo>
                  <a:lnTo>
                    <a:pt x="56" y="26"/>
                  </a:lnTo>
                  <a:lnTo>
                    <a:pt x="58" y="30"/>
                  </a:lnTo>
                  <a:lnTo>
                    <a:pt x="58" y="30"/>
                  </a:lnTo>
                  <a:lnTo>
                    <a:pt x="56" y="30"/>
                  </a:lnTo>
                  <a:lnTo>
                    <a:pt x="56" y="30"/>
                  </a:lnTo>
                  <a:lnTo>
                    <a:pt x="56" y="30"/>
                  </a:lnTo>
                  <a:lnTo>
                    <a:pt x="56" y="30"/>
                  </a:lnTo>
                  <a:lnTo>
                    <a:pt x="56" y="30"/>
                  </a:lnTo>
                  <a:lnTo>
                    <a:pt x="56" y="30"/>
                  </a:lnTo>
                  <a:lnTo>
                    <a:pt x="56" y="30"/>
                  </a:lnTo>
                  <a:lnTo>
                    <a:pt x="52" y="30"/>
                  </a:lnTo>
                  <a:lnTo>
                    <a:pt x="52" y="30"/>
                  </a:lnTo>
                  <a:lnTo>
                    <a:pt x="52" y="30"/>
                  </a:lnTo>
                  <a:lnTo>
                    <a:pt x="52" y="30"/>
                  </a:lnTo>
                  <a:lnTo>
                    <a:pt x="52" y="30"/>
                  </a:lnTo>
                  <a:lnTo>
                    <a:pt x="48" y="30"/>
                  </a:lnTo>
                  <a:lnTo>
                    <a:pt x="48" y="30"/>
                  </a:lnTo>
                  <a:lnTo>
                    <a:pt x="48" y="30"/>
                  </a:lnTo>
                  <a:lnTo>
                    <a:pt x="48" y="30"/>
                  </a:lnTo>
                  <a:lnTo>
                    <a:pt x="48" y="26"/>
                  </a:lnTo>
                  <a:lnTo>
                    <a:pt x="48" y="26"/>
                  </a:lnTo>
                  <a:lnTo>
                    <a:pt x="48" y="26"/>
                  </a:lnTo>
                  <a:lnTo>
                    <a:pt x="44" y="26"/>
                  </a:lnTo>
                  <a:lnTo>
                    <a:pt x="44" y="26"/>
                  </a:lnTo>
                  <a:lnTo>
                    <a:pt x="44" y="26"/>
                  </a:lnTo>
                  <a:lnTo>
                    <a:pt x="44" y="30"/>
                  </a:lnTo>
                  <a:lnTo>
                    <a:pt x="44" y="30"/>
                  </a:lnTo>
                  <a:lnTo>
                    <a:pt x="44" y="30"/>
                  </a:lnTo>
                  <a:lnTo>
                    <a:pt x="44" y="30"/>
                  </a:lnTo>
                  <a:lnTo>
                    <a:pt x="44" y="34"/>
                  </a:lnTo>
                  <a:lnTo>
                    <a:pt x="44" y="34"/>
                  </a:lnTo>
                  <a:lnTo>
                    <a:pt x="44" y="34"/>
                  </a:lnTo>
                  <a:lnTo>
                    <a:pt x="40" y="34"/>
                  </a:lnTo>
                  <a:lnTo>
                    <a:pt x="40" y="34"/>
                  </a:lnTo>
                  <a:lnTo>
                    <a:pt x="40" y="36"/>
                  </a:lnTo>
                  <a:lnTo>
                    <a:pt x="40" y="36"/>
                  </a:lnTo>
                  <a:lnTo>
                    <a:pt x="40" y="36"/>
                  </a:lnTo>
                  <a:lnTo>
                    <a:pt x="40" y="36"/>
                  </a:lnTo>
                  <a:lnTo>
                    <a:pt x="40" y="36"/>
                  </a:lnTo>
                  <a:lnTo>
                    <a:pt x="40" y="40"/>
                  </a:lnTo>
                  <a:lnTo>
                    <a:pt x="40" y="40"/>
                  </a:lnTo>
                  <a:lnTo>
                    <a:pt x="40" y="40"/>
                  </a:lnTo>
                  <a:lnTo>
                    <a:pt x="40" y="36"/>
                  </a:lnTo>
                  <a:lnTo>
                    <a:pt x="40" y="36"/>
                  </a:lnTo>
                  <a:lnTo>
                    <a:pt x="40" y="36"/>
                  </a:lnTo>
                  <a:lnTo>
                    <a:pt x="36" y="36"/>
                  </a:lnTo>
                  <a:lnTo>
                    <a:pt x="36" y="36"/>
                  </a:lnTo>
                  <a:lnTo>
                    <a:pt x="40" y="34"/>
                  </a:lnTo>
                  <a:lnTo>
                    <a:pt x="40" y="34"/>
                  </a:lnTo>
                  <a:lnTo>
                    <a:pt x="36" y="34"/>
                  </a:lnTo>
                  <a:lnTo>
                    <a:pt x="36" y="34"/>
                  </a:lnTo>
                  <a:lnTo>
                    <a:pt x="36" y="34"/>
                  </a:lnTo>
                  <a:lnTo>
                    <a:pt x="36" y="34"/>
                  </a:lnTo>
                  <a:lnTo>
                    <a:pt x="36" y="34"/>
                  </a:lnTo>
                  <a:lnTo>
                    <a:pt x="36" y="34"/>
                  </a:lnTo>
                  <a:lnTo>
                    <a:pt x="32" y="30"/>
                  </a:lnTo>
                  <a:lnTo>
                    <a:pt x="32" y="30"/>
                  </a:lnTo>
                  <a:lnTo>
                    <a:pt x="32" y="30"/>
                  </a:lnTo>
                  <a:lnTo>
                    <a:pt x="32" y="30"/>
                  </a:lnTo>
                  <a:lnTo>
                    <a:pt x="32" y="30"/>
                  </a:lnTo>
                  <a:lnTo>
                    <a:pt x="32" y="26"/>
                  </a:lnTo>
                  <a:lnTo>
                    <a:pt x="32" y="26"/>
                  </a:lnTo>
                  <a:lnTo>
                    <a:pt x="32" y="26"/>
                  </a:lnTo>
                  <a:lnTo>
                    <a:pt x="32" y="26"/>
                  </a:lnTo>
                  <a:lnTo>
                    <a:pt x="32" y="26"/>
                  </a:lnTo>
                  <a:lnTo>
                    <a:pt x="28" y="30"/>
                  </a:lnTo>
                  <a:lnTo>
                    <a:pt x="28" y="34"/>
                  </a:lnTo>
                  <a:lnTo>
                    <a:pt x="28" y="34"/>
                  </a:lnTo>
                  <a:lnTo>
                    <a:pt x="26" y="36"/>
                  </a:lnTo>
                  <a:lnTo>
                    <a:pt x="26" y="36"/>
                  </a:lnTo>
                  <a:lnTo>
                    <a:pt x="26" y="36"/>
                  </a:lnTo>
                  <a:lnTo>
                    <a:pt x="26" y="36"/>
                  </a:lnTo>
                  <a:lnTo>
                    <a:pt x="26" y="36"/>
                  </a:lnTo>
                  <a:lnTo>
                    <a:pt x="26" y="36"/>
                  </a:lnTo>
                  <a:lnTo>
                    <a:pt x="26" y="36"/>
                  </a:lnTo>
                  <a:lnTo>
                    <a:pt x="26" y="36"/>
                  </a:lnTo>
                  <a:lnTo>
                    <a:pt x="22" y="36"/>
                  </a:lnTo>
                  <a:lnTo>
                    <a:pt x="22" y="36"/>
                  </a:lnTo>
                  <a:lnTo>
                    <a:pt x="22" y="36"/>
                  </a:lnTo>
                  <a:lnTo>
                    <a:pt x="22" y="36"/>
                  </a:lnTo>
                  <a:lnTo>
                    <a:pt x="18" y="36"/>
                  </a:lnTo>
                  <a:lnTo>
                    <a:pt x="18" y="36"/>
                  </a:lnTo>
                  <a:lnTo>
                    <a:pt x="18" y="36"/>
                  </a:lnTo>
                  <a:lnTo>
                    <a:pt x="18" y="36"/>
                  </a:lnTo>
                  <a:lnTo>
                    <a:pt x="18" y="36"/>
                  </a:lnTo>
                  <a:lnTo>
                    <a:pt x="14" y="36"/>
                  </a:lnTo>
                  <a:lnTo>
                    <a:pt x="14" y="36"/>
                  </a:lnTo>
                  <a:lnTo>
                    <a:pt x="14" y="36"/>
                  </a:lnTo>
                  <a:lnTo>
                    <a:pt x="14" y="36"/>
                  </a:lnTo>
                  <a:lnTo>
                    <a:pt x="14" y="36"/>
                  </a:lnTo>
                  <a:lnTo>
                    <a:pt x="14" y="36"/>
                  </a:lnTo>
                  <a:lnTo>
                    <a:pt x="14" y="36"/>
                  </a:lnTo>
                  <a:lnTo>
                    <a:pt x="10" y="34"/>
                  </a:lnTo>
                  <a:lnTo>
                    <a:pt x="10" y="34"/>
                  </a:lnTo>
                  <a:lnTo>
                    <a:pt x="10" y="34"/>
                  </a:lnTo>
                  <a:lnTo>
                    <a:pt x="10" y="30"/>
                  </a:lnTo>
                  <a:lnTo>
                    <a:pt x="10" y="26"/>
                  </a:lnTo>
                  <a:lnTo>
                    <a:pt x="10" y="26"/>
                  </a:lnTo>
                  <a:lnTo>
                    <a:pt x="10" y="26"/>
                  </a:lnTo>
                  <a:lnTo>
                    <a:pt x="6" y="26"/>
                  </a:lnTo>
                  <a:lnTo>
                    <a:pt x="6" y="26"/>
                  </a:lnTo>
                  <a:lnTo>
                    <a:pt x="6" y="26"/>
                  </a:lnTo>
                  <a:lnTo>
                    <a:pt x="6" y="26"/>
                  </a:lnTo>
                  <a:lnTo>
                    <a:pt x="2" y="26"/>
                  </a:lnTo>
                  <a:lnTo>
                    <a:pt x="2" y="30"/>
                  </a:lnTo>
                  <a:lnTo>
                    <a:pt x="2" y="30"/>
                  </a:lnTo>
                  <a:lnTo>
                    <a:pt x="2" y="30"/>
                  </a:lnTo>
                  <a:lnTo>
                    <a:pt x="2" y="30"/>
                  </a:lnTo>
                  <a:lnTo>
                    <a:pt x="2" y="30"/>
                  </a:lnTo>
                  <a:lnTo>
                    <a:pt x="2" y="34"/>
                  </a:lnTo>
                  <a:lnTo>
                    <a:pt x="0" y="34"/>
                  </a:lnTo>
                  <a:lnTo>
                    <a:pt x="0" y="34"/>
                  </a:lnTo>
                  <a:lnTo>
                    <a:pt x="0" y="34"/>
                  </a:lnTo>
                  <a:lnTo>
                    <a:pt x="0" y="34"/>
                  </a:lnTo>
                  <a:lnTo>
                    <a:pt x="0" y="30"/>
                  </a:lnTo>
                  <a:lnTo>
                    <a:pt x="0" y="30"/>
                  </a:lnTo>
                  <a:lnTo>
                    <a:pt x="0" y="30"/>
                  </a:lnTo>
                  <a:lnTo>
                    <a:pt x="0" y="30"/>
                  </a:lnTo>
                  <a:lnTo>
                    <a:pt x="0" y="30"/>
                  </a:lnTo>
                  <a:lnTo>
                    <a:pt x="0" y="30"/>
                  </a:lnTo>
                  <a:lnTo>
                    <a:pt x="0" y="30"/>
                  </a:lnTo>
                  <a:lnTo>
                    <a:pt x="0" y="30"/>
                  </a:lnTo>
                  <a:lnTo>
                    <a:pt x="0" y="26"/>
                  </a:lnTo>
                  <a:lnTo>
                    <a:pt x="0" y="26"/>
                  </a:lnTo>
                  <a:lnTo>
                    <a:pt x="0" y="26"/>
                  </a:lnTo>
                  <a:lnTo>
                    <a:pt x="0" y="26"/>
                  </a:lnTo>
                  <a:lnTo>
                    <a:pt x="0" y="22"/>
                  </a:lnTo>
                  <a:lnTo>
                    <a:pt x="2" y="22"/>
                  </a:lnTo>
                  <a:lnTo>
                    <a:pt x="2" y="22"/>
                  </a:lnTo>
                  <a:lnTo>
                    <a:pt x="2" y="22"/>
                  </a:lnTo>
                  <a:lnTo>
                    <a:pt x="6" y="18"/>
                  </a:lnTo>
                  <a:lnTo>
                    <a:pt x="2" y="18"/>
                  </a:lnTo>
                  <a:lnTo>
                    <a:pt x="2" y="18"/>
                  </a:lnTo>
                  <a:lnTo>
                    <a:pt x="2" y="18"/>
                  </a:lnTo>
                  <a:close/>
                  <a:moveTo>
                    <a:pt x="36" y="0"/>
                  </a:moveTo>
                  <a:lnTo>
                    <a:pt x="36" y="0"/>
                  </a:lnTo>
                  <a:lnTo>
                    <a:pt x="36" y="0"/>
                  </a:lnTo>
                  <a:lnTo>
                    <a:pt x="36" y="0"/>
                  </a:lnTo>
                  <a:lnTo>
                    <a:pt x="36" y="0"/>
                  </a:lnTo>
                  <a:lnTo>
                    <a:pt x="36" y="0"/>
                  </a:lnTo>
                  <a:lnTo>
                    <a:pt x="36" y="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32" name="Freeform 125"/>
            <p:cNvSpPr>
              <a:spLocks/>
            </p:cNvSpPr>
            <p:nvPr/>
          </p:nvSpPr>
          <p:spPr bwMode="auto">
            <a:xfrm>
              <a:off x="7236215" y="3530188"/>
              <a:ext cx="159507" cy="107222"/>
            </a:xfrm>
            <a:custGeom>
              <a:avLst/>
              <a:gdLst>
                <a:gd name="T0" fmla="*/ 96 w 254"/>
                <a:gd name="T1" fmla="*/ 134 h 164"/>
                <a:gd name="T2" fmla="*/ 104 w 254"/>
                <a:gd name="T3" fmla="*/ 124 h 164"/>
                <a:gd name="T4" fmla="*/ 108 w 254"/>
                <a:gd name="T5" fmla="*/ 124 h 164"/>
                <a:gd name="T6" fmla="*/ 104 w 254"/>
                <a:gd name="T7" fmla="*/ 108 h 164"/>
                <a:gd name="T8" fmla="*/ 100 w 254"/>
                <a:gd name="T9" fmla="*/ 98 h 164"/>
                <a:gd name="T10" fmla="*/ 86 w 254"/>
                <a:gd name="T11" fmla="*/ 90 h 164"/>
                <a:gd name="T12" fmla="*/ 64 w 254"/>
                <a:gd name="T13" fmla="*/ 86 h 164"/>
                <a:gd name="T14" fmla="*/ 46 w 254"/>
                <a:gd name="T15" fmla="*/ 98 h 164"/>
                <a:gd name="T16" fmla="*/ 24 w 254"/>
                <a:gd name="T17" fmla="*/ 94 h 164"/>
                <a:gd name="T18" fmla="*/ 8 w 254"/>
                <a:gd name="T19" fmla="*/ 90 h 164"/>
                <a:gd name="T20" fmla="*/ 4 w 254"/>
                <a:gd name="T21" fmla="*/ 74 h 164"/>
                <a:gd name="T22" fmla="*/ 16 w 254"/>
                <a:gd name="T23" fmla="*/ 48 h 164"/>
                <a:gd name="T24" fmla="*/ 26 w 254"/>
                <a:gd name="T25" fmla="*/ 38 h 164"/>
                <a:gd name="T26" fmla="*/ 24 w 254"/>
                <a:gd name="T27" fmla="*/ 18 h 164"/>
                <a:gd name="T28" fmla="*/ 42 w 254"/>
                <a:gd name="T29" fmla="*/ 12 h 164"/>
                <a:gd name="T30" fmla="*/ 64 w 254"/>
                <a:gd name="T31" fmla="*/ 16 h 164"/>
                <a:gd name="T32" fmla="*/ 82 w 254"/>
                <a:gd name="T33" fmla="*/ 18 h 164"/>
                <a:gd name="T34" fmla="*/ 94 w 254"/>
                <a:gd name="T35" fmla="*/ 18 h 164"/>
                <a:gd name="T36" fmla="*/ 108 w 254"/>
                <a:gd name="T37" fmla="*/ 22 h 164"/>
                <a:gd name="T38" fmla="*/ 120 w 254"/>
                <a:gd name="T39" fmla="*/ 18 h 164"/>
                <a:gd name="T40" fmla="*/ 134 w 254"/>
                <a:gd name="T41" fmla="*/ 8 h 164"/>
                <a:gd name="T42" fmla="*/ 156 w 254"/>
                <a:gd name="T43" fmla="*/ 0 h 164"/>
                <a:gd name="T44" fmla="*/ 172 w 254"/>
                <a:gd name="T45" fmla="*/ 12 h 164"/>
                <a:gd name="T46" fmla="*/ 176 w 254"/>
                <a:gd name="T47" fmla="*/ 26 h 164"/>
                <a:gd name="T48" fmla="*/ 190 w 254"/>
                <a:gd name="T49" fmla="*/ 38 h 164"/>
                <a:gd name="T50" fmla="*/ 198 w 254"/>
                <a:gd name="T51" fmla="*/ 42 h 164"/>
                <a:gd name="T52" fmla="*/ 212 w 254"/>
                <a:gd name="T53" fmla="*/ 46 h 164"/>
                <a:gd name="T54" fmla="*/ 232 w 254"/>
                <a:gd name="T55" fmla="*/ 48 h 164"/>
                <a:gd name="T56" fmla="*/ 246 w 254"/>
                <a:gd name="T57" fmla="*/ 56 h 164"/>
                <a:gd name="T58" fmla="*/ 250 w 254"/>
                <a:gd name="T59" fmla="*/ 72 h 164"/>
                <a:gd name="T60" fmla="*/ 254 w 254"/>
                <a:gd name="T61" fmla="*/ 90 h 164"/>
                <a:gd name="T62" fmla="*/ 236 w 254"/>
                <a:gd name="T63" fmla="*/ 98 h 164"/>
                <a:gd name="T64" fmla="*/ 224 w 254"/>
                <a:gd name="T65" fmla="*/ 112 h 164"/>
                <a:gd name="T66" fmla="*/ 206 w 254"/>
                <a:gd name="T67" fmla="*/ 120 h 164"/>
                <a:gd name="T68" fmla="*/ 190 w 254"/>
                <a:gd name="T69" fmla="*/ 124 h 164"/>
                <a:gd name="T70" fmla="*/ 186 w 254"/>
                <a:gd name="T71" fmla="*/ 128 h 164"/>
                <a:gd name="T72" fmla="*/ 172 w 254"/>
                <a:gd name="T73" fmla="*/ 128 h 164"/>
                <a:gd name="T74" fmla="*/ 168 w 254"/>
                <a:gd name="T75" fmla="*/ 130 h 164"/>
                <a:gd name="T76" fmla="*/ 176 w 254"/>
                <a:gd name="T77" fmla="*/ 134 h 164"/>
                <a:gd name="T78" fmla="*/ 186 w 254"/>
                <a:gd name="T79" fmla="*/ 146 h 164"/>
                <a:gd name="T80" fmla="*/ 184 w 254"/>
                <a:gd name="T81" fmla="*/ 138 h 164"/>
                <a:gd name="T82" fmla="*/ 198 w 254"/>
                <a:gd name="T83" fmla="*/ 146 h 164"/>
                <a:gd name="T84" fmla="*/ 194 w 254"/>
                <a:gd name="T85" fmla="*/ 154 h 164"/>
                <a:gd name="T86" fmla="*/ 176 w 254"/>
                <a:gd name="T87" fmla="*/ 160 h 164"/>
                <a:gd name="T88" fmla="*/ 160 w 254"/>
                <a:gd name="T89" fmla="*/ 158 h 164"/>
                <a:gd name="T90" fmla="*/ 150 w 254"/>
                <a:gd name="T91" fmla="*/ 146 h 164"/>
                <a:gd name="T92" fmla="*/ 160 w 254"/>
                <a:gd name="T93" fmla="*/ 134 h 164"/>
                <a:gd name="T94" fmla="*/ 146 w 254"/>
                <a:gd name="T95" fmla="*/ 130 h 164"/>
                <a:gd name="T96" fmla="*/ 138 w 254"/>
                <a:gd name="T97" fmla="*/ 124 h 164"/>
                <a:gd name="T98" fmla="*/ 142 w 254"/>
                <a:gd name="T99" fmla="*/ 124 h 164"/>
                <a:gd name="T100" fmla="*/ 138 w 254"/>
                <a:gd name="T101" fmla="*/ 112 h 164"/>
                <a:gd name="T102" fmla="*/ 134 w 254"/>
                <a:gd name="T103" fmla="*/ 120 h 164"/>
                <a:gd name="T104" fmla="*/ 116 w 254"/>
                <a:gd name="T105" fmla="*/ 134 h 164"/>
                <a:gd name="T106" fmla="*/ 108 w 254"/>
                <a:gd name="T107" fmla="*/ 146 h 164"/>
                <a:gd name="T108" fmla="*/ 94 w 254"/>
                <a:gd name="T109" fmla="*/ 15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4" h="164">
                  <a:moveTo>
                    <a:pt x="86" y="146"/>
                  </a:moveTo>
                  <a:lnTo>
                    <a:pt x="86" y="142"/>
                  </a:lnTo>
                  <a:lnTo>
                    <a:pt x="90" y="142"/>
                  </a:lnTo>
                  <a:lnTo>
                    <a:pt x="90" y="138"/>
                  </a:lnTo>
                  <a:lnTo>
                    <a:pt x="94" y="138"/>
                  </a:lnTo>
                  <a:lnTo>
                    <a:pt x="94" y="134"/>
                  </a:lnTo>
                  <a:lnTo>
                    <a:pt x="96" y="134"/>
                  </a:lnTo>
                  <a:lnTo>
                    <a:pt x="96" y="130"/>
                  </a:lnTo>
                  <a:lnTo>
                    <a:pt x="96" y="128"/>
                  </a:lnTo>
                  <a:lnTo>
                    <a:pt x="96" y="124"/>
                  </a:lnTo>
                  <a:lnTo>
                    <a:pt x="100" y="124"/>
                  </a:lnTo>
                  <a:lnTo>
                    <a:pt x="100" y="128"/>
                  </a:lnTo>
                  <a:lnTo>
                    <a:pt x="100" y="124"/>
                  </a:lnTo>
                  <a:lnTo>
                    <a:pt x="104" y="124"/>
                  </a:lnTo>
                  <a:lnTo>
                    <a:pt x="104" y="128"/>
                  </a:lnTo>
                  <a:lnTo>
                    <a:pt x="108" y="128"/>
                  </a:lnTo>
                  <a:lnTo>
                    <a:pt x="108" y="124"/>
                  </a:lnTo>
                  <a:lnTo>
                    <a:pt x="108" y="128"/>
                  </a:lnTo>
                  <a:lnTo>
                    <a:pt x="112" y="128"/>
                  </a:lnTo>
                  <a:lnTo>
                    <a:pt x="112" y="124"/>
                  </a:lnTo>
                  <a:lnTo>
                    <a:pt x="108" y="124"/>
                  </a:lnTo>
                  <a:lnTo>
                    <a:pt x="112" y="124"/>
                  </a:lnTo>
                  <a:lnTo>
                    <a:pt x="112" y="120"/>
                  </a:lnTo>
                  <a:lnTo>
                    <a:pt x="112" y="116"/>
                  </a:lnTo>
                  <a:lnTo>
                    <a:pt x="108" y="116"/>
                  </a:lnTo>
                  <a:lnTo>
                    <a:pt x="104" y="116"/>
                  </a:lnTo>
                  <a:lnTo>
                    <a:pt x="104" y="112"/>
                  </a:lnTo>
                  <a:lnTo>
                    <a:pt x="104" y="108"/>
                  </a:lnTo>
                  <a:lnTo>
                    <a:pt x="104" y="104"/>
                  </a:lnTo>
                  <a:lnTo>
                    <a:pt x="104" y="108"/>
                  </a:lnTo>
                  <a:lnTo>
                    <a:pt x="100" y="104"/>
                  </a:lnTo>
                  <a:lnTo>
                    <a:pt x="104" y="104"/>
                  </a:lnTo>
                  <a:lnTo>
                    <a:pt x="100" y="104"/>
                  </a:lnTo>
                  <a:lnTo>
                    <a:pt x="100" y="102"/>
                  </a:lnTo>
                  <a:lnTo>
                    <a:pt x="100" y="98"/>
                  </a:lnTo>
                  <a:lnTo>
                    <a:pt x="100" y="94"/>
                  </a:lnTo>
                  <a:lnTo>
                    <a:pt x="96" y="94"/>
                  </a:lnTo>
                  <a:lnTo>
                    <a:pt x="94" y="90"/>
                  </a:lnTo>
                  <a:lnTo>
                    <a:pt x="90" y="90"/>
                  </a:lnTo>
                  <a:lnTo>
                    <a:pt x="90" y="86"/>
                  </a:lnTo>
                  <a:lnTo>
                    <a:pt x="86" y="86"/>
                  </a:lnTo>
                  <a:lnTo>
                    <a:pt x="86" y="90"/>
                  </a:lnTo>
                  <a:lnTo>
                    <a:pt x="86" y="86"/>
                  </a:lnTo>
                  <a:lnTo>
                    <a:pt x="82" y="86"/>
                  </a:lnTo>
                  <a:lnTo>
                    <a:pt x="80" y="82"/>
                  </a:lnTo>
                  <a:lnTo>
                    <a:pt x="76" y="82"/>
                  </a:lnTo>
                  <a:lnTo>
                    <a:pt x="72" y="86"/>
                  </a:lnTo>
                  <a:lnTo>
                    <a:pt x="68" y="86"/>
                  </a:lnTo>
                  <a:lnTo>
                    <a:pt x="64" y="86"/>
                  </a:lnTo>
                  <a:lnTo>
                    <a:pt x="64" y="90"/>
                  </a:lnTo>
                  <a:lnTo>
                    <a:pt x="60" y="90"/>
                  </a:lnTo>
                  <a:lnTo>
                    <a:pt x="56" y="94"/>
                  </a:lnTo>
                  <a:lnTo>
                    <a:pt x="54" y="94"/>
                  </a:lnTo>
                  <a:lnTo>
                    <a:pt x="50" y="94"/>
                  </a:lnTo>
                  <a:lnTo>
                    <a:pt x="46" y="94"/>
                  </a:lnTo>
                  <a:lnTo>
                    <a:pt x="46" y="98"/>
                  </a:lnTo>
                  <a:lnTo>
                    <a:pt x="42" y="98"/>
                  </a:lnTo>
                  <a:lnTo>
                    <a:pt x="38" y="98"/>
                  </a:lnTo>
                  <a:lnTo>
                    <a:pt x="38" y="94"/>
                  </a:lnTo>
                  <a:lnTo>
                    <a:pt x="34" y="94"/>
                  </a:lnTo>
                  <a:lnTo>
                    <a:pt x="30" y="94"/>
                  </a:lnTo>
                  <a:lnTo>
                    <a:pt x="26" y="94"/>
                  </a:lnTo>
                  <a:lnTo>
                    <a:pt x="24" y="94"/>
                  </a:lnTo>
                  <a:lnTo>
                    <a:pt x="20" y="94"/>
                  </a:lnTo>
                  <a:lnTo>
                    <a:pt x="16" y="94"/>
                  </a:lnTo>
                  <a:lnTo>
                    <a:pt x="16" y="90"/>
                  </a:lnTo>
                  <a:lnTo>
                    <a:pt x="16" y="94"/>
                  </a:lnTo>
                  <a:lnTo>
                    <a:pt x="12" y="94"/>
                  </a:lnTo>
                  <a:lnTo>
                    <a:pt x="12" y="90"/>
                  </a:lnTo>
                  <a:lnTo>
                    <a:pt x="8" y="90"/>
                  </a:lnTo>
                  <a:lnTo>
                    <a:pt x="4" y="86"/>
                  </a:lnTo>
                  <a:lnTo>
                    <a:pt x="0" y="82"/>
                  </a:lnTo>
                  <a:lnTo>
                    <a:pt x="0" y="86"/>
                  </a:lnTo>
                  <a:lnTo>
                    <a:pt x="0" y="82"/>
                  </a:lnTo>
                  <a:lnTo>
                    <a:pt x="0" y="78"/>
                  </a:lnTo>
                  <a:lnTo>
                    <a:pt x="4" y="78"/>
                  </a:lnTo>
                  <a:lnTo>
                    <a:pt x="4" y="74"/>
                  </a:lnTo>
                  <a:lnTo>
                    <a:pt x="8" y="72"/>
                  </a:lnTo>
                  <a:lnTo>
                    <a:pt x="12" y="72"/>
                  </a:lnTo>
                  <a:lnTo>
                    <a:pt x="8" y="68"/>
                  </a:lnTo>
                  <a:lnTo>
                    <a:pt x="8" y="64"/>
                  </a:lnTo>
                  <a:lnTo>
                    <a:pt x="8" y="60"/>
                  </a:lnTo>
                  <a:lnTo>
                    <a:pt x="16" y="52"/>
                  </a:lnTo>
                  <a:lnTo>
                    <a:pt x="16" y="48"/>
                  </a:lnTo>
                  <a:lnTo>
                    <a:pt x="20" y="48"/>
                  </a:lnTo>
                  <a:lnTo>
                    <a:pt x="20" y="46"/>
                  </a:lnTo>
                  <a:lnTo>
                    <a:pt x="24" y="46"/>
                  </a:lnTo>
                  <a:lnTo>
                    <a:pt x="24" y="42"/>
                  </a:lnTo>
                  <a:lnTo>
                    <a:pt x="26" y="42"/>
                  </a:lnTo>
                  <a:lnTo>
                    <a:pt x="30" y="42"/>
                  </a:lnTo>
                  <a:lnTo>
                    <a:pt x="26" y="38"/>
                  </a:lnTo>
                  <a:lnTo>
                    <a:pt x="26" y="34"/>
                  </a:lnTo>
                  <a:lnTo>
                    <a:pt x="30" y="34"/>
                  </a:lnTo>
                  <a:lnTo>
                    <a:pt x="26" y="34"/>
                  </a:lnTo>
                  <a:lnTo>
                    <a:pt x="26" y="30"/>
                  </a:lnTo>
                  <a:lnTo>
                    <a:pt x="24" y="26"/>
                  </a:lnTo>
                  <a:lnTo>
                    <a:pt x="24" y="22"/>
                  </a:lnTo>
                  <a:lnTo>
                    <a:pt x="24" y="18"/>
                  </a:lnTo>
                  <a:lnTo>
                    <a:pt x="24" y="16"/>
                  </a:lnTo>
                  <a:lnTo>
                    <a:pt x="26" y="18"/>
                  </a:lnTo>
                  <a:lnTo>
                    <a:pt x="30" y="16"/>
                  </a:lnTo>
                  <a:lnTo>
                    <a:pt x="30" y="12"/>
                  </a:lnTo>
                  <a:lnTo>
                    <a:pt x="34" y="12"/>
                  </a:lnTo>
                  <a:lnTo>
                    <a:pt x="38" y="12"/>
                  </a:lnTo>
                  <a:lnTo>
                    <a:pt x="42" y="12"/>
                  </a:lnTo>
                  <a:lnTo>
                    <a:pt x="46" y="12"/>
                  </a:lnTo>
                  <a:lnTo>
                    <a:pt x="50" y="12"/>
                  </a:lnTo>
                  <a:lnTo>
                    <a:pt x="54" y="12"/>
                  </a:lnTo>
                  <a:lnTo>
                    <a:pt x="56" y="12"/>
                  </a:lnTo>
                  <a:lnTo>
                    <a:pt x="60" y="12"/>
                  </a:lnTo>
                  <a:lnTo>
                    <a:pt x="60" y="16"/>
                  </a:lnTo>
                  <a:lnTo>
                    <a:pt x="64" y="16"/>
                  </a:lnTo>
                  <a:lnTo>
                    <a:pt x="64" y="12"/>
                  </a:lnTo>
                  <a:lnTo>
                    <a:pt x="64" y="16"/>
                  </a:lnTo>
                  <a:lnTo>
                    <a:pt x="68" y="16"/>
                  </a:lnTo>
                  <a:lnTo>
                    <a:pt x="72" y="16"/>
                  </a:lnTo>
                  <a:lnTo>
                    <a:pt x="76" y="18"/>
                  </a:lnTo>
                  <a:lnTo>
                    <a:pt x="80" y="18"/>
                  </a:lnTo>
                  <a:lnTo>
                    <a:pt x="82" y="18"/>
                  </a:lnTo>
                  <a:lnTo>
                    <a:pt x="86" y="18"/>
                  </a:lnTo>
                  <a:lnTo>
                    <a:pt x="86" y="16"/>
                  </a:lnTo>
                  <a:lnTo>
                    <a:pt x="86" y="18"/>
                  </a:lnTo>
                  <a:lnTo>
                    <a:pt x="90" y="18"/>
                  </a:lnTo>
                  <a:lnTo>
                    <a:pt x="94" y="18"/>
                  </a:lnTo>
                  <a:lnTo>
                    <a:pt x="94" y="22"/>
                  </a:lnTo>
                  <a:lnTo>
                    <a:pt x="94" y="18"/>
                  </a:lnTo>
                  <a:lnTo>
                    <a:pt x="96" y="18"/>
                  </a:lnTo>
                  <a:lnTo>
                    <a:pt x="100" y="18"/>
                  </a:lnTo>
                  <a:lnTo>
                    <a:pt x="100" y="22"/>
                  </a:lnTo>
                  <a:lnTo>
                    <a:pt x="104" y="22"/>
                  </a:lnTo>
                  <a:lnTo>
                    <a:pt x="104" y="18"/>
                  </a:lnTo>
                  <a:lnTo>
                    <a:pt x="108" y="18"/>
                  </a:lnTo>
                  <a:lnTo>
                    <a:pt x="108" y="22"/>
                  </a:lnTo>
                  <a:lnTo>
                    <a:pt x="112" y="18"/>
                  </a:lnTo>
                  <a:lnTo>
                    <a:pt x="116" y="18"/>
                  </a:lnTo>
                  <a:lnTo>
                    <a:pt x="116" y="22"/>
                  </a:lnTo>
                  <a:lnTo>
                    <a:pt x="120" y="22"/>
                  </a:lnTo>
                  <a:lnTo>
                    <a:pt x="120" y="26"/>
                  </a:lnTo>
                  <a:lnTo>
                    <a:pt x="120" y="22"/>
                  </a:lnTo>
                  <a:lnTo>
                    <a:pt x="120" y="18"/>
                  </a:lnTo>
                  <a:lnTo>
                    <a:pt x="120" y="16"/>
                  </a:lnTo>
                  <a:lnTo>
                    <a:pt x="120" y="12"/>
                  </a:lnTo>
                  <a:lnTo>
                    <a:pt x="124" y="12"/>
                  </a:lnTo>
                  <a:lnTo>
                    <a:pt x="124" y="8"/>
                  </a:lnTo>
                  <a:lnTo>
                    <a:pt x="126" y="8"/>
                  </a:lnTo>
                  <a:lnTo>
                    <a:pt x="130" y="8"/>
                  </a:lnTo>
                  <a:lnTo>
                    <a:pt x="134" y="8"/>
                  </a:lnTo>
                  <a:lnTo>
                    <a:pt x="138" y="8"/>
                  </a:lnTo>
                  <a:lnTo>
                    <a:pt x="142" y="8"/>
                  </a:lnTo>
                  <a:lnTo>
                    <a:pt x="146" y="8"/>
                  </a:lnTo>
                  <a:lnTo>
                    <a:pt x="146" y="4"/>
                  </a:lnTo>
                  <a:lnTo>
                    <a:pt x="150" y="4"/>
                  </a:lnTo>
                  <a:lnTo>
                    <a:pt x="154" y="4"/>
                  </a:lnTo>
                  <a:lnTo>
                    <a:pt x="156" y="0"/>
                  </a:lnTo>
                  <a:lnTo>
                    <a:pt x="160" y="0"/>
                  </a:lnTo>
                  <a:lnTo>
                    <a:pt x="160" y="4"/>
                  </a:lnTo>
                  <a:lnTo>
                    <a:pt x="164" y="4"/>
                  </a:lnTo>
                  <a:lnTo>
                    <a:pt x="164" y="0"/>
                  </a:lnTo>
                  <a:lnTo>
                    <a:pt x="168" y="4"/>
                  </a:lnTo>
                  <a:lnTo>
                    <a:pt x="168" y="8"/>
                  </a:lnTo>
                  <a:lnTo>
                    <a:pt x="172" y="12"/>
                  </a:lnTo>
                  <a:lnTo>
                    <a:pt x="176" y="16"/>
                  </a:lnTo>
                  <a:lnTo>
                    <a:pt x="172" y="16"/>
                  </a:lnTo>
                  <a:lnTo>
                    <a:pt x="168" y="16"/>
                  </a:lnTo>
                  <a:lnTo>
                    <a:pt x="172" y="18"/>
                  </a:lnTo>
                  <a:lnTo>
                    <a:pt x="172" y="22"/>
                  </a:lnTo>
                  <a:lnTo>
                    <a:pt x="172" y="26"/>
                  </a:lnTo>
                  <a:lnTo>
                    <a:pt x="176" y="26"/>
                  </a:lnTo>
                  <a:lnTo>
                    <a:pt x="180" y="26"/>
                  </a:lnTo>
                  <a:lnTo>
                    <a:pt x="184" y="26"/>
                  </a:lnTo>
                  <a:lnTo>
                    <a:pt x="184" y="30"/>
                  </a:lnTo>
                  <a:lnTo>
                    <a:pt x="186" y="30"/>
                  </a:lnTo>
                  <a:lnTo>
                    <a:pt x="186" y="34"/>
                  </a:lnTo>
                  <a:lnTo>
                    <a:pt x="190" y="34"/>
                  </a:lnTo>
                  <a:lnTo>
                    <a:pt x="190" y="38"/>
                  </a:lnTo>
                  <a:lnTo>
                    <a:pt x="186" y="38"/>
                  </a:lnTo>
                  <a:lnTo>
                    <a:pt x="186" y="42"/>
                  </a:lnTo>
                  <a:lnTo>
                    <a:pt x="190" y="42"/>
                  </a:lnTo>
                  <a:lnTo>
                    <a:pt x="190" y="46"/>
                  </a:lnTo>
                  <a:lnTo>
                    <a:pt x="194" y="46"/>
                  </a:lnTo>
                  <a:lnTo>
                    <a:pt x="194" y="42"/>
                  </a:lnTo>
                  <a:lnTo>
                    <a:pt x="198" y="42"/>
                  </a:lnTo>
                  <a:lnTo>
                    <a:pt x="198" y="46"/>
                  </a:lnTo>
                  <a:lnTo>
                    <a:pt x="202" y="46"/>
                  </a:lnTo>
                  <a:lnTo>
                    <a:pt x="206" y="46"/>
                  </a:lnTo>
                  <a:lnTo>
                    <a:pt x="206" y="48"/>
                  </a:lnTo>
                  <a:lnTo>
                    <a:pt x="206" y="46"/>
                  </a:lnTo>
                  <a:lnTo>
                    <a:pt x="210" y="46"/>
                  </a:lnTo>
                  <a:lnTo>
                    <a:pt x="212" y="46"/>
                  </a:lnTo>
                  <a:lnTo>
                    <a:pt x="216" y="42"/>
                  </a:lnTo>
                  <a:lnTo>
                    <a:pt x="220" y="48"/>
                  </a:lnTo>
                  <a:lnTo>
                    <a:pt x="224" y="48"/>
                  </a:lnTo>
                  <a:lnTo>
                    <a:pt x="224" y="52"/>
                  </a:lnTo>
                  <a:lnTo>
                    <a:pt x="228" y="52"/>
                  </a:lnTo>
                  <a:lnTo>
                    <a:pt x="228" y="48"/>
                  </a:lnTo>
                  <a:lnTo>
                    <a:pt x="232" y="48"/>
                  </a:lnTo>
                  <a:lnTo>
                    <a:pt x="232" y="52"/>
                  </a:lnTo>
                  <a:lnTo>
                    <a:pt x="236" y="52"/>
                  </a:lnTo>
                  <a:lnTo>
                    <a:pt x="240" y="52"/>
                  </a:lnTo>
                  <a:lnTo>
                    <a:pt x="240" y="56"/>
                  </a:lnTo>
                  <a:lnTo>
                    <a:pt x="242" y="52"/>
                  </a:lnTo>
                  <a:lnTo>
                    <a:pt x="242" y="56"/>
                  </a:lnTo>
                  <a:lnTo>
                    <a:pt x="246" y="56"/>
                  </a:lnTo>
                  <a:lnTo>
                    <a:pt x="246" y="60"/>
                  </a:lnTo>
                  <a:lnTo>
                    <a:pt x="250" y="60"/>
                  </a:lnTo>
                  <a:lnTo>
                    <a:pt x="254" y="60"/>
                  </a:lnTo>
                  <a:lnTo>
                    <a:pt x="254" y="64"/>
                  </a:lnTo>
                  <a:lnTo>
                    <a:pt x="254" y="68"/>
                  </a:lnTo>
                  <a:lnTo>
                    <a:pt x="254" y="72"/>
                  </a:lnTo>
                  <a:lnTo>
                    <a:pt x="250" y="72"/>
                  </a:lnTo>
                  <a:lnTo>
                    <a:pt x="250" y="74"/>
                  </a:lnTo>
                  <a:lnTo>
                    <a:pt x="254" y="74"/>
                  </a:lnTo>
                  <a:lnTo>
                    <a:pt x="250" y="74"/>
                  </a:lnTo>
                  <a:lnTo>
                    <a:pt x="250" y="78"/>
                  </a:lnTo>
                  <a:lnTo>
                    <a:pt x="250" y="82"/>
                  </a:lnTo>
                  <a:lnTo>
                    <a:pt x="254" y="86"/>
                  </a:lnTo>
                  <a:lnTo>
                    <a:pt x="254" y="90"/>
                  </a:lnTo>
                  <a:lnTo>
                    <a:pt x="250" y="90"/>
                  </a:lnTo>
                  <a:lnTo>
                    <a:pt x="250" y="94"/>
                  </a:lnTo>
                  <a:lnTo>
                    <a:pt x="250" y="98"/>
                  </a:lnTo>
                  <a:lnTo>
                    <a:pt x="246" y="98"/>
                  </a:lnTo>
                  <a:lnTo>
                    <a:pt x="242" y="98"/>
                  </a:lnTo>
                  <a:lnTo>
                    <a:pt x="240" y="98"/>
                  </a:lnTo>
                  <a:lnTo>
                    <a:pt x="236" y="98"/>
                  </a:lnTo>
                  <a:lnTo>
                    <a:pt x="236" y="102"/>
                  </a:lnTo>
                  <a:lnTo>
                    <a:pt x="232" y="102"/>
                  </a:lnTo>
                  <a:lnTo>
                    <a:pt x="228" y="102"/>
                  </a:lnTo>
                  <a:lnTo>
                    <a:pt x="228" y="104"/>
                  </a:lnTo>
                  <a:lnTo>
                    <a:pt x="228" y="108"/>
                  </a:lnTo>
                  <a:lnTo>
                    <a:pt x="228" y="112"/>
                  </a:lnTo>
                  <a:lnTo>
                    <a:pt x="224" y="112"/>
                  </a:lnTo>
                  <a:lnTo>
                    <a:pt x="220" y="112"/>
                  </a:lnTo>
                  <a:lnTo>
                    <a:pt x="216" y="112"/>
                  </a:lnTo>
                  <a:lnTo>
                    <a:pt x="216" y="116"/>
                  </a:lnTo>
                  <a:lnTo>
                    <a:pt x="212" y="116"/>
                  </a:lnTo>
                  <a:lnTo>
                    <a:pt x="210" y="116"/>
                  </a:lnTo>
                  <a:lnTo>
                    <a:pt x="210" y="120"/>
                  </a:lnTo>
                  <a:lnTo>
                    <a:pt x="206" y="120"/>
                  </a:lnTo>
                  <a:lnTo>
                    <a:pt x="206" y="116"/>
                  </a:lnTo>
                  <a:lnTo>
                    <a:pt x="206" y="120"/>
                  </a:lnTo>
                  <a:lnTo>
                    <a:pt x="202" y="120"/>
                  </a:lnTo>
                  <a:lnTo>
                    <a:pt x="198" y="120"/>
                  </a:lnTo>
                  <a:lnTo>
                    <a:pt x="194" y="120"/>
                  </a:lnTo>
                  <a:lnTo>
                    <a:pt x="194" y="124"/>
                  </a:lnTo>
                  <a:lnTo>
                    <a:pt x="190" y="124"/>
                  </a:lnTo>
                  <a:lnTo>
                    <a:pt x="186" y="128"/>
                  </a:lnTo>
                  <a:lnTo>
                    <a:pt x="186" y="130"/>
                  </a:lnTo>
                  <a:lnTo>
                    <a:pt x="184" y="130"/>
                  </a:lnTo>
                  <a:lnTo>
                    <a:pt x="186" y="130"/>
                  </a:lnTo>
                  <a:lnTo>
                    <a:pt x="186" y="128"/>
                  </a:lnTo>
                  <a:lnTo>
                    <a:pt x="186" y="124"/>
                  </a:lnTo>
                  <a:lnTo>
                    <a:pt x="186" y="128"/>
                  </a:lnTo>
                  <a:lnTo>
                    <a:pt x="184" y="128"/>
                  </a:lnTo>
                  <a:lnTo>
                    <a:pt x="180" y="130"/>
                  </a:lnTo>
                  <a:lnTo>
                    <a:pt x="176" y="130"/>
                  </a:lnTo>
                  <a:lnTo>
                    <a:pt x="176" y="134"/>
                  </a:lnTo>
                  <a:lnTo>
                    <a:pt x="176" y="130"/>
                  </a:lnTo>
                  <a:lnTo>
                    <a:pt x="172" y="130"/>
                  </a:lnTo>
                  <a:lnTo>
                    <a:pt x="172" y="128"/>
                  </a:lnTo>
                  <a:lnTo>
                    <a:pt x="172" y="130"/>
                  </a:lnTo>
                  <a:lnTo>
                    <a:pt x="168" y="130"/>
                  </a:lnTo>
                  <a:lnTo>
                    <a:pt x="172" y="130"/>
                  </a:lnTo>
                  <a:lnTo>
                    <a:pt x="168" y="130"/>
                  </a:lnTo>
                  <a:lnTo>
                    <a:pt x="164" y="128"/>
                  </a:lnTo>
                  <a:lnTo>
                    <a:pt x="164" y="130"/>
                  </a:lnTo>
                  <a:lnTo>
                    <a:pt x="168" y="130"/>
                  </a:lnTo>
                  <a:lnTo>
                    <a:pt x="168" y="134"/>
                  </a:lnTo>
                  <a:lnTo>
                    <a:pt x="168" y="130"/>
                  </a:lnTo>
                  <a:lnTo>
                    <a:pt x="168" y="134"/>
                  </a:lnTo>
                  <a:lnTo>
                    <a:pt x="172" y="134"/>
                  </a:lnTo>
                  <a:lnTo>
                    <a:pt x="176" y="134"/>
                  </a:lnTo>
                  <a:lnTo>
                    <a:pt x="172" y="134"/>
                  </a:lnTo>
                  <a:lnTo>
                    <a:pt x="176" y="134"/>
                  </a:lnTo>
                  <a:lnTo>
                    <a:pt x="176" y="138"/>
                  </a:lnTo>
                  <a:lnTo>
                    <a:pt x="180" y="138"/>
                  </a:lnTo>
                  <a:lnTo>
                    <a:pt x="180" y="142"/>
                  </a:lnTo>
                  <a:lnTo>
                    <a:pt x="184" y="142"/>
                  </a:lnTo>
                  <a:lnTo>
                    <a:pt x="184" y="146"/>
                  </a:lnTo>
                  <a:lnTo>
                    <a:pt x="186" y="150"/>
                  </a:lnTo>
                  <a:lnTo>
                    <a:pt x="186" y="146"/>
                  </a:lnTo>
                  <a:lnTo>
                    <a:pt x="184" y="142"/>
                  </a:lnTo>
                  <a:lnTo>
                    <a:pt x="184" y="138"/>
                  </a:lnTo>
                  <a:lnTo>
                    <a:pt x="180" y="138"/>
                  </a:lnTo>
                  <a:lnTo>
                    <a:pt x="180" y="134"/>
                  </a:lnTo>
                  <a:lnTo>
                    <a:pt x="180" y="130"/>
                  </a:lnTo>
                  <a:lnTo>
                    <a:pt x="180" y="134"/>
                  </a:lnTo>
                  <a:lnTo>
                    <a:pt x="184" y="138"/>
                  </a:lnTo>
                  <a:lnTo>
                    <a:pt x="184" y="142"/>
                  </a:lnTo>
                  <a:lnTo>
                    <a:pt x="186" y="146"/>
                  </a:lnTo>
                  <a:lnTo>
                    <a:pt x="190" y="146"/>
                  </a:lnTo>
                  <a:lnTo>
                    <a:pt x="190" y="150"/>
                  </a:lnTo>
                  <a:lnTo>
                    <a:pt x="190" y="146"/>
                  </a:lnTo>
                  <a:lnTo>
                    <a:pt x="194" y="146"/>
                  </a:lnTo>
                  <a:lnTo>
                    <a:pt x="198" y="146"/>
                  </a:lnTo>
                  <a:lnTo>
                    <a:pt x="202" y="146"/>
                  </a:lnTo>
                  <a:lnTo>
                    <a:pt x="206" y="146"/>
                  </a:lnTo>
                  <a:lnTo>
                    <a:pt x="202" y="146"/>
                  </a:lnTo>
                  <a:lnTo>
                    <a:pt x="202" y="150"/>
                  </a:lnTo>
                  <a:lnTo>
                    <a:pt x="202" y="154"/>
                  </a:lnTo>
                  <a:lnTo>
                    <a:pt x="198" y="154"/>
                  </a:lnTo>
                  <a:lnTo>
                    <a:pt x="194" y="154"/>
                  </a:lnTo>
                  <a:lnTo>
                    <a:pt x="190" y="154"/>
                  </a:lnTo>
                  <a:lnTo>
                    <a:pt x="190" y="150"/>
                  </a:lnTo>
                  <a:lnTo>
                    <a:pt x="186" y="154"/>
                  </a:lnTo>
                  <a:lnTo>
                    <a:pt x="184" y="158"/>
                  </a:lnTo>
                  <a:lnTo>
                    <a:pt x="180" y="158"/>
                  </a:lnTo>
                  <a:lnTo>
                    <a:pt x="176" y="158"/>
                  </a:lnTo>
                  <a:lnTo>
                    <a:pt x="176" y="160"/>
                  </a:lnTo>
                  <a:lnTo>
                    <a:pt x="172" y="160"/>
                  </a:lnTo>
                  <a:lnTo>
                    <a:pt x="172" y="164"/>
                  </a:lnTo>
                  <a:lnTo>
                    <a:pt x="168" y="164"/>
                  </a:lnTo>
                  <a:lnTo>
                    <a:pt x="164" y="164"/>
                  </a:lnTo>
                  <a:lnTo>
                    <a:pt x="160" y="164"/>
                  </a:lnTo>
                  <a:lnTo>
                    <a:pt x="160" y="160"/>
                  </a:lnTo>
                  <a:lnTo>
                    <a:pt x="160" y="158"/>
                  </a:lnTo>
                  <a:lnTo>
                    <a:pt x="164" y="158"/>
                  </a:lnTo>
                  <a:lnTo>
                    <a:pt x="164" y="154"/>
                  </a:lnTo>
                  <a:lnTo>
                    <a:pt x="160" y="154"/>
                  </a:lnTo>
                  <a:lnTo>
                    <a:pt x="160" y="150"/>
                  </a:lnTo>
                  <a:lnTo>
                    <a:pt x="156" y="150"/>
                  </a:lnTo>
                  <a:lnTo>
                    <a:pt x="154" y="146"/>
                  </a:lnTo>
                  <a:lnTo>
                    <a:pt x="150" y="146"/>
                  </a:lnTo>
                  <a:lnTo>
                    <a:pt x="146" y="146"/>
                  </a:lnTo>
                  <a:lnTo>
                    <a:pt x="150" y="142"/>
                  </a:lnTo>
                  <a:lnTo>
                    <a:pt x="154" y="142"/>
                  </a:lnTo>
                  <a:lnTo>
                    <a:pt x="154" y="138"/>
                  </a:lnTo>
                  <a:lnTo>
                    <a:pt x="156" y="138"/>
                  </a:lnTo>
                  <a:lnTo>
                    <a:pt x="160" y="138"/>
                  </a:lnTo>
                  <a:lnTo>
                    <a:pt x="160" y="134"/>
                  </a:lnTo>
                  <a:lnTo>
                    <a:pt x="164" y="134"/>
                  </a:lnTo>
                  <a:lnTo>
                    <a:pt x="164" y="130"/>
                  </a:lnTo>
                  <a:lnTo>
                    <a:pt x="160" y="130"/>
                  </a:lnTo>
                  <a:lnTo>
                    <a:pt x="156" y="130"/>
                  </a:lnTo>
                  <a:lnTo>
                    <a:pt x="154" y="130"/>
                  </a:lnTo>
                  <a:lnTo>
                    <a:pt x="150" y="130"/>
                  </a:lnTo>
                  <a:lnTo>
                    <a:pt x="146" y="130"/>
                  </a:lnTo>
                  <a:lnTo>
                    <a:pt x="142" y="130"/>
                  </a:lnTo>
                  <a:lnTo>
                    <a:pt x="142" y="128"/>
                  </a:lnTo>
                  <a:lnTo>
                    <a:pt x="138" y="128"/>
                  </a:lnTo>
                  <a:lnTo>
                    <a:pt x="142" y="128"/>
                  </a:lnTo>
                  <a:lnTo>
                    <a:pt x="138" y="124"/>
                  </a:lnTo>
                  <a:lnTo>
                    <a:pt x="134" y="124"/>
                  </a:lnTo>
                  <a:lnTo>
                    <a:pt x="138" y="124"/>
                  </a:lnTo>
                  <a:lnTo>
                    <a:pt x="142" y="124"/>
                  </a:lnTo>
                  <a:lnTo>
                    <a:pt x="146" y="124"/>
                  </a:lnTo>
                  <a:lnTo>
                    <a:pt x="150" y="120"/>
                  </a:lnTo>
                  <a:lnTo>
                    <a:pt x="146" y="120"/>
                  </a:lnTo>
                  <a:lnTo>
                    <a:pt x="146" y="124"/>
                  </a:lnTo>
                  <a:lnTo>
                    <a:pt x="142" y="120"/>
                  </a:lnTo>
                  <a:lnTo>
                    <a:pt x="142" y="124"/>
                  </a:lnTo>
                  <a:lnTo>
                    <a:pt x="138" y="120"/>
                  </a:lnTo>
                  <a:lnTo>
                    <a:pt x="138" y="116"/>
                  </a:lnTo>
                  <a:lnTo>
                    <a:pt x="138" y="112"/>
                  </a:lnTo>
                  <a:lnTo>
                    <a:pt x="138" y="108"/>
                  </a:lnTo>
                  <a:lnTo>
                    <a:pt x="134" y="108"/>
                  </a:lnTo>
                  <a:lnTo>
                    <a:pt x="138" y="108"/>
                  </a:lnTo>
                  <a:lnTo>
                    <a:pt x="138" y="112"/>
                  </a:lnTo>
                  <a:lnTo>
                    <a:pt x="138" y="116"/>
                  </a:lnTo>
                  <a:lnTo>
                    <a:pt x="138" y="120"/>
                  </a:lnTo>
                  <a:lnTo>
                    <a:pt x="134" y="120"/>
                  </a:lnTo>
                  <a:lnTo>
                    <a:pt x="130" y="120"/>
                  </a:lnTo>
                  <a:lnTo>
                    <a:pt x="134" y="120"/>
                  </a:lnTo>
                  <a:lnTo>
                    <a:pt x="134" y="116"/>
                  </a:lnTo>
                  <a:lnTo>
                    <a:pt x="134" y="120"/>
                  </a:lnTo>
                  <a:lnTo>
                    <a:pt x="130" y="120"/>
                  </a:lnTo>
                  <a:lnTo>
                    <a:pt x="126" y="120"/>
                  </a:lnTo>
                  <a:lnTo>
                    <a:pt x="124" y="124"/>
                  </a:lnTo>
                  <a:lnTo>
                    <a:pt x="124" y="128"/>
                  </a:lnTo>
                  <a:lnTo>
                    <a:pt x="120" y="128"/>
                  </a:lnTo>
                  <a:lnTo>
                    <a:pt x="120" y="130"/>
                  </a:lnTo>
                  <a:lnTo>
                    <a:pt x="116" y="134"/>
                  </a:lnTo>
                  <a:lnTo>
                    <a:pt x="112" y="138"/>
                  </a:lnTo>
                  <a:lnTo>
                    <a:pt x="108" y="138"/>
                  </a:lnTo>
                  <a:lnTo>
                    <a:pt x="108" y="142"/>
                  </a:lnTo>
                  <a:lnTo>
                    <a:pt x="108" y="138"/>
                  </a:lnTo>
                  <a:lnTo>
                    <a:pt x="104" y="138"/>
                  </a:lnTo>
                  <a:lnTo>
                    <a:pt x="104" y="142"/>
                  </a:lnTo>
                  <a:lnTo>
                    <a:pt x="108" y="146"/>
                  </a:lnTo>
                  <a:lnTo>
                    <a:pt x="108" y="150"/>
                  </a:lnTo>
                  <a:lnTo>
                    <a:pt x="108" y="146"/>
                  </a:lnTo>
                  <a:lnTo>
                    <a:pt x="104" y="146"/>
                  </a:lnTo>
                  <a:lnTo>
                    <a:pt x="100" y="146"/>
                  </a:lnTo>
                  <a:lnTo>
                    <a:pt x="96" y="146"/>
                  </a:lnTo>
                  <a:lnTo>
                    <a:pt x="94" y="146"/>
                  </a:lnTo>
                  <a:lnTo>
                    <a:pt x="94" y="150"/>
                  </a:lnTo>
                  <a:lnTo>
                    <a:pt x="90" y="150"/>
                  </a:lnTo>
                  <a:lnTo>
                    <a:pt x="90" y="146"/>
                  </a:lnTo>
                  <a:lnTo>
                    <a:pt x="86" y="146"/>
                  </a:lnTo>
                  <a:lnTo>
                    <a:pt x="86" y="146"/>
                  </a:lnTo>
                  <a:lnTo>
                    <a:pt x="86" y="14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33" name="Freeform 126"/>
            <p:cNvSpPr>
              <a:spLocks noEditPoints="1"/>
            </p:cNvSpPr>
            <p:nvPr/>
          </p:nvSpPr>
          <p:spPr bwMode="auto">
            <a:xfrm>
              <a:off x="6967439" y="3408583"/>
              <a:ext cx="89173" cy="156910"/>
            </a:xfrm>
            <a:custGeom>
              <a:avLst/>
              <a:gdLst>
                <a:gd name="T0" fmla="*/ 106 w 142"/>
                <a:gd name="T1" fmla="*/ 2 h 240"/>
                <a:gd name="T2" fmla="*/ 98 w 142"/>
                <a:gd name="T3" fmla="*/ 10 h 240"/>
                <a:gd name="T4" fmla="*/ 94 w 142"/>
                <a:gd name="T5" fmla="*/ 14 h 240"/>
                <a:gd name="T6" fmla="*/ 76 w 142"/>
                <a:gd name="T7" fmla="*/ 44 h 240"/>
                <a:gd name="T8" fmla="*/ 72 w 142"/>
                <a:gd name="T9" fmla="*/ 48 h 240"/>
                <a:gd name="T10" fmla="*/ 46 w 142"/>
                <a:gd name="T11" fmla="*/ 130 h 240"/>
                <a:gd name="T12" fmla="*/ 50 w 142"/>
                <a:gd name="T13" fmla="*/ 108 h 240"/>
                <a:gd name="T14" fmla="*/ 38 w 142"/>
                <a:gd name="T15" fmla="*/ 122 h 240"/>
                <a:gd name="T16" fmla="*/ 34 w 142"/>
                <a:gd name="T17" fmla="*/ 108 h 240"/>
                <a:gd name="T18" fmla="*/ 42 w 142"/>
                <a:gd name="T19" fmla="*/ 92 h 240"/>
                <a:gd name="T20" fmla="*/ 34 w 142"/>
                <a:gd name="T21" fmla="*/ 92 h 240"/>
                <a:gd name="T22" fmla="*/ 34 w 142"/>
                <a:gd name="T23" fmla="*/ 78 h 240"/>
                <a:gd name="T24" fmla="*/ 42 w 142"/>
                <a:gd name="T25" fmla="*/ 62 h 240"/>
                <a:gd name="T26" fmla="*/ 56 w 142"/>
                <a:gd name="T27" fmla="*/ 52 h 240"/>
                <a:gd name="T28" fmla="*/ 60 w 142"/>
                <a:gd name="T29" fmla="*/ 62 h 240"/>
                <a:gd name="T30" fmla="*/ 56 w 142"/>
                <a:gd name="T31" fmla="*/ 70 h 240"/>
                <a:gd name="T32" fmla="*/ 72 w 142"/>
                <a:gd name="T33" fmla="*/ 70 h 240"/>
                <a:gd name="T34" fmla="*/ 90 w 142"/>
                <a:gd name="T35" fmla="*/ 82 h 240"/>
                <a:gd name="T36" fmla="*/ 80 w 142"/>
                <a:gd name="T37" fmla="*/ 100 h 240"/>
                <a:gd name="T38" fmla="*/ 82 w 142"/>
                <a:gd name="T39" fmla="*/ 108 h 240"/>
                <a:gd name="T40" fmla="*/ 98 w 142"/>
                <a:gd name="T41" fmla="*/ 134 h 240"/>
                <a:gd name="T42" fmla="*/ 112 w 142"/>
                <a:gd name="T43" fmla="*/ 156 h 240"/>
                <a:gd name="T44" fmla="*/ 108 w 142"/>
                <a:gd name="T45" fmla="*/ 160 h 240"/>
                <a:gd name="T46" fmla="*/ 124 w 142"/>
                <a:gd name="T47" fmla="*/ 176 h 240"/>
                <a:gd name="T48" fmla="*/ 136 w 142"/>
                <a:gd name="T49" fmla="*/ 198 h 240"/>
                <a:gd name="T50" fmla="*/ 124 w 142"/>
                <a:gd name="T51" fmla="*/ 210 h 240"/>
                <a:gd name="T52" fmla="*/ 132 w 142"/>
                <a:gd name="T53" fmla="*/ 220 h 240"/>
                <a:gd name="T54" fmla="*/ 106 w 142"/>
                <a:gd name="T55" fmla="*/ 224 h 240"/>
                <a:gd name="T56" fmla="*/ 82 w 142"/>
                <a:gd name="T57" fmla="*/ 224 h 240"/>
                <a:gd name="T58" fmla="*/ 50 w 142"/>
                <a:gd name="T59" fmla="*/ 232 h 240"/>
                <a:gd name="T60" fmla="*/ 46 w 142"/>
                <a:gd name="T61" fmla="*/ 228 h 240"/>
                <a:gd name="T62" fmla="*/ 76 w 142"/>
                <a:gd name="T63" fmla="*/ 210 h 240"/>
                <a:gd name="T64" fmla="*/ 64 w 142"/>
                <a:gd name="T65" fmla="*/ 210 h 240"/>
                <a:gd name="T66" fmla="*/ 46 w 142"/>
                <a:gd name="T67" fmla="*/ 206 h 240"/>
                <a:gd name="T68" fmla="*/ 56 w 142"/>
                <a:gd name="T69" fmla="*/ 190 h 240"/>
                <a:gd name="T70" fmla="*/ 50 w 142"/>
                <a:gd name="T71" fmla="*/ 176 h 240"/>
                <a:gd name="T72" fmla="*/ 76 w 142"/>
                <a:gd name="T73" fmla="*/ 168 h 240"/>
                <a:gd name="T74" fmla="*/ 68 w 142"/>
                <a:gd name="T75" fmla="*/ 146 h 240"/>
                <a:gd name="T76" fmla="*/ 64 w 142"/>
                <a:gd name="T77" fmla="*/ 134 h 240"/>
                <a:gd name="T78" fmla="*/ 50 w 142"/>
                <a:gd name="T79" fmla="*/ 138 h 240"/>
                <a:gd name="T80" fmla="*/ 16 w 142"/>
                <a:gd name="T81" fmla="*/ 62 h 240"/>
                <a:gd name="T82" fmla="*/ 26 w 142"/>
                <a:gd name="T83" fmla="*/ 60 h 240"/>
                <a:gd name="T84" fmla="*/ 8 w 142"/>
                <a:gd name="T85" fmla="*/ 74 h 240"/>
                <a:gd name="T86" fmla="*/ 26 w 142"/>
                <a:gd name="T87" fmla="*/ 86 h 240"/>
                <a:gd name="T88" fmla="*/ 30 w 142"/>
                <a:gd name="T89" fmla="*/ 74 h 240"/>
                <a:gd name="T90" fmla="*/ 30 w 142"/>
                <a:gd name="T91" fmla="*/ 78 h 240"/>
                <a:gd name="T92" fmla="*/ 12 w 142"/>
                <a:gd name="T93" fmla="*/ 82 h 240"/>
                <a:gd name="T94" fmla="*/ 12 w 142"/>
                <a:gd name="T95" fmla="*/ 90 h 240"/>
                <a:gd name="T96" fmla="*/ 22 w 142"/>
                <a:gd name="T97" fmla="*/ 96 h 240"/>
                <a:gd name="T98" fmla="*/ 34 w 142"/>
                <a:gd name="T99" fmla="*/ 104 h 240"/>
                <a:gd name="T100" fmla="*/ 26 w 142"/>
                <a:gd name="T101" fmla="*/ 96 h 240"/>
                <a:gd name="T102" fmla="*/ 30 w 142"/>
                <a:gd name="T103" fmla="*/ 112 h 240"/>
                <a:gd name="T104" fmla="*/ 26 w 142"/>
                <a:gd name="T105" fmla="*/ 112 h 240"/>
                <a:gd name="T106" fmla="*/ 46 w 142"/>
                <a:gd name="T107" fmla="*/ 116 h 240"/>
                <a:gd name="T108" fmla="*/ 20 w 142"/>
                <a:gd name="T109" fmla="*/ 146 h 240"/>
                <a:gd name="T110" fmla="*/ 4 w 142"/>
                <a:gd name="T111" fmla="*/ 138 h 240"/>
                <a:gd name="T112" fmla="*/ 34 w 142"/>
                <a:gd name="T113" fmla="*/ 138 h 240"/>
                <a:gd name="T114" fmla="*/ 34 w 142"/>
                <a:gd name="T115" fmla="*/ 150 h 240"/>
                <a:gd name="T116" fmla="*/ 56 w 142"/>
                <a:gd name="T117" fmla="*/ 164 h 240"/>
                <a:gd name="T118" fmla="*/ 128 w 142"/>
                <a:gd name="T119" fmla="*/ 21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2" h="240">
                  <a:moveTo>
                    <a:pt x="80" y="36"/>
                  </a:moveTo>
                  <a:lnTo>
                    <a:pt x="82" y="36"/>
                  </a:lnTo>
                  <a:lnTo>
                    <a:pt x="80" y="36"/>
                  </a:lnTo>
                  <a:lnTo>
                    <a:pt x="80" y="36"/>
                  </a:lnTo>
                  <a:lnTo>
                    <a:pt x="80" y="36"/>
                  </a:lnTo>
                  <a:close/>
                  <a:moveTo>
                    <a:pt x="106" y="2"/>
                  </a:moveTo>
                  <a:lnTo>
                    <a:pt x="102" y="2"/>
                  </a:lnTo>
                  <a:lnTo>
                    <a:pt x="106" y="0"/>
                  </a:lnTo>
                  <a:lnTo>
                    <a:pt x="106" y="2"/>
                  </a:lnTo>
                  <a:lnTo>
                    <a:pt x="106" y="2"/>
                  </a:lnTo>
                  <a:lnTo>
                    <a:pt x="106" y="2"/>
                  </a:lnTo>
                  <a:close/>
                  <a:moveTo>
                    <a:pt x="102" y="6"/>
                  </a:moveTo>
                  <a:lnTo>
                    <a:pt x="102" y="2"/>
                  </a:lnTo>
                  <a:lnTo>
                    <a:pt x="102" y="6"/>
                  </a:lnTo>
                  <a:lnTo>
                    <a:pt x="102" y="6"/>
                  </a:lnTo>
                  <a:lnTo>
                    <a:pt x="102" y="6"/>
                  </a:lnTo>
                  <a:close/>
                  <a:moveTo>
                    <a:pt x="94" y="14"/>
                  </a:moveTo>
                  <a:lnTo>
                    <a:pt x="98" y="10"/>
                  </a:lnTo>
                  <a:lnTo>
                    <a:pt x="94" y="10"/>
                  </a:lnTo>
                  <a:lnTo>
                    <a:pt x="94" y="6"/>
                  </a:lnTo>
                  <a:lnTo>
                    <a:pt x="98" y="6"/>
                  </a:lnTo>
                  <a:lnTo>
                    <a:pt x="98" y="10"/>
                  </a:lnTo>
                  <a:lnTo>
                    <a:pt x="102" y="10"/>
                  </a:lnTo>
                  <a:lnTo>
                    <a:pt x="102" y="14"/>
                  </a:lnTo>
                  <a:lnTo>
                    <a:pt x="98" y="14"/>
                  </a:lnTo>
                  <a:lnTo>
                    <a:pt x="102" y="14"/>
                  </a:lnTo>
                  <a:lnTo>
                    <a:pt x="102" y="18"/>
                  </a:lnTo>
                  <a:lnTo>
                    <a:pt x="98" y="18"/>
                  </a:lnTo>
                  <a:lnTo>
                    <a:pt x="98" y="22"/>
                  </a:lnTo>
                  <a:lnTo>
                    <a:pt x="98" y="18"/>
                  </a:lnTo>
                  <a:lnTo>
                    <a:pt x="98" y="14"/>
                  </a:lnTo>
                  <a:lnTo>
                    <a:pt x="94" y="18"/>
                  </a:lnTo>
                  <a:lnTo>
                    <a:pt x="94" y="14"/>
                  </a:lnTo>
                  <a:lnTo>
                    <a:pt x="94" y="14"/>
                  </a:lnTo>
                  <a:lnTo>
                    <a:pt x="94" y="14"/>
                  </a:lnTo>
                  <a:close/>
                  <a:moveTo>
                    <a:pt x="76" y="44"/>
                  </a:moveTo>
                  <a:lnTo>
                    <a:pt x="72" y="44"/>
                  </a:lnTo>
                  <a:lnTo>
                    <a:pt x="68" y="44"/>
                  </a:lnTo>
                  <a:lnTo>
                    <a:pt x="68" y="40"/>
                  </a:lnTo>
                  <a:lnTo>
                    <a:pt x="72" y="40"/>
                  </a:lnTo>
                  <a:lnTo>
                    <a:pt x="76" y="40"/>
                  </a:lnTo>
                  <a:lnTo>
                    <a:pt x="76" y="44"/>
                  </a:lnTo>
                  <a:lnTo>
                    <a:pt x="80" y="44"/>
                  </a:lnTo>
                  <a:lnTo>
                    <a:pt x="76" y="44"/>
                  </a:lnTo>
                  <a:lnTo>
                    <a:pt x="76" y="44"/>
                  </a:lnTo>
                  <a:lnTo>
                    <a:pt x="76" y="44"/>
                  </a:lnTo>
                  <a:close/>
                  <a:moveTo>
                    <a:pt x="72" y="48"/>
                  </a:moveTo>
                  <a:lnTo>
                    <a:pt x="68" y="48"/>
                  </a:lnTo>
                  <a:lnTo>
                    <a:pt x="68" y="44"/>
                  </a:lnTo>
                  <a:lnTo>
                    <a:pt x="72" y="44"/>
                  </a:lnTo>
                  <a:lnTo>
                    <a:pt x="72" y="48"/>
                  </a:lnTo>
                  <a:lnTo>
                    <a:pt x="72" y="48"/>
                  </a:lnTo>
                  <a:lnTo>
                    <a:pt x="72" y="48"/>
                  </a:lnTo>
                  <a:close/>
                  <a:moveTo>
                    <a:pt x="76" y="48"/>
                  </a:moveTo>
                  <a:lnTo>
                    <a:pt x="72" y="48"/>
                  </a:lnTo>
                  <a:lnTo>
                    <a:pt x="76" y="48"/>
                  </a:lnTo>
                  <a:lnTo>
                    <a:pt x="76" y="44"/>
                  </a:lnTo>
                  <a:lnTo>
                    <a:pt x="76" y="48"/>
                  </a:lnTo>
                  <a:lnTo>
                    <a:pt x="76" y="48"/>
                  </a:lnTo>
                  <a:lnTo>
                    <a:pt x="76" y="48"/>
                  </a:lnTo>
                  <a:close/>
                  <a:moveTo>
                    <a:pt x="50" y="138"/>
                  </a:moveTo>
                  <a:lnTo>
                    <a:pt x="46" y="138"/>
                  </a:lnTo>
                  <a:lnTo>
                    <a:pt x="46" y="134"/>
                  </a:lnTo>
                  <a:lnTo>
                    <a:pt x="42" y="134"/>
                  </a:lnTo>
                  <a:lnTo>
                    <a:pt x="42" y="130"/>
                  </a:lnTo>
                  <a:lnTo>
                    <a:pt x="46" y="130"/>
                  </a:lnTo>
                  <a:lnTo>
                    <a:pt x="46" y="126"/>
                  </a:lnTo>
                  <a:lnTo>
                    <a:pt x="50" y="126"/>
                  </a:lnTo>
                  <a:lnTo>
                    <a:pt x="50" y="122"/>
                  </a:lnTo>
                  <a:lnTo>
                    <a:pt x="50" y="120"/>
                  </a:lnTo>
                  <a:lnTo>
                    <a:pt x="50" y="116"/>
                  </a:lnTo>
                  <a:lnTo>
                    <a:pt x="46" y="116"/>
                  </a:lnTo>
                  <a:lnTo>
                    <a:pt x="46" y="112"/>
                  </a:lnTo>
                  <a:lnTo>
                    <a:pt x="50" y="112"/>
                  </a:lnTo>
                  <a:lnTo>
                    <a:pt x="52" y="112"/>
                  </a:lnTo>
                  <a:lnTo>
                    <a:pt x="50" y="112"/>
                  </a:lnTo>
                  <a:lnTo>
                    <a:pt x="50" y="108"/>
                  </a:lnTo>
                  <a:lnTo>
                    <a:pt x="46" y="108"/>
                  </a:lnTo>
                  <a:lnTo>
                    <a:pt x="46" y="112"/>
                  </a:lnTo>
                  <a:lnTo>
                    <a:pt x="42" y="112"/>
                  </a:lnTo>
                  <a:lnTo>
                    <a:pt x="42" y="108"/>
                  </a:lnTo>
                  <a:lnTo>
                    <a:pt x="46" y="104"/>
                  </a:lnTo>
                  <a:lnTo>
                    <a:pt x="42" y="108"/>
                  </a:lnTo>
                  <a:lnTo>
                    <a:pt x="38" y="108"/>
                  </a:lnTo>
                  <a:lnTo>
                    <a:pt x="38" y="112"/>
                  </a:lnTo>
                  <a:lnTo>
                    <a:pt x="42" y="116"/>
                  </a:lnTo>
                  <a:lnTo>
                    <a:pt x="38" y="116"/>
                  </a:lnTo>
                  <a:lnTo>
                    <a:pt x="38" y="122"/>
                  </a:lnTo>
                  <a:lnTo>
                    <a:pt x="34" y="126"/>
                  </a:lnTo>
                  <a:lnTo>
                    <a:pt x="34" y="122"/>
                  </a:lnTo>
                  <a:lnTo>
                    <a:pt x="34" y="120"/>
                  </a:lnTo>
                  <a:lnTo>
                    <a:pt x="34" y="116"/>
                  </a:lnTo>
                  <a:lnTo>
                    <a:pt x="38" y="116"/>
                  </a:lnTo>
                  <a:lnTo>
                    <a:pt x="34" y="116"/>
                  </a:lnTo>
                  <a:lnTo>
                    <a:pt x="34" y="112"/>
                  </a:lnTo>
                  <a:lnTo>
                    <a:pt x="38" y="112"/>
                  </a:lnTo>
                  <a:lnTo>
                    <a:pt x="38" y="108"/>
                  </a:lnTo>
                  <a:lnTo>
                    <a:pt x="34" y="112"/>
                  </a:lnTo>
                  <a:lnTo>
                    <a:pt x="34" y="108"/>
                  </a:lnTo>
                  <a:lnTo>
                    <a:pt x="38" y="108"/>
                  </a:lnTo>
                  <a:lnTo>
                    <a:pt x="38" y="104"/>
                  </a:lnTo>
                  <a:lnTo>
                    <a:pt x="38" y="100"/>
                  </a:lnTo>
                  <a:lnTo>
                    <a:pt x="42" y="100"/>
                  </a:lnTo>
                  <a:lnTo>
                    <a:pt x="46" y="100"/>
                  </a:lnTo>
                  <a:lnTo>
                    <a:pt x="46" y="96"/>
                  </a:lnTo>
                  <a:lnTo>
                    <a:pt x="42" y="100"/>
                  </a:lnTo>
                  <a:lnTo>
                    <a:pt x="42" y="96"/>
                  </a:lnTo>
                  <a:lnTo>
                    <a:pt x="42" y="92"/>
                  </a:lnTo>
                  <a:lnTo>
                    <a:pt x="46" y="92"/>
                  </a:lnTo>
                  <a:lnTo>
                    <a:pt x="42" y="92"/>
                  </a:lnTo>
                  <a:lnTo>
                    <a:pt x="38" y="96"/>
                  </a:lnTo>
                  <a:lnTo>
                    <a:pt x="34" y="96"/>
                  </a:lnTo>
                  <a:lnTo>
                    <a:pt x="30" y="96"/>
                  </a:lnTo>
                  <a:lnTo>
                    <a:pt x="34" y="96"/>
                  </a:lnTo>
                  <a:lnTo>
                    <a:pt x="34" y="92"/>
                  </a:lnTo>
                  <a:lnTo>
                    <a:pt x="38" y="92"/>
                  </a:lnTo>
                  <a:lnTo>
                    <a:pt x="34" y="92"/>
                  </a:lnTo>
                  <a:lnTo>
                    <a:pt x="30" y="92"/>
                  </a:lnTo>
                  <a:lnTo>
                    <a:pt x="26" y="92"/>
                  </a:lnTo>
                  <a:lnTo>
                    <a:pt x="30" y="92"/>
                  </a:lnTo>
                  <a:lnTo>
                    <a:pt x="34" y="92"/>
                  </a:lnTo>
                  <a:lnTo>
                    <a:pt x="34" y="90"/>
                  </a:lnTo>
                  <a:lnTo>
                    <a:pt x="38" y="90"/>
                  </a:lnTo>
                  <a:lnTo>
                    <a:pt x="34" y="90"/>
                  </a:lnTo>
                  <a:lnTo>
                    <a:pt x="34" y="86"/>
                  </a:lnTo>
                  <a:lnTo>
                    <a:pt x="34" y="90"/>
                  </a:lnTo>
                  <a:lnTo>
                    <a:pt x="38" y="90"/>
                  </a:lnTo>
                  <a:lnTo>
                    <a:pt x="34" y="86"/>
                  </a:lnTo>
                  <a:lnTo>
                    <a:pt x="38" y="86"/>
                  </a:lnTo>
                  <a:lnTo>
                    <a:pt x="38" y="82"/>
                  </a:lnTo>
                  <a:lnTo>
                    <a:pt x="38" y="78"/>
                  </a:lnTo>
                  <a:lnTo>
                    <a:pt x="34" y="78"/>
                  </a:lnTo>
                  <a:lnTo>
                    <a:pt x="34" y="74"/>
                  </a:lnTo>
                  <a:lnTo>
                    <a:pt x="38" y="74"/>
                  </a:lnTo>
                  <a:lnTo>
                    <a:pt x="34" y="74"/>
                  </a:lnTo>
                  <a:lnTo>
                    <a:pt x="34" y="70"/>
                  </a:lnTo>
                  <a:lnTo>
                    <a:pt x="34" y="66"/>
                  </a:lnTo>
                  <a:lnTo>
                    <a:pt x="38" y="70"/>
                  </a:lnTo>
                  <a:lnTo>
                    <a:pt x="38" y="66"/>
                  </a:lnTo>
                  <a:lnTo>
                    <a:pt x="42" y="66"/>
                  </a:lnTo>
                  <a:lnTo>
                    <a:pt x="46" y="66"/>
                  </a:lnTo>
                  <a:lnTo>
                    <a:pt x="42" y="66"/>
                  </a:lnTo>
                  <a:lnTo>
                    <a:pt x="42" y="62"/>
                  </a:lnTo>
                  <a:lnTo>
                    <a:pt x="38" y="62"/>
                  </a:lnTo>
                  <a:lnTo>
                    <a:pt x="42" y="62"/>
                  </a:lnTo>
                  <a:lnTo>
                    <a:pt x="42" y="60"/>
                  </a:lnTo>
                  <a:lnTo>
                    <a:pt x="46" y="60"/>
                  </a:lnTo>
                  <a:lnTo>
                    <a:pt x="42" y="60"/>
                  </a:lnTo>
                  <a:lnTo>
                    <a:pt x="42" y="56"/>
                  </a:lnTo>
                  <a:lnTo>
                    <a:pt x="46" y="52"/>
                  </a:lnTo>
                  <a:lnTo>
                    <a:pt x="50" y="52"/>
                  </a:lnTo>
                  <a:lnTo>
                    <a:pt x="50" y="56"/>
                  </a:lnTo>
                  <a:lnTo>
                    <a:pt x="52" y="52"/>
                  </a:lnTo>
                  <a:lnTo>
                    <a:pt x="56" y="52"/>
                  </a:lnTo>
                  <a:lnTo>
                    <a:pt x="60" y="52"/>
                  </a:lnTo>
                  <a:lnTo>
                    <a:pt x="64" y="52"/>
                  </a:lnTo>
                  <a:lnTo>
                    <a:pt x="68" y="52"/>
                  </a:lnTo>
                  <a:lnTo>
                    <a:pt x="72" y="52"/>
                  </a:lnTo>
                  <a:lnTo>
                    <a:pt x="76" y="52"/>
                  </a:lnTo>
                  <a:lnTo>
                    <a:pt x="72" y="56"/>
                  </a:lnTo>
                  <a:lnTo>
                    <a:pt x="72" y="60"/>
                  </a:lnTo>
                  <a:lnTo>
                    <a:pt x="68" y="60"/>
                  </a:lnTo>
                  <a:lnTo>
                    <a:pt x="68" y="62"/>
                  </a:lnTo>
                  <a:lnTo>
                    <a:pt x="64" y="62"/>
                  </a:lnTo>
                  <a:lnTo>
                    <a:pt x="60" y="62"/>
                  </a:lnTo>
                  <a:lnTo>
                    <a:pt x="60" y="66"/>
                  </a:lnTo>
                  <a:lnTo>
                    <a:pt x="56" y="66"/>
                  </a:lnTo>
                  <a:lnTo>
                    <a:pt x="52" y="66"/>
                  </a:lnTo>
                  <a:lnTo>
                    <a:pt x="56" y="66"/>
                  </a:lnTo>
                  <a:lnTo>
                    <a:pt x="56" y="70"/>
                  </a:lnTo>
                  <a:lnTo>
                    <a:pt x="60" y="70"/>
                  </a:lnTo>
                  <a:lnTo>
                    <a:pt x="60" y="66"/>
                  </a:lnTo>
                  <a:lnTo>
                    <a:pt x="64" y="66"/>
                  </a:lnTo>
                  <a:lnTo>
                    <a:pt x="64" y="70"/>
                  </a:lnTo>
                  <a:lnTo>
                    <a:pt x="60" y="70"/>
                  </a:lnTo>
                  <a:lnTo>
                    <a:pt x="56" y="70"/>
                  </a:lnTo>
                  <a:lnTo>
                    <a:pt x="52" y="74"/>
                  </a:lnTo>
                  <a:lnTo>
                    <a:pt x="56" y="74"/>
                  </a:lnTo>
                  <a:lnTo>
                    <a:pt x="56" y="70"/>
                  </a:lnTo>
                  <a:lnTo>
                    <a:pt x="60" y="74"/>
                  </a:lnTo>
                  <a:lnTo>
                    <a:pt x="56" y="74"/>
                  </a:lnTo>
                  <a:lnTo>
                    <a:pt x="56" y="78"/>
                  </a:lnTo>
                  <a:lnTo>
                    <a:pt x="60" y="74"/>
                  </a:lnTo>
                  <a:lnTo>
                    <a:pt x="64" y="74"/>
                  </a:lnTo>
                  <a:lnTo>
                    <a:pt x="68" y="74"/>
                  </a:lnTo>
                  <a:lnTo>
                    <a:pt x="68" y="70"/>
                  </a:lnTo>
                  <a:lnTo>
                    <a:pt x="72" y="70"/>
                  </a:lnTo>
                  <a:lnTo>
                    <a:pt x="72" y="74"/>
                  </a:lnTo>
                  <a:lnTo>
                    <a:pt x="76" y="74"/>
                  </a:lnTo>
                  <a:lnTo>
                    <a:pt x="76" y="70"/>
                  </a:lnTo>
                  <a:lnTo>
                    <a:pt x="80" y="70"/>
                  </a:lnTo>
                  <a:lnTo>
                    <a:pt x="82" y="74"/>
                  </a:lnTo>
                  <a:lnTo>
                    <a:pt x="86" y="74"/>
                  </a:lnTo>
                  <a:lnTo>
                    <a:pt x="86" y="70"/>
                  </a:lnTo>
                  <a:lnTo>
                    <a:pt x="90" y="70"/>
                  </a:lnTo>
                  <a:lnTo>
                    <a:pt x="90" y="74"/>
                  </a:lnTo>
                  <a:lnTo>
                    <a:pt x="90" y="78"/>
                  </a:lnTo>
                  <a:lnTo>
                    <a:pt x="90" y="82"/>
                  </a:lnTo>
                  <a:lnTo>
                    <a:pt x="86" y="82"/>
                  </a:lnTo>
                  <a:lnTo>
                    <a:pt x="86" y="86"/>
                  </a:lnTo>
                  <a:lnTo>
                    <a:pt x="86" y="90"/>
                  </a:lnTo>
                  <a:lnTo>
                    <a:pt x="82" y="92"/>
                  </a:lnTo>
                  <a:lnTo>
                    <a:pt x="82" y="96"/>
                  </a:lnTo>
                  <a:lnTo>
                    <a:pt x="80" y="96"/>
                  </a:lnTo>
                  <a:lnTo>
                    <a:pt x="80" y="100"/>
                  </a:lnTo>
                  <a:lnTo>
                    <a:pt x="76" y="100"/>
                  </a:lnTo>
                  <a:lnTo>
                    <a:pt x="72" y="100"/>
                  </a:lnTo>
                  <a:lnTo>
                    <a:pt x="76" y="100"/>
                  </a:lnTo>
                  <a:lnTo>
                    <a:pt x="80" y="100"/>
                  </a:lnTo>
                  <a:lnTo>
                    <a:pt x="80" y="104"/>
                  </a:lnTo>
                  <a:lnTo>
                    <a:pt x="76" y="104"/>
                  </a:lnTo>
                  <a:lnTo>
                    <a:pt x="72" y="108"/>
                  </a:lnTo>
                  <a:lnTo>
                    <a:pt x="68" y="108"/>
                  </a:lnTo>
                  <a:lnTo>
                    <a:pt x="64" y="108"/>
                  </a:lnTo>
                  <a:lnTo>
                    <a:pt x="68" y="108"/>
                  </a:lnTo>
                  <a:lnTo>
                    <a:pt x="72" y="112"/>
                  </a:lnTo>
                  <a:lnTo>
                    <a:pt x="76" y="112"/>
                  </a:lnTo>
                  <a:lnTo>
                    <a:pt x="76" y="108"/>
                  </a:lnTo>
                  <a:lnTo>
                    <a:pt x="80" y="108"/>
                  </a:lnTo>
                  <a:lnTo>
                    <a:pt x="82" y="108"/>
                  </a:lnTo>
                  <a:lnTo>
                    <a:pt x="82" y="112"/>
                  </a:lnTo>
                  <a:lnTo>
                    <a:pt x="86" y="112"/>
                  </a:lnTo>
                  <a:lnTo>
                    <a:pt x="86" y="116"/>
                  </a:lnTo>
                  <a:lnTo>
                    <a:pt x="90" y="116"/>
                  </a:lnTo>
                  <a:lnTo>
                    <a:pt x="90" y="120"/>
                  </a:lnTo>
                  <a:lnTo>
                    <a:pt x="94" y="120"/>
                  </a:lnTo>
                  <a:lnTo>
                    <a:pt x="94" y="122"/>
                  </a:lnTo>
                  <a:lnTo>
                    <a:pt x="94" y="126"/>
                  </a:lnTo>
                  <a:lnTo>
                    <a:pt x="94" y="130"/>
                  </a:lnTo>
                  <a:lnTo>
                    <a:pt x="98" y="130"/>
                  </a:lnTo>
                  <a:lnTo>
                    <a:pt x="98" y="134"/>
                  </a:lnTo>
                  <a:lnTo>
                    <a:pt x="98" y="138"/>
                  </a:lnTo>
                  <a:lnTo>
                    <a:pt x="102" y="138"/>
                  </a:lnTo>
                  <a:lnTo>
                    <a:pt x="106" y="142"/>
                  </a:lnTo>
                  <a:lnTo>
                    <a:pt x="108" y="142"/>
                  </a:lnTo>
                  <a:lnTo>
                    <a:pt x="108" y="146"/>
                  </a:lnTo>
                  <a:lnTo>
                    <a:pt x="112" y="146"/>
                  </a:lnTo>
                  <a:lnTo>
                    <a:pt x="112" y="150"/>
                  </a:lnTo>
                  <a:lnTo>
                    <a:pt x="116" y="150"/>
                  </a:lnTo>
                  <a:lnTo>
                    <a:pt x="112" y="150"/>
                  </a:lnTo>
                  <a:lnTo>
                    <a:pt x="112" y="152"/>
                  </a:lnTo>
                  <a:lnTo>
                    <a:pt x="112" y="156"/>
                  </a:lnTo>
                  <a:lnTo>
                    <a:pt x="116" y="156"/>
                  </a:lnTo>
                  <a:lnTo>
                    <a:pt x="116" y="160"/>
                  </a:lnTo>
                  <a:lnTo>
                    <a:pt x="120" y="160"/>
                  </a:lnTo>
                  <a:lnTo>
                    <a:pt x="116" y="164"/>
                  </a:lnTo>
                  <a:lnTo>
                    <a:pt x="116" y="160"/>
                  </a:lnTo>
                  <a:lnTo>
                    <a:pt x="120" y="160"/>
                  </a:lnTo>
                  <a:lnTo>
                    <a:pt x="116" y="160"/>
                  </a:lnTo>
                  <a:lnTo>
                    <a:pt x="112" y="160"/>
                  </a:lnTo>
                  <a:lnTo>
                    <a:pt x="108" y="160"/>
                  </a:lnTo>
                  <a:lnTo>
                    <a:pt x="106" y="160"/>
                  </a:lnTo>
                  <a:lnTo>
                    <a:pt x="108" y="160"/>
                  </a:lnTo>
                  <a:lnTo>
                    <a:pt x="112" y="160"/>
                  </a:lnTo>
                  <a:lnTo>
                    <a:pt x="116" y="160"/>
                  </a:lnTo>
                  <a:lnTo>
                    <a:pt x="116" y="164"/>
                  </a:lnTo>
                  <a:lnTo>
                    <a:pt x="120" y="164"/>
                  </a:lnTo>
                  <a:lnTo>
                    <a:pt x="120" y="168"/>
                  </a:lnTo>
                  <a:lnTo>
                    <a:pt x="120" y="172"/>
                  </a:lnTo>
                  <a:lnTo>
                    <a:pt x="120" y="176"/>
                  </a:lnTo>
                  <a:lnTo>
                    <a:pt x="116" y="176"/>
                  </a:lnTo>
                  <a:lnTo>
                    <a:pt x="120" y="180"/>
                  </a:lnTo>
                  <a:lnTo>
                    <a:pt x="124" y="180"/>
                  </a:lnTo>
                  <a:lnTo>
                    <a:pt x="124" y="176"/>
                  </a:lnTo>
                  <a:lnTo>
                    <a:pt x="128" y="176"/>
                  </a:lnTo>
                  <a:lnTo>
                    <a:pt x="132" y="176"/>
                  </a:lnTo>
                  <a:lnTo>
                    <a:pt x="136" y="176"/>
                  </a:lnTo>
                  <a:lnTo>
                    <a:pt x="138" y="180"/>
                  </a:lnTo>
                  <a:lnTo>
                    <a:pt x="142" y="182"/>
                  </a:lnTo>
                  <a:lnTo>
                    <a:pt x="142" y="186"/>
                  </a:lnTo>
                  <a:lnTo>
                    <a:pt x="138" y="190"/>
                  </a:lnTo>
                  <a:lnTo>
                    <a:pt x="138" y="194"/>
                  </a:lnTo>
                  <a:lnTo>
                    <a:pt x="136" y="198"/>
                  </a:lnTo>
                  <a:lnTo>
                    <a:pt x="132" y="194"/>
                  </a:lnTo>
                  <a:lnTo>
                    <a:pt x="136" y="198"/>
                  </a:lnTo>
                  <a:lnTo>
                    <a:pt x="136" y="202"/>
                  </a:lnTo>
                  <a:lnTo>
                    <a:pt x="132" y="202"/>
                  </a:lnTo>
                  <a:lnTo>
                    <a:pt x="132" y="198"/>
                  </a:lnTo>
                  <a:lnTo>
                    <a:pt x="132" y="202"/>
                  </a:lnTo>
                  <a:lnTo>
                    <a:pt x="128" y="202"/>
                  </a:lnTo>
                  <a:lnTo>
                    <a:pt x="132" y="202"/>
                  </a:lnTo>
                  <a:lnTo>
                    <a:pt x="132" y="206"/>
                  </a:lnTo>
                  <a:lnTo>
                    <a:pt x="128" y="206"/>
                  </a:lnTo>
                  <a:lnTo>
                    <a:pt x="124" y="206"/>
                  </a:lnTo>
                  <a:lnTo>
                    <a:pt x="120" y="210"/>
                  </a:lnTo>
                  <a:lnTo>
                    <a:pt x="124" y="210"/>
                  </a:lnTo>
                  <a:lnTo>
                    <a:pt x="124" y="206"/>
                  </a:lnTo>
                  <a:lnTo>
                    <a:pt x="128" y="206"/>
                  </a:lnTo>
                  <a:lnTo>
                    <a:pt x="128" y="210"/>
                  </a:lnTo>
                  <a:lnTo>
                    <a:pt x="124" y="210"/>
                  </a:lnTo>
                  <a:lnTo>
                    <a:pt x="128" y="210"/>
                  </a:lnTo>
                  <a:lnTo>
                    <a:pt x="132" y="210"/>
                  </a:lnTo>
                  <a:lnTo>
                    <a:pt x="136" y="210"/>
                  </a:lnTo>
                  <a:lnTo>
                    <a:pt x="136" y="212"/>
                  </a:lnTo>
                  <a:lnTo>
                    <a:pt x="136" y="216"/>
                  </a:lnTo>
                  <a:lnTo>
                    <a:pt x="132" y="216"/>
                  </a:lnTo>
                  <a:lnTo>
                    <a:pt x="132" y="220"/>
                  </a:lnTo>
                  <a:lnTo>
                    <a:pt x="128" y="220"/>
                  </a:lnTo>
                  <a:lnTo>
                    <a:pt x="128" y="216"/>
                  </a:lnTo>
                  <a:lnTo>
                    <a:pt x="128" y="220"/>
                  </a:lnTo>
                  <a:lnTo>
                    <a:pt x="124" y="220"/>
                  </a:lnTo>
                  <a:lnTo>
                    <a:pt x="120" y="220"/>
                  </a:lnTo>
                  <a:lnTo>
                    <a:pt x="120" y="224"/>
                  </a:lnTo>
                  <a:lnTo>
                    <a:pt x="116" y="220"/>
                  </a:lnTo>
                  <a:lnTo>
                    <a:pt x="112" y="220"/>
                  </a:lnTo>
                  <a:lnTo>
                    <a:pt x="108" y="220"/>
                  </a:lnTo>
                  <a:lnTo>
                    <a:pt x="106" y="220"/>
                  </a:lnTo>
                  <a:lnTo>
                    <a:pt x="106" y="224"/>
                  </a:lnTo>
                  <a:lnTo>
                    <a:pt x="106" y="220"/>
                  </a:lnTo>
                  <a:lnTo>
                    <a:pt x="102" y="220"/>
                  </a:lnTo>
                  <a:lnTo>
                    <a:pt x="98" y="220"/>
                  </a:lnTo>
                  <a:lnTo>
                    <a:pt x="94" y="224"/>
                  </a:lnTo>
                  <a:lnTo>
                    <a:pt x="90" y="224"/>
                  </a:lnTo>
                  <a:lnTo>
                    <a:pt x="86" y="224"/>
                  </a:lnTo>
                  <a:lnTo>
                    <a:pt x="90" y="224"/>
                  </a:lnTo>
                  <a:lnTo>
                    <a:pt x="86" y="224"/>
                  </a:lnTo>
                  <a:lnTo>
                    <a:pt x="82" y="224"/>
                  </a:lnTo>
                  <a:lnTo>
                    <a:pt x="82" y="228"/>
                  </a:lnTo>
                  <a:lnTo>
                    <a:pt x="82" y="224"/>
                  </a:lnTo>
                  <a:lnTo>
                    <a:pt x="80" y="224"/>
                  </a:lnTo>
                  <a:lnTo>
                    <a:pt x="76" y="224"/>
                  </a:lnTo>
                  <a:lnTo>
                    <a:pt x="72" y="224"/>
                  </a:lnTo>
                  <a:lnTo>
                    <a:pt x="68" y="224"/>
                  </a:lnTo>
                  <a:lnTo>
                    <a:pt x="68" y="228"/>
                  </a:lnTo>
                  <a:lnTo>
                    <a:pt x="64" y="232"/>
                  </a:lnTo>
                  <a:lnTo>
                    <a:pt x="64" y="236"/>
                  </a:lnTo>
                  <a:lnTo>
                    <a:pt x="60" y="232"/>
                  </a:lnTo>
                  <a:lnTo>
                    <a:pt x="56" y="232"/>
                  </a:lnTo>
                  <a:lnTo>
                    <a:pt x="52" y="232"/>
                  </a:lnTo>
                  <a:lnTo>
                    <a:pt x="50" y="232"/>
                  </a:lnTo>
                  <a:lnTo>
                    <a:pt x="46" y="236"/>
                  </a:lnTo>
                  <a:lnTo>
                    <a:pt x="46" y="240"/>
                  </a:lnTo>
                  <a:lnTo>
                    <a:pt x="42" y="240"/>
                  </a:lnTo>
                  <a:lnTo>
                    <a:pt x="42" y="236"/>
                  </a:lnTo>
                  <a:lnTo>
                    <a:pt x="38" y="236"/>
                  </a:lnTo>
                  <a:lnTo>
                    <a:pt x="38" y="240"/>
                  </a:lnTo>
                  <a:lnTo>
                    <a:pt x="34" y="240"/>
                  </a:lnTo>
                  <a:lnTo>
                    <a:pt x="34" y="236"/>
                  </a:lnTo>
                  <a:lnTo>
                    <a:pt x="38" y="236"/>
                  </a:lnTo>
                  <a:lnTo>
                    <a:pt x="42" y="232"/>
                  </a:lnTo>
                  <a:lnTo>
                    <a:pt x="46" y="228"/>
                  </a:lnTo>
                  <a:lnTo>
                    <a:pt x="46" y="224"/>
                  </a:lnTo>
                  <a:lnTo>
                    <a:pt x="50" y="224"/>
                  </a:lnTo>
                  <a:lnTo>
                    <a:pt x="52" y="220"/>
                  </a:lnTo>
                  <a:lnTo>
                    <a:pt x="52" y="216"/>
                  </a:lnTo>
                  <a:lnTo>
                    <a:pt x="56" y="216"/>
                  </a:lnTo>
                  <a:lnTo>
                    <a:pt x="56" y="212"/>
                  </a:lnTo>
                  <a:lnTo>
                    <a:pt x="60" y="212"/>
                  </a:lnTo>
                  <a:lnTo>
                    <a:pt x="64" y="212"/>
                  </a:lnTo>
                  <a:lnTo>
                    <a:pt x="68" y="212"/>
                  </a:lnTo>
                  <a:lnTo>
                    <a:pt x="76" y="212"/>
                  </a:lnTo>
                  <a:lnTo>
                    <a:pt x="76" y="210"/>
                  </a:lnTo>
                  <a:lnTo>
                    <a:pt x="76" y="206"/>
                  </a:lnTo>
                  <a:lnTo>
                    <a:pt x="80" y="206"/>
                  </a:lnTo>
                  <a:lnTo>
                    <a:pt x="80" y="202"/>
                  </a:lnTo>
                  <a:lnTo>
                    <a:pt x="82" y="202"/>
                  </a:lnTo>
                  <a:lnTo>
                    <a:pt x="80" y="202"/>
                  </a:lnTo>
                  <a:lnTo>
                    <a:pt x="80" y="206"/>
                  </a:lnTo>
                  <a:lnTo>
                    <a:pt x="76" y="206"/>
                  </a:lnTo>
                  <a:lnTo>
                    <a:pt x="72" y="206"/>
                  </a:lnTo>
                  <a:lnTo>
                    <a:pt x="72" y="210"/>
                  </a:lnTo>
                  <a:lnTo>
                    <a:pt x="68" y="210"/>
                  </a:lnTo>
                  <a:lnTo>
                    <a:pt x="64" y="210"/>
                  </a:lnTo>
                  <a:lnTo>
                    <a:pt x="64" y="206"/>
                  </a:lnTo>
                  <a:lnTo>
                    <a:pt x="60" y="206"/>
                  </a:lnTo>
                  <a:lnTo>
                    <a:pt x="56" y="206"/>
                  </a:lnTo>
                  <a:lnTo>
                    <a:pt x="60" y="202"/>
                  </a:lnTo>
                  <a:lnTo>
                    <a:pt x="56" y="202"/>
                  </a:lnTo>
                  <a:lnTo>
                    <a:pt x="52" y="202"/>
                  </a:lnTo>
                  <a:lnTo>
                    <a:pt x="50" y="202"/>
                  </a:lnTo>
                  <a:lnTo>
                    <a:pt x="50" y="206"/>
                  </a:lnTo>
                  <a:lnTo>
                    <a:pt x="50" y="202"/>
                  </a:lnTo>
                  <a:lnTo>
                    <a:pt x="50" y="206"/>
                  </a:lnTo>
                  <a:lnTo>
                    <a:pt x="46" y="206"/>
                  </a:lnTo>
                  <a:lnTo>
                    <a:pt x="46" y="202"/>
                  </a:lnTo>
                  <a:lnTo>
                    <a:pt x="50" y="202"/>
                  </a:lnTo>
                  <a:lnTo>
                    <a:pt x="46" y="202"/>
                  </a:lnTo>
                  <a:lnTo>
                    <a:pt x="42" y="202"/>
                  </a:lnTo>
                  <a:lnTo>
                    <a:pt x="46" y="202"/>
                  </a:lnTo>
                  <a:lnTo>
                    <a:pt x="46" y="198"/>
                  </a:lnTo>
                  <a:lnTo>
                    <a:pt x="42" y="198"/>
                  </a:lnTo>
                  <a:lnTo>
                    <a:pt x="46" y="198"/>
                  </a:lnTo>
                  <a:lnTo>
                    <a:pt x="50" y="194"/>
                  </a:lnTo>
                  <a:lnTo>
                    <a:pt x="52" y="194"/>
                  </a:lnTo>
                  <a:lnTo>
                    <a:pt x="56" y="190"/>
                  </a:lnTo>
                  <a:lnTo>
                    <a:pt x="56" y="186"/>
                  </a:lnTo>
                  <a:lnTo>
                    <a:pt x="60" y="186"/>
                  </a:lnTo>
                  <a:lnTo>
                    <a:pt x="60" y="182"/>
                  </a:lnTo>
                  <a:lnTo>
                    <a:pt x="56" y="182"/>
                  </a:lnTo>
                  <a:lnTo>
                    <a:pt x="60" y="180"/>
                  </a:lnTo>
                  <a:lnTo>
                    <a:pt x="56" y="180"/>
                  </a:lnTo>
                  <a:lnTo>
                    <a:pt x="56" y="176"/>
                  </a:lnTo>
                  <a:lnTo>
                    <a:pt x="52" y="176"/>
                  </a:lnTo>
                  <a:lnTo>
                    <a:pt x="52" y="180"/>
                  </a:lnTo>
                  <a:lnTo>
                    <a:pt x="50" y="180"/>
                  </a:lnTo>
                  <a:lnTo>
                    <a:pt x="50" y="176"/>
                  </a:lnTo>
                  <a:lnTo>
                    <a:pt x="52" y="176"/>
                  </a:lnTo>
                  <a:lnTo>
                    <a:pt x="56" y="172"/>
                  </a:lnTo>
                  <a:lnTo>
                    <a:pt x="56" y="168"/>
                  </a:lnTo>
                  <a:lnTo>
                    <a:pt x="60" y="168"/>
                  </a:lnTo>
                  <a:lnTo>
                    <a:pt x="64" y="168"/>
                  </a:lnTo>
                  <a:lnTo>
                    <a:pt x="68" y="168"/>
                  </a:lnTo>
                  <a:lnTo>
                    <a:pt x="72" y="168"/>
                  </a:lnTo>
                  <a:lnTo>
                    <a:pt x="72" y="164"/>
                  </a:lnTo>
                  <a:lnTo>
                    <a:pt x="76" y="168"/>
                  </a:lnTo>
                  <a:lnTo>
                    <a:pt x="80" y="168"/>
                  </a:lnTo>
                  <a:lnTo>
                    <a:pt x="76" y="168"/>
                  </a:lnTo>
                  <a:lnTo>
                    <a:pt x="76" y="164"/>
                  </a:lnTo>
                  <a:lnTo>
                    <a:pt x="72" y="164"/>
                  </a:lnTo>
                  <a:lnTo>
                    <a:pt x="72" y="160"/>
                  </a:lnTo>
                  <a:lnTo>
                    <a:pt x="76" y="160"/>
                  </a:lnTo>
                  <a:lnTo>
                    <a:pt x="72" y="156"/>
                  </a:lnTo>
                  <a:lnTo>
                    <a:pt x="76" y="152"/>
                  </a:lnTo>
                  <a:lnTo>
                    <a:pt x="76" y="150"/>
                  </a:lnTo>
                  <a:lnTo>
                    <a:pt x="72" y="152"/>
                  </a:lnTo>
                  <a:lnTo>
                    <a:pt x="72" y="150"/>
                  </a:lnTo>
                  <a:lnTo>
                    <a:pt x="68" y="150"/>
                  </a:lnTo>
                  <a:lnTo>
                    <a:pt x="68" y="146"/>
                  </a:lnTo>
                  <a:lnTo>
                    <a:pt x="68" y="142"/>
                  </a:lnTo>
                  <a:lnTo>
                    <a:pt x="64" y="142"/>
                  </a:lnTo>
                  <a:lnTo>
                    <a:pt x="64" y="138"/>
                  </a:lnTo>
                  <a:lnTo>
                    <a:pt x="68" y="134"/>
                  </a:lnTo>
                  <a:lnTo>
                    <a:pt x="72" y="134"/>
                  </a:lnTo>
                  <a:lnTo>
                    <a:pt x="76" y="134"/>
                  </a:lnTo>
                  <a:lnTo>
                    <a:pt x="76" y="130"/>
                  </a:lnTo>
                  <a:lnTo>
                    <a:pt x="72" y="130"/>
                  </a:lnTo>
                  <a:lnTo>
                    <a:pt x="68" y="130"/>
                  </a:lnTo>
                  <a:lnTo>
                    <a:pt x="64" y="130"/>
                  </a:lnTo>
                  <a:lnTo>
                    <a:pt x="64" y="134"/>
                  </a:lnTo>
                  <a:lnTo>
                    <a:pt x="60" y="134"/>
                  </a:lnTo>
                  <a:lnTo>
                    <a:pt x="60" y="138"/>
                  </a:lnTo>
                  <a:lnTo>
                    <a:pt x="56" y="138"/>
                  </a:lnTo>
                  <a:lnTo>
                    <a:pt x="52" y="134"/>
                  </a:lnTo>
                  <a:lnTo>
                    <a:pt x="52" y="138"/>
                  </a:lnTo>
                  <a:lnTo>
                    <a:pt x="56" y="138"/>
                  </a:lnTo>
                  <a:lnTo>
                    <a:pt x="52" y="138"/>
                  </a:lnTo>
                  <a:lnTo>
                    <a:pt x="50" y="134"/>
                  </a:lnTo>
                  <a:lnTo>
                    <a:pt x="46" y="134"/>
                  </a:lnTo>
                  <a:lnTo>
                    <a:pt x="46" y="138"/>
                  </a:lnTo>
                  <a:lnTo>
                    <a:pt x="50" y="138"/>
                  </a:lnTo>
                  <a:lnTo>
                    <a:pt x="50" y="138"/>
                  </a:lnTo>
                  <a:lnTo>
                    <a:pt x="50" y="138"/>
                  </a:lnTo>
                  <a:close/>
                  <a:moveTo>
                    <a:pt x="22" y="66"/>
                  </a:moveTo>
                  <a:lnTo>
                    <a:pt x="22" y="62"/>
                  </a:lnTo>
                  <a:lnTo>
                    <a:pt x="20" y="66"/>
                  </a:lnTo>
                  <a:lnTo>
                    <a:pt x="22" y="66"/>
                  </a:lnTo>
                  <a:lnTo>
                    <a:pt x="20" y="70"/>
                  </a:lnTo>
                  <a:lnTo>
                    <a:pt x="16" y="70"/>
                  </a:lnTo>
                  <a:lnTo>
                    <a:pt x="20" y="66"/>
                  </a:lnTo>
                  <a:lnTo>
                    <a:pt x="16" y="66"/>
                  </a:lnTo>
                  <a:lnTo>
                    <a:pt x="16" y="62"/>
                  </a:lnTo>
                  <a:lnTo>
                    <a:pt x="16" y="60"/>
                  </a:lnTo>
                  <a:lnTo>
                    <a:pt x="20" y="60"/>
                  </a:lnTo>
                  <a:lnTo>
                    <a:pt x="20" y="62"/>
                  </a:lnTo>
                  <a:lnTo>
                    <a:pt x="20" y="60"/>
                  </a:lnTo>
                  <a:lnTo>
                    <a:pt x="22" y="56"/>
                  </a:lnTo>
                  <a:lnTo>
                    <a:pt x="26" y="56"/>
                  </a:lnTo>
                  <a:lnTo>
                    <a:pt x="26" y="52"/>
                  </a:lnTo>
                  <a:lnTo>
                    <a:pt x="26" y="56"/>
                  </a:lnTo>
                  <a:lnTo>
                    <a:pt x="30" y="56"/>
                  </a:lnTo>
                  <a:lnTo>
                    <a:pt x="26" y="56"/>
                  </a:lnTo>
                  <a:lnTo>
                    <a:pt x="26" y="60"/>
                  </a:lnTo>
                  <a:lnTo>
                    <a:pt x="30" y="60"/>
                  </a:lnTo>
                  <a:lnTo>
                    <a:pt x="26" y="60"/>
                  </a:lnTo>
                  <a:lnTo>
                    <a:pt x="26" y="62"/>
                  </a:lnTo>
                  <a:lnTo>
                    <a:pt x="22" y="62"/>
                  </a:lnTo>
                  <a:lnTo>
                    <a:pt x="26" y="62"/>
                  </a:lnTo>
                  <a:lnTo>
                    <a:pt x="22" y="66"/>
                  </a:lnTo>
                  <a:lnTo>
                    <a:pt x="22" y="66"/>
                  </a:lnTo>
                  <a:lnTo>
                    <a:pt x="22" y="66"/>
                  </a:lnTo>
                  <a:close/>
                  <a:moveTo>
                    <a:pt x="16" y="74"/>
                  </a:moveTo>
                  <a:lnTo>
                    <a:pt x="12" y="74"/>
                  </a:lnTo>
                  <a:lnTo>
                    <a:pt x="8" y="74"/>
                  </a:lnTo>
                  <a:lnTo>
                    <a:pt x="12" y="74"/>
                  </a:lnTo>
                  <a:lnTo>
                    <a:pt x="16" y="70"/>
                  </a:lnTo>
                  <a:lnTo>
                    <a:pt x="16" y="74"/>
                  </a:lnTo>
                  <a:lnTo>
                    <a:pt x="16" y="74"/>
                  </a:lnTo>
                  <a:lnTo>
                    <a:pt x="16" y="74"/>
                  </a:lnTo>
                  <a:close/>
                  <a:moveTo>
                    <a:pt x="34" y="86"/>
                  </a:moveTo>
                  <a:lnTo>
                    <a:pt x="30" y="86"/>
                  </a:lnTo>
                  <a:lnTo>
                    <a:pt x="30" y="82"/>
                  </a:lnTo>
                  <a:lnTo>
                    <a:pt x="30" y="86"/>
                  </a:lnTo>
                  <a:lnTo>
                    <a:pt x="30" y="82"/>
                  </a:lnTo>
                  <a:lnTo>
                    <a:pt x="26" y="86"/>
                  </a:lnTo>
                  <a:lnTo>
                    <a:pt x="26" y="82"/>
                  </a:lnTo>
                  <a:lnTo>
                    <a:pt x="22" y="82"/>
                  </a:lnTo>
                  <a:lnTo>
                    <a:pt x="26" y="82"/>
                  </a:lnTo>
                  <a:lnTo>
                    <a:pt x="22" y="78"/>
                  </a:lnTo>
                  <a:lnTo>
                    <a:pt x="22" y="82"/>
                  </a:lnTo>
                  <a:lnTo>
                    <a:pt x="22" y="78"/>
                  </a:lnTo>
                  <a:lnTo>
                    <a:pt x="20" y="78"/>
                  </a:lnTo>
                  <a:lnTo>
                    <a:pt x="22" y="74"/>
                  </a:lnTo>
                  <a:lnTo>
                    <a:pt x="26" y="74"/>
                  </a:lnTo>
                  <a:lnTo>
                    <a:pt x="26" y="70"/>
                  </a:lnTo>
                  <a:lnTo>
                    <a:pt x="30" y="74"/>
                  </a:lnTo>
                  <a:lnTo>
                    <a:pt x="30" y="78"/>
                  </a:lnTo>
                  <a:lnTo>
                    <a:pt x="30" y="82"/>
                  </a:lnTo>
                  <a:lnTo>
                    <a:pt x="34" y="82"/>
                  </a:lnTo>
                  <a:lnTo>
                    <a:pt x="38" y="82"/>
                  </a:lnTo>
                  <a:lnTo>
                    <a:pt x="34" y="86"/>
                  </a:lnTo>
                  <a:lnTo>
                    <a:pt x="34" y="86"/>
                  </a:lnTo>
                  <a:lnTo>
                    <a:pt x="34" y="86"/>
                  </a:lnTo>
                  <a:close/>
                  <a:moveTo>
                    <a:pt x="30" y="82"/>
                  </a:moveTo>
                  <a:lnTo>
                    <a:pt x="30" y="78"/>
                  </a:lnTo>
                  <a:lnTo>
                    <a:pt x="30" y="74"/>
                  </a:lnTo>
                  <a:lnTo>
                    <a:pt x="30" y="78"/>
                  </a:lnTo>
                  <a:lnTo>
                    <a:pt x="30" y="82"/>
                  </a:lnTo>
                  <a:lnTo>
                    <a:pt x="30" y="82"/>
                  </a:lnTo>
                  <a:lnTo>
                    <a:pt x="30" y="82"/>
                  </a:lnTo>
                  <a:close/>
                  <a:moveTo>
                    <a:pt x="12" y="78"/>
                  </a:moveTo>
                  <a:lnTo>
                    <a:pt x="16" y="78"/>
                  </a:lnTo>
                  <a:lnTo>
                    <a:pt x="12" y="78"/>
                  </a:lnTo>
                  <a:lnTo>
                    <a:pt x="12" y="78"/>
                  </a:lnTo>
                  <a:lnTo>
                    <a:pt x="12" y="78"/>
                  </a:lnTo>
                  <a:close/>
                  <a:moveTo>
                    <a:pt x="16" y="86"/>
                  </a:moveTo>
                  <a:lnTo>
                    <a:pt x="12" y="86"/>
                  </a:lnTo>
                  <a:lnTo>
                    <a:pt x="12" y="82"/>
                  </a:lnTo>
                  <a:lnTo>
                    <a:pt x="12" y="78"/>
                  </a:lnTo>
                  <a:lnTo>
                    <a:pt x="16" y="78"/>
                  </a:lnTo>
                  <a:lnTo>
                    <a:pt x="16" y="82"/>
                  </a:lnTo>
                  <a:lnTo>
                    <a:pt x="12" y="82"/>
                  </a:lnTo>
                  <a:lnTo>
                    <a:pt x="12" y="78"/>
                  </a:lnTo>
                  <a:lnTo>
                    <a:pt x="12" y="82"/>
                  </a:lnTo>
                  <a:lnTo>
                    <a:pt x="12" y="86"/>
                  </a:lnTo>
                  <a:lnTo>
                    <a:pt x="16" y="86"/>
                  </a:lnTo>
                  <a:lnTo>
                    <a:pt x="16" y="86"/>
                  </a:lnTo>
                  <a:lnTo>
                    <a:pt x="16" y="86"/>
                  </a:lnTo>
                  <a:close/>
                  <a:moveTo>
                    <a:pt x="12" y="90"/>
                  </a:moveTo>
                  <a:lnTo>
                    <a:pt x="8" y="90"/>
                  </a:lnTo>
                  <a:lnTo>
                    <a:pt x="12" y="86"/>
                  </a:lnTo>
                  <a:lnTo>
                    <a:pt x="12" y="90"/>
                  </a:lnTo>
                  <a:lnTo>
                    <a:pt x="12" y="90"/>
                  </a:lnTo>
                  <a:lnTo>
                    <a:pt x="12" y="90"/>
                  </a:lnTo>
                  <a:close/>
                  <a:moveTo>
                    <a:pt x="26" y="90"/>
                  </a:moveTo>
                  <a:lnTo>
                    <a:pt x="26" y="86"/>
                  </a:lnTo>
                  <a:lnTo>
                    <a:pt x="26" y="90"/>
                  </a:lnTo>
                  <a:lnTo>
                    <a:pt x="26" y="90"/>
                  </a:lnTo>
                  <a:lnTo>
                    <a:pt x="26" y="90"/>
                  </a:lnTo>
                  <a:close/>
                  <a:moveTo>
                    <a:pt x="22" y="96"/>
                  </a:moveTo>
                  <a:lnTo>
                    <a:pt x="22" y="92"/>
                  </a:lnTo>
                  <a:lnTo>
                    <a:pt x="26" y="92"/>
                  </a:lnTo>
                  <a:lnTo>
                    <a:pt x="22" y="96"/>
                  </a:lnTo>
                  <a:lnTo>
                    <a:pt x="22" y="96"/>
                  </a:lnTo>
                  <a:lnTo>
                    <a:pt x="22" y="96"/>
                  </a:lnTo>
                  <a:close/>
                  <a:moveTo>
                    <a:pt x="30" y="96"/>
                  </a:moveTo>
                  <a:lnTo>
                    <a:pt x="34" y="96"/>
                  </a:lnTo>
                  <a:lnTo>
                    <a:pt x="34" y="100"/>
                  </a:lnTo>
                  <a:lnTo>
                    <a:pt x="38" y="100"/>
                  </a:lnTo>
                  <a:lnTo>
                    <a:pt x="34" y="100"/>
                  </a:lnTo>
                  <a:lnTo>
                    <a:pt x="34" y="104"/>
                  </a:lnTo>
                  <a:lnTo>
                    <a:pt x="34" y="100"/>
                  </a:lnTo>
                  <a:lnTo>
                    <a:pt x="30" y="104"/>
                  </a:lnTo>
                  <a:lnTo>
                    <a:pt x="26" y="104"/>
                  </a:lnTo>
                  <a:lnTo>
                    <a:pt x="26" y="100"/>
                  </a:lnTo>
                  <a:lnTo>
                    <a:pt x="26" y="104"/>
                  </a:lnTo>
                  <a:lnTo>
                    <a:pt x="30" y="100"/>
                  </a:lnTo>
                  <a:lnTo>
                    <a:pt x="26" y="100"/>
                  </a:lnTo>
                  <a:lnTo>
                    <a:pt x="30" y="100"/>
                  </a:lnTo>
                  <a:lnTo>
                    <a:pt x="30" y="96"/>
                  </a:lnTo>
                  <a:lnTo>
                    <a:pt x="30" y="100"/>
                  </a:lnTo>
                  <a:lnTo>
                    <a:pt x="26" y="96"/>
                  </a:lnTo>
                  <a:lnTo>
                    <a:pt x="30" y="96"/>
                  </a:lnTo>
                  <a:lnTo>
                    <a:pt x="30" y="96"/>
                  </a:lnTo>
                  <a:lnTo>
                    <a:pt x="30" y="96"/>
                  </a:lnTo>
                  <a:close/>
                  <a:moveTo>
                    <a:pt x="20" y="100"/>
                  </a:moveTo>
                  <a:lnTo>
                    <a:pt x="16" y="96"/>
                  </a:lnTo>
                  <a:lnTo>
                    <a:pt x="20" y="96"/>
                  </a:lnTo>
                  <a:lnTo>
                    <a:pt x="20" y="100"/>
                  </a:lnTo>
                  <a:lnTo>
                    <a:pt x="20" y="100"/>
                  </a:lnTo>
                  <a:lnTo>
                    <a:pt x="20" y="100"/>
                  </a:lnTo>
                  <a:close/>
                  <a:moveTo>
                    <a:pt x="30" y="116"/>
                  </a:moveTo>
                  <a:lnTo>
                    <a:pt x="30" y="112"/>
                  </a:lnTo>
                  <a:lnTo>
                    <a:pt x="30" y="108"/>
                  </a:lnTo>
                  <a:lnTo>
                    <a:pt x="34" y="108"/>
                  </a:lnTo>
                  <a:lnTo>
                    <a:pt x="34" y="112"/>
                  </a:lnTo>
                  <a:lnTo>
                    <a:pt x="30" y="112"/>
                  </a:lnTo>
                  <a:lnTo>
                    <a:pt x="30" y="116"/>
                  </a:lnTo>
                  <a:lnTo>
                    <a:pt x="30" y="116"/>
                  </a:lnTo>
                  <a:lnTo>
                    <a:pt x="30" y="116"/>
                  </a:lnTo>
                  <a:close/>
                  <a:moveTo>
                    <a:pt x="26" y="120"/>
                  </a:moveTo>
                  <a:lnTo>
                    <a:pt x="26" y="116"/>
                  </a:lnTo>
                  <a:lnTo>
                    <a:pt x="22" y="116"/>
                  </a:lnTo>
                  <a:lnTo>
                    <a:pt x="26" y="112"/>
                  </a:lnTo>
                  <a:lnTo>
                    <a:pt x="30" y="112"/>
                  </a:lnTo>
                  <a:lnTo>
                    <a:pt x="30" y="116"/>
                  </a:lnTo>
                  <a:lnTo>
                    <a:pt x="26" y="120"/>
                  </a:lnTo>
                  <a:lnTo>
                    <a:pt x="26" y="120"/>
                  </a:lnTo>
                  <a:lnTo>
                    <a:pt x="26" y="120"/>
                  </a:lnTo>
                  <a:close/>
                  <a:moveTo>
                    <a:pt x="46" y="116"/>
                  </a:moveTo>
                  <a:lnTo>
                    <a:pt x="42" y="112"/>
                  </a:lnTo>
                  <a:lnTo>
                    <a:pt x="46" y="112"/>
                  </a:lnTo>
                  <a:lnTo>
                    <a:pt x="46" y="116"/>
                  </a:lnTo>
                  <a:lnTo>
                    <a:pt x="46" y="116"/>
                  </a:lnTo>
                  <a:lnTo>
                    <a:pt x="46" y="116"/>
                  </a:lnTo>
                  <a:close/>
                  <a:moveTo>
                    <a:pt x="42" y="122"/>
                  </a:moveTo>
                  <a:lnTo>
                    <a:pt x="42" y="120"/>
                  </a:lnTo>
                  <a:lnTo>
                    <a:pt x="42" y="116"/>
                  </a:lnTo>
                  <a:lnTo>
                    <a:pt x="46" y="120"/>
                  </a:lnTo>
                  <a:lnTo>
                    <a:pt x="46" y="122"/>
                  </a:lnTo>
                  <a:lnTo>
                    <a:pt x="42" y="122"/>
                  </a:lnTo>
                  <a:lnTo>
                    <a:pt x="42" y="122"/>
                  </a:lnTo>
                  <a:lnTo>
                    <a:pt x="42" y="122"/>
                  </a:lnTo>
                  <a:close/>
                  <a:moveTo>
                    <a:pt x="22" y="152"/>
                  </a:moveTo>
                  <a:lnTo>
                    <a:pt x="20" y="150"/>
                  </a:lnTo>
                  <a:lnTo>
                    <a:pt x="20" y="146"/>
                  </a:lnTo>
                  <a:lnTo>
                    <a:pt x="16" y="146"/>
                  </a:lnTo>
                  <a:lnTo>
                    <a:pt x="16" y="150"/>
                  </a:lnTo>
                  <a:lnTo>
                    <a:pt x="12" y="150"/>
                  </a:lnTo>
                  <a:lnTo>
                    <a:pt x="8" y="150"/>
                  </a:lnTo>
                  <a:lnTo>
                    <a:pt x="4" y="150"/>
                  </a:lnTo>
                  <a:lnTo>
                    <a:pt x="4" y="146"/>
                  </a:lnTo>
                  <a:lnTo>
                    <a:pt x="0" y="146"/>
                  </a:lnTo>
                  <a:lnTo>
                    <a:pt x="0" y="142"/>
                  </a:lnTo>
                  <a:lnTo>
                    <a:pt x="4" y="142"/>
                  </a:lnTo>
                  <a:lnTo>
                    <a:pt x="8" y="142"/>
                  </a:lnTo>
                  <a:lnTo>
                    <a:pt x="4" y="138"/>
                  </a:lnTo>
                  <a:lnTo>
                    <a:pt x="8" y="138"/>
                  </a:lnTo>
                  <a:lnTo>
                    <a:pt x="12" y="134"/>
                  </a:lnTo>
                  <a:lnTo>
                    <a:pt x="12" y="130"/>
                  </a:lnTo>
                  <a:lnTo>
                    <a:pt x="16" y="130"/>
                  </a:lnTo>
                  <a:lnTo>
                    <a:pt x="20" y="126"/>
                  </a:lnTo>
                  <a:lnTo>
                    <a:pt x="22" y="126"/>
                  </a:lnTo>
                  <a:lnTo>
                    <a:pt x="26" y="126"/>
                  </a:lnTo>
                  <a:lnTo>
                    <a:pt x="30" y="126"/>
                  </a:lnTo>
                  <a:lnTo>
                    <a:pt x="30" y="130"/>
                  </a:lnTo>
                  <a:lnTo>
                    <a:pt x="34" y="134"/>
                  </a:lnTo>
                  <a:lnTo>
                    <a:pt x="34" y="138"/>
                  </a:lnTo>
                  <a:lnTo>
                    <a:pt x="34" y="142"/>
                  </a:lnTo>
                  <a:lnTo>
                    <a:pt x="34" y="138"/>
                  </a:lnTo>
                  <a:lnTo>
                    <a:pt x="38" y="138"/>
                  </a:lnTo>
                  <a:lnTo>
                    <a:pt x="38" y="142"/>
                  </a:lnTo>
                  <a:lnTo>
                    <a:pt x="38" y="146"/>
                  </a:lnTo>
                  <a:lnTo>
                    <a:pt x="38" y="142"/>
                  </a:lnTo>
                  <a:lnTo>
                    <a:pt x="34" y="142"/>
                  </a:lnTo>
                  <a:lnTo>
                    <a:pt x="38" y="142"/>
                  </a:lnTo>
                  <a:lnTo>
                    <a:pt x="38" y="146"/>
                  </a:lnTo>
                  <a:lnTo>
                    <a:pt x="38" y="150"/>
                  </a:lnTo>
                  <a:lnTo>
                    <a:pt x="34" y="150"/>
                  </a:lnTo>
                  <a:lnTo>
                    <a:pt x="34" y="152"/>
                  </a:lnTo>
                  <a:lnTo>
                    <a:pt x="30" y="152"/>
                  </a:lnTo>
                  <a:lnTo>
                    <a:pt x="26" y="150"/>
                  </a:lnTo>
                  <a:lnTo>
                    <a:pt x="26" y="152"/>
                  </a:lnTo>
                  <a:lnTo>
                    <a:pt x="22" y="152"/>
                  </a:lnTo>
                  <a:lnTo>
                    <a:pt x="22" y="152"/>
                  </a:lnTo>
                  <a:lnTo>
                    <a:pt x="22" y="152"/>
                  </a:lnTo>
                  <a:close/>
                  <a:moveTo>
                    <a:pt x="52" y="172"/>
                  </a:moveTo>
                  <a:lnTo>
                    <a:pt x="52" y="168"/>
                  </a:lnTo>
                  <a:lnTo>
                    <a:pt x="52" y="164"/>
                  </a:lnTo>
                  <a:lnTo>
                    <a:pt x="56" y="164"/>
                  </a:lnTo>
                  <a:lnTo>
                    <a:pt x="56" y="168"/>
                  </a:lnTo>
                  <a:lnTo>
                    <a:pt x="60" y="168"/>
                  </a:lnTo>
                  <a:lnTo>
                    <a:pt x="56" y="168"/>
                  </a:lnTo>
                  <a:lnTo>
                    <a:pt x="56" y="172"/>
                  </a:lnTo>
                  <a:lnTo>
                    <a:pt x="52" y="172"/>
                  </a:lnTo>
                  <a:lnTo>
                    <a:pt x="52" y="172"/>
                  </a:lnTo>
                  <a:lnTo>
                    <a:pt x="52" y="172"/>
                  </a:lnTo>
                  <a:close/>
                  <a:moveTo>
                    <a:pt x="128" y="210"/>
                  </a:moveTo>
                  <a:lnTo>
                    <a:pt x="132" y="210"/>
                  </a:lnTo>
                  <a:lnTo>
                    <a:pt x="128" y="210"/>
                  </a:lnTo>
                  <a:lnTo>
                    <a:pt x="128" y="210"/>
                  </a:lnTo>
                  <a:lnTo>
                    <a:pt x="128" y="210"/>
                  </a:lnTo>
                  <a:close/>
                  <a:moveTo>
                    <a:pt x="98" y="224"/>
                  </a:moveTo>
                  <a:lnTo>
                    <a:pt x="94" y="224"/>
                  </a:lnTo>
                  <a:lnTo>
                    <a:pt x="98" y="220"/>
                  </a:lnTo>
                  <a:lnTo>
                    <a:pt x="102" y="224"/>
                  </a:lnTo>
                  <a:lnTo>
                    <a:pt x="98" y="224"/>
                  </a:lnTo>
                  <a:lnTo>
                    <a:pt x="98" y="224"/>
                  </a:lnTo>
                  <a:lnTo>
                    <a:pt x="98" y="22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34" name="Freeform 127"/>
            <p:cNvSpPr>
              <a:spLocks/>
            </p:cNvSpPr>
            <p:nvPr/>
          </p:nvSpPr>
          <p:spPr bwMode="auto">
            <a:xfrm>
              <a:off x="6962415" y="3730248"/>
              <a:ext cx="183370" cy="217059"/>
            </a:xfrm>
            <a:custGeom>
              <a:avLst/>
              <a:gdLst>
                <a:gd name="T0" fmla="*/ 202 w 292"/>
                <a:gd name="T1" fmla="*/ 10 h 332"/>
                <a:gd name="T2" fmla="*/ 214 w 292"/>
                <a:gd name="T3" fmla="*/ 4 h 332"/>
                <a:gd name="T4" fmla="*/ 224 w 292"/>
                <a:gd name="T5" fmla="*/ 4 h 332"/>
                <a:gd name="T6" fmla="*/ 228 w 292"/>
                <a:gd name="T7" fmla="*/ 4 h 332"/>
                <a:gd name="T8" fmla="*/ 236 w 292"/>
                <a:gd name="T9" fmla="*/ 8 h 332"/>
                <a:gd name="T10" fmla="*/ 246 w 292"/>
                <a:gd name="T11" fmla="*/ 8 h 332"/>
                <a:gd name="T12" fmla="*/ 240 w 292"/>
                <a:gd name="T13" fmla="*/ 10 h 332"/>
                <a:gd name="T14" fmla="*/ 244 w 292"/>
                <a:gd name="T15" fmla="*/ 26 h 332"/>
                <a:gd name="T16" fmla="*/ 240 w 292"/>
                <a:gd name="T17" fmla="*/ 44 h 332"/>
                <a:gd name="T18" fmla="*/ 232 w 292"/>
                <a:gd name="T19" fmla="*/ 56 h 332"/>
                <a:gd name="T20" fmla="*/ 232 w 292"/>
                <a:gd name="T21" fmla="*/ 66 h 332"/>
                <a:gd name="T22" fmla="*/ 240 w 292"/>
                <a:gd name="T23" fmla="*/ 78 h 332"/>
                <a:gd name="T24" fmla="*/ 246 w 292"/>
                <a:gd name="T25" fmla="*/ 90 h 332"/>
                <a:gd name="T26" fmla="*/ 254 w 292"/>
                <a:gd name="T27" fmla="*/ 112 h 332"/>
                <a:gd name="T28" fmla="*/ 258 w 292"/>
                <a:gd name="T29" fmla="*/ 130 h 332"/>
                <a:gd name="T30" fmla="*/ 262 w 292"/>
                <a:gd name="T31" fmla="*/ 142 h 332"/>
                <a:gd name="T32" fmla="*/ 262 w 292"/>
                <a:gd name="T33" fmla="*/ 160 h 332"/>
                <a:gd name="T34" fmla="*/ 262 w 292"/>
                <a:gd name="T35" fmla="*/ 180 h 332"/>
                <a:gd name="T36" fmla="*/ 266 w 292"/>
                <a:gd name="T37" fmla="*/ 194 h 332"/>
                <a:gd name="T38" fmla="*/ 266 w 292"/>
                <a:gd name="T39" fmla="*/ 216 h 332"/>
                <a:gd name="T40" fmla="*/ 270 w 292"/>
                <a:gd name="T41" fmla="*/ 232 h 332"/>
                <a:gd name="T42" fmla="*/ 284 w 292"/>
                <a:gd name="T43" fmla="*/ 236 h 332"/>
                <a:gd name="T44" fmla="*/ 288 w 292"/>
                <a:gd name="T45" fmla="*/ 254 h 332"/>
                <a:gd name="T46" fmla="*/ 270 w 292"/>
                <a:gd name="T47" fmla="*/ 270 h 332"/>
                <a:gd name="T48" fmla="*/ 246 w 292"/>
                <a:gd name="T49" fmla="*/ 284 h 332"/>
                <a:gd name="T50" fmla="*/ 228 w 292"/>
                <a:gd name="T51" fmla="*/ 300 h 332"/>
                <a:gd name="T52" fmla="*/ 210 w 292"/>
                <a:gd name="T53" fmla="*/ 320 h 332"/>
                <a:gd name="T54" fmla="*/ 188 w 292"/>
                <a:gd name="T55" fmla="*/ 328 h 332"/>
                <a:gd name="T56" fmla="*/ 170 w 292"/>
                <a:gd name="T57" fmla="*/ 328 h 332"/>
                <a:gd name="T58" fmla="*/ 162 w 292"/>
                <a:gd name="T59" fmla="*/ 314 h 332"/>
                <a:gd name="T60" fmla="*/ 150 w 292"/>
                <a:gd name="T61" fmla="*/ 306 h 332"/>
                <a:gd name="T62" fmla="*/ 142 w 292"/>
                <a:gd name="T63" fmla="*/ 300 h 332"/>
                <a:gd name="T64" fmla="*/ 128 w 292"/>
                <a:gd name="T65" fmla="*/ 284 h 332"/>
                <a:gd name="T66" fmla="*/ 106 w 292"/>
                <a:gd name="T67" fmla="*/ 266 h 332"/>
                <a:gd name="T68" fmla="*/ 80 w 292"/>
                <a:gd name="T69" fmla="*/ 242 h 332"/>
                <a:gd name="T70" fmla="*/ 56 w 292"/>
                <a:gd name="T71" fmla="*/ 224 h 332"/>
                <a:gd name="T72" fmla="*/ 34 w 292"/>
                <a:gd name="T73" fmla="*/ 210 h 332"/>
                <a:gd name="T74" fmla="*/ 20 w 292"/>
                <a:gd name="T75" fmla="*/ 198 h 332"/>
                <a:gd name="T76" fmla="*/ 0 w 292"/>
                <a:gd name="T77" fmla="*/ 180 h 332"/>
                <a:gd name="T78" fmla="*/ 4 w 292"/>
                <a:gd name="T79" fmla="*/ 154 h 332"/>
                <a:gd name="T80" fmla="*/ 16 w 292"/>
                <a:gd name="T81" fmla="*/ 146 h 332"/>
                <a:gd name="T82" fmla="*/ 30 w 292"/>
                <a:gd name="T83" fmla="*/ 142 h 332"/>
                <a:gd name="T84" fmla="*/ 42 w 292"/>
                <a:gd name="T85" fmla="*/ 134 h 332"/>
                <a:gd name="T86" fmla="*/ 54 w 292"/>
                <a:gd name="T87" fmla="*/ 126 h 332"/>
                <a:gd name="T88" fmla="*/ 68 w 292"/>
                <a:gd name="T89" fmla="*/ 116 h 332"/>
                <a:gd name="T90" fmla="*/ 68 w 292"/>
                <a:gd name="T91" fmla="*/ 108 h 332"/>
                <a:gd name="T92" fmla="*/ 76 w 292"/>
                <a:gd name="T93" fmla="*/ 100 h 332"/>
                <a:gd name="T94" fmla="*/ 94 w 292"/>
                <a:gd name="T95" fmla="*/ 94 h 332"/>
                <a:gd name="T96" fmla="*/ 110 w 292"/>
                <a:gd name="T97" fmla="*/ 94 h 332"/>
                <a:gd name="T98" fmla="*/ 106 w 292"/>
                <a:gd name="T99" fmla="*/ 86 h 332"/>
                <a:gd name="T100" fmla="*/ 102 w 292"/>
                <a:gd name="T101" fmla="*/ 66 h 332"/>
                <a:gd name="T102" fmla="*/ 98 w 292"/>
                <a:gd name="T103" fmla="*/ 52 h 332"/>
                <a:gd name="T104" fmla="*/ 94 w 292"/>
                <a:gd name="T105" fmla="*/ 40 h 332"/>
                <a:gd name="T106" fmla="*/ 106 w 292"/>
                <a:gd name="T107" fmla="*/ 34 h 332"/>
                <a:gd name="T108" fmla="*/ 120 w 292"/>
                <a:gd name="T109" fmla="*/ 22 h 332"/>
                <a:gd name="T110" fmla="*/ 132 w 292"/>
                <a:gd name="T111" fmla="*/ 18 h 332"/>
                <a:gd name="T112" fmla="*/ 142 w 292"/>
                <a:gd name="T113" fmla="*/ 10 h 332"/>
                <a:gd name="T114" fmla="*/ 162 w 292"/>
                <a:gd name="T115" fmla="*/ 10 h 332"/>
                <a:gd name="T116" fmla="*/ 176 w 292"/>
                <a:gd name="T117" fmla="*/ 8 h 332"/>
                <a:gd name="T118" fmla="*/ 188 w 292"/>
                <a:gd name="T119" fmla="*/ 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 h="332">
                  <a:moveTo>
                    <a:pt x="188" y="4"/>
                  </a:moveTo>
                  <a:lnTo>
                    <a:pt x="192" y="4"/>
                  </a:lnTo>
                  <a:lnTo>
                    <a:pt x="194" y="8"/>
                  </a:lnTo>
                  <a:lnTo>
                    <a:pt x="198" y="10"/>
                  </a:lnTo>
                  <a:lnTo>
                    <a:pt x="202" y="10"/>
                  </a:lnTo>
                  <a:lnTo>
                    <a:pt x="202" y="8"/>
                  </a:lnTo>
                  <a:lnTo>
                    <a:pt x="206" y="8"/>
                  </a:lnTo>
                  <a:lnTo>
                    <a:pt x="210" y="8"/>
                  </a:lnTo>
                  <a:lnTo>
                    <a:pt x="210" y="4"/>
                  </a:lnTo>
                  <a:lnTo>
                    <a:pt x="214" y="4"/>
                  </a:lnTo>
                  <a:lnTo>
                    <a:pt x="214" y="0"/>
                  </a:lnTo>
                  <a:lnTo>
                    <a:pt x="216" y="0"/>
                  </a:lnTo>
                  <a:lnTo>
                    <a:pt x="216" y="4"/>
                  </a:lnTo>
                  <a:lnTo>
                    <a:pt x="220" y="4"/>
                  </a:lnTo>
                  <a:lnTo>
                    <a:pt x="224" y="4"/>
                  </a:lnTo>
                  <a:lnTo>
                    <a:pt x="228" y="4"/>
                  </a:lnTo>
                  <a:lnTo>
                    <a:pt x="224" y="4"/>
                  </a:lnTo>
                  <a:lnTo>
                    <a:pt x="224" y="0"/>
                  </a:lnTo>
                  <a:lnTo>
                    <a:pt x="228" y="0"/>
                  </a:lnTo>
                  <a:lnTo>
                    <a:pt x="228" y="4"/>
                  </a:lnTo>
                  <a:lnTo>
                    <a:pt x="228" y="0"/>
                  </a:lnTo>
                  <a:lnTo>
                    <a:pt x="228" y="4"/>
                  </a:lnTo>
                  <a:lnTo>
                    <a:pt x="232" y="4"/>
                  </a:lnTo>
                  <a:lnTo>
                    <a:pt x="236" y="4"/>
                  </a:lnTo>
                  <a:lnTo>
                    <a:pt x="236" y="8"/>
                  </a:lnTo>
                  <a:lnTo>
                    <a:pt x="240" y="8"/>
                  </a:lnTo>
                  <a:lnTo>
                    <a:pt x="240" y="4"/>
                  </a:lnTo>
                  <a:lnTo>
                    <a:pt x="244" y="4"/>
                  </a:lnTo>
                  <a:lnTo>
                    <a:pt x="246" y="4"/>
                  </a:lnTo>
                  <a:lnTo>
                    <a:pt x="246" y="8"/>
                  </a:lnTo>
                  <a:lnTo>
                    <a:pt x="244" y="8"/>
                  </a:lnTo>
                  <a:lnTo>
                    <a:pt x="244" y="10"/>
                  </a:lnTo>
                  <a:lnTo>
                    <a:pt x="240" y="10"/>
                  </a:lnTo>
                  <a:lnTo>
                    <a:pt x="240" y="14"/>
                  </a:lnTo>
                  <a:lnTo>
                    <a:pt x="240" y="10"/>
                  </a:lnTo>
                  <a:lnTo>
                    <a:pt x="244" y="14"/>
                  </a:lnTo>
                  <a:lnTo>
                    <a:pt x="244" y="18"/>
                  </a:lnTo>
                  <a:lnTo>
                    <a:pt x="240" y="22"/>
                  </a:lnTo>
                  <a:lnTo>
                    <a:pt x="240" y="26"/>
                  </a:lnTo>
                  <a:lnTo>
                    <a:pt x="244" y="26"/>
                  </a:lnTo>
                  <a:lnTo>
                    <a:pt x="244" y="30"/>
                  </a:lnTo>
                  <a:lnTo>
                    <a:pt x="244" y="34"/>
                  </a:lnTo>
                  <a:lnTo>
                    <a:pt x="244" y="38"/>
                  </a:lnTo>
                  <a:lnTo>
                    <a:pt x="240" y="40"/>
                  </a:lnTo>
                  <a:lnTo>
                    <a:pt x="240" y="44"/>
                  </a:lnTo>
                  <a:lnTo>
                    <a:pt x="240" y="48"/>
                  </a:lnTo>
                  <a:lnTo>
                    <a:pt x="236" y="48"/>
                  </a:lnTo>
                  <a:lnTo>
                    <a:pt x="236" y="52"/>
                  </a:lnTo>
                  <a:lnTo>
                    <a:pt x="236" y="56"/>
                  </a:lnTo>
                  <a:lnTo>
                    <a:pt x="232" y="56"/>
                  </a:lnTo>
                  <a:lnTo>
                    <a:pt x="232" y="60"/>
                  </a:lnTo>
                  <a:lnTo>
                    <a:pt x="228" y="60"/>
                  </a:lnTo>
                  <a:lnTo>
                    <a:pt x="228" y="64"/>
                  </a:lnTo>
                  <a:lnTo>
                    <a:pt x="232" y="64"/>
                  </a:lnTo>
                  <a:lnTo>
                    <a:pt x="232" y="66"/>
                  </a:lnTo>
                  <a:lnTo>
                    <a:pt x="232" y="70"/>
                  </a:lnTo>
                  <a:lnTo>
                    <a:pt x="232" y="74"/>
                  </a:lnTo>
                  <a:lnTo>
                    <a:pt x="236" y="74"/>
                  </a:lnTo>
                  <a:lnTo>
                    <a:pt x="240" y="74"/>
                  </a:lnTo>
                  <a:lnTo>
                    <a:pt x="240" y="78"/>
                  </a:lnTo>
                  <a:lnTo>
                    <a:pt x="240" y="82"/>
                  </a:lnTo>
                  <a:lnTo>
                    <a:pt x="244" y="82"/>
                  </a:lnTo>
                  <a:lnTo>
                    <a:pt x="244" y="86"/>
                  </a:lnTo>
                  <a:lnTo>
                    <a:pt x="244" y="90"/>
                  </a:lnTo>
                  <a:lnTo>
                    <a:pt x="246" y="90"/>
                  </a:lnTo>
                  <a:lnTo>
                    <a:pt x="250" y="94"/>
                  </a:lnTo>
                  <a:lnTo>
                    <a:pt x="250" y="96"/>
                  </a:lnTo>
                  <a:lnTo>
                    <a:pt x="254" y="96"/>
                  </a:lnTo>
                  <a:lnTo>
                    <a:pt x="254" y="104"/>
                  </a:lnTo>
                  <a:lnTo>
                    <a:pt x="254" y="112"/>
                  </a:lnTo>
                  <a:lnTo>
                    <a:pt x="254" y="116"/>
                  </a:lnTo>
                  <a:lnTo>
                    <a:pt x="258" y="120"/>
                  </a:lnTo>
                  <a:lnTo>
                    <a:pt x="258" y="124"/>
                  </a:lnTo>
                  <a:lnTo>
                    <a:pt x="258" y="126"/>
                  </a:lnTo>
                  <a:lnTo>
                    <a:pt x="258" y="130"/>
                  </a:lnTo>
                  <a:lnTo>
                    <a:pt x="254" y="130"/>
                  </a:lnTo>
                  <a:lnTo>
                    <a:pt x="258" y="134"/>
                  </a:lnTo>
                  <a:lnTo>
                    <a:pt x="258" y="138"/>
                  </a:lnTo>
                  <a:lnTo>
                    <a:pt x="262" y="138"/>
                  </a:lnTo>
                  <a:lnTo>
                    <a:pt x="262" y="142"/>
                  </a:lnTo>
                  <a:lnTo>
                    <a:pt x="262" y="146"/>
                  </a:lnTo>
                  <a:lnTo>
                    <a:pt x="262" y="150"/>
                  </a:lnTo>
                  <a:lnTo>
                    <a:pt x="262" y="154"/>
                  </a:lnTo>
                  <a:lnTo>
                    <a:pt x="262" y="156"/>
                  </a:lnTo>
                  <a:lnTo>
                    <a:pt x="262" y="160"/>
                  </a:lnTo>
                  <a:lnTo>
                    <a:pt x="262" y="164"/>
                  </a:lnTo>
                  <a:lnTo>
                    <a:pt x="262" y="168"/>
                  </a:lnTo>
                  <a:lnTo>
                    <a:pt x="266" y="172"/>
                  </a:lnTo>
                  <a:lnTo>
                    <a:pt x="266" y="176"/>
                  </a:lnTo>
                  <a:lnTo>
                    <a:pt x="262" y="180"/>
                  </a:lnTo>
                  <a:lnTo>
                    <a:pt x="262" y="182"/>
                  </a:lnTo>
                  <a:lnTo>
                    <a:pt x="262" y="186"/>
                  </a:lnTo>
                  <a:lnTo>
                    <a:pt x="262" y="190"/>
                  </a:lnTo>
                  <a:lnTo>
                    <a:pt x="266" y="190"/>
                  </a:lnTo>
                  <a:lnTo>
                    <a:pt x="266" y="194"/>
                  </a:lnTo>
                  <a:lnTo>
                    <a:pt x="262" y="198"/>
                  </a:lnTo>
                  <a:lnTo>
                    <a:pt x="258" y="202"/>
                  </a:lnTo>
                  <a:lnTo>
                    <a:pt x="258" y="206"/>
                  </a:lnTo>
                  <a:lnTo>
                    <a:pt x="262" y="212"/>
                  </a:lnTo>
                  <a:lnTo>
                    <a:pt x="266" y="216"/>
                  </a:lnTo>
                  <a:lnTo>
                    <a:pt x="266" y="220"/>
                  </a:lnTo>
                  <a:lnTo>
                    <a:pt x="266" y="224"/>
                  </a:lnTo>
                  <a:lnTo>
                    <a:pt x="266" y="228"/>
                  </a:lnTo>
                  <a:lnTo>
                    <a:pt x="270" y="228"/>
                  </a:lnTo>
                  <a:lnTo>
                    <a:pt x="270" y="232"/>
                  </a:lnTo>
                  <a:lnTo>
                    <a:pt x="272" y="236"/>
                  </a:lnTo>
                  <a:lnTo>
                    <a:pt x="272" y="232"/>
                  </a:lnTo>
                  <a:lnTo>
                    <a:pt x="276" y="232"/>
                  </a:lnTo>
                  <a:lnTo>
                    <a:pt x="280" y="236"/>
                  </a:lnTo>
                  <a:lnTo>
                    <a:pt x="284" y="236"/>
                  </a:lnTo>
                  <a:lnTo>
                    <a:pt x="288" y="236"/>
                  </a:lnTo>
                  <a:lnTo>
                    <a:pt x="292" y="242"/>
                  </a:lnTo>
                  <a:lnTo>
                    <a:pt x="292" y="250"/>
                  </a:lnTo>
                  <a:lnTo>
                    <a:pt x="292" y="254"/>
                  </a:lnTo>
                  <a:lnTo>
                    <a:pt x="288" y="254"/>
                  </a:lnTo>
                  <a:lnTo>
                    <a:pt x="280" y="262"/>
                  </a:lnTo>
                  <a:lnTo>
                    <a:pt x="276" y="262"/>
                  </a:lnTo>
                  <a:lnTo>
                    <a:pt x="276" y="266"/>
                  </a:lnTo>
                  <a:lnTo>
                    <a:pt x="272" y="266"/>
                  </a:lnTo>
                  <a:lnTo>
                    <a:pt x="270" y="270"/>
                  </a:lnTo>
                  <a:lnTo>
                    <a:pt x="266" y="270"/>
                  </a:lnTo>
                  <a:lnTo>
                    <a:pt x="262" y="272"/>
                  </a:lnTo>
                  <a:lnTo>
                    <a:pt x="258" y="276"/>
                  </a:lnTo>
                  <a:lnTo>
                    <a:pt x="250" y="280"/>
                  </a:lnTo>
                  <a:lnTo>
                    <a:pt x="246" y="284"/>
                  </a:lnTo>
                  <a:lnTo>
                    <a:pt x="246" y="288"/>
                  </a:lnTo>
                  <a:lnTo>
                    <a:pt x="240" y="292"/>
                  </a:lnTo>
                  <a:lnTo>
                    <a:pt x="236" y="296"/>
                  </a:lnTo>
                  <a:lnTo>
                    <a:pt x="232" y="296"/>
                  </a:lnTo>
                  <a:lnTo>
                    <a:pt x="228" y="300"/>
                  </a:lnTo>
                  <a:lnTo>
                    <a:pt x="220" y="306"/>
                  </a:lnTo>
                  <a:lnTo>
                    <a:pt x="216" y="310"/>
                  </a:lnTo>
                  <a:lnTo>
                    <a:pt x="216" y="314"/>
                  </a:lnTo>
                  <a:lnTo>
                    <a:pt x="214" y="316"/>
                  </a:lnTo>
                  <a:lnTo>
                    <a:pt x="210" y="320"/>
                  </a:lnTo>
                  <a:lnTo>
                    <a:pt x="206" y="324"/>
                  </a:lnTo>
                  <a:lnTo>
                    <a:pt x="202" y="324"/>
                  </a:lnTo>
                  <a:lnTo>
                    <a:pt x="198" y="324"/>
                  </a:lnTo>
                  <a:lnTo>
                    <a:pt x="194" y="324"/>
                  </a:lnTo>
                  <a:lnTo>
                    <a:pt x="188" y="328"/>
                  </a:lnTo>
                  <a:lnTo>
                    <a:pt x="184" y="328"/>
                  </a:lnTo>
                  <a:lnTo>
                    <a:pt x="180" y="328"/>
                  </a:lnTo>
                  <a:lnTo>
                    <a:pt x="176" y="328"/>
                  </a:lnTo>
                  <a:lnTo>
                    <a:pt x="172" y="332"/>
                  </a:lnTo>
                  <a:lnTo>
                    <a:pt x="170" y="328"/>
                  </a:lnTo>
                  <a:lnTo>
                    <a:pt x="170" y="324"/>
                  </a:lnTo>
                  <a:lnTo>
                    <a:pt x="170" y="320"/>
                  </a:lnTo>
                  <a:lnTo>
                    <a:pt x="170" y="316"/>
                  </a:lnTo>
                  <a:lnTo>
                    <a:pt x="166" y="314"/>
                  </a:lnTo>
                  <a:lnTo>
                    <a:pt x="162" y="314"/>
                  </a:lnTo>
                  <a:lnTo>
                    <a:pt x="158" y="314"/>
                  </a:lnTo>
                  <a:lnTo>
                    <a:pt x="158" y="310"/>
                  </a:lnTo>
                  <a:lnTo>
                    <a:pt x="154" y="310"/>
                  </a:lnTo>
                  <a:lnTo>
                    <a:pt x="150" y="310"/>
                  </a:lnTo>
                  <a:lnTo>
                    <a:pt x="150" y="306"/>
                  </a:lnTo>
                  <a:lnTo>
                    <a:pt x="146" y="306"/>
                  </a:lnTo>
                  <a:lnTo>
                    <a:pt x="146" y="302"/>
                  </a:lnTo>
                  <a:lnTo>
                    <a:pt x="142" y="302"/>
                  </a:lnTo>
                  <a:lnTo>
                    <a:pt x="140" y="300"/>
                  </a:lnTo>
                  <a:lnTo>
                    <a:pt x="142" y="300"/>
                  </a:lnTo>
                  <a:lnTo>
                    <a:pt x="142" y="296"/>
                  </a:lnTo>
                  <a:lnTo>
                    <a:pt x="140" y="296"/>
                  </a:lnTo>
                  <a:lnTo>
                    <a:pt x="136" y="292"/>
                  </a:lnTo>
                  <a:lnTo>
                    <a:pt x="132" y="284"/>
                  </a:lnTo>
                  <a:lnTo>
                    <a:pt x="128" y="284"/>
                  </a:lnTo>
                  <a:lnTo>
                    <a:pt x="124" y="280"/>
                  </a:lnTo>
                  <a:lnTo>
                    <a:pt x="116" y="276"/>
                  </a:lnTo>
                  <a:lnTo>
                    <a:pt x="114" y="272"/>
                  </a:lnTo>
                  <a:lnTo>
                    <a:pt x="110" y="270"/>
                  </a:lnTo>
                  <a:lnTo>
                    <a:pt x="106" y="266"/>
                  </a:lnTo>
                  <a:lnTo>
                    <a:pt x="98" y="262"/>
                  </a:lnTo>
                  <a:lnTo>
                    <a:pt x="94" y="258"/>
                  </a:lnTo>
                  <a:lnTo>
                    <a:pt x="90" y="250"/>
                  </a:lnTo>
                  <a:lnTo>
                    <a:pt x="84" y="246"/>
                  </a:lnTo>
                  <a:lnTo>
                    <a:pt x="80" y="242"/>
                  </a:lnTo>
                  <a:lnTo>
                    <a:pt x="76" y="240"/>
                  </a:lnTo>
                  <a:lnTo>
                    <a:pt x="72" y="236"/>
                  </a:lnTo>
                  <a:lnTo>
                    <a:pt x="64" y="232"/>
                  </a:lnTo>
                  <a:lnTo>
                    <a:pt x="60" y="228"/>
                  </a:lnTo>
                  <a:lnTo>
                    <a:pt x="56" y="224"/>
                  </a:lnTo>
                  <a:lnTo>
                    <a:pt x="54" y="224"/>
                  </a:lnTo>
                  <a:lnTo>
                    <a:pt x="50" y="220"/>
                  </a:lnTo>
                  <a:lnTo>
                    <a:pt x="46" y="216"/>
                  </a:lnTo>
                  <a:lnTo>
                    <a:pt x="42" y="212"/>
                  </a:lnTo>
                  <a:lnTo>
                    <a:pt x="34" y="210"/>
                  </a:lnTo>
                  <a:lnTo>
                    <a:pt x="30" y="206"/>
                  </a:lnTo>
                  <a:lnTo>
                    <a:pt x="28" y="202"/>
                  </a:lnTo>
                  <a:lnTo>
                    <a:pt x="24" y="202"/>
                  </a:lnTo>
                  <a:lnTo>
                    <a:pt x="24" y="198"/>
                  </a:lnTo>
                  <a:lnTo>
                    <a:pt x="20" y="198"/>
                  </a:lnTo>
                  <a:lnTo>
                    <a:pt x="16" y="194"/>
                  </a:lnTo>
                  <a:lnTo>
                    <a:pt x="8" y="190"/>
                  </a:lnTo>
                  <a:lnTo>
                    <a:pt x="8" y="186"/>
                  </a:lnTo>
                  <a:lnTo>
                    <a:pt x="0" y="182"/>
                  </a:lnTo>
                  <a:lnTo>
                    <a:pt x="0" y="180"/>
                  </a:lnTo>
                  <a:lnTo>
                    <a:pt x="0" y="176"/>
                  </a:lnTo>
                  <a:lnTo>
                    <a:pt x="0" y="172"/>
                  </a:lnTo>
                  <a:lnTo>
                    <a:pt x="0" y="156"/>
                  </a:lnTo>
                  <a:lnTo>
                    <a:pt x="4" y="156"/>
                  </a:lnTo>
                  <a:lnTo>
                    <a:pt x="4" y="154"/>
                  </a:lnTo>
                  <a:lnTo>
                    <a:pt x="8" y="154"/>
                  </a:lnTo>
                  <a:lnTo>
                    <a:pt x="8" y="150"/>
                  </a:lnTo>
                  <a:lnTo>
                    <a:pt x="12" y="150"/>
                  </a:lnTo>
                  <a:lnTo>
                    <a:pt x="12" y="146"/>
                  </a:lnTo>
                  <a:lnTo>
                    <a:pt x="16" y="146"/>
                  </a:lnTo>
                  <a:lnTo>
                    <a:pt x="20" y="146"/>
                  </a:lnTo>
                  <a:lnTo>
                    <a:pt x="20" y="142"/>
                  </a:lnTo>
                  <a:lnTo>
                    <a:pt x="24" y="142"/>
                  </a:lnTo>
                  <a:lnTo>
                    <a:pt x="28" y="142"/>
                  </a:lnTo>
                  <a:lnTo>
                    <a:pt x="30" y="142"/>
                  </a:lnTo>
                  <a:lnTo>
                    <a:pt x="30" y="138"/>
                  </a:lnTo>
                  <a:lnTo>
                    <a:pt x="34" y="138"/>
                  </a:lnTo>
                  <a:lnTo>
                    <a:pt x="38" y="138"/>
                  </a:lnTo>
                  <a:lnTo>
                    <a:pt x="42" y="138"/>
                  </a:lnTo>
                  <a:lnTo>
                    <a:pt x="42" y="134"/>
                  </a:lnTo>
                  <a:lnTo>
                    <a:pt x="46" y="134"/>
                  </a:lnTo>
                  <a:lnTo>
                    <a:pt x="50" y="134"/>
                  </a:lnTo>
                  <a:lnTo>
                    <a:pt x="50" y="130"/>
                  </a:lnTo>
                  <a:lnTo>
                    <a:pt x="54" y="130"/>
                  </a:lnTo>
                  <a:lnTo>
                    <a:pt x="54" y="126"/>
                  </a:lnTo>
                  <a:lnTo>
                    <a:pt x="54" y="124"/>
                  </a:lnTo>
                  <a:lnTo>
                    <a:pt x="56" y="124"/>
                  </a:lnTo>
                  <a:lnTo>
                    <a:pt x="60" y="124"/>
                  </a:lnTo>
                  <a:lnTo>
                    <a:pt x="64" y="120"/>
                  </a:lnTo>
                  <a:lnTo>
                    <a:pt x="68" y="116"/>
                  </a:lnTo>
                  <a:lnTo>
                    <a:pt x="72" y="116"/>
                  </a:lnTo>
                  <a:lnTo>
                    <a:pt x="72" y="112"/>
                  </a:lnTo>
                  <a:lnTo>
                    <a:pt x="68" y="112"/>
                  </a:lnTo>
                  <a:lnTo>
                    <a:pt x="72" y="108"/>
                  </a:lnTo>
                  <a:lnTo>
                    <a:pt x="68" y="108"/>
                  </a:lnTo>
                  <a:lnTo>
                    <a:pt x="68" y="104"/>
                  </a:lnTo>
                  <a:lnTo>
                    <a:pt x="72" y="100"/>
                  </a:lnTo>
                  <a:lnTo>
                    <a:pt x="72" y="104"/>
                  </a:lnTo>
                  <a:lnTo>
                    <a:pt x="76" y="104"/>
                  </a:lnTo>
                  <a:lnTo>
                    <a:pt x="76" y="100"/>
                  </a:lnTo>
                  <a:lnTo>
                    <a:pt x="80" y="100"/>
                  </a:lnTo>
                  <a:lnTo>
                    <a:pt x="84" y="100"/>
                  </a:lnTo>
                  <a:lnTo>
                    <a:pt x="84" y="96"/>
                  </a:lnTo>
                  <a:lnTo>
                    <a:pt x="90" y="94"/>
                  </a:lnTo>
                  <a:lnTo>
                    <a:pt x="94" y="94"/>
                  </a:lnTo>
                  <a:lnTo>
                    <a:pt x="98" y="94"/>
                  </a:lnTo>
                  <a:lnTo>
                    <a:pt x="102" y="94"/>
                  </a:lnTo>
                  <a:lnTo>
                    <a:pt x="106" y="94"/>
                  </a:lnTo>
                  <a:lnTo>
                    <a:pt x="106" y="96"/>
                  </a:lnTo>
                  <a:lnTo>
                    <a:pt x="110" y="94"/>
                  </a:lnTo>
                  <a:lnTo>
                    <a:pt x="106" y="94"/>
                  </a:lnTo>
                  <a:lnTo>
                    <a:pt x="106" y="90"/>
                  </a:lnTo>
                  <a:lnTo>
                    <a:pt x="110" y="90"/>
                  </a:lnTo>
                  <a:lnTo>
                    <a:pt x="110" y="86"/>
                  </a:lnTo>
                  <a:lnTo>
                    <a:pt x="106" y="86"/>
                  </a:lnTo>
                  <a:lnTo>
                    <a:pt x="106" y="82"/>
                  </a:lnTo>
                  <a:lnTo>
                    <a:pt x="102" y="78"/>
                  </a:lnTo>
                  <a:lnTo>
                    <a:pt x="102" y="74"/>
                  </a:lnTo>
                  <a:lnTo>
                    <a:pt x="102" y="70"/>
                  </a:lnTo>
                  <a:lnTo>
                    <a:pt x="102" y="66"/>
                  </a:lnTo>
                  <a:lnTo>
                    <a:pt x="98" y="64"/>
                  </a:lnTo>
                  <a:lnTo>
                    <a:pt x="102" y="64"/>
                  </a:lnTo>
                  <a:lnTo>
                    <a:pt x="102" y="60"/>
                  </a:lnTo>
                  <a:lnTo>
                    <a:pt x="98" y="56"/>
                  </a:lnTo>
                  <a:lnTo>
                    <a:pt x="98" y="52"/>
                  </a:lnTo>
                  <a:lnTo>
                    <a:pt x="102" y="52"/>
                  </a:lnTo>
                  <a:lnTo>
                    <a:pt x="98" y="52"/>
                  </a:lnTo>
                  <a:lnTo>
                    <a:pt x="98" y="48"/>
                  </a:lnTo>
                  <a:lnTo>
                    <a:pt x="98" y="44"/>
                  </a:lnTo>
                  <a:lnTo>
                    <a:pt x="94" y="40"/>
                  </a:lnTo>
                  <a:lnTo>
                    <a:pt x="98" y="40"/>
                  </a:lnTo>
                  <a:lnTo>
                    <a:pt x="98" y="38"/>
                  </a:lnTo>
                  <a:lnTo>
                    <a:pt x="102" y="38"/>
                  </a:lnTo>
                  <a:lnTo>
                    <a:pt x="102" y="34"/>
                  </a:lnTo>
                  <a:lnTo>
                    <a:pt x="106" y="34"/>
                  </a:lnTo>
                  <a:lnTo>
                    <a:pt x="106" y="30"/>
                  </a:lnTo>
                  <a:lnTo>
                    <a:pt x="110" y="30"/>
                  </a:lnTo>
                  <a:lnTo>
                    <a:pt x="114" y="26"/>
                  </a:lnTo>
                  <a:lnTo>
                    <a:pt x="116" y="26"/>
                  </a:lnTo>
                  <a:lnTo>
                    <a:pt x="120" y="22"/>
                  </a:lnTo>
                  <a:lnTo>
                    <a:pt x="120" y="26"/>
                  </a:lnTo>
                  <a:lnTo>
                    <a:pt x="124" y="26"/>
                  </a:lnTo>
                  <a:lnTo>
                    <a:pt x="124" y="22"/>
                  </a:lnTo>
                  <a:lnTo>
                    <a:pt x="128" y="18"/>
                  </a:lnTo>
                  <a:lnTo>
                    <a:pt x="132" y="18"/>
                  </a:lnTo>
                  <a:lnTo>
                    <a:pt x="132" y="14"/>
                  </a:lnTo>
                  <a:lnTo>
                    <a:pt x="136" y="14"/>
                  </a:lnTo>
                  <a:lnTo>
                    <a:pt x="140" y="14"/>
                  </a:lnTo>
                  <a:lnTo>
                    <a:pt x="140" y="10"/>
                  </a:lnTo>
                  <a:lnTo>
                    <a:pt x="142" y="10"/>
                  </a:lnTo>
                  <a:lnTo>
                    <a:pt x="146" y="10"/>
                  </a:lnTo>
                  <a:lnTo>
                    <a:pt x="150" y="10"/>
                  </a:lnTo>
                  <a:lnTo>
                    <a:pt x="154" y="10"/>
                  </a:lnTo>
                  <a:lnTo>
                    <a:pt x="158" y="10"/>
                  </a:lnTo>
                  <a:lnTo>
                    <a:pt x="162" y="10"/>
                  </a:lnTo>
                  <a:lnTo>
                    <a:pt x="166" y="10"/>
                  </a:lnTo>
                  <a:lnTo>
                    <a:pt x="166" y="8"/>
                  </a:lnTo>
                  <a:lnTo>
                    <a:pt x="170" y="8"/>
                  </a:lnTo>
                  <a:lnTo>
                    <a:pt x="172" y="8"/>
                  </a:lnTo>
                  <a:lnTo>
                    <a:pt x="176" y="8"/>
                  </a:lnTo>
                  <a:lnTo>
                    <a:pt x="176" y="4"/>
                  </a:lnTo>
                  <a:lnTo>
                    <a:pt x="180" y="4"/>
                  </a:lnTo>
                  <a:lnTo>
                    <a:pt x="184" y="4"/>
                  </a:lnTo>
                  <a:lnTo>
                    <a:pt x="188" y="4"/>
                  </a:lnTo>
                  <a:lnTo>
                    <a:pt x="188" y="4"/>
                  </a:lnTo>
                  <a:lnTo>
                    <a:pt x="188" y="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35" name="Freeform 128"/>
            <p:cNvSpPr>
              <a:spLocks noEditPoints="1"/>
            </p:cNvSpPr>
            <p:nvPr/>
          </p:nvSpPr>
          <p:spPr bwMode="auto">
            <a:xfrm>
              <a:off x="7145785" y="4210131"/>
              <a:ext cx="108013" cy="154295"/>
            </a:xfrm>
            <a:custGeom>
              <a:avLst/>
              <a:gdLst>
                <a:gd name="T0" fmla="*/ 10 w 172"/>
                <a:gd name="T1" fmla="*/ 12 h 236"/>
                <a:gd name="T2" fmla="*/ 4 w 172"/>
                <a:gd name="T3" fmla="*/ 22 h 236"/>
                <a:gd name="T4" fmla="*/ 4 w 172"/>
                <a:gd name="T5" fmla="*/ 8 h 236"/>
                <a:gd name="T6" fmla="*/ 14 w 172"/>
                <a:gd name="T7" fmla="*/ 0 h 236"/>
                <a:gd name="T8" fmla="*/ 18 w 172"/>
                <a:gd name="T9" fmla="*/ 4 h 236"/>
                <a:gd name="T10" fmla="*/ 152 w 172"/>
                <a:gd name="T11" fmla="*/ 232 h 236"/>
                <a:gd name="T12" fmla="*/ 134 w 172"/>
                <a:gd name="T13" fmla="*/ 232 h 236"/>
                <a:gd name="T14" fmla="*/ 122 w 172"/>
                <a:gd name="T15" fmla="*/ 232 h 236"/>
                <a:gd name="T16" fmla="*/ 108 w 172"/>
                <a:gd name="T17" fmla="*/ 232 h 236"/>
                <a:gd name="T18" fmla="*/ 96 w 172"/>
                <a:gd name="T19" fmla="*/ 228 h 236"/>
                <a:gd name="T20" fmla="*/ 82 w 172"/>
                <a:gd name="T21" fmla="*/ 224 h 236"/>
                <a:gd name="T22" fmla="*/ 52 w 172"/>
                <a:gd name="T23" fmla="*/ 224 h 236"/>
                <a:gd name="T24" fmla="*/ 34 w 172"/>
                <a:gd name="T25" fmla="*/ 224 h 236"/>
                <a:gd name="T26" fmla="*/ 22 w 172"/>
                <a:gd name="T27" fmla="*/ 216 h 236"/>
                <a:gd name="T28" fmla="*/ 8 w 172"/>
                <a:gd name="T29" fmla="*/ 220 h 236"/>
                <a:gd name="T30" fmla="*/ 0 w 172"/>
                <a:gd name="T31" fmla="*/ 212 h 236"/>
                <a:gd name="T32" fmla="*/ 0 w 172"/>
                <a:gd name="T33" fmla="*/ 198 h 236"/>
                <a:gd name="T34" fmla="*/ 4 w 172"/>
                <a:gd name="T35" fmla="*/ 182 h 236"/>
                <a:gd name="T36" fmla="*/ 8 w 172"/>
                <a:gd name="T37" fmla="*/ 168 h 236"/>
                <a:gd name="T38" fmla="*/ 8 w 172"/>
                <a:gd name="T39" fmla="*/ 154 h 236"/>
                <a:gd name="T40" fmla="*/ 14 w 172"/>
                <a:gd name="T41" fmla="*/ 146 h 236"/>
                <a:gd name="T42" fmla="*/ 18 w 172"/>
                <a:gd name="T43" fmla="*/ 142 h 236"/>
                <a:gd name="T44" fmla="*/ 26 w 172"/>
                <a:gd name="T45" fmla="*/ 130 h 236"/>
                <a:gd name="T46" fmla="*/ 26 w 172"/>
                <a:gd name="T47" fmla="*/ 116 h 236"/>
                <a:gd name="T48" fmla="*/ 22 w 172"/>
                <a:gd name="T49" fmla="*/ 100 h 236"/>
                <a:gd name="T50" fmla="*/ 18 w 172"/>
                <a:gd name="T51" fmla="*/ 90 h 236"/>
                <a:gd name="T52" fmla="*/ 18 w 172"/>
                <a:gd name="T53" fmla="*/ 74 h 236"/>
                <a:gd name="T54" fmla="*/ 18 w 172"/>
                <a:gd name="T55" fmla="*/ 74 h 236"/>
                <a:gd name="T56" fmla="*/ 22 w 172"/>
                <a:gd name="T57" fmla="*/ 64 h 236"/>
                <a:gd name="T58" fmla="*/ 14 w 172"/>
                <a:gd name="T59" fmla="*/ 52 h 236"/>
                <a:gd name="T60" fmla="*/ 10 w 172"/>
                <a:gd name="T61" fmla="*/ 42 h 236"/>
                <a:gd name="T62" fmla="*/ 4 w 172"/>
                <a:gd name="T63" fmla="*/ 26 h 236"/>
                <a:gd name="T64" fmla="*/ 14 w 172"/>
                <a:gd name="T65" fmla="*/ 22 h 236"/>
                <a:gd name="T66" fmla="*/ 22 w 172"/>
                <a:gd name="T67" fmla="*/ 22 h 236"/>
                <a:gd name="T68" fmla="*/ 34 w 172"/>
                <a:gd name="T69" fmla="*/ 26 h 236"/>
                <a:gd name="T70" fmla="*/ 56 w 172"/>
                <a:gd name="T71" fmla="*/ 22 h 236"/>
                <a:gd name="T72" fmla="*/ 66 w 172"/>
                <a:gd name="T73" fmla="*/ 26 h 236"/>
                <a:gd name="T74" fmla="*/ 70 w 172"/>
                <a:gd name="T75" fmla="*/ 42 h 236"/>
                <a:gd name="T76" fmla="*/ 74 w 172"/>
                <a:gd name="T77" fmla="*/ 52 h 236"/>
                <a:gd name="T78" fmla="*/ 82 w 172"/>
                <a:gd name="T79" fmla="*/ 64 h 236"/>
                <a:gd name="T80" fmla="*/ 90 w 172"/>
                <a:gd name="T81" fmla="*/ 60 h 236"/>
                <a:gd name="T82" fmla="*/ 108 w 172"/>
                <a:gd name="T83" fmla="*/ 60 h 236"/>
                <a:gd name="T84" fmla="*/ 108 w 172"/>
                <a:gd name="T85" fmla="*/ 52 h 236"/>
                <a:gd name="T86" fmla="*/ 120 w 172"/>
                <a:gd name="T87" fmla="*/ 44 h 236"/>
                <a:gd name="T88" fmla="*/ 122 w 172"/>
                <a:gd name="T89" fmla="*/ 48 h 236"/>
                <a:gd name="T90" fmla="*/ 142 w 172"/>
                <a:gd name="T91" fmla="*/ 52 h 236"/>
                <a:gd name="T92" fmla="*/ 142 w 172"/>
                <a:gd name="T93" fmla="*/ 68 h 236"/>
                <a:gd name="T94" fmla="*/ 142 w 172"/>
                <a:gd name="T95" fmla="*/ 82 h 236"/>
                <a:gd name="T96" fmla="*/ 146 w 172"/>
                <a:gd name="T97" fmla="*/ 98 h 236"/>
                <a:gd name="T98" fmla="*/ 146 w 172"/>
                <a:gd name="T99" fmla="*/ 108 h 236"/>
                <a:gd name="T100" fmla="*/ 150 w 172"/>
                <a:gd name="T101" fmla="*/ 112 h 236"/>
                <a:gd name="T102" fmla="*/ 164 w 172"/>
                <a:gd name="T103" fmla="*/ 112 h 236"/>
                <a:gd name="T104" fmla="*/ 172 w 172"/>
                <a:gd name="T105" fmla="*/ 112 h 236"/>
                <a:gd name="T106" fmla="*/ 172 w 172"/>
                <a:gd name="T107" fmla="*/ 126 h 236"/>
                <a:gd name="T108" fmla="*/ 172 w 172"/>
                <a:gd name="T109" fmla="*/ 146 h 236"/>
                <a:gd name="T110" fmla="*/ 156 w 172"/>
                <a:gd name="T111" fmla="*/ 146 h 236"/>
                <a:gd name="T112" fmla="*/ 142 w 172"/>
                <a:gd name="T113" fmla="*/ 160 h 236"/>
                <a:gd name="T114" fmla="*/ 142 w 172"/>
                <a:gd name="T115" fmla="*/ 180 h 236"/>
                <a:gd name="T116" fmla="*/ 146 w 172"/>
                <a:gd name="T117" fmla="*/ 202 h 236"/>
                <a:gd name="T118" fmla="*/ 150 w 172"/>
                <a:gd name="T119" fmla="*/ 212 h 236"/>
                <a:gd name="T120" fmla="*/ 164 w 172"/>
                <a:gd name="T121" fmla="*/ 22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2" h="236">
                  <a:moveTo>
                    <a:pt x="18" y="4"/>
                  </a:moveTo>
                  <a:lnTo>
                    <a:pt x="14" y="4"/>
                  </a:lnTo>
                  <a:lnTo>
                    <a:pt x="10" y="8"/>
                  </a:lnTo>
                  <a:lnTo>
                    <a:pt x="10" y="12"/>
                  </a:lnTo>
                  <a:lnTo>
                    <a:pt x="10" y="14"/>
                  </a:lnTo>
                  <a:lnTo>
                    <a:pt x="10" y="22"/>
                  </a:lnTo>
                  <a:lnTo>
                    <a:pt x="8" y="22"/>
                  </a:lnTo>
                  <a:lnTo>
                    <a:pt x="4" y="22"/>
                  </a:lnTo>
                  <a:lnTo>
                    <a:pt x="4" y="18"/>
                  </a:lnTo>
                  <a:lnTo>
                    <a:pt x="4" y="14"/>
                  </a:lnTo>
                  <a:lnTo>
                    <a:pt x="4" y="12"/>
                  </a:lnTo>
                  <a:lnTo>
                    <a:pt x="4" y="8"/>
                  </a:lnTo>
                  <a:lnTo>
                    <a:pt x="4" y="4"/>
                  </a:lnTo>
                  <a:lnTo>
                    <a:pt x="8" y="4"/>
                  </a:lnTo>
                  <a:lnTo>
                    <a:pt x="10" y="0"/>
                  </a:lnTo>
                  <a:lnTo>
                    <a:pt x="14" y="0"/>
                  </a:lnTo>
                  <a:lnTo>
                    <a:pt x="14" y="4"/>
                  </a:lnTo>
                  <a:lnTo>
                    <a:pt x="18" y="4"/>
                  </a:lnTo>
                  <a:lnTo>
                    <a:pt x="18" y="4"/>
                  </a:lnTo>
                  <a:lnTo>
                    <a:pt x="18" y="4"/>
                  </a:lnTo>
                  <a:close/>
                  <a:moveTo>
                    <a:pt x="164" y="228"/>
                  </a:moveTo>
                  <a:lnTo>
                    <a:pt x="160" y="228"/>
                  </a:lnTo>
                  <a:lnTo>
                    <a:pt x="156" y="228"/>
                  </a:lnTo>
                  <a:lnTo>
                    <a:pt x="152" y="232"/>
                  </a:lnTo>
                  <a:lnTo>
                    <a:pt x="150" y="232"/>
                  </a:lnTo>
                  <a:lnTo>
                    <a:pt x="142" y="232"/>
                  </a:lnTo>
                  <a:lnTo>
                    <a:pt x="134" y="236"/>
                  </a:lnTo>
                  <a:lnTo>
                    <a:pt x="134" y="232"/>
                  </a:lnTo>
                  <a:lnTo>
                    <a:pt x="130" y="232"/>
                  </a:lnTo>
                  <a:lnTo>
                    <a:pt x="126" y="236"/>
                  </a:lnTo>
                  <a:lnTo>
                    <a:pt x="122" y="236"/>
                  </a:lnTo>
                  <a:lnTo>
                    <a:pt x="122" y="232"/>
                  </a:lnTo>
                  <a:lnTo>
                    <a:pt x="120" y="232"/>
                  </a:lnTo>
                  <a:lnTo>
                    <a:pt x="116" y="232"/>
                  </a:lnTo>
                  <a:lnTo>
                    <a:pt x="112" y="232"/>
                  </a:lnTo>
                  <a:lnTo>
                    <a:pt x="108" y="232"/>
                  </a:lnTo>
                  <a:lnTo>
                    <a:pt x="104" y="232"/>
                  </a:lnTo>
                  <a:lnTo>
                    <a:pt x="100" y="232"/>
                  </a:lnTo>
                  <a:lnTo>
                    <a:pt x="96" y="232"/>
                  </a:lnTo>
                  <a:lnTo>
                    <a:pt x="96" y="228"/>
                  </a:lnTo>
                  <a:lnTo>
                    <a:pt x="94" y="224"/>
                  </a:lnTo>
                  <a:lnTo>
                    <a:pt x="90" y="224"/>
                  </a:lnTo>
                  <a:lnTo>
                    <a:pt x="86" y="224"/>
                  </a:lnTo>
                  <a:lnTo>
                    <a:pt x="82" y="224"/>
                  </a:lnTo>
                  <a:lnTo>
                    <a:pt x="78" y="224"/>
                  </a:lnTo>
                  <a:lnTo>
                    <a:pt x="66" y="224"/>
                  </a:lnTo>
                  <a:lnTo>
                    <a:pt x="60" y="224"/>
                  </a:lnTo>
                  <a:lnTo>
                    <a:pt x="52" y="224"/>
                  </a:lnTo>
                  <a:lnTo>
                    <a:pt x="44" y="224"/>
                  </a:lnTo>
                  <a:lnTo>
                    <a:pt x="40" y="224"/>
                  </a:lnTo>
                  <a:lnTo>
                    <a:pt x="38" y="224"/>
                  </a:lnTo>
                  <a:lnTo>
                    <a:pt x="34" y="224"/>
                  </a:lnTo>
                  <a:lnTo>
                    <a:pt x="30" y="224"/>
                  </a:lnTo>
                  <a:lnTo>
                    <a:pt x="30" y="220"/>
                  </a:lnTo>
                  <a:lnTo>
                    <a:pt x="26" y="220"/>
                  </a:lnTo>
                  <a:lnTo>
                    <a:pt x="22" y="216"/>
                  </a:lnTo>
                  <a:lnTo>
                    <a:pt x="18" y="216"/>
                  </a:lnTo>
                  <a:lnTo>
                    <a:pt x="14" y="216"/>
                  </a:lnTo>
                  <a:lnTo>
                    <a:pt x="10" y="220"/>
                  </a:lnTo>
                  <a:lnTo>
                    <a:pt x="8" y="220"/>
                  </a:lnTo>
                  <a:lnTo>
                    <a:pt x="4" y="220"/>
                  </a:lnTo>
                  <a:lnTo>
                    <a:pt x="0" y="220"/>
                  </a:lnTo>
                  <a:lnTo>
                    <a:pt x="0" y="216"/>
                  </a:lnTo>
                  <a:lnTo>
                    <a:pt x="0" y="212"/>
                  </a:lnTo>
                  <a:lnTo>
                    <a:pt x="0" y="210"/>
                  </a:lnTo>
                  <a:lnTo>
                    <a:pt x="0" y="206"/>
                  </a:lnTo>
                  <a:lnTo>
                    <a:pt x="0" y="202"/>
                  </a:lnTo>
                  <a:lnTo>
                    <a:pt x="0" y="198"/>
                  </a:lnTo>
                  <a:lnTo>
                    <a:pt x="0" y="194"/>
                  </a:lnTo>
                  <a:lnTo>
                    <a:pt x="4" y="190"/>
                  </a:lnTo>
                  <a:lnTo>
                    <a:pt x="4" y="186"/>
                  </a:lnTo>
                  <a:lnTo>
                    <a:pt x="4" y="182"/>
                  </a:lnTo>
                  <a:lnTo>
                    <a:pt x="4" y="180"/>
                  </a:lnTo>
                  <a:lnTo>
                    <a:pt x="8" y="176"/>
                  </a:lnTo>
                  <a:lnTo>
                    <a:pt x="8" y="172"/>
                  </a:lnTo>
                  <a:lnTo>
                    <a:pt x="8" y="168"/>
                  </a:lnTo>
                  <a:lnTo>
                    <a:pt x="8" y="164"/>
                  </a:lnTo>
                  <a:lnTo>
                    <a:pt x="8" y="160"/>
                  </a:lnTo>
                  <a:lnTo>
                    <a:pt x="10" y="156"/>
                  </a:lnTo>
                  <a:lnTo>
                    <a:pt x="8" y="154"/>
                  </a:lnTo>
                  <a:lnTo>
                    <a:pt x="10" y="154"/>
                  </a:lnTo>
                  <a:lnTo>
                    <a:pt x="10" y="150"/>
                  </a:lnTo>
                  <a:lnTo>
                    <a:pt x="14" y="150"/>
                  </a:lnTo>
                  <a:lnTo>
                    <a:pt x="14" y="146"/>
                  </a:lnTo>
                  <a:lnTo>
                    <a:pt x="14" y="142"/>
                  </a:lnTo>
                  <a:lnTo>
                    <a:pt x="18" y="142"/>
                  </a:lnTo>
                  <a:lnTo>
                    <a:pt x="18" y="138"/>
                  </a:lnTo>
                  <a:lnTo>
                    <a:pt x="18" y="142"/>
                  </a:lnTo>
                  <a:lnTo>
                    <a:pt x="22" y="138"/>
                  </a:lnTo>
                  <a:lnTo>
                    <a:pt x="22" y="134"/>
                  </a:lnTo>
                  <a:lnTo>
                    <a:pt x="26" y="134"/>
                  </a:lnTo>
                  <a:lnTo>
                    <a:pt x="26" y="130"/>
                  </a:lnTo>
                  <a:lnTo>
                    <a:pt x="26" y="126"/>
                  </a:lnTo>
                  <a:lnTo>
                    <a:pt x="26" y="124"/>
                  </a:lnTo>
                  <a:lnTo>
                    <a:pt x="26" y="120"/>
                  </a:lnTo>
                  <a:lnTo>
                    <a:pt x="26" y="116"/>
                  </a:lnTo>
                  <a:lnTo>
                    <a:pt x="30" y="112"/>
                  </a:lnTo>
                  <a:lnTo>
                    <a:pt x="26" y="108"/>
                  </a:lnTo>
                  <a:lnTo>
                    <a:pt x="26" y="104"/>
                  </a:lnTo>
                  <a:lnTo>
                    <a:pt x="22" y="100"/>
                  </a:lnTo>
                  <a:lnTo>
                    <a:pt x="22" y="98"/>
                  </a:lnTo>
                  <a:lnTo>
                    <a:pt x="22" y="94"/>
                  </a:lnTo>
                  <a:lnTo>
                    <a:pt x="18" y="94"/>
                  </a:lnTo>
                  <a:lnTo>
                    <a:pt x="18" y="90"/>
                  </a:lnTo>
                  <a:lnTo>
                    <a:pt x="18" y="86"/>
                  </a:lnTo>
                  <a:lnTo>
                    <a:pt x="18" y="82"/>
                  </a:lnTo>
                  <a:lnTo>
                    <a:pt x="14" y="78"/>
                  </a:lnTo>
                  <a:lnTo>
                    <a:pt x="18" y="74"/>
                  </a:lnTo>
                  <a:lnTo>
                    <a:pt x="18" y="78"/>
                  </a:lnTo>
                  <a:lnTo>
                    <a:pt x="14" y="78"/>
                  </a:lnTo>
                  <a:lnTo>
                    <a:pt x="18" y="78"/>
                  </a:lnTo>
                  <a:lnTo>
                    <a:pt x="18" y="74"/>
                  </a:lnTo>
                  <a:lnTo>
                    <a:pt x="22" y="74"/>
                  </a:lnTo>
                  <a:lnTo>
                    <a:pt x="22" y="70"/>
                  </a:lnTo>
                  <a:lnTo>
                    <a:pt x="22" y="68"/>
                  </a:lnTo>
                  <a:lnTo>
                    <a:pt x="22" y="64"/>
                  </a:lnTo>
                  <a:lnTo>
                    <a:pt x="18" y="64"/>
                  </a:lnTo>
                  <a:lnTo>
                    <a:pt x="18" y="60"/>
                  </a:lnTo>
                  <a:lnTo>
                    <a:pt x="18" y="56"/>
                  </a:lnTo>
                  <a:lnTo>
                    <a:pt x="14" y="52"/>
                  </a:lnTo>
                  <a:lnTo>
                    <a:pt x="14" y="48"/>
                  </a:lnTo>
                  <a:lnTo>
                    <a:pt x="14" y="44"/>
                  </a:lnTo>
                  <a:lnTo>
                    <a:pt x="14" y="42"/>
                  </a:lnTo>
                  <a:lnTo>
                    <a:pt x="10" y="42"/>
                  </a:lnTo>
                  <a:lnTo>
                    <a:pt x="10" y="38"/>
                  </a:lnTo>
                  <a:lnTo>
                    <a:pt x="8" y="34"/>
                  </a:lnTo>
                  <a:lnTo>
                    <a:pt x="8" y="30"/>
                  </a:lnTo>
                  <a:lnTo>
                    <a:pt x="4" y="26"/>
                  </a:lnTo>
                  <a:lnTo>
                    <a:pt x="8" y="26"/>
                  </a:lnTo>
                  <a:lnTo>
                    <a:pt x="10" y="26"/>
                  </a:lnTo>
                  <a:lnTo>
                    <a:pt x="14" y="26"/>
                  </a:lnTo>
                  <a:lnTo>
                    <a:pt x="14" y="22"/>
                  </a:lnTo>
                  <a:lnTo>
                    <a:pt x="18" y="22"/>
                  </a:lnTo>
                  <a:lnTo>
                    <a:pt x="18" y="26"/>
                  </a:lnTo>
                  <a:lnTo>
                    <a:pt x="18" y="22"/>
                  </a:lnTo>
                  <a:lnTo>
                    <a:pt x="22" y="22"/>
                  </a:lnTo>
                  <a:lnTo>
                    <a:pt x="26" y="22"/>
                  </a:lnTo>
                  <a:lnTo>
                    <a:pt x="30" y="22"/>
                  </a:lnTo>
                  <a:lnTo>
                    <a:pt x="34" y="22"/>
                  </a:lnTo>
                  <a:lnTo>
                    <a:pt x="34" y="26"/>
                  </a:lnTo>
                  <a:lnTo>
                    <a:pt x="38" y="26"/>
                  </a:lnTo>
                  <a:lnTo>
                    <a:pt x="40" y="22"/>
                  </a:lnTo>
                  <a:lnTo>
                    <a:pt x="44" y="22"/>
                  </a:lnTo>
                  <a:lnTo>
                    <a:pt x="56" y="22"/>
                  </a:lnTo>
                  <a:lnTo>
                    <a:pt x="60" y="22"/>
                  </a:lnTo>
                  <a:lnTo>
                    <a:pt x="64" y="22"/>
                  </a:lnTo>
                  <a:lnTo>
                    <a:pt x="66" y="22"/>
                  </a:lnTo>
                  <a:lnTo>
                    <a:pt x="66" y="26"/>
                  </a:lnTo>
                  <a:lnTo>
                    <a:pt x="66" y="30"/>
                  </a:lnTo>
                  <a:lnTo>
                    <a:pt x="66" y="34"/>
                  </a:lnTo>
                  <a:lnTo>
                    <a:pt x="70" y="38"/>
                  </a:lnTo>
                  <a:lnTo>
                    <a:pt x="70" y="42"/>
                  </a:lnTo>
                  <a:lnTo>
                    <a:pt x="70" y="44"/>
                  </a:lnTo>
                  <a:lnTo>
                    <a:pt x="70" y="48"/>
                  </a:lnTo>
                  <a:lnTo>
                    <a:pt x="74" y="48"/>
                  </a:lnTo>
                  <a:lnTo>
                    <a:pt x="74" y="52"/>
                  </a:lnTo>
                  <a:lnTo>
                    <a:pt x="78" y="56"/>
                  </a:lnTo>
                  <a:lnTo>
                    <a:pt x="78" y="60"/>
                  </a:lnTo>
                  <a:lnTo>
                    <a:pt x="82" y="60"/>
                  </a:lnTo>
                  <a:lnTo>
                    <a:pt x="82" y="64"/>
                  </a:lnTo>
                  <a:lnTo>
                    <a:pt x="86" y="60"/>
                  </a:lnTo>
                  <a:lnTo>
                    <a:pt x="86" y="64"/>
                  </a:lnTo>
                  <a:lnTo>
                    <a:pt x="90" y="64"/>
                  </a:lnTo>
                  <a:lnTo>
                    <a:pt x="90" y="60"/>
                  </a:lnTo>
                  <a:lnTo>
                    <a:pt x="94" y="60"/>
                  </a:lnTo>
                  <a:lnTo>
                    <a:pt x="96" y="60"/>
                  </a:lnTo>
                  <a:lnTo>
                    <a:pt x="100" y="60"/>
                  </a:lnTo>
                  <a:lnTo>
                    <a:pt x="108" y="60"/>
                  </a:lnTo>
                  <a:lnTo>
                    <a:pt x="104" y="60"/>
                  </a:lnTo>
                  <a:lnTo>
                    <a:pt x="104" y="56"/>
                  </a:lnTo>
                  <a:lnTo>
                    <a:pt x="108" y="56"/>
                  </a:lnTo>
                  <a:lnTo>
                    <a:pt x="108" y="52"/>
                  </a:lnTo>
                  <a:lnTo>
                    <a:pt x="108" y="48"/>
                  </a:lnTo>
                  <a:lnTo>
                    <a:pt x="108" y="44"/>
                  </a:lnTo>
                  <a:lnTo>
                    <a:pt x="116" y="44"/>
                  </a:lnTo>
                  <a:lnTo>
                    <a:pt x="120" y="44"/>
                  </a:lnTo>
                  <a:lnTo>
                    <a:pt x="120" y="42"/>
                  </a:lnTo>
                  <a:lnTo>
                    <a:pt x="122" y="42"/>
                  </a:lnTo>
                  <a:lnTo>
                    <a:pt x="122" y="44"/>
                  </a:lnTo>
                  <a:lnTo>
                    <a:pt x="122" y="48"/>
                  </a:lnTo>
                  <a:lnTo>
                    <a:pt x="130" y="48"/>
                  </a:lnTo>
                  <a:lnTo>
                    <a:pt x="138" y="48"/>
                  </a:lnTo>
                  <a:lnTo>
                    <a:pt x="142" y="48"/>
                  </a:lnTo>
                  <a:lnTo>
                    <a:pt x="142" y="52"/>
                  </a:lnTo>
                  <a:lnTo>
                    <a:pt x="142" y="56"/>
                  </a:lnTo>
                  <a:lnTo>
                    <a:pt x="142" y="60"/>
                  </a:lnTo>
                  <a:lnTo>
                    <a:pt x="142" y="64"/>
                  </a:lnTo>
                  <a:lnTo>
                    <a:pt x="142" y="68"/>
                  </a:lnTo>
                  <a:lnTo>
                    <a:pt x="142" y="70"/>
                  </a:lnTo>
                  <a:lnTo>
                    <a:pt x="142" y="74"/>
                  </a:lnTo>
                  <a:lnTo>
                    <a:pt x="142" y="78"/>
                  </a:lnTo>
                  <a:lnTo>
                    <a:pt x="142" y="82"/>
                  </a:lnTo>
                  <a:lnTo>
                    <a:pt x="142" y="86"/>
                  </a:lnTo>
                  <a:lnTo>
                    <a:pt x="142" y="90"/>
                  </a:lnTo>
                  <a:lnTo>
                    <a:pt x="146" y="94"/>
                  </a:lnTo>
                  <a:lnTo>
                    <a:pt x="146" y="98"/>
                  </a:lnTo>
                  <a:lnTo>
                    <a:pt x="150" y="100"/>
                  </a:lnTo>
                  <a:lnTo>
                    <a:pt x="150" y="104"/>
                  </a:lnTo>
                  <a:lnTo>
                    <a:pt x="150" y="108"/>
                  </a:lnTo>
                  <a:lnTo>
                    <a:pt x="146" y="108"/>
                  </a:lnTo>
                  <a:lnTo>
                    <a:pt x="146" y="112"/>
                  </a:lnTo>
                  <a:lnTo>
                    <a:pt x="146" y="116"/>
                  </a:lnTo>
                  <a:lnTo>
                    <a:pt x="150" y="116"/>
                  </a:lnTo>
                  <a:lnTo>
                    <a:pt x="150" y="112"/>
                  </a:lnTo>
                  <a:lnTo>
                    <a:pt x="152" y="112"/>
                  </a:lnTo>
                  <a:lnTo>
                    <a:pt x="156" y="112"/>
                  </a:lnTo>
                  <a:lnTo>
                    <a:pt x="160" y="112"/>
                  </a:lnTo>
                  <a:lnTo>
                    <a:pt x="164" y="112"/>
                  </a:lnTo>
                  <a:lnTo>
                    <a:pt x="168" y="112"/>
                  </a:lnTo>
                  <a:lnTo>
                    <a:pt x="172" y="112"/>
                  </a:lnTo>
                  <a:lnTo>
                    <a:pt x="172" y="108"/>
                  </a:lnTo>
                  <a:lnTo>
                    <a:pt x="172" y="112"/>
                  </a:lnTo>
                  <a:lnTo>
                    <a:pt x="172" y="116"/>
                  </a:lnTo>
                  <a:lnTo>
                    <a:pt x="172" y="120"/>
                  </a:lnTo>
                  <a:lnTo>
                    <a:pt x="172" y="124"/>
                  </a:lnTo>
                  <a:lnTo>
                    <a:pt x="172" y="126"/>
                  </a:lnTo>
                  <a:lnTo>
                    <a:pt x="172" y="134"/>
                  </a:lnTo>
                  <a:lnTo>
                    <a:pt x="172" y="138"/>
                  </a:lnTo>
                  <a:lnTo>
                    <a:pt x="172" y="142"/>
                  </a:lnTo>
                  <a:lnTo>
                    <a:pt x="172" y="146"/>
                  </a:lnTo>
                  <a:lnTo>
                    <a:pt x="168" y="146"/>
                  </a:lnTo>
                  <a:lnTo>
                    <a:pt x="164" y="146"/>
                  </a:lnTo>
                  <a:lnTo>
                    <a:pt x="160" y="146"/>
                  </a:lnTo>
                  <a:lnTo>
                    <a:pt x="156" y="146"/>
                  </a:lnTo>
                  <a:lnTo>
                    <a:pt x="150" y="146"/>
                  </a:lnTo>
                  <a:lnTo>
                    <a:pt x="142" y="146"/>
                  </a:lnTo>
                  <a:lnTo>
                    <a:pt x="142" y="154"/>
                  </a:lnTo>
                  <a:lnTo>
                    <a:pt x="142" y="160"/>
                  </a:lnTo>
                  <a:lnTo>
                    <a:pt x="142" y="164"/>
                  </a:lnTo>
                  <a:lnTo>
                    <a:pt x="142" y="172"/>
                  </a:lnTo>
                  <a:lnTo>
                    <a:pt x="142" y="176"/>
                  </a:lnTo>
                  <a:lnTo>
                    <a:pt x="142" y="180"/>
                  </a:lnTo>
                  <a:lnTo>
                    <a:pt x="142" y="190"/>
                  </a:lnTo>
                  <a:lnTo>
                    <a:pt x="142" y="198"/>
                  </a:lnTo>
                  <a:lnTo>
                    <a:pt x="142" y="202"/>
                  </a:lnTo>
                  <a:lnTo>
                    <a:pt x="146" y="202"/>
                  </a:lnTo>
                  <a:lnTo>
                    <a:pt x="146" y="206"/>
                  </a:lnTo>
                  <a:lnTo>
                    <a:pt x="146" y="210"/>
                  </a:lnTo>
                  <a:lnTo>
                    <a:pt x="150" y="210"/>
                  </a:lnTo>
                  <a:lnTo>
                    <a:pt x="150" y="212"/>
                  </a:lnTo>
                  <a:lnTo>
                    <a:pt x="152" y="216"/>
                  </a:lnTo>
                  <a:lnTo>
                    <a:pt x="160" y="224"/>
                  </a:lnTo>
                  <a:lnTo>
                    <a:pt x="164" y="228"/>
                  </a:lnTo>
                  <a:lnTo>
                    <a:pt x="164" y="228"/>
                  </a:lnTo>
                  <a:lnTo>
                    <a:pt x="164" y="22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36" name="Freeform 129"/>
            <p:cNvSpPr>
              <a:spLocks/>
            </p:cNvSpPr>
            <p:nvPr/>
          </p:nvSpPr>
          <p:spPr bwMode="auto">
            <a:xfrm>
              <a:off x="7047820" y="4020532"/>
              <a:ext cx="27631" cy="70609"/>
            </a:xfrm>
            <a:custGeom>
              <a:avLst/>
              <a:gdLst>
                <a:gd name="T0" fmla="*/ 30 w 44"/>
                <a:gd name="T1" fmla="*/ 90 h 108"/>
                <a:gd name="T2" fmla="*/ 26 w 44"/>
                <a:gd name="T3" fmla="*/ 96 h 108"/>
                <a:gd name="T4" fmla="*/ 26 w 44"/>
                <a:gd name="T5" fmla="*/ 104 h 108"/>
                <a:gd name="T6" fmla="*/ 26 w 44"/>
                <a:gd name="T7" fmla="*/ 104 h 108"/>
                <a:gd name="T8" fmla="*/ 22 w 44"/>
                <a:gd name="T9" fmla="*/ 104 h 108"/>
                <a:gd name="T10" fmla="*/ 18 w 44"/>
                <a:gd name="T11" fmla="*/ 108 h 108"/>
                <a:gd name="T12" fmla="*/ 10 w 44"/>
                <a:gd name="T13" fmla="*/ 108 h 108"/>
                <a:gd name="T14" fmla="*/ 10 w 44"/>
                <a:gd name="T15" fmla="*/ 108 h 108"/>
                <a:gd name="T16" fmla="*/ 14 w 44"/>
                <a:gd name="T17" fmla="*/ 108 h 108"/>
                <a:gd name="T18" fmla="*/ 10 w 44"/>
                <a:gd name="T19" fmla="*/ 100 h 108"/>
                <a:gd name="T20" fmla="*/ 10 w 44"/>
                <a:gd name="T21" fmla="*/ 100 h 108"/>
                <a:gd name="T22" fmla="*/ 10 w 44"/>
                <a:gd name="T23" fmla="*/ 96 h 108"/>
                <a:gd name="T24" fmla="*/ 10 w 44"/>
                <a:gd name="T25" fmla="*/ 90 h 108"/>
                <a:gd name="T26" fmla="*/ 10 w 44"/>
                <a:gd name="T27" fmla="*/ 86 h 108"/>
                <a:gd name="T28" fmla="*/ 10 w 44"/>
                <a:gd name="T29" fmla="*/ 78 h 108"/>
                <a:gd name="T30" fmla="*/ 10 w 44"/>
                <a:gd name="T31" fmla="*/ 66 h 108"/>
                <a:gd name="T32" fmla="*/ 10 w 44"/>
                <a:gd name="T33" fmla="*/ 60 h 108"/>
                <a:gd name="T34" fmla="*/ 10 w 44"/>
                <a:gd name="T35" fmla="*/ 56 h 108"/>
                <a:gd name="T36" fmla="*/ 6 w 44"/>
                <a:gd name="T37" fmla="*/ 56 h 108"/>
                <a:gd name="T38" fmla="*/ 6 w 44"/>
                <a:gd name="T39" fmla="*/ 52 h 108"/>
                <a:gd name="T40" fmla="*/ 6 w 44"/>
                <a:gd name="T41" fmla="*/ 48 h 108"/>
                <a:gd name="T42" fmla="*/ 6 w 44"/>
                <a:gd name="T43" fmla="*/ 40 h 108"/>
                <a:gd name="T44" fmla="*/ 0 w 44"/>
                <a:gd name="T45" fmla="*/ 38 h 108"/>
                <a:gd name="T46" fmla="*/ 0 w 44"/>
                <a:gd name="T47" fmla="*/ 34 h 108"/>
                <a:gd name="T48" fmla="*/ 0 w 44"/>
                <a:gd name="T49" fmla="*/ 30 h 108"/>
                <a:gd name="T50" fmla="*/ 0 w 44"/>
                <a:gd name="T51" fmla="*/ 26 h 108"/>
                <a:gd name="T52" fmla="*/ 2 w 44"/>
                <a:gd name="T53" fmla="*/ 22 h 108"/>
                <a:gd name="T54" fmla="*/ 6 w 44"/>
                <a:gd name="T55" fmla="*/ 18 h 108"/>
                <a:gd name="T56" fmla="*/ 6 w 44"/>
                <a:gd name="T57" fmla="*/ 18 h 108"/>
                <a:gd name="T58" fmla="*/ 10 w 44"/>
                <a:gd name="T59" fmla="*/ 18 h 108"/>
                <a:gd name="T60" fmla="*/ 14 w 44"/>
                <a:gd name="T61" fmla="*/ 18 h 108"/>
                <a:gd name="T62" fmla="*/ 18 w 44"/>
                <a:gd name="T63" fmla="*/ 18 h 108"/>
                <a:gd name="T64" fmla="*/ 18 w 44"/>
                <a:gd name="T65" fmla="*/ 14 h 108"/>
                <a:gd name="T66" fmla="*/ 22 w 44"/>
                <a:gd name="T67" fmla="*/ 12 h 108"/>
                <a:gd name="T68" fmla="*/ 22 w 44"/>
                <a:gd name="T69" fmla="*/ 8 h 108"/>
                <a:gd name="T70" fmla="*/ 26 w 44"/>
                <a:gd name="T71" fmla="*/ 4 h 108"/>
                <a:gd name="T72" fmla="*/ 30 w 44"/>
                <a:gd name="T73" fmla="*/ 0 h 108"/>
                <a:gd name="T74" fmla="*/ 34 w 44"/>
                <a:gd name="T75" fmla="*/ 8 h 108"/>
                <a:gd name="T76" fmla="*/ 36 w 44"/>
                <a:gd name="T77" fmla="*/ 12 h 108"/>
                <a:gd name="T78" fmla="*/ 36 w 44"/>
                <a:gd name="T79" fmla="*/ 12 h 108"/>
                <a:gd name="T80" fmla="*/ 40 w 44"/>
                <a:gd name="T81" fmla="*/ 14 h 108"/>
                <a:gd name="T82" fmla="*/ 40 w 44"/>
                <a:gd name="T83" fmla="*/ 22 h 108"/>
                <a:gd name="T84" fmla="*/ 40 w 44"/>
                <a:gd name="T85" fmla="*/ 26 h 108"/>
                <a:gd name="T86" fmla="*/ 40 w 44"/>
                <a:gd name="T87" fmla="*/ 30 h 108"/>
                <a:gd name="T88" fmla="*/ 44 w 44"/>
                <a:gd name="T89" fmla="*/ 30 h 108"/>
                <a:gd name="T90" fmla="*/ 40 w 44"/>
                <a:gd name="T91" fmla="*/ 38 h 108"/>
                <a:gd name="T92" fmla="*/ 40 w 44"/>
                <a:gd name="T93" fmla="*/ 38 h 108"/>
                <a:gd name="T94" fmla="*/ 40 w 44"/>
                <a:gd name="T95" fmla="*/ 40 h 108"/>
                <a:gd name="T96" fmla="*/ 36 w 44"/>
                <a:gd name="T97" fmla="*/ 44 h 108"/>
                <a:gd name="T98" fmla="*/ 36 w 44"/>
                <a:gd name="T99" fmla="*/ 48 h 108"/>
                <a:gd name="T100" fmla="*/ 34 w 44"/>
                <a:gd name="T101" fmla="*/ 52 h 108"/>
                <a:gd name="T102" fmla="*/ 34 w 44"/>
                <a:gd name="T103" fmla="*/ 56 h 108"/>
                <a:gd name="T104" fmla="*/ 30 w 44"/>
                <a:gd name="T105" fmla="*/ 60 h 108"/>
                <a:gd name="T106" fmla="*/ 30 w 44"/>
                <a:gd name="T107" fmla="*/ 60 h 108"/>
                <a:gd name="T108" fmla="*/ 26 w 44"/>
                <a:gd name="T109" fmla="*/ 66 h 108"/>
                <a:gd name="T110" fmla="*/ 26 w 44"/>
                <a:gd name="T111" fmla="*/ 70 h 108"/>
                <a:gd name="T112" fmla="*/ 26 w 44"/>
                <a:gd name="T113" fmla="*/ 74 h 108"/>
                <a:gd name="T114" fmla="*/ 26 w 44"/>
                <a:gd name="T115" fmla="*/ 78 h 108"/>
                <a:gd name="T116" fmla="*/ 26 w 44"/>
                <a:gd name="T117" fmla="*/ 82 h 108"/>
                <a:gd name="T118" fmla="*/ 26 w 44"/>
                <a:gd name="T119" fmla="*/ 8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08">
                  <a:moveTo>
                    <a:pt x="26" y="82"/>
                  </a:moveTo>
                  <a:lnTo>
                    <a:pt x="26" y="82"/>
                  </a:lnTo>
                  <a:lnTo>
                    <a:pt x="26" y="86"/>
                  </a:lnTo>
                  <a:lnTo>
                    <a:pt x="30" y="90"/>
                  </a:lnTo>
                  <a:lnTo>
                    <a:pt x="30" y="92"/>
                  </a:lnTo>
                  <a:lnTo>
                    <a:pt x="26" y="92"/>
                  </a:lnTo>
                  <a:lnTo>
                    <a:pt x="26" y="96"/>
                  </a:lnTo>
                  <a:lnTo>
                    <a:pt x="26" y="96"/>
                  </a:lnTo>
                  <a:lnTo>
                    <a:pt x="26" y="96"/>
                  </a:lnTo>
                  <a:lnTo>
                    <a:pt x="26" y="100"/>
                  </a:lnTo>
                  <a:lnTo>
                    <a:pt x="26" y="100"/>
                  </a:lnTo>
                  <a:lnTo>
                    <a:pt x="26" y="104"/>
                  </a:lnTo>
                  <a:lnTo>
                    <a:pt x="26" y="104"/>
                  </a:lnTo>
                  <a:lnTo>
                    <a:pt x="26" y="104"/>
                  </a:lnTo>
                  <a:lnTo>
                    <a:pt x="26" y="104"/>
                  </a:lnTo>
                  <a:lnTo>
                    <a:pt x="26" y="104"/>
                  </a:lnTo>
                  <a:lnTo>
                    <a:pt x="22" y="104"/>
                  </a:lnTo>
                  <a:lnTo>
                    <a:pt x="22" y="104"/>
                  </a:lnTo>
                  <a:lnTo>
                    <a:pt x="22" y="104"/>
                  </a:lnTo>
                  <a:lnTo>
                    <a:pt x="22" y="104"/>
                  </a:lnTo>
                  <a:lnTo>
                    <a:pt x="22" y="104"/>
                  </a:lnTo>
                  <a:lnTo>
                    <a:pt x="22" y="104"/>
                  </a:lnTo>
                  <a:lnTo>
                    <a:pt x="22" y="108"/>
                  </a:lnTo>
                  <a:lnTo>
                    <a:pt x="18" y="108"/>
                  </a:lnTo>
                  <a:lnTo>
                    <a:pt x="18" y="108"/>
                  </a:lnTo>
                  <a:lnTo>
                    <a:pt x="14" y="108"/>
                  </a:lnTo>
                  <a:lnTo>
                    <a:pt x="14" y="108"/>
                  </a:lnTo>
                  <a:lnTo>
                    <a:pt x="10" y="108"/>
                  </a:lnTo>
                  <a:lnTo>
                    <a:pt x="10" y="108"/>
                  </a:lnTo>
                  <a:lnTo>
                    <a:pt x="10" y="108"/>
                  </a:lnTo>
                  <a:lnTo>
                    <a:pt x="10" y="108"/>
                  </a:lnTo>
                  <a:lnTo>
                    <a:pt x="10" y="108"/>
                  </a:lnTo>
                  <a:lnTo>
                    <a:pt x="10" y="108"/>
                  </a:lnTo>
                  <a:lnTo>
                    <a:pt x="14" y="108"/>
                  </a:lnTo>
                  <a:lnTo>
                    <a:pt x="14" y="108"/>
                  </a:lnTo>
                  <a:lnTo>
                    <a:pt x="14" y="108"/>
                  </a:lnTo>
                  <a:lnTo>
                    <a:pt x="14" y="104"/>
                  </a:lnTo>
                  <a:lnTo>
                    <a:pt x="14" y="104"/>
                  </a:lnTo>
                  <a:lnTo>
                    <a:pt x="10" y="100"/>
                  </a:lnTo>
                  <a:lnTo>
                    <a:pt x="10" y="100"/>
                  </a:lnTo>
                  <a:lnTo>
                    <a:pt x="10" y="100"/>
                  </a:lnTo>
                  <a:lnTo>
                    <a:pt x="10" y="100"/>
                  </a:lnTo>
                  <a:lnTo>
                    <a:pt x="10" y="100"/>
                  </a:lnTo>
                  <a:lnTo>
                    <a:pt x="10" y="100"/>
                  </a:lnTo>
                  <a:lnTo>
                    <a:pt x="10" y="100"/>
                  </a:lnTo>
                  <a:lnTo>
                    <a:pt x="10" y="96"/>
                  </a:lnTo>
                  <a:lnTo>
                    <a:pt x="10" y="96"/>
                  </a:lnTo>
                  <a:lnTo>
                    <a:pt x="10" y="96"/>
                  </a:lnTo>
                  <a:lnTo>
                    <a:pt x="10" y="96"/>
                  </a:lnTo>
                  <a:lnTo>
                    <a:pt x="10" y="92"/>
                  </a:lnTo>
                  <a:lnTo>
                    <a:pt x="10" y="92"/>
                  </a:lnTo>
                  <a:lnTo>
                    <a:pt x="10" y="90"/>
                  </a:lnTo>
                  <a:lnTo>
                    <a:pt x="10" y="90"/>
                  </a:lnTo>
                  <a:lnTo>
                    <a:pt x="10" y="86"/>
                  </a:lnTo>
                  <a:lnTo>
                    <a:pt x="10" y="86"/>
                  </a:lnTo>
                  <a:lnTo>
                    <a:pt x="10" y="86"/>
                  </a:lnTo>
                  <a:lnTo>
                    <a:pt x="10" y="86"/>
                  </a:lnTo>
                  <a:lnTo>
                    <a:pt x="10" y="86"/>
                  </a:lnTo>
                  <a:lnTo>
                    <a:pt x="10" y="82"/>
                  </a:lnTo>
                  <a:lnTo>
                    <a:pt x="10" y="78"/>
                  </a:lnTo>
                  <a:lnTo>
                    <a:pt x="10" y="70"/>
                  </a:lnTo>
                  <a:lnTo>
                    <a:pt x="10" y="70"/>
                  </a:lnTo>
                  <a:lnTo>
                    <a:pt x="10" y="70"/>
                  </a:lnTo>
                  <a:lnTo>
                    <a:pt x="10" y="66"/>
                  </a:lnTo>
                  <a:lnTo>
                    <a:pt x="10" y="64"/>
                  </a:lnTo>
                  <a:lnTo>
                    <a:pt x="10" y="64"/>
                  </a:lnTo>
                  <a:lnTo>
                    <a:pt x="10" y="60"/>
                  </a:lnTo>
                  <a:lnTo>
                    <a:pt x="10" y="60"/>
                  </a:lnTo>
                  <a:lnTo>
                    <a:pt x="10" y="56"/>
                  </a:lnTo>
                  <a:lnTo>
                    <a:pt x="10" y="56"/>
                  </a:lnTo>
                  <a:lnTo>
                    <a:pt x="10" y="56"/>
                  </a:lnTo>
                  <a:lnTo>
                    <a:pt x="10" y="56"/>
                  </a:lnTo>
                  <a:lnTo>
                    <a:pt x="10" y="56"/>
                  </a:lnTo>
                  <a:lnTo>
                    <a:pt x="6" y="56"/>
                  </a:lnTo>
                  <a:lnTo>
                    <a:pt x="6" y="56"/>
                  </a:lnTo>
                  <a:lnTo>
                    <a:pt x="6" y="56"/>
                  </a:lnTo>
                  <a:lnTo>
                    <a:pt x="6" y="52"/>
                  </a:lnTo>
                  <a:lnTo>
                    <a:pt x="6" y="52"/>
                  </a:lnTo>
                  <a:lnTo>
                    <a:pt x="6" y="52"/>
                  </a:lnTo>
                  <a:lnTo>
                    <a:pt x="6" y="52"/>
                  </a:lnTo>
                  <a:lnTo>
                    <a:pt x="6" y="52"/>
                  </a:lnTo>
                  <a:lnTo>
                    <a:pt x="6" y="52"/>
                  </a:lnTo>
                  <a:lnTo>
                    <a:pt x="6" y="48"/>
                  </a:lnTo>
                  <a:lnTo>
                    <a:pt x="6" y="48"/>
                  </a:lnTo>
                  <a:lnTo>
                    <a:pt x="6" y="44"/>
                  </a:lnTo>
                  <a:lnTo>
                    <a:pt x="6" y="44"/>
                  </a:lnTo>
                  <a:lnTo>
                    <a:pt x="6" y="40"/>
                  </a:lnTo>
                  <a:lnTo>
                    <a:pt x="6" y="40"/>
                  </a:lnTo>
                  <a:lnTo>
                    <a:pt x="2" y="40"/>
                  </a:lnTo>
                  <a:lnTo>
                    <a:pt x="2" y="40"/>
                  </a:lnTo>
                  <a:lnTo>
                    <a:pt x="2" y="40"/>
                  </a:lnTo>
                  <a:lnTo>
                    <a:pt x="0" y="38"/>
                  </a:lnTo>
                  <a:lnTo>
                    <a:pt x="0" y="34"/>
                  </a:lnTo>
                  <a:lnTo>
                    <a:pt x="0" y="34"/>
                  </a:lnTo>
                  <a:lnTo>
                    <a:pt x="0" y="34"/>
                  </a:lnTo>
                  <a:lnTo>
                    <a:pt x="0" y="34"/>
                  </a:lnTo>
                  <a:lnTo>
                    <a:pt x="0" y="34"/>
                  </a:lnTo>
                  <a:lnTo>
                    <a:pt x="0" y="30"/>
                  </a:lnTo>
                  <a:lnTo>
                    <a:pt x="0" y="30"/>
                  </a:lnTo>
                  <a:lnTo>
                    <a:pt x="0" y="30"/>
                  </a:lnTo>
                  <a:lnTo>
                    <a:pt x="0" y="30"/>
                  </a:lnTo>
                  <a:lnTo>
                    <a:pt x="0" y="30"/>
                  </a:lnTo>
                  <a:lnTo>
                    <a:pt x="0" y="30"/>
                  </a:lnTo>
                  <a:lnTo>
                    <a:pt x="0" y="26"/>
                  </a:lnTo>
                  <a:lnTo>
                    <a:pt x="0" y="26"/>
                  </a:lnTo>
                  <a:lnTo>
                    <a:pt x="2" y="26"/>
                  </a:lnTo>
                  <a:lnTo>
                    <a:pt x="2" y="26"/>
                  </a:lnTo>
                  <a:lnTo>
                    <a:pt x="2" y="22"/>
                  </a:lnTo>
                  <a:lnTo>
                    <a:pt x="2" y="22"/>
                  </a:lnTo>
                  <a:lnTo>
                    <a:pt x="6" y="22"/>
                  </a:lnTo>
                  <a:lnTo>
                    <a:pt x="6" y="22"/>
                  </a:lnTo>
                  <a:lnTo>
                    <a:pt x="6" y="18"/>
                  </a:lnTo>
                  <a:lnTo>
                    <a:pt x="6" y="18"/>
                  </a:lnTo>
                  <a:lnTo>
                    <a:pt x="6" y="18"/>
                  </a:lnTo>
                  <a:lnTo>
                    <a:pt x="6" y="18"/>
                  </a:lnTo>
                  <a:lnTo>
                    <a:pt x="6" y="18"/>
                  </a:lnTo>
                  <a:lnTo>
                    <a:pt x="6" y="18"/>
                  </a:lnTo>
                  <a:lnTo>
                    <a:pt x="10" y="18"/>
                  </a:lnTo>
                  <a:lnTo>
                    <a:pt x="10" y="18"/>
                  </a:lnTo>
                  <a:lnTo>
                    <a:pt x="10" y="18"/>
                  </a:lnTo>
                  <a:lnTo>
                    <a:pt x="10" y="18"/>
                  </a:lnTo>
                  <a:lnTo>
                    <a:pt x="10" y="18"/>
                  </a:lnTo>
                  <a:lnTo>
                    <a:pt x="14" y="18"/>
                  </a:lnTo>
                  <a:lnTo>
                    <a:pt x="14" y="18"/>
                  </a:lnTo>
                  <a:lnTo>
                    <a:pt x="14" y="18"/>
                  </a:lnTo>
                  <a:lnTo>
                    <a:pt x="14" y="18"/>
                  </a:lnTo>
                  <a:lnTo>
                    <a:pt x="18" y="18"/>
                  </a:lnTo>
                  <a:lnTo>
                    <a:pt x="18" y="18"/>
                  </a:lnTo>
                  <a:lnTo>
                    <a:pt x="18" y="18"/>
                  </a:lnTo>
                  <a:lnTo>
                    <a:pt x="18" y="18"/>
                  </a:lnTo>
                  <a:lnTo>
                    <a:pt x="18" y="18"/>
                  </a:lnTo>
                  <a:lnTo>
                    <a:pt x="18" y="14"/>
                  </a:lnTo>
                  <a:lnTo>
                    <a:pt x="22" y="14"/>
                  </a:lnTo>
                  <a:lnTo>
                    <a:pt x="22" y="14"/>
                  </a:lnTo>
                  <a:lnTo>
                    <a:pt x="22" y="12"/>
                  </a:lnTo>
                  <a:lnTo>
                    <a:pt x="22" y="12"/>
                  </a:lnTo>
                  <a:lnTo>
                    <a:pt x="22" y="12"/>
                  </a:lnTo>
                  <a:lnTo>
                    <a:pt x="22" y="12"/>
                  </a:lnTo>
                  <a:lnTo>
                    <a:pt x="22" y="8"/>
                  </a:lnTo>
                  <a:lnTo>
                    <a:pt x="22" y="8"/>
                  </a:lnTo>
                  <a:lnTo>
                    <a:pt x="22" y="4"/>
                  </a:lnTo>
                  <a:lnTo>
                    <a:pt x="22" y="4"/>
                  </a:lnTo>
                  <a:lnTo>
                    <a:pt x="26" y="4"/>
                  </a:lnTo>
                  <a:lnTo>
                    <a:pt x="26" y="4"/>
                  </a:lnTo>
                  <a:lnTo>
                    <a:pt x="26" y="4"/>
                  </a:lnTo>
                  <a:lnTo>
                    <a:pt x="26" y="4"/>
                  </a:lnTo>
                  <a:lnTo>
                    <a:pt x="30" y="4"/>
                  </a:lnTo>
                  <a:lnTo>
                    <a:pt x="30" y="0"/>
                  </a:lnTo>
                  <a:lnTo>
                    <a:pt x="30" y="4"/>
                  </a:lnTo>
                  <a:lnTo>
                    <a:pt x="30" y="4"/>
                  </a:lnTo>
                  <a:lnTo>
                    <a:pt x="34" y="8"/>
                  </a:lnTo>
                  <a:lnTo>
                    <a:pt x="34" y="8"/>
                  </a:lnTo>
                  <a:lnTo>
                    <a:pt x="34" y="8"/>
                  </a:lnTo>
                  <a:lnTo>
                    <a:pt x="34" y="12"/>
                  </a:lnTo>
                  <a:lnTo>
                    <a:pt x="36" y="12"/>
                  </a:lnTo>
                  <a:lnTo>
                    <a:pt x="36" y="12"/>
                  </a:lnTo>
                  <a:lnTo>
                    <a:pt x="36" y="12"/>
                  </a:lnTo>
                  <a:lnTo>
                    <a:pt x="36" y="12"/>
                  </a:lnTo>
                  <a:lnTo>
                    <a:pt x="36" y="12"/>
                  </a:lnTo>
                  <a:lnTo>
                    <a:pt x="36" y="12"/>
                  </a:lnTo>
                  <a:lnTo>
                    <a:pt x="36" y="12"/>
                  </a:lnTo>
                  <a:lnTo>
                    <a:pt x="40" y="14"/>
                  </a:lnTo>
                  <a:lnTo>
                    <a:pt x="40" y="14"/>
                  </a:lnTo>
                  <a:lnTo>
                    <a:pt x="40" y="14"/>
                  </a:lnTo>
                  <a:lnTo>
                    <a:pt x="36" y="14"/>
                  </a:lnTo>
                  <a:lnTo>
                    <a:pt x="36" y="18"/>
                  </a:lnTo>
                  <a:lnTo>
                    <a:pt x="40" y="22"/>
                  </a:lnTo>
                  <a:lnTo>
                    <a:pt x="40" y="22"/>
                  </a:lnTo>
                  <a:lnTo>
                    <a:pt x="40" y="22"/>
                  </a:lnTo>
                  <a:lnTo>
                    <a:pt x="40" y="22"/>
                  </a:lnTo>
                  <a:lnTo>
                    <a:pt x="40" y="26"/>
                  </a:lnTo>
                  <a:lnTo>
                    <a:pt x="40" y="26"/>
                  </a:lnTo>
                  <a:lnTo>
                    <a:pt x="40" y="26"/>
                  </a:lnTo>
                  <a:lnTo>
                    <a:pt x="40" y="26"/>
                  </a:lnTo>
                  <a:lnTo>
                    <a:pt x="40" y="30"/>
                  </a:lnTo>
                  <a:lnTo>
                    <a:pt x="40" y="30"/>
                  </a:lnTo>
                  <a:lnTo>
                    <a:pt x="40" y="30"/>
                  </a:lnTo>
                  <a:lnTo>
                    <a:pt x="40" y="30"/>
                  </a:lnTo>
                  <a:lnTo>
                    <a:pt x="44" y="30"/>
                  </a:lnTo>
                  <a:lnTo>
                    <a:pt x="44" y="30"/>
                  </a:lnTo>
                  <a:lnTo>
                    <a:pt x="44" y="34"/>
                  </a:lnTo>
                  <a:lnTo>
                    <a:pt x="40" y="34"/>
                  </a:lnTo>
                  <a:lnTo>
                    <a:pt x="40" y="38"/>
                  </a:lnTo>
                  <a:lnTo>
                    <a:pt x="40" y="38"/>
                  </a:lnTo>
                  <a:lnTo>
                    <a:pt x="40" y="38"/>
                  </a:lnTo>
                  <a:lnTo>
                    <a:pt x="40" y="38"/>
                  </a:lnTo>
                  <a:lnTo>
                    <a:pt x="40" y="38"/>
                  </a:lnTo>
                  <a:lnTo>
                    <a:pt x="40" y="38"/>
                  </a:lnTo>
                  <a:lnTo>
                    <a:pt x="40" y="40"/>
                  </a:lnTo>
                  <a:lnTo>
                    <a:pt x="40" y="40"/>
                  </a:lnTo>
                  <a:lnTo>
                    <a:pt x="40" y="40"/>
                  </a:lnTo>
                  <a:lnTo>
                    <a:pt x="40" y="40"/>
                  </a:lnTo>
                  <a:lnTo>
                    <a:pt x="40" y="44"/>
                  </a:lnTo>
                  <a:lnTo>
                    <a:pt x="40" y="44"/>
                  </a:lnTo>
                  <a:lnTo>
                    <a:pt x="36" y="44"/>
                  </a:lnTo>
                  <a:lnTo>
                    <a:pt x="36" y="44"/>
                  </a:lnTo>
                  <a:lnTo>
                    <a:pt x="36" y="44"/>
                  </a:lnTo>
                  <a:lnTo>
                    <a:pt x="36" y="48"/>
                  </a:lnTo>
                  <a:lnTo>
                    <a:pt x="36" y="48"/>
                  </a:lnTo>
                  <a:lnTo>
                    <a:pt x="36" y="48"/>
                  </a:lnTo>
                  <a:lnTo>
                    <a:pt x="36" y="48"/>
                  </a:lnTo>
                  <a:lnTo>
                    <a:pt x="36" y="48"/>
                  </a:lnTo>
                  <a:lnTo>
                    <a:pt x="36" y="48"/>
                  </a:lnTo>
                  <a:lnTo>
                    <a:pt x="34" y="52"/>
                  </a:lnTo>
                  <a:lnTo>
                    <a:pt x="34" y="52"/>
                  </a:lnTo>
                  <a:lnTo>
                    <a:pt x="34" y="52"/>
                  </a:lnTo>
                  <a:lnTo>
                    <a:pt x="34" y="52"/>
                  </a:lnTo>
                  <a:lnTo>
                    <a:pt x="34" y="56"/>
                  </a:lnTo>
                  <a:lnTo>
                    <a:pt x="34" y="56"/>
                  </a:lnTo>
                  <a:lnTo>
                    <a:pt x="34" y="60"/>
                  </a:lnTo>
                  <a:lnTo>
                    <a:pt x="30" y="60"/>
                  </a:lnTo>
                  <a:lnTo>
                    <a:pt x="30" y="60"/>
                  </a:lnTo>
                  <a:lnTo>
                    <a:pt x="30" y="60"/>
                  </a:lnTo>
                  <a:lnTo>
                    <a:pt x="30" y="60"/>
                  </a:lnTo>
                  <a:lnTo>
                    <a:pt x="30" y="60"/>
                  </a:lnTo>
                  <a:lnTo>
                    <a:pt x="30" y="60"/>
                  </a:lnTo>
                  <a:lnTo>
                    <a:pt x="26" y="64"/>
                  </a:lnTo>
                  <a:lnTo>
                    <a:pt x="26" y="64"/>
                  </a:lnTo>
                  <a:lnTo>
                    <a:pt x="26" y="64"/>
                  </a:lnTo>
                  <a:lnTo>
                    <a:pt x="26" y="66"/>
                  </a:lnTo>
                  <a:lnTo>
                    <a:pt x="26" y="66"/>
                  </a:lnTo>
                  <a:lnTo>
                    <a:pt x="26" y="66"/>
                  </a:lnTo>
                  <a:lnTo>
                    <a:pt x="26" y="66"/>
                  </a:lnTo>
                  <a:lnTo>
                    <a:pt x="26" y="70"/>
                  </a:lnTo>
                  <a:lnTo>
                    <a:pt x="26" y="70"/>
                  </a:lnTo>
                  <a:lnTo>
                    <a:pt x="26" y="70"/>
                  </a:lnTo>
                  <a:lnTo>
                    <a:pt x="26" y="70"/>
                  </a:lnTo>
                  <a:lnTo>
                    <a:pt x="26" y="74"/>
                  </a:lnTo>
                  <a:lnTo>
                    <a:pt x="26" y="74"/>
                  </a:lnTo>
                  <a:lnTo>
                    <a:pt x="26" y="74"/>
                  </a:lnTo>
                  <a:lnTo>
                    <a:pt x="26" y="74"/>
                  </a:lnTo>
                  <a:lnTo>
                    <a:pt x="26" y="78"/>
                  </a:lnTo>
                  <a:lnTo>
                    <a:pt x="26" y="78"/>
                  </a:lnTo>
                  <a:lnTo>
                    <a:pt x="26" y="78"/>
                  </a:lnTo>
                  <a:lnTo>
                    <a:pt x="26" y="78"/>
                  </a:lnTo>
                  <a:lnTo>
                    <a:pt x="26" y="82"/>
                  </a:lnTo>
                  <a:lnTo>
                    <a:pt x="26" y="82"/>
                  </a:lnTo>
                  <a:lnTo>
                    <a:pt x="26" y="82"/>
                  </a:lnTo>
                  <a:lnTo>
                    <a:pt x="26" y="82"/>
                  </a:lnTo>
                  <a:lnTo>
                    <a:pt x="26" y="82"/>
                  </a:lnTo>
                  <a:lnTo>
                    <a:pt x="26" y="8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37" name="Freeform 130"/>
            <p:cNvSpPr>
              <a:spLocks/>
            </p:cNvSpPr>
            <p:nvPr/>
          </p:nvSpPr>
          <p:spPr bwMode="auto">
            <a:xfrm>
              <a:off x="7217375" y="4361811"/>
              <a:ext cx="81638" cy="104607"/>
            </a:xfrm>
            <a:custGeom>
              <a:avLst/>
              <a:gdLst>
                <a:gd name="T0" fmla="*/ 82 w 130"/>
                <a:gd name="T1" fmla="*/ 124 h 160"/>
                <a:gd name="T2" fmla="*/ 80 w 130"/>
                <a:gd name="T3" fmla="*/ 134 h 160"/>
                <a:gd name="T4" fmla="*/ 76 w 130"/>
                <a:gd name="T5" fmla="*/ 142 h 160"/>
                <a:gd name="T6" fmla="*/ 68 w 130"/>
                <a:gd name="T7" fmla="*/ 142 h 160"/>
                <a:gd name="T8" fmla="*/ 64 w 130"/>
                <a:gd name="T9" fmla="*/ 138 h 160"/>
                <a:gd name="T10" fmla="*/ 60 w 130"/>
                <a:gd name="T11" fmla="*/ 138 h 160"/>
                <a:gd name="T12" fmla="*/ 54 w 130"/>
                <a:gd name="T13" fmla="*/ 134 h 160"/>
                <a:gd name="T14" fmla="*/ 46 w 130"/>
                <a:gd name="T15" fmla="*/ 130 h 160"/>
                <a:gd name="T16" fmla="*/ 42 w 130"/>
                <a:gd name="T17" fmla="*/ 138 h 160"/>
                <a:gd name="T18" fmla="*/ 38 w 130"/>
                <a:gd name="T19" fmla="*/ 146 h 160"/>
                <a:gd name="T20" fmla="*/ 30 w 130"/>
                <a:gd name="T21" fmla="*/ 152 h 160"/>
                <a:gd name="T22" fmla="*/ 26 w 130"/>
                <a:gd name="T23" fmla="*/ 156 h 160"/>
                <a:gd name="T24" fmla="*/ 26 w 130"/>
                <a:gd name="T25" fmla="*/ 160 h 160"/>
                <a:gd name="T26" fmla="*/ 20 w 130"/>
                <a:gd name="T27" fmla="*/ 160 h 160"/>
                <a:gd name="T28" fmla="*/ 16 w 130"/>
                <a:gd name="T29" fmla="*/ 160 h 160"/>
                <a:gd name="T30" fmla="*/ 12 w 130"/>
                <a:gd name="T31" fmla="*/ 160 h 160"/>
                <a:gd name="T32" fmla="*/ 8 w 130"/>
                <a:gd name="T33" fmla="*/ 152 h 160"/>
                <a:gd name="T34" fmla="*/ 12 w 130"/>
                <a:gd name="T35" fmla="*/ 150 h 160"/>
                <a:gd name="T36" fmla="*/ 8 w 130"/>
                <a:gd name="T37" fmla="*/ 138 h 160"/>
                <a:gd name="T38" fmla="*/ 4 w 130"/>
                <a:gd name="T39" fmla="*/ 128 h 160"/>
                <a:gd name="T40" fmla="*/ 0 w 130"/>
                <a:gd name="T41" fmla="*/ 124 h 160"/>
                <a:gd name="T42" fmla="*/ 0 w 130"/>
                <a:gd name="T43" fmla="*/ 104 h 160"/>
                <a:gd name="T44" fmla="*/ 0 w 130"/>
                <a:gd name="T45" fmla="*/ 90 h 160"/>
                <a:gd name="T46" fmla="*/ 0 w 130"/>
                <a:gd name="T47" fmla="*/ 74 h 160"/>
                <a:gd name="T48" fmla="*/ 16 w 130"/>
                <a:gd name="T49" fmla="*/ 68 h 160"/>
                <a:gd name="T50" fmla="*/ 16 w 130"/>
                <a:gd name="T51" fmla="*/ 22 h 160"/>
                <a:gd name="T52" fmla="*/ 26 w 130"/>
                <a:gd name="T53" fmla="*/ 8 h 160"/>
                <a:gd name="T54" fmla="*/ 46 w 130"/>
                <a:gd name="T55" fmla="*/ 4 h 160"/>
                <a:gd name="T56" fmla="*/ 50 w 130"/>
                <a:gd name="T57" fmla="*/ 8 h 160"/>
                <a:gd name="T58" fmla="*/ 54 w 130"/>
                <a:gd name="T59" fmla="*/ 12 h 160"/>
                <a:gd name="T60" fmla="*/ 56 w 130"/>
                <a:gd name="T61" fmla="*/ 8 h 160"/>
                <a:gd name="T62" fmla="*/ 64 w 130"/>
                <a:gd name="T63" fmla="*/ 4 h 160"/>
                <a:gd name="T64" fmla="*/ 68 w 130"/>
                <a:gd name="T65" fmla="*/ 0 h 160"/>
                <a:gd name="T66" fmla="*/ 76 w 130"/>
                <a:gd name="T67" fmla="*/ 0 h 160"/>
                <a:gd name="T68" fmla="*/ 76 w 130"/>
                <a:gd name="T69" fmla="*/ 4 h 160"/>
                <a:gd name="T70" fmla="*/ 80 w 130"/>
                <a:gd name="T71" fmla="*/ 8 h 160"/>
                <a:gd name="T72" fmla="*/ 82 w 130"/>
                <a:gd name="T73" fmla="*/ 18 h 160"/>
                <a:gd name="T74" fmla="*/ 86 w 130"/>
                <a:gd name="T75" fmla="*/ 22 h 160"/>
                <a:gd name="T76" fmla="*/ 90 w 130"/>
                <a:gd name="T77" fmla="*/ 30 h 160"/>
                <a:gd name="T78" fmla="*/ 94 w 130"/>
                <a:gd name="T79" fmla="*/ 34 h 160"/>
                <a:gd name="T80" fmla="*/ 102 w 130"/>
                <a:gd name="T81" fmla="*/ 38 h 160"/>
                <a:gd name="T82" fmla="*/ 106 w 130"/>
                <a:gd name="T83" fmla="*/ 46 h 160"/>
                <a:gd name="T84" fmla="*/ 110 w 130"/>
                <a:gd name="T85" fmla="*/ 46 h 160"/>
                <a:gd name="T86" fmla="*/ 110 w 130"/>
                <a:gd name="T87" fmla="*/ 52 h 160"/>
                <a:gd name="T88" fmla="*/ 112 w 130"/>
                <a:gd name="T89" fmla="*/ 64 h 160"/>
                <a:gd name="T90" fmla="*/ 116 w 130"/>
                <a:gd name="T91" fmla="*/ 68 h 160"/>
                <a:gd name="T92" fmla="*/ 120 w 130"/>
                <a:gd name="T93" fmla="*/ 68 h 160"/>
                <a:gd name="T94" fmla="*/ 126 w 130"/>
                <a:gd name="T95" fmla="*/ 68 h 160"/>
                <a:gd name="T96" fmla="*/ 126 w 130"/>
                <a:gd name="T97" fmla="*/ 74 h 160"/>
                <a:gd name="T98" fmla="*/ 130 w 130"/>
                <a:gd name="T99" fmla="*/ 74 h 160"/>
                <a:gd name="T100" fmla="*/ 126 w 130"/>
                <a:gd name="T101" fmla="*/ 78 h 160"/>
                <a:gd name="T102" fmla="*/ 126 w 130"/>
                <a:gd name="T103" fmla="*/ 82 h 160"/>
                <a:gd name="T104" fmla="*/ 116 w 130"/>
                <a:gd name="T105" fmla="*/ 86 h 160"/>
                <a:gd name="T106" fmla="*/ 112 w 130"/>
                <a:gd name="T107" fmla="*/ 90 h 160"/>
                <a:gd name="T108" fmla="*/ 110 w 130"/>
                <a:gd name="T109" fmla="*/ 98 h 160"/>
                <a:gd name="T110" fmla="*/ 102 w 130"/>
                <a:gd name="T111" fmla="*/ 100 h 160"/>
                <a:gd name="T112" fmla="*/ 98 w 130"/>
                <a:gd name="T113" fmla="*/ 108 h 160"/>
                <a:gd name="T114" fmla="*/ 94 w 130"/>
                <a:gd name="T115" fmla="*/ 116 h 160"/>
                <a:gd name="T116" fmla="*/ 90 w 130"/>
                <a:gd name="T11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 h="160">
                  <a:moveTo>
                    <a:pt x="90" y="120"/>
                  </a:moveTo>
                  <a:lnTo>
                    <a:pt x="90" y="120"/>
                  </a:lnTo>
                  <a:lnTo>
                    <a:pt x="90" y="120"/>
                  </a:lnTo>
                  <a:lnTo>
                    <a:pt x="90" y="120"/>
                  </a:lnTo>
                  <a:lnTo>
                    <a:pt x="86" y="120"/>
                  </a:lnTo>
                  <a:lnTo>
                    <a:pt x="86" y="120"/>
                  </a:lnTo>
                  <a:lnTo>
                    <a:pt x="82" y="124"/>
                  </a:lnTo>
                  <a:lnTo>
                    <a:pt x="82" y="124"/>
                  </a:lnTo>
                  <a:lnTo>
                    <a:pt x="82" y="124"/>
                  </a:lnTo>
                  <a:lnTo>
                    <a:pt x="82" y="124"/>
                  </a:lnTo>
                  <a:lnTo>
                    <a:pt x="82" y="128"/>
                  </a:lnTo>
                  <a:lnTo>
                    <a:pt x="82" y="130"/>
                  </a:lnTo>
                  <a:lnTo>
                    <a:pt x="80" y="134"/>
                  </a:lnTo>
                  <a:lnTo>
                    <a:pt x="80" y="134"/>
                  </a:lnTo>
                  <a:lnTo>
                    <a:pt x="80" y="138"/>
                  </a:lnTo>
                  <a:lnTo>
                    <a:pt x="80" y="138"/>
                  </a:lnTo>
                  <a:lnTo>
                    <a:pt x="80" y="138"/>
                  </a:lnTo>
                  <a:lnTo>
                    <a:pt x="80" y="138"/>
                  </a:lnTo>
                  <a:lnTo>
                    <a:pt x="76" y="138"/>
                  </a:lnTo>
                  <a:lnTo>
                    <a:pt x="76" y="142"/>
                  </a:lnTo>
                  <a:lnTo>
                    <a:pt x="76" y="142"/>
                  </a:lnTo>
                  <a:lnTo>
                    <a:pt x="72" y="142"/>
                  </a:lnTo>
                  <a:lnTo>
                    <a:pt x="72" y="138"/>
                  </a:lnTo>
                  <a:lnTo>
                    <a:pt x="72" y="138"/>
                  </a:lnTo>
                  <a:lnTo>
                    <a:pt x="72" y="138"/>
                  </a:lnTo>
                  <a:lnTo>
                    <a:pt x="72" y="138"/>
                  </a:lnTo>
                  <a:lnTo>
                    <a:pt x="72" y="142"/>
                  </a:lnTo>
                  <a:lnTo>
                    <a:pt x="68" y="142"/>
                  </a:lnTo>
                  <a:lnTo>
                    <a:pt x="68" y="142"/>
                  </a:lnTo>
                  <a:lnTo>
                    <a:pt x="68" y="142"/>
                  </a:lnTo>
                  <a:lnTo>
                    <a:pt x="68" y="142"/>
                  </a:lnTo>
                  <a:lnTo>
                    <a:pt x="64" y="142"/>
                  </a:lnTo>
                  <a:lnTo>
                    <a:pt x="64" y="142"/>
                  </a:lnTo>
                  <a:lnTo>
                    <a:pt x="64" y="142"/>
                  </a:lnTo>
                  <a:lnTo>
                    <a:pt x="64" y="138"/>
                  </a:lnTo>
                  <a:lnTo>
                    <a:pt x="64" y="138"/>
                  </a:lnTo>
                  <a:lnTo>
                    <a:pt x="64" y="142"/>
                  </a:lnTo>
                  <a:lnTo>
                    <a:pt x="60" y="142"/>
                  </a:lnTo>
                  <a:lnTo>
                    <a:pt x="60" y="138"/>
                  </a:lnTo>
                  <a:lnTo>
                    <a:pt x="60" y="138"/>
                  </a:lnTo>
                  <a:lnTo>
                    <a:pt x="60" y="138"/>
                  </a:lnTo>
                  <a:lnTo>
                    <a:pt x="60" y="138"/>
                  </a:lnTo>
                  <a:lnTo>
                    <a:pt x="60" y="138"/>
                  </a:lnTo>
                  <a:lnTo>
                    <a:pt x="56" y="138"/>
                  </a:lnTo>
                  <a:lnTo>
                    <a:pt x="56" y="138"/>
                  </a:lnTo>
                  <a:lnTo>
                    <a:pt x="56" y="138"/>
                  </a:lnTo>
                  <a:lnTo>
                    <a:pt x="56" y="138"/>
                  </a:lnTo>
                  <a:lnTo>
                    <a:pt x="56" y="138"/>
                  </a:lnTo>
                  <a:lnTo>
                    <a:pt x="54" y="134"/>
                  </a:lnTo>
                  <a:lnTo>
                    <a:pt x="54" y="134"/>
                  </a:lnTo>
                  <a:lnTo>
                    <a:pt x="54" y="134"/>
                  </a:lnTo>
                  <a:lnTo>
                    <a:pt x="54" y="134"/>
                  </a:lnTo>
                  <a:lnTo>
                    <a:pt x="54" y="134"/>
                  </a:lnTo>
                  <a:lnTo>
                    <a:pt x="50" y="130"/>
                  </a:lnTo>
                  <a:lnTo>
                    <a:pt x="50" y="130"/>
                  </a:lnTo>
                  <a:lnTo>
                    <a:pt x="46" y="130"/>
                  </a:lnTo>
                  <a:lnTo>
                    <a:pt x="46" y="130"/>
                  </a:lnTo>
                  <a:lnTo>
                    <a:pt x="42" y="130"/>
                  </a:lnTo>
                  <a:lnTo>
                    <a:pt x="42" y="130"/>
                  </a:lnTo>
                  <a:lnTo>
                    <a:pt x="42" y="134"/>
                  </a:lnTo>
                  <a:lnTo>
                    <a:pt x="42" y="134"/>
                  </a:lnTo>
                  <a:lnTo>
                    <a:pt x="42" y="138"/>
                  </a:lnTo>
                  <a:lnTo>
                    <a:pt x="42" y="138"/>
                  </a:lnTo>
                  <a:lnTo>
                    <a:pt x="42" y="138"/>
                  </a:lnTo>
                  <a:lnTo>
                    <a:pt x="38" y="138"/>
                  </a:lnTo>
                  <a:lnTo>
                    <a:pt x="38" y="138"/>
                  </a:lnTo>
                  <a:lnTo>
                    <a:pt x="38" y="142"/>
                  </a:lnTo>
                  <a:lnTo>
                    <a:pt x="38" y="142"/>
                  </a:lnTo>
                  <a:lnTo>
                    <a:pt x="38" y="146"/>
                  </a:lnTo>
                  <a:lnTo>
                    <a:pt x="38" y="146"/>
                  </a:lnTo>
                  <a:lnTo>
                    <a:pt x="38" y="146"/>
                  </a:lnTo>
                  <a:lnTo>
                    <a:pt x="38" y="146"/>
                  </a:lnTo>
                  <a:lnTo>
                    <a:pt x="38" y="146"/>
                  </a:lnTo>
                  <a:lnTo>
                    <a:pt x="34" y="150"/>
                  </a:lnTo>
                  <a:lnTo>
                    <a:pt x="34" y="150"/>
                  </a:lnTo>
                  <a:lnTo>
                    <a:pt x="30" y="150"/>
                  </a:lnTo>
                  <a:lnTo>
                    <a:pt x="30" y="152"/>
                  </a:lnTo>
                  <a:lnTo>
                    <a:pt x="30" y="152"/>
                  </a:lnTo>
                  <a:lnTo>
                    <a:pt x="30" y="152"/>
                  </a:lnTo>
                  <a:lnTo>
                    <a:pt x="30" y="152"/>
                  </a:lnTo>
                  <a:lnTo>
                    <a:pt x="30" y="156"/>
                  </a:lnTo>
                  <a:lnTo>
                    <a:pt x="30" y="156"/>
                  </a:lnTo>
                  <a:lnTo>
                    <a:pt x="26" y="156"/>
                  </a:lnTo>
                  <a:lnTo>
                    <a:pt x="26" y="156"/>
                  </a:lnTo>
                  <a:lnTo>
                    <a:pt x="26" y="156"/>
                  </a:lnTo>
                  <a:lnTo>
                    <a:pt x="26" y="156"/>
                  </a:lnTo>
                  <a:lnTo>
                    <a:pt x="26" y="156"/>
                  </a:lnTo>
                  <a:lnTo>
                    <a:pt x="26" y="156"/>
                  </a:lnTo>
                  <a:lnTo>
                    <a:pt x="26" y="156"/>
                  </a:lnTo>
                  <a:lnTo>
                    <a:pt x="26" y="160"/>
                  </a:lnTo>
                  <a:lnTo>
                    <a:pt x="26" y="160"/>
                  </a:lnTo>
                  <a:lnTo>
                    <a:pt x="24" y="160"/>
                  </a:lnTo>
                  <a:lnTo>
                    <a:pt x="24" y="160"/>
                  </a:lnTo>
                  <a:lnTo>
                    <a:pt x="24" y="160"/>
                  </a:lnTo>
                  <a:lnTo>
                    <a:pt x="24" y="160"/>
                  </a:lnTo>
                  <a:lnTo>
                    <a:pt x="24" y="160"/>
                  </a:lnTo>
                  <a:lnTo>
                    <a:pt x="20" y="160"/>
                  </a:lnTo>
                  <a:lnTo>
                    <a:pt x="20" y="160"/>
                  </a:lnTo>
                  <a:lnTo>
                    <a:pt x="20" y="160"/>
                  </a:lnTo>
                  <a:lnTo>
                    <a:pt x="20" y="160"/>
                  </a:lnTo>
                  <a:lnTo>
                    <a:pt x="20" y="160"/>
                  </a:lnTo>
                  <a:lnTo>
                    <a:pt x="20" y="160"/>
                  </a:lnTo>
                  <a:lnTo>
                    <a:pt x="16" y="160"/>
                  </a:lnTo>
                  <a:lnTo>
                    <a:pt x="16" y="160"/>
                  </a:lnTo>
                  <a:lnTo>
                    <a:pt x="16" y="160"/>
                  </a:lnTo>
                  <a:lnTo>
                    <a:pt x="16" y="160"/>
                  </a:lnTo>
                  <a:lnTo>
                    <a:pt x="16" y="160"/>
                  </a:lnTo>
                  <a:lnTo>
                    <a:pt x="16" y="160"/>
                  </a:lnTo>
                  <a:lnTo>
                    <a:pt x="16" y="160"/>
                  </a:lnTo>
                  <a:lnTo>
                    <a:pt x="12" y="160"/>
                  </a:lnTo>
                  <a:lnTo>
                    <a:pt x="12" y="160"/>
                  </a:lnTo>
                  <a:lnTo>
                    <a:pt x="12" y="160"/>
                  </a:lnTo>
                  <a:lnTo>
                    <a:pt x="12" y="160"/>
                  </a:lnTo>
                  <a:lnTo>
                    <a:pt x="12" y="160"/>
                  </a:lnTo>
                  <a:lnTo>
                    <a:pt x="12" y="160"/>
                  </a:lnTo>
                  <a:lnTo>
                    <a:pt x="12" y="160"/>
                  </a:lnTo>
                  <a:lnTo>
                    <a:pt x="8" y="160"/>
                  </a:lnTo>
                  <a:lnTo>
                    <a:pt x="8" y="156"/>
                  </a:lnTo>
                  <a:lnTo>
                    <a:pt x="8" y="152"/>
                  </a:lnTo>
                  <a:lnTo>
                    <a:pt x="8" y="152"/>
                  </a:lnTo>
                  <a:lnTo>
                    <a:pt x="8" y="152"/>
                  </a:lnTo>
                  <a:lnTo>
                    <a:pt x="8" y="152"/>
                  </a:lnTo>
                  <a:lnTo>
                    <a:pt x="8" y="152"/>
                  </a:lnTo>
                  <a:lnTo>
                    <a:pt x="12" y="152"/>
                  </a:lnTo>
                  <a:lnTo>
                    <a:pt x="12" y="150"/>
                  </a:lnTo>
                  <a:lnTo>
                    <a:pt x="12" y="150"/>
                  </a:lnTo>
                  <a:lnTo>
                    <a:pt x="12" y="150"/>
                  </a:lnTo>
                  <a:lnTo>
                    <a:pt x="12" y="146"/>
                  </a:lnTo>
                  <a:lnTo>
                    <a:pt x="12" y="142"/>
                  </a:lnTo>
                  <a:lnTo>
                    <a:pt x="12" y="142"/>
                  </a:lnTo>
                  <a:lnTo>
                    <a:pt x="12" y="142"/>
                  </a:lnTo>
                  <a:lnTo>
                    <a:pt x="8" y="138"/>
                  </a:lnTo>
                  <a:lnTo>
                    <a:pt x="8" y="138"/>
                  </a:lnTo>
                  <a:lnTo>
                    <a:pt x="12" y="138"/>
                  </a:lnTo>
                  <a:lnTo>
                    <a:pt x="8" y="134"/>
                  </a:lnTo>
                  <a:lnTo>
                    <a:pt x="8" y="134"/>
                  </a:lnTo>
                  <a:lnTo>
                    <a:pt x="8" y="134"/>
                  </a:lnTo>
                  <a:lnTo>
                    <a:pt x="8" y="130"/>
                  </a:lnTo>
                  <a:lnTo>
                    <a:pt x="8" y="130"/>
                  </a:lnTo>
                  <a:lnTo>
                    <a:pt x="4" y="128"/>
                  </a:lnTo>
                  <a:lnTo>
                    <a:pt x="4" y="128"/>
                  </a:lnTo>
                  <a:lnTo>
                    <a:pt x="4" y="124"/>
                  </a:lnTo>
                  <a:lnTo>
                    <a:pt x="4" y="124"/>
                  </a:lnTo>
                  <a:lnTo>
                    <a:pt x="0" y="124"/>
                  </a:lnTo>
                  <a:lnTo>
                    <a:pt x="0" y="124"/>
                  </a:lnTo>
                  <a:lnTo>
                    <a:pt x="0" y="124"/>
                  </a:lnTo>
                  <a:lnTo>
                    <a:pt x="0" y="124"/>
                  </a:lnTo>
                  <a:lnTo>
                    <a:pt x="0" y="124"/>
                  </a:lnTo>
                  <a:lnTo>
                    <a:pt x="0" y="124"/>
                  </a:lnTo>
                  <a:lnTo>
                    <a:pt x="0" y="120"/>
                  </a:lnTo>
                  <a:lnTo>
                    <a:pt x="0" y="116"/>
                  </a:lnTo>
                  <a:lnTo>
                    <a:pt x="0" y="112"/>
                  </a:lnTo>
                  <a:lnTo>
                    <a:pt x="0" y="108"/>
                  </a:lnTo>
                  <a:lnTo>
                    <a:pt x="0" y="104"/>
                  </a:lnTo>
                  <a:lnTo>
                    <a:pt x="0" y="104"/>
                  </a:lnTo>
                  <a:lnTo>
                    <a:pt x="0" y="100"/>
                  </a:lnTo>
                  <a:lnTo>
                    <a:pt x="0" y="98"/>
                  </a:lnTo>
                  <a:lnTo>
                    <a:pt x="0" y="98"/>
                  </a:lnTo>
                  <a:lnTo>
                    <a:pt x="0" y="94"/>
                  </a:lnTo>
                  <a:lnTo>
                    <a:pt x="0" y="90"/>
                  </a:lnTo>
                  <a:lnTo>
                    <a:pt x="0" y="90"/>
                  </a:lnTo>
                  <a:lnTo>
                    <a:pt x="0" y="90"/>
                  </a:lnTo>
                  <a:lnTo>
                    <a:pt x="0" y="86"/>
                  </a:lnTo>
                  <a:lnTo>
                    <a:pt x="0" y="82"/>
                  </a:lnTo>
                  <a:lnTo>
                    <a:pt x="0" y="78"/>
                  </a:lnTo>
                  <a:lnTo>
                    <a:pt x="0" y="74"/>
                  </a:lnTo>
                  <a:lnTo>
                    <a:pt x="0" y="74"/>
                  </a:lnTo>
                  <a:lnTo>
                    <a:pt x="0" y="74"/>
                  </a:lnTo>
                  <a:lnTo>
                    <a:pt x="4" y="74"/>
                  </a:lnTo>
                  <a:lnTo>
                    <a:pt x="8" y="74"/>
                  </a:lnTo>
                  <a:lnTo>
                    <a:pt x="12" y="74"/>
                  </a:lnTo>
                  <a:lnTo>
                    <a:pt x="16" y="74"/>
                  </a:lnTo>
                  <a:lnTo>
                    <a:pt x="16" y="72"/>
                  </a:lnTo>
                  <a:lnTo>
                    <a:pt x="16" y="72"/>
                  </a:lnTo>
                  <a:lnTo>
                    <a:pt x="16" y="68"/>
                  </a:lnTo>
                  <a:lnTo>
                    <a:pt x="16" y="60"/>
                  </a:lnTo>
                  <a:lnTo>
                    <a:pt x="16" y="56"/>
                  </a:lnTo>
                  <a:lnTo>
                    <a:pt x="16" y="56"/>
                  </a:lnTo>
                  <a:lnTo>
                    <a:pt x="16" y="52"/>
                  </a:lnTo>
                  <a:lnTo>
                    <a:pt x="16" y="42"/>
                  </a:lnTo>
                  <a:lnTo>
                    <a:pt x="16" y="38"/>
                  </a:lnTo>
                  <a:lnTo>
                    <a:pt x="16" y="22"/>
                  </a:lnTo>
                  <a:lnTo>
                    <a:pt x="16" y="16"/>
                  </a:lnTo>
                  <a:lnTo>
                    <a:pt x="16" y="12"/>
                  </a:lnTo>
                  <a:lnTo>
                    <a:pt x="16" y="8"/>
                  </a:lnTo>
                  <a:lnTo>
                    <a:pt x="16" y="8"/>
                  </a:lnTo>
                  <a:lnTo>
                    <a:pt x="20" y="8"/>
                  </a:lnTo>
                  <a:lnTo>
                    <a:pt x="20" y="8"/>
                  </a:lnTo>
                  <a:lnTo>
                    <a:pt x="26" y="8"/>
                  </a:lnTo>
                  <a:lnTo>
                    <a:pt x="30" y="4"/>
                  </a:lnTo>
                  <a:lnTo>
                    <a:pt x="34" y="4"/>
                  </a:lnTo>
                  <a:lnTo>
                    <a:pt x="38" y="4"/>
                  </a:lnTo>
                  <a:lnTo>
                    <a:pt x="46" y="4"/>
                  </a:lnTo>
                  <a:lnTo>
                    <a:pt x="46" y="4"/>
                  </a:lnTo>
                  <a:lnTo>
                    <a:pt x="46" y="4"/>
                  </a:lnTo>
                  <a:lnTo>
                    <a:pt x="46" y="4"/>
                  </a:lnTo>
                  <a:lnTo>
                    <a:pt x="50" y="4"/>
                  </a:lnTo>
                  <a:lnTo>
                    <a:pt x="50" y="4"/>
                  </a:lnTo>
                  <a:lnTo>
                    <a:pt x="50" y="4"/>
                  </a:lnTo>
                  <a:lnTo>
                    <a:pt x="50" y="4"/>
                  </a:lnTo>
                  <a:lnTo>
                    <a:pt x="50" y="8"/>
                  </a:lnTo>
                  <a:lnTo>
                    <a:pt x="50" y="8"/>
                  </a:lnTo>
                  <a:lnTo>
                    <a:pt x="50" y="8"/>
                  </a:lnTo>
                  <a:lnTo>
                    <a:pt x="50" y="8"/>
                  </a:lnTo>
                  <a:lnTo>
                    <a:pt x="50" y="8"/>
                  </a:lnTo>
                  <a:lnTo>
                    <a:pt x="50" y="8"/>
                  </a:lnTo>
                  <a:lnTo>
                    <a:pt x="50" y="12"/>
                  </a:lnTo>
                  <a:lnTo>
                    <a:pt x="50" y="12"/>
                  </a:lnTo>
                  <a:lnTo>
                    <a:pt x="54" y="12"/>
                  </a:lnTo>
                  <a:lnTo>
                    <a:pt x="54" y="12"/>
                  </a:lnTo>
                  <a:lnTo>
                    <a:pt x="54" y="12"/>
                  </a:lnTo>
                  <a:lnTo>
                    <a:pt x="54" y="8"/>
                  </a:lnTo>
                  <a:lnTo>
                    <a:pt x="54" y="8"/>
                  </a:lnTo>
                  <a:lnTo>
                    <a:pt x="54" y="8"/>
                  </a:lnTo>
                  <a:lnTo>
                    <a:pt x="56" y="8"/>
                  </a:lnTo>
                  <a:lnTo>
                    <a:pt x="56" y="8"/>
                  </a:lnTo>
                  <a:lnTo>
                    <a:pt x="56" y="8"/>
                  </a:lnTo>
                  <a:lnTo>
                    <a:pt x="56" y="8"/>
                  </a:lnTo>
                  <a:lnTo>
                    <a:pt x="56" y="4"/>
                  </a:lnTo>
                  <a:lnTo>
                    <a:pt x="60" y="4"/>
                  </a:lnTo>
                  <a:lnTo>
                    <a:pt x="60" y="0"/>
                  </a:lnTo>
                  <a:lnTo>
                    <a:pt x="64" y="0"/>
                  </a:lnTo>
                  <a:lnTo>
                    <a:pt x="64" y="0"/>
                  </a:lnTo>
                  <a:lnTo>
                    <a:pt x="64" y="4"/>
                  </a:lnTo>
                  <a:lnTo>
                    <a:pt x="64" y="4"/>
                  </a:lnTo>
                  <a:lnTo>
                    <a:pt x="64" y="4"/>
                  </a:lnTo>
                  <a:lnTo>
                    <a:pt x="64" y="4"/>
                  </a:lnTo>
                  <a:lnTo>
                    <a:pt x="64" y="4"/>
                  </a:lnTo>
                  <a:lnTo>
                    <a:pt x="64" y="4"/>
                  </a:lnTo>
                  <a:lnTo>
                    <a:pt x="68" y="0"/>
                  </a:lnTo>
                  <a:lnTo>
                    <a:pt x="68" y="0"/>
                  </a:lnTo>
                  <a:lnTo>
                    <a:pt x="72" y="0"/>
                  </a:lnTo>
                  <a:lnTo>
                    <a:pt x="72" y="0"/>
                  </a:lnTo>
                  <a:lnTo>
                    <a:pt x="72" y="0"/>
                  </a:lnTo>
                  <a:lnTo>
                    <a:pt x="72" y="0"/>
                  </a:lnTo>
                  <a:lnTo>
                    <a:pt x="72" y="0"/>
                  </a:lnTo>
                  <a:lnTo>
                    <a:pt x="72" y="0"/>
                  </a:lnTo>
                  <a:lnTo>
                    <a:pt x="76" y="0"/>
                  </a:lnTo>
                  <a:lnTo>
                    <a:pt x="76" y="0"/>
                  </a:lnTo>
                  <a:lnTo>
                    <a:pt x="76" y="0"/>
                  </a:lnTo>
                  <a:lnTo>
                    <a:pt x="76" y="0"/>
                  </a:lnTo>
                  <a:lnTo>
                    <a:pt x="76" y="0"/>
                  </a:lnTo>
                  <a:lnTo>
                    <a:pt x="76" y="0"/>
                  </a:lnTo>
                  <a:lnTo>
                    <a:pt x="76" y="4"/>
                  </a:lnTo>
                  <a:lnTo>
                    <a:pt x="76" y="4"/>
                  </a:lnTo>
                  <a:lnTo>
                    <a:pt x="76" y="4"/>
                  </a:lnTo>
                  <a:lnTo>
                    <a:pt x="76" y="4"/>
                  </a:lnTo>
                  <a:lnTo>
                    <a:pt x="80" y="8"/>
                  </a:lnTo>
                  <a:lnTo>
                    <a:pt x="80" y="8"/>
                  </a:lnTo>
                  <a:lnTo>
                    <a:pt x="80" y="8"/>
                  </a:lnTo>
                  <a:lnTo>
                    <a:pt x="80" y="8"/>
                  </a:lnTo>
                  <a:lnTo>
                    <a:pt x="80" y="8"/>
                  </a:lnTo>
                  <a:lnTo>
                    <a:pt x="80" y="12"/>
                  </a:lnTo>
                  <a:lnTo>
                    <a:pt x="80" y="12"/>
                  </a:lnTo>
                  <a:lnTo>
                    <a:pt x="80" y="12"/>
                  </a:lnTo>
                  <a:lnTo>
                    <a:pt x="82" y="12"/>
                  </a:lnTo>
                  <a:lnTo>
                    <a:pt x="82" y="16"/>
                  </a:lnTo>
                  <a:lnTo>
                    <a:pt x="82" y="18"/>
                  </a:lnTo>
                  <a:lnTo>
                    <a:pt x="82" y="18"/>
                  </a:lnTo>
                  <a:lnTo>
                    <a:pt x="86" y="18"/>
                  </a:lnTo>
                  <a:lnTo>
                    <a:pt x="86" y="18"/>
                  </a:lnTo>
                  <a:lnTo>
                    <a:pt x="86" y="18"/>
                  </a:lnTo>
                  <a:lnTo>
                    <a:pt x="86" y="18"/>
                  </a:lnTo>
                  <a:lnTo>
                    <a:pt x="86" y="22"/>
                  </a:lnTo>
                  <a:lnTo>
                    <a:pt x="86" y="22"/>
                  </a:lnTo>
                  <a:lnTo>
                    <a:pt x="86" y="22"/>
                  </a:lnTo>
                  <a:lnTo>
                    <a:pt x="86" y="22"/>
                  </a:lnTo>
                  <a:lnTo>
                    <a:pt x="86" y="26"/>
                  </a:lnTo>
                  <a:lnTo>
                    <a:pt x="86" y="26"/>
                  </a:lnTo>
                  <a:lnTo>
                    <a:pt x="86" y="30"/>
                  </a:lnTo>
                  <a:lnTo>
                    <a:pt x="86" y="30"/>
                  </a:lnTo>
                  <a:lnTo>
                    <a:pt x="86" y="30"/>
                  </a:lnTo>
                  <a:lnTo>
                    <a:pt x="90" y="30"/>
                  </a:lnTo>
                  <a:lnTo>
                    <a:pt x="90" y="30"/>
                  </a:lnTo>
                  <a:lnTo>
                    <a:pt x="90" y="30"/>
                  </a:lnTo>
                  <a:lnTo>
                    <a:pt x="90" y="34"/>
                  </a:lnTo>
                  <a:lnTo>
                    <a:pt x="94" y="34"/>
                  </a:lnTo>
                  <a:lnTo>
                    <a:pt x="94" y="34"/>
                  </a:lnTo>
                  <a:lnTo>
                    <a:pt x="94" y="34"/>
                  </a:lnTo>
                  <a:lnTo>
                    <a:pt x="94" y="34"/>
                  </a:lnTo>
                  <a:lnTo>
                    <a:pt x="94" y="34"/>
                  </a:lnTo>
                  <a:lnTo>
                    <a:pt x="94" y="34"/>
                  </a:lnTo>
                  <a:lnTo>
                    <a:pt x="94" y="34"/>
                  </a:lnTo>
                  <a:lnTo>
                    <a:pt x="94" y="38"/>
                  </a:lnTo>
                  <a:lnTo>
                    <a:pt x="98" y="38"/>
                  </a:lnTo>
                  <a:lnTo>
                    <a:pt x="102" y="38"/>
                  </a:lnTo>
                  <a:lnTo>
                    <a:pt x="102" y="38"/>
                  </a:lnTo>
                  <a:lnTo>
                    <a:pt x="102" y="42"/>
                  </a:lnTo>
                  <a:lnTo>
                    <a:pt x="106" y="42"/>
                  </a:lnTo>
                  <a:lnTo>
                    <a:pt x="106" y="42"/>
                  </a:lnTo>
                  <a:lnTo>
                    <a:pt x="106" y="46"/>
                  </a:lnTo>
                  <a:lnTo>
                    <a:pt x="106" y="46"/>
                  </a:lnTo>
                  <a:lnTo>
                    <a:pt x="106" y="46"/>
                  </a:lnTo>
                  <a:lnTo>
                    <a:pt x="106" y="46"/>
                  </a:lnTo>
                  <a:lnTo>
                    <a:pt x="106" y="46"/>
                  </a:lnTo>
                  <a:lnTo>
                    <a:pt x="106" y="46"/>
                  </a:lnTo>
                  <a:lnTo>
                    <a:pt x="106" y="46"/>
                  </a:lnTo>
                  <a:lnTo>
                    <a:pt x="106" y="46"/>
                  </a:lnTo>
                  <a:lnTo>
                    <a:pt x="106" y="46"/>
                  </a:lnTo>
                  <a:lnTo>
                    <a:pt x="110" y="46"/>
                  </a:lnTo>
                  <a:lnTo>
                    <a:pt x="110" y="46"/>
                  </a:lnTo>
                  <a:lnTo>
                    <a:pt x="110" y="46"/>
                  </a:lnTo>
                  <a:lnTo>
                    <a:pt x="110" y="48"/>
                  </a:lnTo>
                  <a:lnTo>
                    <a:pt x="110" y="52"/>
                  </a:lnTo>
                  <a:lnTo>
                    <a:pt x="110" y="52"/>
                  </a:lnTo>
                  <a:lnTo>
                    <a:pt x="110" y="52"/>
                  </a:lnTo>
                  <a:lnTo>
                    <a:pt x="110" y="52"/>
                  </a:lnTo>
                  <a:lnTo>
                    <a:pt x="110" y="52"/>
                  </a:lnTo>
                  <a:lnTo>
                    <a:pt x="110" y="56"/>
                  </a:lnTo>
                  <a:lnTo>
                    <a:pt x="110" y="56"/>
                  </a:lnTo>
                  <a:lnTo>
                    <a:pt x="110" y="60"/>
                  </a:lnTo>
                  <a:lnTo>
                    <a:pt x="110" y="60"/>
                  </a:lnTo>
                  <a:lnTo>
                    <a:pt x="112" y="60"/>
                  </a:lnTo>
                  <a:lnTo>
                    <a:pt x="112" y="60"/>
                  </a:lnTo>
                  <a:lnTo>
                    <a:pt x="112" y="64"/>
                  </a:lnTo>
                  <a:lnTo>
                    <a:pt x="112" y="64"/>
                  </a:lnTo>
                  <a:lnTo>
                    <a:pt x="112" y="64"/>
                  </a:lnTo>
                  <a:lnTo>
                    <a:pt x="112" y="64"/>
                  </a:lnTo>
                  <a:lnTo>
                    <a:pt x="112" y="64"/>
                  </a:lnTo>
                  <a:lnTo>
                    <a:pt x="112" y="68"/>
                  </a:lnTo>
                  <a:lnTo>
                    <a:pt x="116" y="68"/>
                  </a:lnTo>
                  <a:lnTo>
                    <a:pt x="116" y="68"/>
                  </a:lnTo>
                  <a:lnTo>
                    <a:pt x="116" y="68"/>
                  </a:lnTo>
                  <a:lnTo>
                    <a:pt x="116" y="68"/>
                  </a:lnTo>
                  <a:lnTo>
                    <a:pt x="120" y="68"/>
                  </a:lnTo>
                  <a:lnTo>
                    <a:pt x="120" y="68"/>
                  </a:lnTo>
                  <a:lnTo>
                    <a:pt x="120" y="68"/>
                  </a:lnTo>
                  <a:lnTo>
                    <a:pt x="120" y="68"/>
                  </a:lnTo>
                  <a:lnTo>
                    <a:pt x="120" y="68"/>
                  </a:lnTo>
                  <a:lnTo>
                    <a:pt x="120" y="68"/>
                  </a:lnTo>
                  <a:lnTo>
                    <a:pt x="120" y="68"/>
                  </a:lnTo>
                  <a:lnTo>
                    <a:pt x="124" y="68"/>
                  </a:lnTo>
                  <a:lnTo>
                    <a:pt x="126" y="68"/>
                  </a:lnTo>
                  <a:lnTo>
                    <a:pt x="126" y="68"/>
                  </a:lnTo>
                  <a:lnTo>
                    <a:pt x="126" y="68"/>
                  </a:lnTo>
                  <a:lnTo>
                    <a:pt x="126" y="68"/>
                  </a:lnTo>
                  <a:lnTo>
                    <a:pt x="126" y="72"/>
                  </a:lnTo>
                  <a:lnTo>
                    <a:pt x="126" y="72"/>
                  </a:lnTo>
                  <a:lnTo>
                    <a:pt x="126" y="72"/>
                  </a:lnTo>
                  <a:lnTo>
                    <a:pt x="126" y="72"/>
                  </a:lnTo>
                  <a:lnTo>
                    <a:pt x="126" y="72"/>
                  </a:lnTo>
                  <a:lnTo>
                    <a:pt x="126" y="72"/>
                  </a:lnTo>
                  <a:lnTo>
                    <a:pt x="126" y="74"/>
                  </a:lnTo>
                  <a:lnTo>
                    <a:pt x="126" y="74"/>
                  </a:lnTo>
                  <a:lnTo>
                    <a:pt x="126" y="74"/>
                  </a:lnTo>
                  <a:lnTo>
                    <a:pt x="126" y="74"/>
                  </a:lnTo>
                  <a:lnTo>
                    <a:pt x="126" y="74"/>
                  </a:lnTo>
                  <a:lnTo>
                    <a:pt x="130" y="74"/>
                  </a:lnTo>
                  <a:lnTo>
                    <a:pt x="130" y="74"/>
                  </a:lnTo>
                  <a:lnTo>
                    <a:pt x="130" y="74"/>
                  </a:lnTo>
                  <a:lnTo>
                    <a:pt x="130" y="74"/>
                  </a:lnTo>
                  <a:lnTo>
                    <a:pt x="130" y="74"/>
                  </a:lnTo>
                  <a:lnTo>
                    <a:pt x="130" y="74"/>
                  </a:lnTo>
                  <a:lnTo>
                    <a:pt x="130" y="74"/>
                  </a:lnTo>
                  <a:lnTo>
                    <a:pt x="130" y="74"/>
                  </a:lnTo>
                  <a:lnTo>
                    <a:pt x="126" y="78"/>
                  </a:lnTo>
                  <a:lnTo>
                    <a:pt x="126" y="78"/>
                  </a:lnTo>
                  <a:lnTo>
                    <a:pt x="126" y="78"/>
                  </a:lnTo>
                  <a:lnTo>
                    <a:pt x="126" y="78"/>
                  </a:lnTo>
                  <a:lnTo>
                    <a:pt x="126" y="78"/>
                  </a:lnTo>
                  <a:lnTo>
                    <a:pt x="126" y="78"/>
                  </a:lnTo>
                  <a:lnTo>
                    <a:pt x="126" y="78"/>
                  </a:lnTo>
                  <a:lnTo>
                    <a:pt x="126" y="82"/>
                  </a:lnTo>
                  <a:lnTo>
                    <a:pt x="126" y="82"/>
                  </a:lnTo>
                  <a:lnTo>
                    <a:pt x="124" y="82"/>
                  </a:lnTo>
                  <a:lnTo>
                    <a:pt x="124" y="82"/>
                  </a:lnTo>
                  <a:lnTo>
                    <a:pt x="120" y="82"/>
                  </a:lnTo>
                  <a:lnTo>
                    <a:pt x="120" y="82"/>
                  </a:lnTo>
                  <a:lnTo>
                    <a:pt x="116" y="82"/>
                  </a:lnTo>
                  <a:lnTo>
                    <a:pt x="116" y="86"/>
                  </a:lnTo>
                  <a:lnTo>
                    <a:pt x="116" y="86"/>
                  </a:lnTo>
                  <a:lnTo>
                    <a:pt x="116" y="86"/>
                  </a:lnTo>
                  <a:lnTo>
                    <a:pt x="116" y="86"/>
                  </a:lnTo>
                  <a:lnTo>
                    <a:pt x="116" y="86"/>
                  </a:lnTo>
                  <a:lnTo>
                    <a:pt x="116" y="86"/>
                  </a:lnTo>
                  <a:lnTo>
                    <a:pt x="116" y="86"/>
                  </a:lnTo>
                  <a:lnTo>
                    <a:pt x="112" y="90"/>
                  </a:lnTo>
                  <a:lnTo>
                    <a:pt x="112" y="90"/>
                  </a:lnTo>
                  <a:lnTo>
                    <a:pt x="112" y="90"/>
                  </a:lnTo>
                  <a:lnTo>
                    <a:pt x="110" y="94"/>
                  </a:lnTo>
                  <a:lnTo>
                    <a:pt x="110" y="94"/>
                  </a:lnTo>
                  <a:lnTo>
                    <a:pt x="110" y="94"/>
                  </a:lnTo>
                  <a:lnTo>
                    <a:pt x="110" y="98"/>
                  </a:lnTo>
                  <a:lnTo>
                    <a:pt x="110" y="98"/>
                  </a:lnTo>
                  <a:lnTo>
                    <a:pt x="110" y="98"/>
                  </a:lnTo>
                  <a:lnTo>
                    <a:pt x="106" y="98"/>
                  </a:lnTo>
                  <a:lnTo>
                    <a:pt x="106" y="98"/>
                  </a:lnTo>
                  <a:lnTo>
                    <a:pt x="106" y="98"/>
                  </a:lnTo>
                  <a:lnTo>
                    <a:pt x="106" y="98"/>
                  </a:lnTo>
                  <a:lnTo>
                    <a:pt x="106" y="98"/>
                  </a:lnTo>
                  <a:lnTo>
                    <a:pt x="102" y="100"/>
                  </a:lnTo>
                  <a:lnTo>
                    <a:pt x="102" y="100"/>
                  </a:lnTo>
                  <a:lnTo>
                    <a:pt x="102" y="100"/>
                  </a:lnTo>
                  <a:lnTo>
                    <a:pt x="102" y="100"/>
                  </a:lnTo>
                  <a:lnTo>
                    <a:pt x="98" y="100"/>
                  </a:lnTo>
                  <a:lnTo>
                    <a:pt x="98" y="104"/>
                  </a:lnTo>
                  <a:lnTo>
                    <a:pt x="98" y="104"/>
                  </a:lnTo>
                  <a:lnTo>
                    <a:pt x="98" y="104"/>
                  </a:lnTo>
                  <a:lnTo>
                    <a:pt x="98" y="108"/>
                  </a:lnTo>
                  <a:lnTo>
                    <a:pt x="98" y="108"/>
                  </a:lnTo>
                  <a:lnTo>
                    <a:pt x="98" y="112"/>
                  </a:lnTo>
                  <a:lnTo>
                    <a:pt x="98" y="112"/>
                  </a:lnTo>
                  <a:lnTo>
                    <a:pt x="98" y="112"/>
                  </a:lnTo>
                  <a:lnTo>
                    <a:pt x="98" y="116"/>
                  </a:lnTo>
                  <a:lnTo>
                    <a:pt x="94" y="116"/>
                  </a:lnTo>
                  <a:lnTo>
                    <a:pt x="94" y="116"/>
                  </a:lnTo>
                  <a:lnTo>
                    <a:pt x="94" y="116"/>
                  </a:lnTo>
                  <a:lnTo>
                    <a:pt x="94" y="120"/>
                  </a:lnTo>
                  <a:lnTo>
                    <a:pt x="94" y="120"/>
                  </a:lnTo>
                  <a:lnTo>
                    <a:pt x="90" y="120"/>
                  </a:lnTo>
                  <a:lnTo>
                    <a:pt x="90" y="120"/>
                  </a:lnTo>
                  <a:lnTo>
                    <a:pt x="90" y="120"/>
                  </a:lnTo>
                  <a:lnTo>
                    <a:pt x="90" y="120"/>
                  </a:lnTo>
                  <a:lnTo>
                    <a:pt x="90" y="120"/>
                  </a:lnTo>
                  <a:lnTo>
                    <a:pt x="90" y="120"/>
                  </a:lnTo>
                  <a:lnTo>
                    <a:pt x="90" y="12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38" name="Freeform 131"/>
            <p:cNvSpPr>
              <a:spLocks/>
            </p:cNvSpPr>
            <p:nvPr/>
          </p:nvSpPr>
          <p:spPr bwMode="auto">
            <a:xfrm>
              <a:off x="6991302" y="3990457"/>
              <a:ext cx="70334" cy="64072"/>
            </a:xfrm>
            <a:custGeom>
              <a:avLst/>
              <a:gdLst>
                <a:gd name="T0" fmla="*/ 86 w 112"/>
                <a:gd name="T1" fmla="*/ 72 h 98"/>
                <a:gd name="T2" fmla="*/ 82 w 112"/>
                <a:gd name="T3" fmla="*/ 72 h 98"/>
                <a:gd name="T4" fmla="*/ 74 w 112"/>
                <a:gd name="T5" fmla="*/ 68 h 98"/>
                <a:gd name="T6" fmla="*/ 66 w 112"/>
                <a:gd name="T7" fmla="*/ 72 h 98"/>
                <a:gd name="T8" fmla="*/ 64 w 112"/>
                <a:gd name="T9" fmla="*/ 72 h 98"/>
                <a:gd name="T10" fmla="*/ 56 w 112"/>
                <a:gd name="T11" fmla="*/ 72 h 98"/>
                <a:gd name="T12" fmla="*/ 38 w 112"/>
                <a:gd name="T13" fmla="*/ 72 h 98"/>
                <a:gd name="T14" fmla="*/ 38 w 112"/>
                <a:gd name="T15" fmla="*/ 80 h 98"/>
                <a:gd name="T16" fmla="*/ 38 w 112"/>
                <a:gd name="T17" fmla="*/ 86 h 98"/>
                <a:gd name="T18" fmla="*/ 38 w 112"/>
                <a:gd name="T19" fmla="*/ 94 h 98"/>
                <a:gd name="T20" fmla="*/ 38 w 112"/>
                <a:gd name="T21" fmla="*/ 94 h 98"/>
                <a:gd name="T22" fmla="*/ 40 w 112"/>
                <a:gd name="T23" fmla="*/ 98 h 98"/>
                <a:gd name="T24" fmla="*/ 38 w 112"/>
                <a:gd name="T25" fmla="*/ 98 h 98"/>
                <a:gd name="T26" fmla="*/ 34 w 112"/>
                <a:gd name="T27" fmla="*/ 90 h 98"/>
                <a:gd name="T28" fmla="*/ 26 w 112"/>
                <a:gd name="T29" fmla="*/ 90 h 98"/>
                <a:gd name="T30" fmla="*/ 22 w 112"/>
                <a:gd name="T31" fmla="*/ 90 h 98"/>
                <a:gd name="T32" fmla="*/ 18 w 112"/>
                <a:gd name="T33" fmla="*/ 94 h 98"/>
                <a:gd name="T34" fmla="*/ 14 w 112"/>
                <a:gd name="T35" fmla="*/ 94 h 98"/>
                <a:gd name="T36" fmla="*/ 12 w 112"/>
                <a:gd name="T37" fmla="*/ 94 h 98"/>
                <a:gd name="T38" fmla="*/ 8 w 112"/>
                <a:gd name="T39" fmla="*/ 84 h 98"/>
                <a:gd name="T40" fmla="*/ 4 w 112"/>
                <a:gd name="T41" fmla="*/ 84 h 98"/>
                <a:gd name="T42" fmla="*/ 0 w 112"/>
                <a:gd name="T43" fmla="*/ 80 h 98"/>
                <a:gd name="T44" fmla="*/ 0 w 112"/>
                <a:gd name="T45" fmla="*/ 76 h 98"/>
                <a:gd name="T46" fmla="*/ 0 w 112"/>
                <a:gd name="T47" fmla="*/ 72 h 98"/>
                <a:gd name="T48" fmla="*/ 4 w 112"/>
                <a:gd name="T49" fmla="*/ 68 h 98"/>
                <a:gd name="T50" fmla="*/ 4 w 112"/>
                <a:gd name="T51" fmla="*/ 60 h 98"/>
                <a:gd name="T52" fmla="*/ 8 w 112"/>
                <a:gd name="T53" fmla="*/ 54 h 98"/>
                <a:gd name="T54" fmla="*/ 12 w 112"/>
                <a:gd name="T55" fmla="*/ 54 h 98"/>
                <a:gd name="T56" fmla="*/ 14 w 112"/>
                <a:gd name="T57" fmla="*/ 46 h 98"/>
                <a:gd name="T58" fmla="*/ 14 w 112"/>
                <a:gd name="T59" fmla="*/ 42 h 98"/>
                <a:gd name="T60" fmla="*/ 18 w 112"/>
                <a:gd name="T61" fmla="*/ 42 h 98"/>
                <a:gd name="T62" fmla="*/ 18 w 112"/>
                <a:gd name="T63" fmla="*/ 38 h 98"/>
                <a:gd name="T64" fmla="*/ 18 w 112"/>
                <a:gd name="T65" fmla="*/ 34 h 98"/>
                <a:gd name="T66" fmla="*/ 22 w 112"/>
                <a:gd name="T67" fmla="*/ 28 h 98"/>
                <a:gd name="T68" fmla="*/ 30 w 112"/>
                <a:gd name="T69" fmla="*/ 34 h 98"/>
                <a:gd name="T70" fmla="*/ 30 w 112"/>
                <a:gd name="T71" fmla="*/ 34 h 98"/>
                <a:gd name="T72" fmla="*/ 30 w 112"/>
                <a:gd name="T73" fmla="*/ 30 h 98"/>
                <a:gd name="T74" fmla="*/ 34 w 112"/>
                <a:gd name="T75" fmla="*/ 28 h 98"/>
                <a:gd name="T76" fmla="*/ 38 w 112"/>
                <a:gd name="T77" fmla="*/ 28 h 98"/>
                <a:gd name="T78" fmla="*/ 38 w 112"/>
                <a:gd name="T79" fmla="*/ 20 h 98"/>
                <a:gd name="T80" fmla="*/ 44 w 112"/>
                <a:gd name="T81" fmla="*/ 16 h 98"/>
                <a:gd name="T82" fmla="*/ 48 w 112"/>
                <a:gd name="T83" fmla="*/ 16 h 98"/>
                <a:gd name="T84" fmla="*/ 52 w 112"/>
                <a:gd name="T85" fmla="*/ 12 h 98"/>
                <a:gd name="T86" fmla="*/ 64 w 112"/>
                <a:gd name="T87" fmla="*/ 4 h 98"/>
                <a:gd name="T88" fmla="*/ 70 w 112"/>
                <a:gd name="T89" fmla="*/ 0 h 98"/>
                <a:gd name="T90" fmla="*/ 82 w 112"/>
                <a:gd name="T91" fmla="*/ 4 h 98"/>
                <a:gd name="T92" fmla="*/ 82 w 112"/>
                <a:gd name="T93" fmla="*/ 12 h 98"/>
                <a:gd name="T94" fmla="*/ 82 w 112"/>
                <a:gd name="T95" fmla="*/ 16 h 98"/>
                <a:gd name="T96" fmla="*/ 86 w 112"/>
                <a:gd name="T97" fmla="*/ 24 h 98"/>
                <a:gd name="T98" fmla="*/ 92 w 112"/>
                <a:gd name="T99" fmla="*/ 28 h 98"/>
                <a:gd name="T100" fmla="*/ 96 w 112"/>
                <a:gd name="T101" fmla="*/ 30 h 98"/>
                <a:gd name="T102" fmla="*/ 92 w 112"/>
                <a:gd name="T103" fmla="*/ 30 h 98"/>
                <a:gd name="T104" fmla="*/ 92 w 112"/>
                <a:gd name="T105" fmla="*/ 34 h 98"/>
                <a:gd name="T106" fmla="*/ 100 w 112"/>
                <a:gd name="T107" fmla="*/ 42 h 98"/>
                <a:gd name="T108" fmla="*/ 108 w 112"/>
                <a:gd name="T109" fmla="*/ 42 h 98"/>
                <a:gd name="T110" fmla="*/ 108 w 112"/>
                <a:gd name="T111" fmla="*/ 46 h 98"/>
                <a:gd name="T112" fmla="*/ 112 w 112"/>
                <a:gd name="T113" fmla="*/ 56 h 98"/>
                <a:gd name="T114" fmla="*/ 108 w 112"/>
                <a:gd name="T115" fmla="*/ 60 h 98"/>
                <a:gd name="T116" fmla="*/ 108 w 112"/>
                <a:gd name="T117" fmla="*/ 64 h 98"/>
                <a:gd name="T118" fmla="*/ 100 w 112"/>
                <a:gd name="T119" fmla="*/ 64 h 98"/>
                <a:gd name="T120" fmla="*/ 96 w 112"/>
                <a:gd name="T121" fmla="*/ 64 h 98"/>
                <a:gd name="T122" fmla="*/ 96 w 112"/>
                <a:gd name="T123" fmla="*/ 64 h 98"/>
                <a:gd name="T124" fmla="*/ 92 w 112"/>
                <a:gd name="T125" fmla="*/ 7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 h="98">
                  <a:moveTo>
                    <a:pt x="90" y="72"/>
                  </a:moveTo>
                  <a:lnTo>
                    <a:pt x="90" y="72"/>
                  </a:lnTo>
                  <a:lnTo>
                    <a:pt x="90" y="72"/>
                  </a:lnTo>
                  <a:lnTo>
                    <a:pt x="90" y="72"/>
                  </a:lnTo>
                  <a:lnTo>
                    <a:pt x="86" y="72"/>
                  </a:lnTo>
                  <a:lnTo>
                    <a:pt x="86" y="72"/>
                  </a:lnTo>
                  <a:lnTo>
                    <a:pt x="86" y="72"/>
                  </a:lnTo>
                  <a:lnTo>
                    <a:pt x="86" y="72"/>
                  </a:lnTo>
                  <a:lnTo>
                    <a:pt x="86" y="72"/>
                  </a:lnTo>
                  <a:lnTo>
                    <a:pt x="82" y="72"/>
                  </a:lnTo>
                  <a:lnTo>
                    <a:pt x="82" y="72"/>
                  </a:lnTo>
                  <a:lnTo>
                    <a:pt x="78" y="68"/>
                  </a:lnTo>
                  <a:lnTo>
                    <a:pt x="78" y="68"/>
                  </a:lnTo>
                  <a:lnTo>
                    <a:pt x="74" y="68"/>
                  </a:lnTo>
                  <a:lnTo>
                    <a:pt x="74" y="68"/>
                  </a:lnTo>
                  <a:lnTo>
                    <a:pt x="74" y="68"/>
                  </a:lnTo>
                  <a:lnTo>
                    <a:pt x="74" y="68"/>
                  </a:lnTo>
                  <a:lnTo>
                    <a:pt x="74" y="72"/>
                  </a:lnTo>
                  <a:lnTo>
                    <a:pt x="70" y="72"/>
                  </a:lnTo>
                  <a:lnTo>
                    <a:pt x="66" y="72"/>
                  </a:lnTo>
                  <a:lnTo>
                    <a:pt x="66" y="72"/>
                  </a:lnTo>
                  <a:lnTo>
                    <a:pt x="66" y="72"/>
                  </a:lnTo>
                  <a:lnTo>
                    <a:pt x="66" y="72"/>
                  </a:lnTo>
                  <a:lnTo>
                    <a:pt x="66" y="72"/>
                  </a:lnTo>
                  <a:lnTo>
                    <a:pt x="64" y="72"/>
                  </a:lnTo>
                  <a:lnTo>
                    <a:pt x="64" y="72"/>
                  </a:lnTo>
                  <a:lnTo>
                    <a:pt x="60" y="72"/>
                  </a:lnTo>
                  <a:lnTo>
                    <a:pt x="60" y="72"/>
                  </a:lnTo>
                  <a:lnTo>
                    <a:pt x="56" y="72"/>
                  </a:lnTo>
                  <a:lnTo>
                    <a:pt x="56" y="72"/>
                  </a:lnTo>
                  <a:lnTo>
                    <a:pt x="52" y="72"/>
                  </a:lnTo>
                  <a:lnTo>
                    <a:pt x="48" y="72"/>
                  </a:lnTo>
                  <a:lnTo>
                    <a:pt x="44" y="72"/>
                  </a:lnTo>
                  <a:lnTo>
                    <a:pt x="40" y="72"/>
                  </a:lnTo>
                  <a:lnTo>
                    <a:pt x="38" y="72"/>
                  </a:lnTo>
                  <a:lnTo>
                    <a:pt x="38" y="72"/>
                  </a:lnTo>
                  <a:lnTo>
                    <a:pt x="38" y="72"/>
                  </a:lnTo>
                  <a:lnTo>
                    <a:pt x="38" y="76"/>
                  </a:lnTo>
                  <a:lnTo>
                    <a:pt x="38" y="76"/>
                  </a:lnTo>
                  <a:lnTo>
                    <a:pt x="38" y="80"/>
                  </a:lnTo>
                  <a:lnTo>
                    <a:pt x="38" y="80"/>
                  </a:lnTo>
                  <a:lnTo>
                    <a:pt x="38" y="80"/>
                  </a:lnTo>
                  <a:lnTo>
                    <a:pt x="38" y="84"/>
                  </a:lnTo>
                  <a:lnTo>
                    <a:pt x="38" y="84"/>
                  </a:lnTo>
                  <a:lnTo>
                    <a:pt x="38" y="86"/>
                  </a:lnTo>
                  <a:lnTo>
                    <a:pt x="38" y="86"/>
                  </a:lnTo>
                  <a:lnTo>
                    <a:pt x="38" y="86"/>
                  </a:lnTo>
                  <a:lnTo>
                    <a:pt x="38" y="90"/>
                  </a:lnTo>
                  <a:lnTo>
                    <a:pt x="40" y="90"/>
                  </a:lnTo>
                  <a:lnTo>
                    <a:pt x="38" y="94"/>
                  </a:lnTo>
                  <a:lnTo>
                    <a:pt x="38" y="94"/>
                  </a:lnTo>
                  <a:lnTo>
                    <a:pt x="40" y="94"/>
                  </a:lnTo>
                  <a:lnTo>
                    <a:pt x="40" y="94"/>
                  </a:lnTo>
                  <a:lnTo>
                    <a:pt x="40" y="94"/>
                  </a:lnTo>
                  <a:lnTo>
                    <a:pt x="38" y="94"/>
                  </a:lnTo>
                  <a:lnTo>
                    <a:pt x="38" y="98"/>
                  </a:lnTo>
                  <a:lnTo>
                    <a:pt x="40" y="98"/>
                  </a:lnTo>
                  <a:lnTo>
                    <a:pt x="40" y="98"/>
                  </a:lnTo>
                  <a:lnTo>
                    <a:pt x="40" y="98"/>
                  </a:lnTo>
                  <a:lnTo>
                    <a:pt x="40" y="98"/>
                  </a:lnTo>
                  <a:lnTo>
                    <a:pt x="40" y="98"/>
                  </a:lnTo>
                  <a:lnTo>
                    <a:pt x="40" y="98"/>
                  </a:lnTo>
                  <a:lnTo>
                    <a:pt x="38" y="98"/>
                  </a:lnTo>
                  <a:lnTo>
                    <a:pt x="38" y="98"/>
                  </a:lnTo>
                  <a:lnTo>
                    <a:pt x="38" y="98"/>
                  </a:lnTo>
                  <a:lnTo>
                    <a:pt x="38" y="98"/>
                  </a:lnTo>
                  <a:lnTo>
                    <a:pt x="38" y="94"/>
                  </a:lnTo>
                  <a:lnTo>
                    <a:pt x="38" y="94"/>
                  </a:lnTo>
                  <a:lnTo>
                    <a:pt x="38" y="94"/>
                  </a:lnTo>
                  <a:lnTo>
                    <a:pt x="34" y="90"/>
                  </a:lnTo>
                  <a:lnTo>
                    <a:pt x="34" y="90"/>
                  </a:lnTo>
                  <a:lnTo>
                    <a:pt x="30" y="90"/>
                  </a:lnTo>
                  <a:lnTo>
                    <a:pt x="26" y="90"/>
                  </a:lnTo>
                  <a:lnTo>
                    <a:pt x="26" y="90"/>
                  </a:lnTo>
                  <a:lnTo>
                    <a:pt x="26" y="90"/>
                  </a:lnTo>
                  <a:lnTo>
                    <a:pt x="22" y="90"/>
                  </a:lnTo>
                  <a:lnTo>
                    <a:pt x="22" y="90"/>
                  </a:lnTo>
                  <a:lnTo>
                    <a:pt x="22" y="90"/>
                  </a:lnTo>
                  <a:lnTo>
                    <a:pt x="22" y="90"/>
                  </a:lnTo>
                  <a:lnTo>
                    <a:pt x="22" y="90"/>
                  </a:lnTo>
                  <a:lnTo>
                    <a:pt x="18" y="90"/>
                  </a:lnTo>
                  <a:lnTo>
                    <a:pt x="18" y="94"/>
                  </a:lnTo>
                  <a:lnTo>
                    <a:pt x="18" y="94"/>
                  </a:lnTo>
                  <a:lnTo>
                    <a:pt x="18" y="94"/>
                  </a:lnTo>
                  <a:lnTo>
                    <a:pt x="18" y="94"/>
                  </a:lnTo>
                  <a:lnTo>
                    <a:pt x="18" y="94"/>
                  </a:lnTo>
                  <a:lnTo>
                    <a:pt x="18" y="94"/>
                  </a:lnTo>
                  <a:lnTo>
                    <a:pt x="14" y="94"/>
                  </a:lnTo>
                  <a:lnTo>
                    <a:pt x="14" y="94"/>
                  </a:lnTo>
                  <a:lnTo>
                    <a:pt x="14" y="94"/>
                  </a:lnTo>
                  <a:lnTo>
                    <a:pt x="12" y="94"/>
                  </a:lnTo>
                  <a:lnTo>
                    <a:pt x="12" y="94"/>
                  </a:lnTo>
                  <a:lnTo>
                    <a:pt x="12" y="94"/>
                  </a:lnTo>
                  <a:lnTo>
                    <a:pt x="12" y="94"/>
                  </a:lnTo>
                  <a:lnTo>
                    <a:pt x="12" y="94"/>
                  </a:lnTo>
                  <a:lnTo>
                    <a:pt x="12" y="90"/>
                  </a:lnTo>
                  <a:lnTo>
                    <a:pt x="12" y="90"/>
                  </a:lnTo>
                  <a:lnTo>
                    <a:pt x="8" y="90"/>
                  </a:lnTo>
                  <a:lnTo>
                    <a:pt x="8" y="86"/>
                  </a:lnTo>
                  <a:lnTo>
                    <a:pt x="8" y="84"/>
                  </a:lnTo>
                  <a:lnTo>
                    <a:pt x="4" y="84"/>
                  </a:lnTo>
                  <a:lnTo>
                    <a:pt x="4" y="84"/>
                  </a:lnTo>
                  <a:lnTo>
                    <a:pt x="4" y="84"/>
                  </a:lnTo>
                  <a:lnTo>
                    <a:pt x="4" y="84"/>
                  </a:lnTo>
                  <a:lnTo>
                    <a:pt x="4" y="84"/>
                  </a:lnTo>
                  <a:lnTo>
                    <a:pt x="0" y="84"/>
                  </a:lnTo>
                  <a:lnTo>
                    <a:pt x="0" y="84"/>
                  </a:lnTo>
                  <a:lnTo>
                    <a:pt x="0" y="84"/>
                  </a:lnTo>
                  <a:lnTo>
                    <a:pt x="0" y="84"/>
                  </a:lnTo>
                  <a:lnTo>
                    <a:pt x="0" y="80"/>
                  </a:lnTo>
                  <a:lnTo>
                    <a:pt x="0" y="80"/>
                  </a:lnTo>
                  <a:lnTo>
                    <a:pt x="0" y="76"/>
                  </a:lnTo>
                  <a:lnTo>
                    <a:pt x="0" y="76"/>
                  </a:lnTo>
                  <a:lnTo>
                    <a:pt x="0" y="76"/>
                  </a:lnTo>
                  <a:lnTo>
                    <a:pt x="0" y="76"/>
                  </a:lnTo>
                  <a:lnTo>
                    <a:pt x="0" y="76"/>
                  </a:lnTo>
                  <a:lnTo>
                    <a:pt x="0" y="72"/>
                  </a:lnTo>
                  <a:lnTo>
                    <a:pt x="0" y="72"/>
                  </a:lnTo>
                  <a:lnTo>
                    <a:pt x="0" y="72"/>
                  </a:lnTo>
                  <a:lnTo>
                    <a:pt x="0" y="72"/>
                  </a:lnTo>
                  <a:lnTo>
                    <a:pt x="0" y="72"/>
                  </a:lnTo>
                  <a:lnTo>
                    <a:pt x="4" y="72"/>
                  </a:lnTo>
                  <a:lnTo>
                    <a:pt x="4" y="68"/>
                  </a:lnTo>
                  <a:lnTo>
                    <a:pt x="4" y="68"/>
                  </a:lnTo>
                  <a:lnTo>
                    <a:pt x="4" y="68"/>
                  </a:lnTo>
                  <a:lnTo>
                    <a:pt x="4" y="68"/>
                  </a:lnTo>
                  <a:lnTo>
                    <a:pt x="4" y="64"/>
                  </a:lnTo>
                  <a:lnTo>
                    <a:pt x="4" y="60"/>
                  </a:lnTo>
                  <a:lnTo>
                    <a:pt x="4" y="60"/>
                  </a:lnTo>
                  <a:lnTo>
                    <a:pt x="4" y="60"/>
                  </a:lnTo>
                  <a:lnTo>
                    <a:pt x="4" y="56"/>
                  </a:lnTo>
                  <a:lnTo>
                    <a:pt x="4" y="56"/>
                  </a:lnTo>
                  <a:lnTo>
                    <a:pt x="4" y="56"/>
                  </a:lnTo>
                  <a:lnTo>
                    <a:pt x="4" y="56"/>
                  </a:lnTo>
                  <a:lnTo>
                    <a:pt x="8" y="54"/>
                  </a:lnTo>
                  <a:lnTo>
                    <a:pt x="8" y="54"/>
                  </a:lnTo>
                  <a:lnTo>
                    <a:pt x="8" y="54"/>
                  </a:lnTo>
                  <a:lnTo>
                    <a:pt x="12" y="54"/>
                  </a:lnTo>
                  <a:lnTo>
                    <a:pt x="12" y="54"/>
                  </a:lnTo>
                  <a:lnTo>
                    <a:pt x="12" y="54"/>
                  </a:lnTo>
                  <a:lnTo>
                    <a:pt x="12" y="54"/>
                  </a:lnTo>
                  <a:lnTo>
                    <a:pt x="14" y="50"/>
                  </a:lnTo>
                  <a:lnTo>
                    <a:pt x="14" y="50"/>
                  </a:lnTo>
                  <a:lnTo>
                    <a:pt x="14" y="50"/>
                  </a:lnTo>
                  <a:lnTo>
                    <a:pt x="14" y="46"/>
                  </a:lnTo>
                  <a:lnTo>
                    <a:pt x="14" y="46"/>
                  </a:lnTo>
                  <a:lnTo>
                    <a:pt x="14" y="46"/>
                  </a:lnTo>
                  <a:lnTo>
                    <a:pt x="14" y="46"/>
                  </a:lnTo>
                  <a:lnTo>
                    <a:pt x="14" y="42"/>
                  </a:lnTo>
                  <a:lnTo>
                    <a:pt x="14" y="42"/>
                  </a:lnTo>
                  <a:lnTo>
                    <a:pt x="14" y="42"/>
                  </a:lnTo>
                  <a:lnTo>
                    <a:pt x="14" y="42"/>
                  </a:lnTo>
                  <a:lnTo>
                    <a:pt x="14" y="42"/>
                  </a:lnTo>
                  <a:lnTo>
                    <a:pt x="18" y="42"/>
                  </a:lnTo>
                  <a:lnTo>
                    <a:pt x="18" y="42"/>
                  </a:lnTo>
                  <a:lnTo>
                    <a:pt x="18" y="42"/>
                  </a:lnTo>
                  <a:lnTo>
                    <a:pt x="18" y="42"/>
                  </a:lnTo>
                  <a:lnTo>
                    <a:pt x="18" y="38"/>
                  </a:lnTo>
                  <a:lnTo>
                    <a:pt x="18" y="38"/>
                  </a:lnTo>
                  <a:lnTo>
                    <a:pt x="18" y="38"/>
                  </a:lnTo>
                  <a:lnTo>
                    <a:pt x="18" y="38"/>
                  </a:lnTo>
                  <a:lnTo>
                    <a:pt x="18" y="38"/>
                  </a:lnTo>
                  <a:lnTo>
                    <a:pt x="18" y="34"/>
                  </a:lnTo>
                  <a:lnTo>
                    <a:pt x="18" y="34"/>
                  </a:lnTo>
                  <a:lnTo>
                    <a:pt x="18" y="34"/>
                  </a:lnTo>
                  <a:lnTo>
                    <a:pt x="18" y="30"/>
                  </a:lnTo>
                  <a:lnTo>
                    <a:pt x="18" y="30"/>
                  </a:lnTo>
                  <a:lnTo>
                    <a:pt x="22" y="28"/>
                  </a:lnTo>
                  <a:lnTo>
                    <a:pt x="22" y="28"/>
                  </a:lnTo>
                  <a:lnTo>
                    <a:pt x="22" y="28"/>
                  </a:lnTo>
                  <a:lnTo>
                    <a:pt x="22" y="30"/>
                  </a:lnTo>
                  <a:lnTo>
                    <a:pt x="26" y="30"/>
                  </a:lnTo>
                  <a:lnTo>
                    <a:pt x="26" y="34"/>
                  </a:lnTo>
                  <a:lnTo>
                    <a:pt x="26" y="34"/>
                  </a:lnTo>
                  <a:lnTo>
                    <a:pt x="30" y="34"/>
                  </a:lnTo>
                  <a:lnTo>
                    <a:pt x="30" y="34"/>
                  </a:lnTo>
                  <a:lnTo>
                    <a:pt x="30" y="34"/>
                  </a:lnTo>
                  <a:lnTo>
                    <a:pt x="30" y="34"/>
                  </a:lnTo>
                  <a:lnTo>
                    <a:pt x="30" y="34"/>
                  </a:lnTo>
                  <a:lnTo>
                    <a:pt x="30" y="34"/>
                  </a:lnTo>
                  <a:lnTo>
                    <a:pt x="30" y="34"/>
                  </a:lnTo>
                  <a:lnTo>
                    <a:pt x="30" y="30"/>
                  </a:lnTo>
                  <a:lnTo>
                    <a:pt x="30" y="30"/>
                  </a:lnTo>
                  <a:lnTo>
                    <a:pt x="30" y="30"/>
                  </a:lnTo>
                  <a:lnTo>
                    <a:pt x="30" y="30"/>
                  </a:lnTo>
                  <a:lnTo>
                    <a:pt x="34" y="30"/>
                  </a:lnTo>
                  <a:lnTo>
                    <a:pt x="34" y="30"/>
                  </a:lnTo>
                  <a:lnTo>
                    <a:pt x="34" y="30"/>
                  </a:lnTo>
                  <a:lnTo>
                    <a:pt x="34" y="28"/>
                  </a:lnTo>
                  <a:lnTo>
                    <a:pt x="34" y="28"/>
                  </a:lnTo>
                  <a:lnTo>
                    <a:pt x="34" y="24"/>
                  </a:lnTo>
                  <a:lnTo>
                    <a:pt x="34" y="24"/>
                  </a:lnTo>
                  <a:lnTo>
                    <a:pt x="34" y="28"/>
                  </a:lnTo>
                  <a:lnTo>
                    <a:pt x="38" y="28"/>
                  </a:lnTo>
                  <a:lnTo>
                    <a:pt x="38" y="28"/>
                  </a:lnTo>
                  <a:lnTo>
                    <a:pt x="38" y="28"/>
                  </a:lnTo>
                  <a:lnTo>
                    <a:pt x="38" y="24"/>
                  </a:lnTo>
                  <a:lnTo>
                    <a:pt x="38" y="24"/>
                  </a:lnTo>
                  <a:lnTo>
                    <a:pt x="38" y="20"/>
                  </a:lnTo>
                  <a:lnTo>
                    <a:pt x="38" y="20"/>
                  </a:lnTo>
                  <a:lnTo>
                    <a:pt x="40" y="16"/>
                  </a:lnTo>
                  <a:lnTo>
                    <a:pt x="40" y="16"/>
                  </a:lnTo>
                  <a:lnTo>
                    <a:pt x="44" y="16"/>
                  </a:lnTo>
                  <a:lnTo>
                    <a:pt x="44" y="16"/>
                  </a:lnTo>
                  <a:lnTo>
                    <a:pt x="44" y="16"/>
                  </a:lnTo>
                  <a:lnTo>
                    <a:pt x="44" y="16"/>
                  </a:lnTo>
                  <a:lnTo>
                    <a:pt x="48" y="16"/>
                  </a:lnTo>
                  <a:lnTo>
                    <a:pt x="48" y="16"/>
                  </a:lnTo>
                  <a:lnTo>
                    <a:pt x="48" y="16"/>
                  </a:lnTo>
                  <a:lnTo>
                    <a:pt x="48" y="16"/>
                  </a:lnTo>
                  <a:lnTo>
                    <a:pt x="48" y="12"/>
                  </a:lnTo>
                  <a:lnTo>
                    <a:pt x="48" y="12"/>
                  </a:lnTo>
                  <a:lnTo>
                    <a:pt x="48" y="12"/>
                  </a:lnTo>
                  <a:lnTo>
                    <a:pt x="48" y="12"/>
                  </a:lnTo>
                  <a:lnTo>
                    <a:pt x="52" y="12"/>
                  </a:lnTo>
                  <a:lnTo>
                    <a:pt x="52" y="12"/>
                  </a:lnTo>
                  <a:lnTo>
                    <a:pt x="56" y="12"/>
                  </a:lnTo>
                  <a:lnTo>
                    <a:pt x="60" y="8"/>
                  </a:lnTo>
                  <a:lnTo>
                    <a:pt x="60" y="8"/>
                  </a:lnTo>
                  <a:lnTo>
                    <a:pt x="64" y="4"/>
                  </a:lnTo>
                  <a:lnTo>
                    <a:pt x="64" y="4"/>
                  </a:lnTo>
                  <a:lnTo>
                    <a:pt x="64" y="4"/>
                  </a:lnTo>
                  <a:lnTo>
                    <a:pt x="66" y="0"/>
                  </a:lnTo>
                  <a:lnTo>
                    <a:pt x="66" y="0"/>
                  </a:lnTo>
                  <a:lnTo>
                    <a:pt x="70" y="0"/>
                  </a:lnTo>
                  <a:lnTo>
                    <a:pt x="74" y="0"/>
                  </a:lnTo>
                  <a:lnTo>
                    <a:pt x="74" y="0"/>
                  </a:lnTo>
                  <a:lnTo>
                    <a:pt x="78" y="0"/>
                  </a:lnTo>
                  <a:lnTo>
                    <a:pt x="82" y="4"/>
                  </a:lnTo>
                  <a:lnTo>
                    <a:pt x="82" y="4"/>
                  </a:lnTo>
                  <a:lnTo>
                    <a:pt x="82" y="4"/>
                  </a:lnTo>
                  <a:lnTo>
                    <a:pt x="82" y="4"/>
                  </a:lnTo>
                  <a:lnTo>
                    <a:pt x="82" y="8"/>
                  </a:lnTo>
                  <a:lnTo>
                    <a:pt x="82" y="8"/>
                  </a:lnTo>
                  <a:lnTo>
                    <a:pt x="82" y="12"/>
                  </a:lnTo>
                  <a:lnTo>
                    <a:pt x="82" y="12"/>
                  </a:lnTo>
                  <a:lnTo>
                    <a:pt x="82" y="12"/>
                  </a:lnTo>
                  <a:lnTo>
                    <a:pt x="82" y="12"/>
                  </a:lnTo>
                  <a:lnTo>
                    <a:pt x="82" y="12"/>
                  </a:lnTo>
                  <a:lnTo>
                    <a:pt x="82" y="16"/>
                  </a:lnTo>
                  <a:lnTo>
                    <a:pt x="86" y="16"/>
                  </a:lnTo>
                  <a:lnTo>
                    <a:pt x="82" y="16"/>
                  </a:lnTo>
                  <a:lnTo>
                    <a:pt x="82" y="16"/>
                  </a:lnTo>
                  <a:lnTo>
                    <a:pt x="86" y="20"/>
                  </a:lnTo>
                  <a:lnTo>
                    <a:pt x="86" y="24"/>
                  </a:lnTo>
                  <a:lnTo>
                    <a:pt x="86" y="24"/>
                  </a:lnTo>
                  <a:lnTo>
                    <a:pt x="86" y="28"/>
                  </a:lnTo>
                  <a:lnTo>
                    <a:pt x="90" y="28"/>
                  </a:lnTo>
                  <a:lnTo>
                    <a:pt x="92" y="28"/>
                  </a:lnTo>
                  <a:lnTo>
                    <a:pt x="92" y="28"/>
                  </a:lnTo>
                  <a:lnTo>
                    <a:pt x="92" y="28"/>
                  </a:lnTo>
                  <a:lnTo>
                    <a:pt x="92" y="30"/>
                  </a:lnTo>
                  <a:lnTo>
                    <a:pt x="92" y="30"/>
                  </a:lnTo>
                  <a:lnTo>
                    <a:pt x="92" y="30"/>
                  </a:lnTo>
                  <a:lnTo>
                    <a:pt x="96" y="30"/>
                  </a:lnTo>
                  <a:lnTo>
                    <a:pt x="96" y="30"/>
                  </a:lnTo>
                  <a:lnTo>
                    <a:pt x="96" y="30"/>
                  </a:lnTo>
                  <a:lnTo>
                    <a:pt x="92" y="30"/>
                  </a:lnTo>
                  <a:lnTo>
                    <a:pt x="92" y="30"/>
                  </a:lnTo>
                  <a:lnTo>
                    <a:pt x="92" y="30"/>
                  </a:lnTo>
                  <a:lnTo>
                    <a:pt x="92" y="30"/>
                  </a:lnTo>
                  <a:lnTo>
                    <a:pt x="92" y="30"/>
                  </a:lnTo>
                  <a:lnTo>
                    <a:pt x="92" y="30"/>
                  </a:lnTo>
                  <a:lnTo>
                    <a:pt x="92" y="30"/>
                  </a:lnTo>
                  <a:lnTo>
                    <a:pt x="92" y="34"/>
                  </a:lnTo>
                  <a:lnTo>
                    <a:pt x="92" y="34"/>
                  </a:lnTo>
                  <a:lnTo>
                    <a:pt x="92" y="38"/>
                  </a:lnTo>
                  <a:lnTo>
                    <a:pt x="92" y="38"/>
                  </a:lnTo>
                  <a:lnTo>
                    <a:pt x="96" y="38"/>
                  </a:lnTo>
                  <a:lnTo>
                    <a:pt x="100" y="42"/>
                  </a:lnTo>
                  <a:lnTo>
                    <a:pt x="104" y="46"/>
                  </a:lnTo>
                  <a:lnTo>
                    <a:pt x="104" y="42"/>
                  </a:lnTo>
                  <a:lnTo>
                    <a:pt x="108" y="42"/>
                  </a:lnTo>
                  <a:lnTo>
                    <a:pt x="108" y="42"/>
                  </a:lnTo>
                  <a:lnTo>
                    <a:pt x="108" y="42"/>
                  </a:lnTo>
                  <a:lnTo>
                    <a:pt x="108" y="42"/>
                  </a:lnTo>
                  <a:lnTo>
                    <a:pt x="108" y="46"/>
                  </a:lnTo>
                  <a:lnTo>
                    <a:pt x="112" y="46"/>
                  </a:lnTo>
                  <a:lnTo>
                    <a:pt x="108" y="46"/>
                  </a:lnTo>
                  <a:lnTo>
                    <a:pt x="108" y="46"/>
                  </a:lnTo>
                  <a:lnTo>
                    <a:pt x="108" y="50"/>
                  </a:lnTo>
                  <a:lnTo>
                    <a:pt x="108" y="50"/>
                  </a:lnTo>
                  <a:lnTo>
                    <a:pt x="112" y="54"/>
                  </a:lnTo>
                  <a:lnTo>
                    <a:pt x="112" y="56"/>
                  </a:lnTo>
                  <a:lnTo>
                    <a:pt x="112" y="56"/>
                  </a:lnTo>
                  <a:lnTo>
                    <a:pt x="112" y="56"/>
                  </a:lnTo>
                  <a:lnTo>
                    <a:pt x="112" y="56"/>
                  </a:lnTo>
                  <a:lnTo>
                    <a:pt x="112" y="60"/>
                  </a:lnTo>
                  <a:lnTo>
                    <a:pt x="112" y="60"/>
                  </a:lnTo>
                  <a:lnTo>
                    <a:pt x="108" y="60"/>
                  </a:lnTo>
                  <a:lnTo>
                    <a:pt x="108" y="64"/>
                  </a:lnTo>
                  <a:lnTo>
                    <a:pt x="108" y="64"/>
                  </a:lnTo>
                  <a:lnTo>
                    <a:pt x="108" y="64"/>
                  </a:lnTo>
                  <a:lnTo>
                    <a:pt x="108" y="64"/>
                  </a:lnTo>
                  <a:lnTo>
                    <a:pt x="108" y="64"/>
                  </a:lnTo>
                  <a:lnTo>
                    <a:pt x="104" y="64"/>
                  </a:lnTo>
                  <a:lnTo>
                    <a:pt x="104" y="64"/>
                  </a:lnTo>
                  <a:lnTo>
                    <a:pt x="104" y="64"/>
                  </a:lnTo>
                  <a:lnTo>
                    <a:pt x="104" y="64"/>
                  </a:lnTo>
                  <a:lnTo>
                    <a:pt x="100" y="64"/>
                  </a:lnTo>
                  <a:lnTo>
                    <a:pt x="100" y="64"/>
                  </a:lnTo>
                  <a:lnTo>
                    <a:pt x="100" y="64"/>
                  </a:lnTo>
                  <a:lnTo>
                    <a:pt x="100" y="64"/>
                  </a:lnTo>
                  <a:lnTo>
                    <a:pt x="100" y="64"/>
                  </a:lnTo>
                  <a:lnTo>
                    <a:pt x="96" y="64"/>
                  </a:lnTo>
                  <a:lnTo>
                    <a:pt x="96" y="64"/>
                  </a:lnTo>
                  <a:lnTo>
                    <a:pt x="96" y="64"/>
                  </a:lnTo>
                  <a:lnTo>
                    <a:pt x="96" y="64"/>
                  </a:lnTo>
                  <a:lnTo>
                    <a:pt x="96" y="64"/>
                  </a:lnTo>
                  <a:lnTo>
                    <a:pt x="96" y="64"/>
                  </a:lnTo>
                  <a:lnTo>
                    <a:pt x="96" y="68"/>
                  </a:lnTo>
                  <a:lnTo>
                    <a:pt x="96" y="68"/>
                  </a:lnTo>
                  <a:lnTo>
                    <a:pt x="92" y="68"/>
                  </a:lnTo>
                  <a:lnTo>
                    <a:pt x="92" y="68"/>
                  </a:lnTo>
                  <a:lnTo>
                    <a:pt x="92" y="72"/>
                  </a:lnTo>
                  <a:lnTo>
                    <a:pt x="92" y="72"/>
                  </a:lnTo>
                  <a:lnTo>
                    <a:pt x="90" y="72"/>
                  </a:lnTo>
                  <a:lnTo>
                    <a:pt x="90" y="72"/>
                  </a:lnTo>
                  <a:lnTo>
                    <a:pt x="90" y="7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39" name="Freeform 132"/>
            <p:cNvSpPr>
              <a:spLocks/>
            </p:cNvSpPr>
            <p:nvPr/>
          </p:nvSpPr>
          <p:spPr bwMode="auto">
            <a:xfrm>
              <a:off x="7297757" y="4186595"/>
              <a:ext cx="16328" cy="23536"/>
            </a:xfrm>
            <a:custGeom>
              <a:avLst/>
              <a:gdLst>
                <a:gd name="T0" fmla="*/ 26 w 26"/>
                <a:gd name="T1" fmla="*/ 14 h 36"/>
                <a:gd name="T2" fmla="*/ 26 w 26"/>
                <a:gd name="T3" fmla="*/ 18 h 36"/>
                <a:gd name="T4" fmla="*/ 22 w 26"/>
                <a:gd name="T5" fmla="*/ 18 h 36"/>
                <a:gd name="T6" fmla="*/ 22 w 26"/>
                <a:gd name="T7" fmla="*/ 18 h 36"/>
                <a:gd name="T8" fmla="*/ 22 w 26"/>
                <a:gd name="T9" fmla="*/ 18 h 36"/>
                <a:gd name="T10" fmla="*/ 22 w 26"/>
                <a:gd name="T11" fmla="*/ 18 h 36"/>
                <a:gd name="T12" fmla="*/ 18 w 26"/>
                <a:gd name="T13" fmla="*/ 22 h 36"/>
                <a:gd name="T14" fmla="*/ 18 w 26"/>
                <a:gd name="T15" fmla="*/ 24 h 36"/>
                <a:gd name="T16" fmla="*/ 18 w 26"/>
                <a:gd name="T17" fmla="*/ 24 h 36"/>
                <a:gd name="T18" fmla="*/ 18 w 26"/>
                <a:gd name="T19" fmla="*/ 28 h 36"/>
                <a:gd name="T20" fmla="*/ 10 w 26"/>
                <a:gd name="T21" fmla="*/ 36 h 36"/>
                <a:gd name="T22" fmla="*/ 8 w 26"/>
                <a:gd name="T23" fmla="*/ 36 h 36"/>
                <a:gd name="T24" fmla="*/ 8 w 26"/>
                <a:gd name="T25" fmla="*/ 32 h 36"/>
                <a:gd name="T26" fmla="*/ 4 w 26"/>
                <a:gd name="T27" fmla="*/ 28 h 36"/>
                <a:gd name="T28" fmla="*/ 4 w 26"/>
                <a:gd name="T29" fmla="*/ 28 h 36"/>
                <a:gd name="T30" fmla="*/ 4 w 26"/>
                <a:gd name="T31" fmla="*/ 28 h 36"/>
                <a:gd name="T32" fmla="*/ 4 w 26"/>
                <a:gd name="T33" fmla="*/ 24 h 36"/>
                <a:gd name="T34" fmla="*/ 4 w 26"/>
                <a:gd name="T35" fmla="*/ 24 h 36"/>
                <a:gd name="T36" fmla="*/ 4 w 26"/>
                <a:gd name="T37" fmla="*/ 22 h 36"/>
                <a:gd name="T38" fmla="*/ 4 w 26"/>
                <a:gd name="T39" fmla="*/ 18 h 36"/>
                <a:gd name="T40" fmla="*/ 4 w 26"/>
                <a:gd name="T41" fmla="*/ 18 h 36"/>
                <a:gd name="T42" fmla="*/ 4 w 26"/>
                <a:gd name="T43" fmla="*/ 14 h 36"/>
                <a:gd name="T44" fmla="*/ 4 w 26"/>
                <a:gd name="T45" fmla="*/ 10 h 36"/>
                <a:gd name="T46" fmla="*/ 0 w 26"/>
                <a:gd name="T47" fmla="*/ 8 h 36"/>
                <a:gd name="T48" fmla="*/ 0 w 26"/>
                <a:gd name="T49" fmla="*/ 8 h 36"/>
                <a:gd name="T50" fmla="*/ 0 w 26"/>
                <a:gd name="T51" fmla="*/ 8 h 36"/>
                <a:gd name="T52" fmla="*/ 4 w 26"/>
                <a:gd name="T53" fmla="*/ 4 h 36"/>
                <a:gd name="T54" fmla="*/ 4 w 26"/>
                <a:gd name="T55" fmla="*/ 8 h 36"/>
                <a:gd name="T56" fmla="*/ 4 w 26"/>
                <a:gd name="T57" fmla="*/ 8 h 36"/>
                <a:gd name="T58" fmla="*/ 8 w 26"/>
                <a:gd name="T59" fmla="*/ 8 h 36"/>
                <a:gd name="T60" fmla="*/ 8 w 26"/>
                <a:gd name="T61" fmla="*/ 8 h 36"/>
                <a:gd name="T62" fmla="*/ 8 w 26"/>
                <a:gd name="T63" fmla="*/ 8 h 36"/>
                <a:gd name="T64" fmla="*/ 10 w 26"/>
                <a:gd name="T65" fmla="*/ 8 h 36"/>
                <a:gd name="T66" fmla="*/ 10 w 26"/>
                <a:gd name="T67" fmla="*/ 8 h 36"/>
                <a:gd name="T68" fmla="*/ 14 w 26"/>
                <a:gd name="T69" fmla="*/ 4 h 36"/>
                <a:gd name="T70" fmla="*/ 14 w 26"/>
                <a:gd name="T71" fmla="*/ 0 h 36"/>
                <a:gd name="T72" fmla="*/ 14 w 26"/>
                <a:gd name="T73" fmla="*/ 4 h 36"/>
                <a:gd name="T74" fmla="*/ 18 w 26"/>
                <a:gd name="T75" fmla="*/ 0 h 36"/>
                <a:gd name="T76" fmla="*/ 22 w 26"/>
                <a:gd name="T77" fmla="*/ 0 h 36"/>
                <a:gd name="T78" fmla="*/ 22 w 26"/>
                <a:gd name="T79" fmla="*/ 0 h 36"/>
                <a:gd name="T80" fmla="*/ 18 w 26"/>
                <a:gd name="T81" fmla="*/ 10 h 36"/>
                <a:gd name="T82" fmla="*/ 22 w 26"/>
                <a:gd name="T83" fmla="*/ 10 h 36"/>
                <a:gd name="T84" fmla="*/ 22 w 26"/>
                <a:gd name="T85" fmla="*/ 10 h 36"/>
                <a:gd name="T86" fmla="*/ 26 w 26"/>
                <a:gd name="T87"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6">
                  <a:moveTo>
                    <a:pt x="26" y="10"/>
                  </a:moveTo>
                  <a:lnTo>
                    <a:pt x="26" y="10"/>
                  </a:lnTo>
                  <a:lnTo>
                    <a:pt x="26" y="14"/>
                  </a:lnTo>
                  <a:lnTo>
                    <a:pt x="26" y="14"/>
                  </a:lnTo>
                  <a:lnTo>
                    <a:pt x="26" y="14"/>
                  </a:lnTo>
                  <a:lnTo>
                    <a:pt x="26" y="18"/>
                  </a:lnTo>
                  <a:lnTo>
                    <a:pt x="26" y="18"/>
                  </a:lnTo>
                  <a:lnTo>
                    <a:pt x="26" y="18"/>
                  </a:lnTo>
                  <a:lnTo>
                    <a:pt x="22" y="18"/>
                  </a:lnTo>
                  <a:lnTo>
                    <a:pt x="22" y="18"/>
                  </a:lnTo>
                  <a:lnTo>
                    <a:pt x="22" y="18"/>
                  </a:lnTo>
                  <a:lnTo>
                    <a:pt x="22" y="18"/>
                  </a:lnTo>
                  <a:lnTo>
                    <a:pt x="22" y="18"/>
                  </a:lnTo>
                  <a:lnTo>
                    <a:pt x="22" y="18"/>
                  </a:lnTo>
                  <a:lnTo>
                    <a:pt x="22" y="18"/>
                  </a:lnTo>
                  <a:lnTo>
                    <a:pt x="22" y="18"/>
                  </a:lnTo>
                  <a:lnTo>
                    <a:pt x="22" y="18"/>
                  </a:lnTo>
                  <a:lnTo>
                    <a:pt x="22" y="18"/>
                  </a:lnTo>
                  <a:lnTo>
                    <a:pt x="22" y="22"/>
                  </a:lnTo>
                  <a:lnTo>
                    <a:pt x="22" y="22"/>
                  </a:lnTo>
                  <a:lnTo>
                    <a:pt x="18" y="22"/>
                  </a:lnTo>
                  <a:lnTo>
                    <a:pt x="18" y="24"/>
                  </a:lnTo>
                  <a:lnTo>
                    <a:pt x="18" y="24"/>
                  </a:lnTo>
                  <a:lnTo>
                    <a:pt x="18" y="24"/>
                  </a:lnTo>
                  <a:lnTo>
                    <a:pt x="18" y="24"/>
                  </a:lnTo>
                  <a:lnTo>
                    <a:pt x="18" y="24"/>
                  </a:lnTo>
                  <a:lnTo>
                    <a:pt x="18" y="24"/>
                  </a:lnTo>
                  <a:lnTo>
                    <a:pt x="18" y="28"/>
                  </a:lnTo>
                  <a:lnTo>
                    <a:pt x="18" y="28"/>
                  </a:lnTo>
                  <a:lnTo>
                    <a:pt x="18" y="28"/>
                  </a:lnTo>
                  <a:lnTo>
                    <a:pt x="14" y="32"/>
                  </a:lnTo>
                  <a:lnTo>
                    <a:pt x="14" y="32"/>
                  </a:lnTo>
                  <a:lnTo>
                    <a:pt x="10" y="36"/>
                  </a:lnTo>
                  <a:lnTo>
                    <a:pt x="10" y="36"/>
                  </a:lnTo>
                  <a:lnTo>
                    <a:pt x="8" y="36"/>
                  </a:lnTo>
                  <a:lnTo>
                    <a:pt x="8" y="36"/>
                  </a:lnTo>
                  <a:lnTo>
                    <a:pt x="8" y="36"/>
                  </a:lnTo>
                  <a:lnTo>
                    <a:pt x="8" y="32"/>
                  </a:lnTo>
                  <a:lnTo>
                    <a:pt x="8" y="32"/>
                  </a:lnTo>
                  <a:lnTo>
                    <a:pt x="8" y="32"/>
                  </a:lnTo>
                  <a:lnTo>
                    <a:pt x="8" y="32"/>
                  </a:lnTo>
                  <a:lnTo>
                    <a:pt x="4" y="28"/>
                  </a:lnTo>
                  <a:lnTo>
                    <a:pt x="4" y="28"/>
                  </a:lnTo>
                  <a:lnTo>
                    <a:pt x="4" y="28"/>
                  </a:lnTo>
                  <a:lnTo>
                    <a:pt x="4" y="28"/>
                  </a:lnTo>
                  <a:lnTo>
                    <a:pt x="4" y="28"/>
                  </a:lnTo>
                  <a:lnTo>
                    <a:pt x="4" y="28"/>
                  </a:lnTo>
                  <a:lnTo>
                    <a:pt x="4" y="28"/>
                  </a:lnTo>
                  <a:lnTo>
                    <a:pt x="4" y="24"/>
                  </a:lnTo>
                  <a:lnTo>
                    <a:pt x="4" y="24"/>
                  </a:lnTo>
                  <a:lnTo>
                    <a:pt x="4" y="24"/>
                  </a:lnTo>
                  <a:lnTo>
                    <a:pt x="4" y="24"/>
                  </a:lnTo>
                  <a:lnTo>
                    <a:pt x="4" y="24"/>
                  </a:lnTo>
                  <a:lnTo>
                    <a:pt x="4" y="24"/>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4"/>
                  </a:lnTo>
                  <a:lnTo>
                    <a:pt x="4" y="10"/>
                  </a:lnTo>
                  <a:lnTo>
                    <a:pt x="4" y="10"/>
                  </a:lnTo>
                  <a:lnTo>
                    <a:pt x="4" y="10"/>
                  </a:lnTo>
                  <a:lnTo>
                    <a:pt x="0" y="8"/>
                  </a:lnTo>
                  <a:lnTo>
                    <a:pt x="0" y="8"/>
                  </a:lnTo>
                  <a:lnTo>
                    <a:pt x="0" y="8"/>
                  </a:lnTo>
                  <a:lnTo>
                    <a:pt x="0" y="8"/>
                  </a:lnTo>
                  <a:lnTo>
                    <a:pt x="0" y="8"/>
                  </a:lnTo>
                  <a:lnTo>
                    <a:pt x="0" y="8"/>
                  </a:lnTo>
                  <a:lnTo>
                    <a:pt x="0" y="8"/>
                  </a:lnTo>
                  <a:lnTo>
                    <a:pt x="0" y="4"/>
                  </a:lnTo>
                  <a:lnTo>
                    <a:pt x="0" y="4"/>
                  </a:lnTo>
                  <a:lnTo>
                    <a:pt x="4" y="4"/>
                  </a:lnTo>
                  <a:lnTo>
                    <a:pt x="4" y="8"/>
                  </a:lnTo>
                  <a:lnTo>
                    <a:pt x="4" y="8"/>
                  </a:lnTo>
                  <a:lnTo>
                    <a:pt x="4" y="8"/>
                  </a:lnTo>
                  <a:lnTo>
                    <a:pt x="4" y="8"/>
                  </a:lnTo>
                  <a:lnTo>
                    <a:pt x="4" y="8"/>
                  </a:lnTo>
                  <a:lnTo>
                    <a:pt x="4" y="8"/>
                  </a:lnTo>
                  <a:lnTo>
                    <a:pt x="4" y="8"/>
                  </a:lnTo>
                  <a:lnTo>
                    <a:pt x="4" y="8"/>
                  </a:lnTo>
                  <a:lnTo>
                    <a:pt x="8" y="8"/>
                  </a:lnTo>
                  <a:lnTo>
                    <a:pt x="8" y="8"/>
                  </a:lnTo>
                  <a:lnTo>
                    <a:pt x="8" y="8"/>
                  </a:lnTo>
                  <a:lnTo>
                    <a:pt x="8" y="8"/>
                  </a:lnTo>
                  <a:lnTo>
                    <a:pt x="8" y="8"/>
                  </a:lnTo>
                  <a:lnTo>
                    <a:pt x="8" y="8"/>
                  </a:lnTo>
                  <a:lnTo>
                    <a:pt x="8" y="8"/>
                  </a:lnTo>
                  <a:lnTo>
                    <a:pt x="10" y="8"/>
                  </a:lnTo>
                  <a:lnTo>
                    <a:pt x="10" y="8"/>
                  </a:lnTo>
                  <a:lnTo>
                    <a:pt x="10" y="8"/>
                  </a:lnTo>
                  <a:lnTo>
                    <a:pt x="10" y="8"/>
                  </a:lnTo>
                  <a:lnTo>
                    <a:pt x="10" y="8"/>
                  </a:lnTo>
                  <a:lnTo>
                    <a:pt x="10" y="8"/>
                  </a:lnTo>
                  <a:lnTo>
                    <a:pt x="14" y="8"/>
                  </a:lnTo>
                  <a:lnTo>
                    <a:pt x="14" y="8"/>
                  </a:lnTo>
                  <a:lnTo>
                    <a:pt x="14" y="4"/>
                  </a:lnTo>
                  <a:lnTo>
                    <a:pt x="14" y="0"/>
                  </a:lnTo>
                  <a:lnTo>
                    <a:pt x="14" y="0"/>
                  </a:lnTo>
                  <a:lnTo>
                    <a:pt x="14" y="0"/>
                  </a:lnTo>
                  <a:lnTo>
                    <a:pt x="14" y="0"/>
                  </a:lnTo>
                  <a:lnTo>
                    <a:pt x="14" y="4"/>
                  </a:lnTo>
                  <a:lnTo>
                    <a:pt x="14" y="4"/>
                  </a:lnTo>
                  <a:lnTo>
                    <a:pt x="14" y="4"/>
                  </a:lnTo>
                  <a:lnTo>
                    <a:pt x="18" y="0"/>
                  </a:lnTo>
                  <a:lnTo>
                    <a:pt x="18" y="0"/>
                  </a:lnTo>
                  <a:lnTo>
                    <a:pt x="18" y="0"/>
                  </a:lnTo>
                  <a:lnTo>
                    <a:pt x="22" y="0"/>
                  </a:lnTo>
                  <a:lnTo>
                    <a:pt x="22" y="0"/>
                  </a:lnTo>
                  <a:lnTo>
                    <a:pt x="22" y="0"/>
                  </a:lnTo>
                  <a:lnTo>
                    <a:pt x="22" y="0"/>
                  </a:lnTo>
                  <a:lnTo>
                    <a:pt x="22" y="0"/>
                  </a:lnTo>
                  <a:lnTo>
                    <a:pt x="22" y="4"/>
                  </a:lnTo>
                  <a:lnTo>
                    <a:pt x="22" y="4"/>
                  </a:lnTo>
                  <a:lnTo>
                    <a:pt x="18" y="10"/>
                  </a:lnTo>
                  <a:lnTo>
                    <a:pt x="22" y="10"/>
                  </a:lnTo>
                  <a:lnTo>
                    <a:pt x="22" y="10"/>
                  </a:lnTo>
                  <a:lnTo>
                    <a:pt x="22" y="10"/>
                  </a:lnTo>
                  <a:lnTo>
                    <a:pt x="22" y="10"/>
                  </a:lnTo>
                  <a:lnTo>
                    <a:pt x="22" y="10"/>
                  </a:lnTo>
                  <a:lnTo>
                    <a:pt x="22" y="10"/>
                  </a:lnTo>
                  <a:lnTo>
                    <a:pt x="26" y="10"/>
                  </a:lnTo>
                  <a:lnTo>
                    <a:pt x="26" y="10"/>
                  </a:lnTo>
                  <a:lnTo>
                    <a:pt x="26" y="10"/>
                  </a:lnTo>
                  <a:lnTo>
                    <a:pt x="26" y="1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40" name="Freeform 133"/>
            <p:cNvSpPr>
              <a:spLocks/>
            </p:cNvSpPr>
            <p:nvPr/>
          </p:nvSpPr>
          <p:spPr bwMode="auto">
            <a:xfrm>
              <a:off x="7114386" y="4012686"/>
              <a:ext cx="71590" cy="129451"/>
            </a:xfrm>
            <a:custGeom>
              <a:avLst/>
              <a:gdLst>
                <a:gd name="T0" fmla="*/ 24 w 114"/>
                <a:gd name="T1" fmla="*/ 188 h 198"/>
                <a:gd name="T2" fmla="*/ 20 w 114"/>
                <a:gd name="T3" fmla="*/ 176 h 198"/>
                <a:gd name="T4" fmla="*/ 20 w 114"/>
                <a:gd name="T5" fmla="*/ 168 h 198"/>
                <a:gd name="T6" fmla="*/ 20 w 114"/>
                <a:gd name="T7" fmla="*/ 162 h 198"/>
                <a:gd name="T8" fmla="*/ 12 w 114"/>
                <a:gd name="T9" fmla="*/ 162 h 198"/>
                <a:gd name="T10" fmla="*/ 8 w 114"/>
                <a:gd name="T11" fmla="*/ 154 h 198"/>
                <a:gd name="T12" fmla="*/ 8 w 114"/>
                <a:gd name="T13" fmla="*/ 150 h 198"/>
                <a:gd name="T14" fmla="*/ 4 w 114"/>
                <a:gd name="T15" fmla="*/ 150 h 198"/>
                <a:gd name="T16" fmla="*/ 4 w 114"/>
                <a:gd name="T17" fmla="*/ 142 h 198"/>
                <a:gd name="T18" fmla="*/ 8 w 114"/>
                <a:gd name="T19" fmla="*/ 132 h 198"/>
                <a:gd name="T20" fmla="*/ 12 w 114"/>
                <a:gd name="T21" fmla="*/ 120 h 198"/>
                <a:gd name="T22" fmla="*/ 20 w 114"/>
                <a:gd name="T23" fmla="*/ 112 h 198"/>
                <a:gd name="T24" fmla="*/ 26 w 114"/>
                <a:gd name="T25" fmla="*/ 106 h 198"/>
                <a:gd name="T26" fmla="*/ 30 w 114"/>
                <a:gd name="T27" fmla="*/ 106 h 198"/>
                <a:gd name="T28" fmla="*/ 38 w 114"/>
                <a:gd name="T29" fmla="*/ 108 h 198"/>
                <a:gd name="T30" fmla="*/ 42 w 114"/>
                <a:gd name="T31" fmla="*/ 116 h 198"/>
                <a:gd name="T32" fmla="*/ 46 w 114"/>
                <a:gd name="T33" fmla="*/ 108 h 198"/>
                <a:gd name="T34" fmla="*/ 50 w 114"/>
                <a:gd name="T35" fmla="*/ 98 h 198"/>
                <a:gd name="T36" fmla="*/ 54 w 114"/>
                <a:gd name="T37" fmla="*/ 90 h 198"/>
                <a:gd name="T38" fmla="*/ 54 w 114"/>
                <a:gd name="T39" fmla="*/ 86 h 198"/>
                <a:gd name="T40" fmla="*/ 56 w 114"/>
                <a:gd name="T41" fmla="*/ 78 h 198"/>
                <a:gd name="T42" fmla="*/ 64 w 114"/>
                <a:gd name="T43" fmla="*/ 72 h 198"/>
                <a:gd name="T44" fmla="*/ 68 w 114"/>
                <a:gd name="T45" fmla="*/ 64 h 198"/>
                <a:gd name="T46" fmla="*/ 68 w 114"/>
                <a:gd name="T47" fmla="*/ 52 h 198"/>
                <a:gd name="T48" fmla="*/ 72 w 114"/>
                <a:gd name="T49" fmla="*/ 46 h 198"/>
                <a:gd name="T50" fmla="*/ 80 w 114"/>
                <a:gd name="T51" fmla="*/ 34 h 198"/>
                <a:gd name="T52" fmla="*/ 86 w 114"/>
                <a:gd name="T53" fmla="*/ 30 h 198"/>
                <a:gd name="T54" fmla="*/ 86 w 114"/>
                <a:gd name="T55" fmla="*/ 22 h 198"/>
                <a:gd name="T56" fmla="*/ 86 w 114"/>
                <a:gd name="T57" fmla="*/ 20 h 198"/>
                <a:gd name="T58" fmla="*/ 86 w 114"/>
                <a:gd name="T59" fmla="*/ 16 h 198"/>
                <a:gd name="T60" fmla="*/ 84 w 114"/>
                <a:gd name="T61" fmla="*/ 8 h 198"/>
                <a:gd name="T62" fmla="*/ 84 w 114"/>
                <a:gd name="T63" fmla="*/ 0 h 198"/>
                <a:gd name="T64" fmla="*/ 86 w 114"/>
                <a:gd name="T65" fmla="*/ 8 h 198"/>
                <a:gd name="T66" fmla="*/ 94 w 114"/>
                <a:gd name="T67" fmla="*/ 20 h 198"/>
                <a:gd name="T68" fmla="*/ 94 w 114"/>
                <a:gd name="T69" fmla="*/ 30 h 198"/>
                <a:gd name="T70" fmla="*/ 94 w 114"/>
                <a:gd name="T71" fmla="*/ 42 h 198"/>
                <a:gd name="T72" fmla="*/ 98 w 114"/>
                <a:gd name="T73" fmla="*/ 50 h 198"/>
                <a:gd name="T74" fmla="*/ 98 w 114"/>
                <a:gd name="T75" fmla="*/ 56 h 198"/>
                <a:gd name="T76" fmla="*/ 86 w 114"/>
                <a:gd name="T77" fmla="*/ 56 h 198"/>
                <a:gd name="T78" fmla="*/ 84 w 114"/>
                <a:gd name="T79" fmla="*/ 68 h 198"/>
                <a:gd name="T80" fmla="*/ 94 w 114"/>
                <a:gd name="T81" fmla="*/ 76 h 198"/>
                <a:gd name="T82" fmla="*/ 98 w 114"/>
                <a:gd name="T83" fmla="*/ 86 h 198"/>
                <a:gd name="T84" fmla="*/ 102 w 114"/>
                <a:gd name="T85" fmla="*/ 94 h 198"/>
                <a:gd name="T86" fmla="*/ 98 w 114"/>
                <a:gd name="T87" fmla="*/ 102 h 198"/>
                <a:gd name="T88" fmla="*/ 94 w 114"/>
                <a:gd name="T89" fmla="*/ 108 h 198"/>
                <a:gd name="T90" fmla="*/ 90 w 114"/>
                <a:gd name="T91" fmla="*/ 120 h 198"/>
                <a:gd name="T92" fmla="*/ 86 w 114"/>
                <a:gd name="T93" fmla="*/ 128 h 198"/>
                <a:gd name="T94" fmla="*/ 86 w 114"/>
                <a:gd name="T95" fmla="*/ 134 h 198"/>
                <a:gd name="T96" fmla="*/ 90 w 114"/>
                <a:gd name="T97" fmla="*/ 146 h 198"/>
                <a:gd name="T98" fmla="*/ 94 w 114"/>
                <a:gd name="T99" fmla="*/ 154 h 198"/>
                <a:gd name="T100" fmla="*/ 98 w 114"/>
                <a:gd name="T101" fmla="*/ 162 h 198"/>
                <a:gd name="T102" fmla="*/ 106 w 114"/>
                <a:gd name="T103" fmla="*/ 172 h 198"/>
                <a:gd name="T104" fmla="*/ 110 w 114"/>
                <a:gd name="T105" fmla="*/ 184 h 198"/>
                <a:gd name="T106" fmla="*/ 110 w 114"/>
                <a:gd name="T107" fmla="*/ 188 h 198"/>
                <a:gd name="T108" fmla="*/ 110 w 114"/>
                <a:gd name="T109" fmla="*/ 198 h 198"/>
                <a:gd name="T110" fmla="*/ 102 w 114"/>
                <a:gd name="T111" fmla="*/ 194 h 198"/>
                <a:gd name="T112" fmla="*/ 94 w 114"/>
                <a:gd name="T113" fmla="*/ 190 h 198"/>
                <a:gd name="T114" fmla="*/ 84 w 114"/>
                <a:gd name="T115" fmla="*/ 190 h 198"/>
                <a:gd name="T116" fmla="*/ 68 w 114"/>
                <a:gd name="T117" fmla="*/ 188 h 198"/>
                <a:gd name="T118" fmla="*/ 56 w 114"/>
                <a:gd name="T119" fmla="*/ 188 h 198"/>
                <a:gd name="T120" fmla="*/ 46 w 114"/>
                <a:gd name="T121" fmla="*/ 188 h 198"/>
                <a:gd name="T122" fmla="*/ 38 w 114"/>
                <a:gd name="T123" fmla="*/ 190 h 198"/>
                <a:gd name="T124" fmla="*/ 26 w 114"/>
                <a:gd name="T125" fmla="*/ 19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4" h="198">
                  <a:moveTo>
                    <a:pt x="26" y="190"/>
                  </a:moveTo>
                  <a:lnTo>
                    <a:pt x="24" y="190"/>
                  </a:lnTo>
                  <a:lnTo>
                    <a:pt x="24" y="188"/>
                  </a:lnTo>
                  <a:lnTo>
                    <a:pt x="20" y="188"/>
                  </a:lnTo>
                  <a:lnTo>
                    <a:pt x="20" y="184"/>
                  </a:lnTo>
                  <a:lnTo>
                    <a:pt x="20" y="176"/>
                  </a:lnTo>
                  <a:lnTo>
                    <a:pt x="24" y="176"/>
                  </a:lnTo>
                  <a:lnTo>
                    <a:pt x="24" y="172"/>
                  </a:lnTo>
                  <a:lnTo>
                    <a:pt x="20" y="168"/>
                  </a:lnTo>
                  <a:lnTo>
                    <a:pt x="20" y="164"/>
                  </a:lnTo>
                  <a:lnTo>
                    <a:pt x="16" y="162"/>
                  </a:lnTo>
                  <a:lnTo>
                    <a:pt x="20" y="162"/>
                  </a:lnTo>
                  <a:lnTo>
                    <a:pt x="16" y="158"/>
                  </a:lnTo>
                  <a:lnTo>
                    <a:pt x="16" y="162"/>
                  </a:lnTo>
                  <a:lnTo>
                    <a:pt x="12" y="162"/>
                  </a:lnTo>
                  <a:lnTo>
                    <a:pt x="12" y="158"/>
                  </a:lnTo>
                  <a:lnTo>
                    <a:pt x="8" y="158"/>
                  </a:lnTo>
                  <a:lnTo>
                    <a:pt x="8" y="154"/>
                  </a:lnTo>
                  <a:lnTo>
                    <a:pt x="8" y="150"/>
                  </a:lnTo>
                  <a:lnTo>
                    <a:pt x="8" y="146"/>
                  </a:lnTo>
                  <a:lnTo>
                    <a:pt x="8" y="150"/>
                  </a:lnTo>
                  <a:lnTo>
                    <a:pt x="4" y="150"/>
                  </a:lnTo>
                  <a:lnTo>
                    <a:pt x="4" y="146"/>
                  </a:lnTo>
                  <a:lnTo>
                    <a:pt x="4" y="150"/>
                  </a:lnTo>
                  <a:lnTo>
                    <a:pt x="0" y="150"/>
                  </a:lnTo>
                  <a:lnTo>
                    <a:pt x="0" y="146"/>
                  </a:lnTo>
                  <a:lnTo>
                    <a:pt x="4" y="142"/>
                  </a:lnTo>
                  <a:lnTo>
                    <a:pt x="4" y="138"/>
                  </a:lnTo>
                  <a:lnTo>
                    <a:pt x="8" y="134"/>
                  </a:lnTo>
                  <a:lnTo>
                    <a:pt x="8" y="132"/>
                  </a:lnTo>
                  <a:lnTo>
                    <a:pt x="8" y="128"/>
                  </a:lnTo>
                  <a:lnTo>
                    <a:pt x="8" y="124"/>
                  </a:lnTo>
                  <a:lnTo>
                    <a:pt x="12" y="120"/>
                  </a:lnTo>
                  <a:lnTo>
                    <a:pt x="16" y="116"/>
                  </a:lnTo>
                  <a:lnTo>
                    <a:pt x="20" y="116"/>
                  </a:lnTo>
                  <a:lnTo>
                    <a:pt x="20" y="112"/>
                  </a:lnTo>
                  <a:lnTo>
                    <a:pt x="20" y="108"/>
                  </a:lnTo>
                  <a:lnTo>
                    <a:pt x="24" y="108"/>
                  </a:lnTo>
                  <a:lnTo>
                    <a:pt x="26" y="106"/>
                  </a:lnTo>
                  <a:lnTo>
                    <a:pt x="26" y="108"/>
                  </a:lnTo>
                  <a:lnTo>
                    <a:pt x="30" y="108"/>
                  </a:lnTo>
                  <a:lnTo>
                    <a:pt x="30" y="106"/>
                  </a:lnTo>
                  <a:lnTo>
                    <a:pt x="34" y="106"/>
                  </a:lnTo>
                  <a:lnTo>
                    <a:pt x="34" y="108"/>
                  </a:lnTo>
                  <a:lnTo>
                    <a:pt x="38" y="108"/>
                  </a:lnTo>
                  <a:lnTo>
                    <a:pt x="38" y="112"/>
                  </a:lnTo>
                  <a:lnTo>
                    <a:pt x="38" y="116"/>
                  </a:lnTo>
                  <a:lnTo>
                    <a:pt x="42" y="116"/>
                  </a:lnTo>
                  <a:lnTo>
                    <a:pt x="42" y="112"/>
                  </a:lnTo>
                  <a:lnTo>
                    <a:pt x="46" y="112"/>
                  </a:lnTo>
                  <a:lnTo>
                    <a:pt x="46" y="108"/>
                  </a:lnTo>
                  <a:lnTo>
                    <a:pt x="50" y="106"/>
                  </a:lnTo>
                  <a:lnTo>
                    <a:pt x="50" y="102"/>
                  </a:lnTo>
                  <a:lnTo>
                    <a:pt x="50" y="98"/>
                  </a:lnTo>
                  <a:lnTo>
                    <a:pt x="54" y="98"/>
                  </a:lnTo>
                  <a:lnTo>
                    <a:pt x="54" y="94"/>
                  </a:lnTo>
                  <a:lnTo>
                    <a:pt x="54" y="90"/>
                  </a:lnTo>
                  <a:lnTo>
                    <a:pt x="54" y="86"/>
                  </a:lnTo>
                  <a:lnTo>
                    <a:pt x="56" y="86"/>
                  </a:lnTo>
                  <a:lnTo>
                    <a:pt x="54" y="86"/>
                  </a:lnTo>
                  <a:lnTo>
                    <a:pt x="54" y="82"/>
                  </a:lnTo>
                  <a:lnTo>
                    <a:pt x="56" y="82"/>
                  </a:lnTo>
                  <a:lnTo>
                    <a:pt x="56" y="78"/>
                  </a:lnTo>
                  <a:lnTo>
                    <a:pt x="60" y="78"/>
                  </a:lnTo>
                  <a:lnTo>
                    <a:pt x="64" y="76"/>
                  </a:lnTo>
                  <a:lnTo>
                    <a:pt x="64" y="72"/>
                  </a:lnTo>
                  <a:lnTo>
                    <a:pt x="64" y="68"/>
                  </a:lnTo>
                  <a:lnTo>
                    <a:pt x="64" y="64"/>
                  </a:lnTo>
                  <a:lnTo>
                    <a:pt x="68" y="64"/>
                  </a:lnTo>
                  <a:lnTo>
                    <a:pt x="68" y="60"/>
                  </a:lnTo>
                  <a:lnTo>
                    <a:pt x="68" y="56"/>
                  </a:lnTo>
                  <a:lnTo>
                    <a:pt x="68" y="52"/>
                  </a:lnTo>
                  <a:lnTo>
                    <a:pt x="72" y="52"/>
                  </a:lnTo>
                  <a:lnTo>
                    <a:pt x="72" y="50"/>
                  </a:lnTo>
                  <a:lnTo>
                    <a:pt x="72" y="46"/>
                  </a:lnTo>
                  <a:lnTo>
                    <a:pt x="76" y="42"/>
                  </a:lnTo>
                  <a:lnTo>
                    <a:pt x="76" y="38"/>
                  </a:lnTo>
                  <a:lnTo>
                    <a:pt x="80" y="34"/>
                  </a:lnTo>
                  <a:lnTo>
                    <a:pt x="84" y="34"/>
                  </a:lnTo>
                  <a:lnTo>
                    <a:pt x="84" y="30"/>
                  </a:lnTo>
                  <a:lnTo>
                    <a:pt x="86" y="30"/>
                  </a:lnTo>
                  <a:lnTo>
                    <a:pt x="90" y="26"/>
                  </a:lnTo>
                  <a:lnTo>
                    <a:pt x="86" y="26"/>
                  </a:lnTo>
                  <a:lnTo>
                    <a:pt x="86" y="22"/>
                  </a:lnTo>
                  <a:lnTo>
                    <a:pt x="90" y="22"/>
                  </a:lnTo>
                  <a:lnTo>
                    <a:pt x="90" y="20"/>
                  </a:lnTo>
                  <a:lnTo>
                    <a:pt x="86" y="20"/>
                  </a:lnTo>
                  <a:lnTo>
                    <a:pt x="90" y="20"/>
                  </a:lnTo>
                  <a:lnTo>
                    <a:pt x="90" y="16"/>
                  </a:lnTo>
                  <a:lnTo>
                    <a:pt x="86" y="16"/>
                  </a:lnTo>
                  <a:lnTo>
                    <a:pt x="84" y="16"/>
                  </a:lnTo>
                  <a:lnTo>
                    <a:pt x="84" y="12"/>
                  </a:lnTo>
                  <a:lnTo>
                    <a:pt x="84" y="8"/>
                  </a:lnTo>
                  <a:lnTo>
                    <a:pt x="84" y="4"/>
                  </a:lnTo>
                  <a:lnTo>
                    <a:pt x="80" y="0"/>
                  </a:lnTo>
                  <a:lnTo>
                    <a:pt x="84" y="0"/>
                  </a:lnTo>
                  <a:lnTo>
                    <a:pt x="86" y="0"/>
                  </a:lnTo>
                  <a:lnTo>
                    <a:pt x="86" y="4"/>
                  </a:lnTo>
                  <a:lnTo>
                    <a:pt x="86" y="8"/>
                  </a:lnTo>
                  <a:lnTo>
                    <a:pt x="90" y="8"/>
                  </a:lnTo>
                  <a:lnTo>
                    <a:pt x="94" y="16"/>
                  </a:lnTo>
                  <a:lnTo>
                    <a:pt x="94" y="20"/>
                  </a:lnTo>
                  <a:lnTo>
                    <a:pt x="94" y="22"/>
                  </a:lnTo>
                  <a:lnTo>
                    <a:pt x="94" y="26"/>
                  </a:lnTo>
                  <a:lnTo>
                    <a:pt x="94" y="30"/>
                  </a:lnTo>
                  <a:lnTo>
                    <a:pt x="94" y="34"/>
                  </a:lnTo>
                  <a:lnTo>
                    <a:pt x="94" y="38"/>
                  </a:lnTo>
                  <a:lnTo>
                    <a:pt x="94" y="42"/>
                  </a:lnTo>
                  <a:lnTo>
                    <a:pt x="94" y="46"/>
                  </a:lnTo>
                  <a:lnTo>
                    <a:pt x="98" y="46"/>
                  </a:lnTo>
                  <a:lnTo>
                    <a:pt x="98" y="50"/>
                  </a:lnTo>
                  <a:lnTo>
                    <a:pt x="102" y="52"/>
                  </a:lnTo>
                  <a:lnTo>
                    <a:pt x="102" y="56"/>
                  </a:lnTo>
                  <a:lnTo>
                    <a:pt x="98" y="56"/>
                  </a:lnTo>
                  <a:lnTo>
                    <a:pt x="94" y="56"/>
                  </a:lnTo>
                  <a:lnTo>
                    <a:pt x="90" y="56"/>
                  </a:lnTo>
                  <a:lnTo>
                    <a:pt x="86" y="56"/>
                  </a:lnTo>
                  <a:lnTo>
                    <a:pt x="84" y="56"/>
                  </a:lnTo>
                  <a:lnTo>
                    <a:pt x="80" y="60"/>
                  </a:lnTo>
                  <a:lnTo>
                    <a:pt x="84" y="68"/>
                  </a:lnTo>
                  <a:lnTo>
                    <a:pt x="86" y="72"/>
                  </a:lnTo>
                  <a:lnTo>
                    <a:pt x="90" y="76"/>
                  </a:lnTo>
                  <a:lnTo>
                    <a:pt x="94" y="76"/>
                  </a:lnTo>
                  <a:lnTo>
                    <a:pt x="94" y="78"/>
                  </a:lnTo>
                  <a:lnTo>
                    <a:pt x="98" y="82"/>
                  </a:lnTo>
                  <a:lnTo>
                    <a:pt x="98" y="86"/>
                  </a:lnTo>
                  <a:lnTo>
                    <a:pt x="98" y="90"/>
                  </a:lnTo>
                  <a:lnTo>
                    <a:pt x="102" y="90"/>
                  </a:lnTo>
                  <a:lnTo>
                    <a:pt x="102" y="94"/>
                  </a:lnTo>
                  <a:lnTo>
                    <a:pt x="102" y="98"/>
                  </a:lnTo>
                  <a:lnTo>
                    <a:pt x="102" y="102"/>
                  </a:lnTo>
                  <a:lnTo>
                    <a:pt x="98" y="102"/>
                  </a:lnTo>
                  <a:lnTo>
                    <a:pt x="98" y="106"/>
                  </a:lnTo>
                  <a:lnTo>
                    <a:pt x="94" y="106"/>
                  </a:lnTo>
                  <a:lnTo>
                    <a:pt x="94" y="108"/>
                  </a:lnTo>
                  <a:lnTo>
                    <a:pt x="94" y="112"/>
                  </a:lnTo>
                  <a:lnTo>
                    <a:pt x="90" y="116"/>
                  </a:lnTo>
                  <a:lnTo>
                    <a:pt x="90" y="120"/>
                  </a:lnTo>
                  <a:lnTo>
                    <a:pt x="86" y="120"/>
                  </a:lnTo>
                  <a:lnTo>
                    <a:pt x="86" y="124"/>
                  </a:lnTo>
                  <a:lnTo>
                    <a:pt x="86" y="128"/>
                  </a:lnTo>
                  <a:lnTo>
                    <a:pt x="90" y="128"/>
                  </a:lnTo>
                  <a:lnTo>
                    <a:pt x="86" y="132"/>
                  </a:lnTo>
                  <a:lnTo>
                    <a:pt x="86" y="134"/>
                  </a:lnTo>
                  <a:lnTo>
                    <a:pt x="90" y="138"/>
                  </a:lnTo>
                  <a:lnTo>
                    <a:pt x="90" y="142"/>
                  </a:lnTo>
                  <a:lnTo>
                    <a:pt x="90" y="146"/>
                  </a:lnTo>
                  <a:lnTo>
                    <a:pt x="90" y="150"/>
                  </a:lnTo>
                  <a:lnTo>
                    <a:pt x="94" y="150"/>
                  </a:lnTo>
                  <a:lnTo>
                    <a:pt x="94" y="154"/>
                  </a:lnTo>
                  <a:lnTo>
                    <a:pt x="94" y="158"/>
                  </a:lnTo>
                  <a:lnTo>
                    <a:pt x="94" y="162"/>
                  </a:lnTo>
                  <a:lnTo>
                    <a:pt x="98" y="162"/>
                  </a:lnTo>
                  <a:lnTo>
                    <a:pt x="98" y="164"/>
                  </a:lnTo>
                  <a:lnTo>
                    <a:pt x="102" y="168"/>
                  </a:lnTo>
                  <a:lnTo>
                    <a:pt x="106" y="172"/>
                  </a:lnTo>
                  <a:lnTo>
                    <a:pt x="110" y="176"/>
                  </a:lnTo>
                  <a:lnTo>
                    <a:pt x="110" y="180"/>
                  </a:lnTo>
                  <a:lnTo>
                    <a:pt x="110" y="184"/>
                  </a:lnTo>
                  <a:lnTo>
                    <a:pt x="110" y="188"/>
                  </a:lnTo>
                  <a:lnTo>
                    <a:pt x="114" y="188"/>
                  </a:lnTo>
                  <a:lnTo>
                    <a:pt x="110" y="188"/>
                  </a:lnTo>
                  <a:lnTo>
                    <a:pt x="110" y="190"/>
                  </a:lnTo>
                  <a:lnTo>
                    <a:pt x="110" y="194"/>
                  </a:lnTo>
                  <a:lnTo>
                    <a:pt x="110" y="198"/>
                  </a:lnTo>
                  <a:lnTo>
                    <a:pt x="110" y="194"/>
                  </a:lnTo>
                  <a:lnTo>
                    <a:pt x="106" y="194"/>
                  </a:lnTo>
                  <a:lnTo>
                    <a:pt x="102" y="194"/>
                  </a:lnTo>
                  <a:lnTo>
                    <a:pt x="102" y="190"/>
                  </a:lnTo>
                  <a:lnTo>
                    <a:pt x="98" y="190"/>
                  </a:lnTo>
                  <a:lnTo>
                    <a:pt x="94" y="190"/>
                  </a:lnTo>
                  <a:lnTo>
                    <a:pt x="90" y="190"/>
                  </a:lnTo>
                  <a:lnTo>
                    <a:pt x="86" y="190"/>
                  </a:lnTo>
                  <a:lnTo>
                    <a:pt x="84" y="190"/>
                  </a:lnTo>
                  <a:lnTo>
                    <a:pt x="76" y="190"/>
                  </a:lnTo>
                  <a:lnTo>
                    <a:pt x="68" y="190"/>
                  </a:lnTo>
                  <a:lnTo>
                    <a:pt x="68" y="188"/>
                  </a:lnTo>
                  <a:lnTo>
                    <a:pt x="64" y="188"/>
                  </a:lnTo>
                  <a:lnTo>
                    <a:pt x="60" y="188"/>
                  </a:lnTo>
                  <a:lnTo>
                    <a:pt x="56" y="188"/>
                  </a:lnTo>
                  <a:lnTo>
                    <a:pt x="54" y="188"/>
                  </a:lnTo>
                  <a:lnTo>
                    <a:pt x="50" y="188"/>
                  </a:lnTo>
                  <a:lnTo>
                    <a:pt x="46" y="188"/>
                  </a:lnTo>
                  <a:lnTo>
                    <a:pt x="42" y="188"/>
                  </a:lnTo>
                  <a:lnTo>
                    <a:pt x="42" y="190"/>
                  </a:lnTo>
                  <a:lnTo>
                    <a:pt x="38" y="190"/>
                  </a:lnTo>
                  <a:lnTo>
                    <a:pt x="30" y="190"/>
                  </a:lnTo>
                  <a:lnTo>
                    <a:pt x="26" y="190"/>
                  </a:lnTo>
                  <a:lnTo>
                    <a:pt x="26" y="190"/>
                  </a:lnTo>
                  <a:lnTo>
                    <a:pt x="26" y="19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41" name="Freeform 134"/>
            <p:cNvSpPr>
              <a:spLocks noEditPoints="1"/>
            </p:cNvSpPr>
            <p:nvPr/>
          </p:nvSpPr>
          <p:spPr bwMode="auto">
            <a:xfrm>
              <a:off x="6815468" y="3966921"/>
              <a:ext cx="23863" cy="26152"/>
            </a:xfrm>
            <a:custGeom>
              <a:avLst/>
              <a:gdLst>
                <a:gd name="T0" fmla="*/ 0 w 38"/>
                <a:gd name="T1" fmla="*/ 4 h 40"/>
                <a:gd name="T2" fmla="*/ 0 w 38"/>
                <a:gd name="T3" fmla="*/ 4 h 40"/>
                <a:gd name="T4" fmla="*/ 4 w 38"/>
                <a:gd name="T5" fmla="*/ 0 h 40"/>
                <a:gd name="T6" fmla="*/ 4 w 38"/>
                <a:gd name="T7" fmla="*/ 4 h 40"/>
                <a:gd name="T8" fmla="*/ 4 w 38"/>
                <a:gd name="T9" fmla="*/ 4 h 40"/>
                <a:gd name="T10" fmla="*/ 4 w 38"/>
                <a:gd name="T11" fmla="*/ 4 h 40"/>
                <a:gd name="T12" fmla="*/ 0 w 38"/>
                <a:gd name="T13" fmla="*/ 4 h 40"/>
                <a:gd name="T14" fmla="*/ 0 w 38"/>
                <a:gd name="T15" fmla="*/ 4 h 40"/>
                <a:gd name="T16" fmla="*/ 4 w 38"/>
                <a:gd name="T17" fmla="*/ 8 h 40"/>
                <a:gd name="T18" fmla="*/ 4 w 38"/>
                <a:gd name="T19" fmla="*/ 8 h 40"/>
                <a:gd name="T20" fmla="*/ 4 w 38"/>
                <a:gd name="T21" fmla="*/ 4 h 40"/>
                <a:gd name="T22" fmla="*/ 8 w 38"/>
                <a:gd name="T23" fmla="*/ 8 h 40"/>
                <a:gd name="T24" fmla="*/ 4 w 38"/>
                <a:gd name="T25" fmla="*/ 8 h 40"/>
                <a:gd name="T26" fmla="*/ 34 w 38"/>
                <a:gd name="T27" fmla="*/ 10 h 40"/>
                <a:gd name="T28" fmla="*/ 34 w 38"/>
                <a:gd name="T29" fmla="*/ 8 h 40"/>
                <a:gd name="T30" fmla="*/ 34 w 38"/>
                <a:gd name="T31" fmla="*/ 8 h 40"/>
                <a:gd name="T32" fmla="*/ 34 w 38"/>
                <a:gd name="T33" fmla="*/ 8 h 40"/>
                <a:gd name="T34" fmla="*/ 34 w 38"/>
                <a:gd name="T35" fmla="*/ 10 h 40"/>
                <a:gd name="T36" fmla="*/ 16 w 38"/>
                <a:gd name="T37" fmla="*/ 10 h 40"/>
                <a:gd name="T38" fmla="*/ 12 w 38"/>
                <a:gd name="T39" fmla="*/ 10 h 40"/>
                <a:gd name="T40" fmla="*/ 16 w 38"/>
                <a:gd name="T41" fmla="*/ 10 h 40"/>
                <a:gd name="T42" fmla="*/ 20 w 38"/>
                <a:gd name="T43" fmla="*/ 10 h 40"/>
                <a:gd name="T44" fmla="*/ 20 w 38"/>
                <a:gd name="T45" fmla="*/ 10 h 40"/>
                <a:gd name="T46" fmla="*/ 16 w 38"/>
                <a:gd name="T47" fmla="*/ 10 h 40"/>
                <a:gd name="T48" fmla="*/ 16 w 38"/>
                <a:gd name="T49" fmla="*/ 10 h 40"/>
                <a:gd name="T50" fmla="*/ 16 w 38"/>
                <a:gd name="T51" fmla="*/ 10 h 40"/>
                <a:gd name="T52" fmla="*/ 16 w 38"/>
                <a:gd name="T53" fmla="*/ 10 h 40"/>
                <a:gd name="T54" fmla="*/ 16 w 38"/>
                <a:gd name="T55" fmla="*/ 10 h 40"/>
                <a:gd name="T56" fmla="*/ 34 w 38"/>
                <a:gd name="T57" fmla="*/ 22 h 40"/>
                <a:gd name="T58" fmla="*/ 34 w 38"/>
                <a:gd name="T59" fmla="*/ 22 h 40"/>
                <a:gd name="T60" fmla="*/ 34 w 38"/>
                <a:gd name="T61" fmla="*/ 18 h 40"/>
                <a:gd name="T62" fmla="*/ 38 w 38"/>
                <a:gd name="T63" fmla="*/ 18 h 40"/>
                <a:gd name="T64" fmla="*/ 38 w 38"/>
                <a:gd name="T65" fmla="*/ 18 h 40"/>
                <a:gd name="T66" fmla="*/ 34 w 38"/>
                <a:gd name="T67" fmla="*/ 22 h 40"/>
                <a:gd name="T68" fmla="*/ 30 w 38"/>
                <a:gd name="T69" fmla="*/ 38 h 40"/>
                <a:gd name="T70" fmla="*/ 30 w 38"/>
                <a:gd name="T71" fmla="*/ 38 h 40"/>
                <a:gd name="T72" fmla="*/ 30 w 38"/>
                <a:gd name="T73" fmla="*/ 34 h 40"/>
                <a:gd name="T74" fmla="*/ 30 w 38"/>
                <a:gd name="T75" fmla="*/ 34 h 40"/>
                <a:gd name="T76" fmla="*/ 30 w 38"/>
                <a:gd name="T77" fmla="*/ 38 h 40"/>
                <a:gd name="T78" fmla="*/ 30 w 38"/>
                <a:gd name="T79" fmla="*/ 38 h 40"/>
                <a:gd name="T80" fmla="*/ 24 w 38"/>
                <a:gd name="T81" fmla="*/ 40 h 40"/>
                <a:gd name="T82" fmla="*/ 24 w 38"/>
                <a:gd name="T83" fmla="*/ 38 h 40"/>
                <a:gd name="T84" fmla="*/ 24 w 38"/>
                <a:gd name="T85" fmla="*/ 38 h 40"/>
                <a:gd name="T86" fmla="*/ 24 w 38"/>
                <a:gd name="T87" fmla="*/ 34 h 40"/>
                <a:gd name="T88" fmla="*/ 26 w 38"/>
                <a:gd name="T89" fmla="*/ 38 h 40"/>
                <a:gd name="T90" fmla="*/ 26 w 38"/>
                <a:gd name="T91" fmla="*/ 38 h 40"/>
                <a:gd name="T92" fmla="*/ 26 w 38"/>
                <a:gd name="T93" fmla="*/ 40 h 40"/>
                <a:gd name="T94" fmla="*/ 12 w 38"/>
                <a:gd name="T95" fmla="*/ 40 h 40"/>
                <a:gd name="T96" fmla="*/ 12 w 38"/>
                <a:gd name="T97" fmla="*/ 40 h 40"/>
                <a:gd name="T98" fmla="*/ 12 w 38"/>
                <a:gd name="T99" fmla="*/ 40 h 40"/>
                <a:gd name="T100" fmla="*/ 12 w 38"/>
                <a:gd name="T101" fmla="*/ 38 h 40"/>
                <a:gd name="T102" fmla="*/ 16 w 38"/>
                <a:gd name="T103" fmla="*/ 38 h 40"/>
                <a:gd name="T104" fmla="*/ 16 w 38"/>
                <a:gd name="T105" fmla="*/ 40 h 40"/>
                <a:gd name="T106" fmla="*/ 16 w 38"/>
                <a:gd name="T107" fmla="*/ 40 h 40"/>
                <a:gd name="T108" fmla="*/ 12 w 38"/>
                <a:gd name="T10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 h="40">
                  <a:moveTo>
                    <a:pt x="0" y="4"/>
                  </a:moveTo>
                  <a:lnTo>
                    <a:pt x="0" y="4"/>
                  </a:lnTo>
                  <a:lnTo>
                    <a:pt x="0" y="4"/>
                  </a:lnTo>
                  <a:lnTo>
                    <a:pt x="0" y="4"/>
                  </a:lnTo>
                  <a:lnTo>
                    <a:pt x="0" y="4"/>
                  </a:lnTo>
                  <a:lnTo>
                    <a:pt x="0" y="4"/>
                  </a:lnTo>
                  <a:lnTo>
                    <a:pt x="0" y="4"/>
                  </a:lnTo>
                  <a:lnTo>
                    <a:pt x="0" y="0"/>
                  </a:lnTo>
                  <a:lnTo>
                    <a:pt x="4" y="0"/>
                  </a:lnTo>
                  <a:lnTo>
                    <a:pt x="4" y="0"/>
                  </a:lnTo>
                  <a:lnTo>
                    <a:pt x="4" y="0"/>
                  </a:lnTo>
                  <a:lnTo>
                    <a:pt x="4" y="4"/>
                  </a:lnTo>
                  <a:lnTo>
                    <a:pt x="4" y="4"/>
                  </a:lnTo>
                  <a:lnTo>
                    <a:pt x="4" y="4"/>
                  </a:lnTo>
                  <a:lnTo>
                    <a:pt x="4" y="4"/>
                  </a:lnTo>
                  <a:lnTo>
                    <a:pt x="4" y="4"/>
                  </a:lnTo>
                  <a:lnTo>
                    <a:pt x="4" y="4"/>
                  </a:lnTo>
                  <a:lnTo>
                    <a:pt x="4" y="4"/>
                  </a:lnTo>
                  <a:lnTo>
                    <a:pt x="4" y="4"/>
                  </a:lnTo>
                  <a:lnTo>
                    <a:pt x="0" y="4"/>
                  </a:lnTo>
                  <a:lnTo>
                    <a:pt x="0" y="4"/>
                  </a:lnTo>
                  <a:lnTo>
                    <a:pt x="0" y="4"/>
                  </a:lnTo>
                  <a:lnTo>
                    <a:pt x="0" y="4"/>
                  </a:lnTo>
                  <a:lnTo>
                    <a:pt x="0" y="4"/>
                  </a:lnTo>
                  <a:lnTo>
                    <a:pt x="0" y="4"/>
                  </a:lnTo>
                  <a:close/>
                  <a:moveTo>
                    <a:pt x="4" y="8"/>
                  </a:moveTo>
                  <a:lnTo>
                    <a:pt x="4" y="8"/>
                  </a:lnTo>
                  <a:lnTo>
                    <a:pt x="4" y="8"/>
                  </a:lnTo>
                  <a:lnTo>
                    <a:pt x="4" y="8"/>
                  </a:lnTo>
                  <a:lnTo>
                    <a:pt x="4" y="8"/>
                  </a:lnTo>
                  <a:lnTo>
                    <a:pt x="4" y="4"/>
                  </a:lnTo>
                  <a:lnTo>
                    <a:pt x="4" y="4"/>
                  </a:lnTo>
                  <a:lnTo>
                    <a:pt x="4" y="4"/>
                  </a:lnTo>
                  <a:lnTo>
                    <a:pt x="8" y="8"/>
                  </a:lnTo>
                  <a:lnTo>
                    <a:pt x="8" y="8"/>
                  </a:lnTo>
                  <a:lnTo>
                    <a:pt x="8" y="8"/>
                  </a:lnTo>
                  <a:lnTo>
                    <a:pt x="8" y="8"/>
                  </a:lnTo>
                  <a:lnTo>
                    <a:pt x="4" y="8"/>
                  </a:lnTo>
                  <a:lnTo>
                    <a:pt x="4" y="8"/>
                  </a:lnTo>
                  <a:lnTo>
                    <a:pt x="4" y="8"/>
                  </a:lnTo>
                  <a:lnTo>
                    <a:pt x="4" y="8"/>
                  </a:lnTo>
                  <a:close/>
                  <a:moveTo>
                    <a:pt x="34" y="10"/>
                  </a:moveTo>
                  <a:lnTo>
                    <a:pt x="34" y="10"/>
                  </a:lnTo>
                  <a:lnTo>
                    <a:pt x="34" y="10"/>
                  </a:lnTo>
                  <a:lnTo>
                    <a:pt x="34" y="8"/>
                  </a:lnTo>
                  <a:lnTo>
                    <a:pt x="34" y="8"/>
                  </a:lnTo>
                  <a:lnTo>
                    <a:pt x="34" y="8"/>
                  </a:lnTo>
                  <a:lnTo>
                    <a:pt x="34" y="8"/>
                  </a:lnTo>
                  <a:lnTo>
                    <a:pt x="34" y="8"/>
                  </a:lnTo>
                  <a:lnTo>
                    <a:pt x="34" y="8"/>
                  </a:lnTo>
                  <a:lnTo>
                    <a:pt x="34" y="8"/>
                  </a:lnTo>
                  <a:lnTo>
                    <a:pt x="34" y="10"/>
                  </a:lnTo>
                  <a:lnTo>
                    <a:pt x="34" y="10"/>
                  </a:lnTo>
                  <a:lnTo>
                    <a:pt x="34" y="10"/>
                  </a:lnTo>
                  <a:lnTo>
                    <a:pt x="34" y="10"/>
                  </a:lnTo>
                  <a:lnTo>
                    <a:pt x="34" y="10"/>
                  </a:lnTo>
                  <a:close/>
                  <a:moveTo>
                    <a:pt x="16" y="10"/>
                  </a:moveTo>
                  <a:lnTo>
                    <a:pt x="12" y="10"/>
                  </a:lnTo>
                  <a:lnTo>
                    <a:pt x="12" y="10"/>
                  </a:lnTo>
                  <a:lnTo>
                    <a:pt x="12" y="10"/>
                  </a:lnTo>
                  <a:lnTo>
                    <a:pt x="12" y="10"/>
                  </a:lnTo>
                  <a:lnTo>
                    <a:pt x="16" y="10"/>
                  </a:lnTo>
                  <a:lnTo>
                    <a:pt x="16" y="10"/>
                  </a:lnTo>
                  <a:lnTo>
                    <a:pt x="16" y="10"/>
                  </a:lnTo>
                  <a:lnTo>
                    <a:pt x="16" y="10"/>
                  </a:lnTo>
                  <a:lnTo>
                    <a:pt x="20" y="10"/>
                  </a:lnTo>
                  <a:lnTo>
                    <a:pt x="20" y="10"/>
                  </a:lnTo>
                  <a:lnTo>
                    <a:pt x="20" y="10"/>
                  </a:lnTo>
                  <a:lnTo>
                    <a:pt x="20" y="10"/>
                  </a:lnTo>
                  <a:lnTo>
                    <a:pt x="20" y="10"/>
                  </a:lnTo>
                  <a:lnTo>
                    <a:pt x="20"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lnTo>
                    <a:pt x="16" y="10"/>
                  </a:lnTo>
                  <a:close/>
                  <a:moveTo>
                    <a:pt x="34" y="22"/>
                  </a:moveTo>
                  <a:lnTo>
                    <a:pt x="34" y="22"/>
                  </a:lnTo>
                  <a:lnTo>
                    <a:pt x="34" y="22"/>
                  </a:lnTo>
                  <a:lnTo>
                    <a:pt x="34" y="22"/>
                  </a:lnTo>
                  <a:lnTo>
                    <a:pt x="34" y="18"/>
                  </a:lnTo>
                  <a:lnTo>
                    <a:pt x="34" y="18"/>
                  </a:lnTo>
                  <a:lnTo>
                    <a:pt x="34" y="18"/>
                  </a:lnTo>
                  <a:lnTo>
                    <a:pt x="34" y="18"/>
                  </a:lnTo>
                  <a:lnTo>
                    <a:pt x="38" y="18"/>
                  </a:lnTo>
                  <a:lnTo>
                    <a:pt x="38" y="18"/>
                  </a:lnTo>
                  <a:lnTo>
                    <a:pt x="38" y="18"/>
                  </a:lnTo>
                  <a:lnTo>
                    <a:pt x="38" y="18"/>
                  </a:lnTo>
                  <a:lnTo>
                    <a:pt x="38" y="18"/>
                  </a:lnTo>
                  <a:lnTo>
                    <a:pt x="38" y="18"/>
                  </a:lnTo>
                  <a:lnTo>
                    <a:pt x="38" y="22"/>
                  </a:lnTo>
                  <a:lnTo>
                    <a:pt x="34" y="22"/>
                  </a:lnTo>
                  <a:lnTo>
                    <a:pt x="34" y="22"/>
                  </a:lnTo>
                  <a:lnTo>
                    <a:pt x="34" y="22"/>
                  </a:lnTo>
                  <a:close/>
                  <a:moveTo>
                    <a:pt x="30" y="38"/>
                  </a:moveTo>
                  <a:lnTo>
                    <a:pt x="30" y="38"/>
                  </a:lnTo>
                  <a:lnTo>
                    <a:pt x="30" y="38"/>
                  </a:lnTo>
                  <a:lnTo>
                    <a:pt x="30" y="38"/>
                  </a:lnTo>
                  <a:lnTo>
                    <a:pt x="30" y="38"/>
                  </a:lnTo>
                  <a:lnTo>
                    <a:pt x="30" y="34"/>
                  </a:lnTo>
                  <a:lnTo>
                    <a:pt x="30" y="34"/>
                  </a:lnTo>
                  <a:lnTo>
                    <a:pt x="30" y="34"/>
                  </a:lnTo>
                  <a:lnTo>
                    <a:pt x="30" y="34"/>
                  </a:lnTo>
                  <a:lnTo>
                    <a:pt x="30" y="34"/>
                  </a:lnTo>
                  <a:lnTo>
                    <a:pt x="30" y="38"/>
                  </a:lnTo>
                  <a:lnTo>
                    <a:pt x="30" y="38"/>
                  </a:lnTo>
                  <a:lnTo>
                    <a:pt x="30" y="38"/>
                  </a:lnTo>
                  <a:lnTo>
                    <a:pt x="30" y="38"/>
                  </a:lnTo>
                  <a:lnTo>
                    <a:pt x="30" y="38"/>
                  </a:lnTo>
                  <a:lnTo>
                    <a:pt x="30" y="38"/>
                  </a:lnTo>
                  <a:close/>
                  <a:moveTo>
                    <a:pt x="26" y="40"/>
                  </a:moveTo>
                  <a:lnTo>
                    <a:pt x="24" y="40"/>
                  </a:lnTo>
                  <a:lnTo>
                    <a:pt x="24" y="40"/>
                  </a:lnTo>
                  <a:lnTo>
                    <a:pt x="24" y="40"/>
                  </a:lnTo>
                  <a:lnTo>
                    <a:pt x="24" y="40"/>
                  </a:lnTo>
                  <a:lnTo>
                    <a:pt x="24" y="38"/>
                  </a:lnTo>
                  <a:lnTo>
                    <a:pt x="24" y="38"/>
                  </a:lnTo>
                  <a:lnTo>
                    <a:pt x="24" y="38"/>
                  </a:lnTo>
                  <a:lnTo>
                    <a:pt x="24" y="38"/>
                  </a:lnTo>
                  <a:lnTo>
                    <a:pt x="24" y="34"/>
                  </a:lnTo>
                  <a:lnTo>
                    <a:pt x="24" y="34"/>
                  </a:lnTo>
                  <a:lnTo>
                    <a:pt x="24" y="34"/>
                  </a:lnTo>
                  <a:lnTo>
                    <a:pt x="24" y="38"/>
                  </a:lnTo>
                  <a:lnTo>
                    <a:pt x="26" y="38"/>
                  </a:lnTo>
                  <a:lnTo>
                    <a:pt x="26" y="38"/>
                  </a:lnTo>
                  <a:lnTo>
                    <a:pt x="26" y="38"/>
                  </a:lnTo>
                  <a:lnTo>
                    <a:pt x="26" y="38"/>
                  </a:lnTo>
                  <a:lnTo>
                    <a:pt x="26" y="38"/>
                  </a:lnTo>
                  <a:lnTo>
                    <a:pt x="26" y="40"/>
                  </a:lnTo>
                  <a:lnTo>
                    <a:pt x="26" y="40"/>
                  </a:lnTo>
                  <a:lnTo>
                    <a:pt x="26" y="40"/>
                  </a:lnTo>
                  <a:close/>
                  <a:moveTo>
                    <a:pt x="12" y="40"/>
                  </a:moveTo>
                  <a:lnTo>
                    <a:pt x="12" y="40"/>
                  </a:lnTo>
                  <a:lnTo>
                    <a:pt x="12" y="40"/>
                  </a:lnTo>
                  <a:lnTo>
                    <a:pt x="12" y="40"/>
                  </a:lnTo>
                  <a:lnTo>
                    <a:pt x="12" y="40"/>
                  </a:lnTo>
                  <a:lnTo>
                    <a:pt x="12" y="40"/>
                  </a:lnTo>
                  <a:lnTo>
                    <a:pt x="12" y="40"/>
                  </a:lnTo>
                  <a:lnTo>
                    <a:pt x="12" y="40"/>
                  </a:lnTo>
                  <a:lnTo>
                    <a:pt x="12" y="40"/>
                  </a:lnTo>
                  <a:lnTo>
                    <a:pt x="12" y="38"/>
                  </a:lnTo>
                  <a:lnTo>
                    <a:pt x="12" y="38"/>
                  </a:lnTo>
                  <a:lnTo>
                    <a:pt x="12" y="38"/>
                  </a:lnTo>
                  <a:lnTo>
                    <a:pt x="12" y="38"/>
                  </a:lnTo>
                  <a:lnTo>
                    <a:pt x="16" y="38"/>
                  </a:lnTo>
                  <a:lnTo>
                    <a:pt x="16" y="38"/>
                  </a:lnTo>
                  <a:lnTo>
                    <a:pt x="16" y="38"/>
                  </a:lnTo>
                  <a:lnTo>
                    <a:pt x="16" y="40"/>
                  </a:lnTo>
                  <a:lnTo>
                    <a:pt x="16" y="40"/>
                  </a:lnTo>
                  <a:lnTo>
                    <a:pt x="16" y="40"/>
                  </a:lnTo>
                  <a:lnTo>
                    <a:pt x="16" y="40"/>
                  </a:lnTo>
                  <a:lnTo>
                    <a:pt x="16" y="40"/>
                  </a:lnTo>
                  <a:lnTo>
                    <a:pt x="16" y="40"/>
                  </a:lnTo>
                  <a:lnTo>
                    <a:pt x="16" y="40"/>
                  </a:lnTo>
                  <a:lnTo>
                    <a:pt x="12" y="40"/>
                  </a:lnTo>
                  <a:lnTo>
                    <a:pt x="12" y="40"/>
                  </a:lnTo>
                  <a:lnTo>
                    <a:pt x="12" y="4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42" name="Freeform 135"/>
            <p:cNvSpPr>
              <a:spLocks/>
            </p:cNvSpPr>
            <p:nvPr/>
          </p:nvSpPr>
          <p:spPr bwMode="auto">
            <a:xfrm>
              <a:off x="7169649" y="4037530"/>
              <a:ext cx="114293" cy="98069"/>
            </a:xfrm>
            <a:custGeom>
              <a:avLst/>
              <a:gdLst>
                <a:gd name="T0" fmla="*/ 82 w 182"/>
                <a:gd name="T1" fmla="*/ 104 h 150"/>
                <a:gd name="T2" fmla="*/ 70 w 182"/>
                <a:gd name="T3" fmla="*/ 102 h 150"/>
                <a:gd name="T4" fmla="*/ 58 w 182"/>
                <a:gd name="T5" fmla="*/ 112 h 150"/>
                <a:gd name="T6" fmla="*/ 58 w 182"/>
                <a:gd name="T7" fmla="*/ 116 h 150"/>
                <a:gd name="T8" fmla="*/ 58 w 182"/>
                <a:gd name="T9" fmla="*/ 132 h 150"/>
                <a:gd name="T10" fmla="*/ 52 w 182"/>
                <a:gd name="T11" fmla="*/ 132 h 150"/>
                <a:gd name="T12" fmla="*/ 40 w 182"/>
                <a:gd name="T13" fmla="*/ 128 h 150"/>
                <a:gd name="T14" fmla="*/ 32 w 182"/>
                <a:gd name="T15" fmla="*/ 128 h 150"/>
                <a:gd name="T16" fmla="*/ 26 w 182"/>
                <a:gd name="T17" fmla="*/ 138 h 150"/>
                <a:gd name="T18" fmla="*/ 26 w 182"/>
                <a:gd name="T19" fmla="*/ 146 h 150"/>
                <a:gd name="T20" fmla="*/ 22 w 182"/>
                <a:gd name="T21" fmla="*/ 142 h 150"/>
                <a:gd name="T22" fmla="*/ 10 w 182"/>
                <a:gd name="T23" fmla="*/ 128 h 150"/>
                <a:gd name="T24" fmla="*/ 6 w 182"/>
                <a:gd name="T25" fmla="*/ 116 h 150"/>
                <a:gd name="T26" fmla="*/ 2 w 182"/>
                <a:gd name="T27" fmla="*/ 104 h 150"/>
                <a:gd name="T28" fmla="*/ 2 w 182"/>
                <a:gd name="T29" fmla="*/ 90 h 150"/>
                <a:gd name="T30" fmla="*/ 2 w 182"/>
                <a:gd name="T31" fmla="*/ 82 h 150"/>
                <a:gd name="T32" fmla="*/ 6 w 182"/>
                <a:gd name="T33" fmla="*/ 68 h 150"/>
                <a:gd name="T34" fmla="*/ 14 w 182"/>
                <a:gd name="T35" fmla="*/ 60 h 150"/>
                <a:gd name="T36" fmla="*/ 26 w 182"/>
                <a:gd name="T37" fmla="*/ 56 h 150"/>
                <a:gd name="T38" fmla="*/ 32 w 182"/>
                <a:gd name="T39" fmla="*/ 56 h 150"/>
                <a:gd name="T40" fmla="*/ 48 w 182"/>
                <a:gd name="T41" fmla="*/ 52 h 150"/>
                <a:gd name="T42" fmla="*/ 58 w 182"/>
                <a:gd name="T43" fmla="*/ 48 h 150"/>
                <a:gd name="T44" fmla="*/ 66 w 182"/>
                <a:gd name="T45" fmla="*/ 42 h 150"/>
                <a:gd name="T46" fmla="*/ 70 w 182"/>
                <a:gd name="T47" fmla="*/ 34 h 150"/>
                <a:gd name="T48" fmla="*/ 84 w 182"/>
                <a:gd name="T49" fmla="*/ 34 h 150"/>
                <a:gd name="T50" fmla="*/ 96 w 182"/>
                <a:gd name="T51" fmla="*/ 18 h 150"/>
                <a:gd name="T52" fmla="*/ 104 w 182"/>
                <a:gd name="T53" fmla="*/ 12 h 150"/>
                <a:gd name="T54" fmla="*/ 108 w 182"/>
                <a:gd name="T55" fmla="*/ 4 h 150"/>
                <a:gd name="T56" fmla="*/ 118 w 182"/>
                <a:gd name="T57" fmla="*/ 0 h 150"/>
                <a:gd name="T58" fmla="*/ 126 w 182"/>
                <a:gd name="T59" fmla="*/ 14 h 150"/>
                <a:gd name="T60" fmla="*/ 130 w 182"/>
                <a:gd name="T61" fmla="*/ 30 h 150"/>
                <a:gd name="T62" fmla="*/ 126 w 182"/>
                <a:gd name="T63" fmla="*/ 42 h 150"/>
                <a:gd name="T64" fmla="*/ 134 w 182"/>
                <a:gd name="T65" fmla="*/ 42 h 150"/>
                <a:gd name="T66" fmla="*/ 140 w 182"/>
                <a:gd name="T67" fmla="*/ 48 h 150"/>
                <a:gd name="T68" fmla="*/ 152 w 182"/>
                <a:gd name="T69" fmla="*/ 52 h 150"/>
                <a:gd name="T70" fmla="*/ 156 w 182"/>
                <a:gd name="T71" fmla="*/ 64 h 150"/>
                <a:gd name="T72" fmla="*/ 166 w 182"/>
                <a:gd name="T73" fmla="*/ 74 h 150"/>
                <a:gd name="T74" fmla="*/ 166 w 182"/>
                <a:gd name="T75" fmla="*/ 82 h 150"/>
                <a:gd name="T76" fmla="*/ 174 w 182"/>
                <a:gd name="T77" fmla="*/ 90 h 150"/>
                <a:gd name="T78" fmla="*/ 178 w 182"/>
                <a:gd name="T79" fmla="*/ 94 h 150"/>
                <a:gd name="T80" fmla="*/ 182 w 182"/>
                <a:gd name="T81" fmla="*/ 104 h 150"/>
                <a:gd name="T82" fmla="*/ 170 w 182"/>
                <a:gd name="T83" fmla="*/ 102 h 150"/>
                <a:gd name="T84" fmla="*/ 162 w 182"/>
                <a:gd name="T85" fmla="*/ 102 h 150"/>
                <a:gd name="T86" fmla="*/ 152 w 182"/>
                <a:gd name="T87" fmla="*/ 98 h 150"/>
                <a:gd name="T88" fmla="*/ 144 w 182"/>
                <a:gd name="T89" fmla="*/ 104 h 150"/>
                <a:gd name="T90" fmla="*/ 136 w 182"/>
                <a:gd name="T91" fmla="*/ 104 h 150"/>
                <a:gd name="T92" fmla="*/ 122 w 182"/>
                <a:gd name="T93" fmla="*/ 108 h 150"/>
                <a:gd name="T94" fmla="*/ 114 w 182"/>
                <a:gd name="T95" fmla="*/ 108 h 150"/>
                <a:gd name="T96" fmla="*/ 110 w 182"/>
                <a:gd name="T97" fmla="*/ 120 h 150"/>
                <a:gd name="T98" fmla="*/ 100 w 182"/>
                <a:gd name="T99" fmla="*/ 116 h 150"/>
                <a:gd name="T100" fmla="*/ 84 w 182"/>
                <a:gd name="T101" fmla="*/ 11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2" h="150">
                  <a:moveTo>
                    <a:pt x="84" y="112"/>
                  </a:moveTo>
                  <a:lnTo>
                    <a:pt x="84" y="108"/>
                  </a:lnTo>
                  <a:lnTo>
                    <a:pt x="82" y="108"/>
                  </a:lnTo>
                  <a:lnTo>
                    <a:pt x="82" y="104"/>
                  </a:lnTo>
                  <a:lnTo>
                    <a:pt x="78" y="104"/>
                  </a:lnTo>
                  <a:lnTo>
                    <a:pt x="74" y="104"/>
                  </a:lnTo>
                  <a:lnTo>
                    <a:pt x="74" y="102"/>
                  </a:lnTo>
                  <a:lnTo>
                    <a:pt x="70" y="102"/>
                  </a:lnTo>
                  <a:lnTo>
                    <a:pt x="66" y="104"/>
                  </a:lnTo>
                  <a:lnTo>
                    <a:pt x="62" y="104"/>
                  </a:lnTo>
                  <a:lnTo>
                    <a:pt x="62" y="108"/>
                  </a:lnTo>
                  <a:lnTo>
                    <a:pt x="58" y="112"/>
                  </a:lnTo>
                  <a:lnTo>
                    <a:pt x="58" y="116"/>
                  </a:lnTo>
                  <a:lnTo>
                    <a:pt x="58" y="112"/>
                  </a:lnTo>
                  <a:lnTo>
                    <a:pt x="54" y="116"/>
                  </a:lnTo>
                  <a:lnTo>
                    <a:pt x="58" y="116"/>
                  </a:lnTo>
                  <a:lnTo>
                    <a:pt x="58" y="120"/>
                  </a:lnTo>
                  <a:lnTo>
                    <a:pt x="58" y="124"/>
                  </a:lnTo>
                  <a:lnTo>
                    <a:pt x="58" y="128"/>
                  </a:lnTo>
                  <a:lnTo>
                    <a:pt x="58" y="132"/>
                  </a:lnTo>
                  <a:lnTo>
                    <a:pt x="58" y="128"/>
                  </a:lnTo>
                  <a:lnTo>
                    <a:pt x="54" y="128"/>
                  </a:lnTo>
                  <a:lnTo>
                    <a:pt x="52" y="128"/>
                  </a:lnTo>
                  <a:lnTo>
                    <a:pt x="52" y="132"/>
                  </a:lnTo>
                  <a:lnTo>
                    <a:pt x="52" y="128"/>
                  </a:lnTo>
                  <a:lnTo>
                    <a:pt x="48" y="128"/>
                  </a:lnTo>
                  <a:lnTo>
                    <a:pt x="44" y="128"/>
                  </a:lnTo>
                  <a:lnTo>
                    <a:pt x="40" y="128"/>
                  </a:lnTo>
                  <a:lnTo>
                    <a:pt x="40" y="124"/>
                  </a:lnTo>
                  <a:lnTo>
                    <a:pt x="40" y="128"/>
                  </a:lnTo>
                  <a:lnTo>
                    <a:pt x="36" y="128"/>
                  </a:lnTo>
                  <a:lnTo>
                    <a:pt x="32" y="128"/>
                  </a:lnTo>
                  <a:lnTo>
                    <a:pt x="28" y="128"/>
                  </a:lnTo>
                  <a:lnTo>
                    <a:pt x="28" y="132"/>
                  </a:lnTo>
                  <a:lnTo>
                    <a:pt x="28" y="134"/>
                  </a:lnTo>
                  <a:lnTo>
                    <a:pt x="26" y="138"/>
                  </a:lnTo>
                  <a:lnTo>
                    <a:pt x="28" y="138"/>
                  </a:lnTo>
                  <a:lnTo>
                    <a:pt x="28" y="142"/>
                  </a:lnTo>
                  <a:lnTo>
                    <a:pt x="26" y="142"/>
                  </a:lnTo>
                  <a:lnTo>
                    <a:pt x="26" y="146"/>
                  </a:lnTo>
                  <a:lnTo>
                    <a:pt x="26" y="150"/>
                  </a:lnTo>
                  <a:lnTo>
                    <a:pt x="22" y="150"/>
                  </a:lnTo>
                  <a:lnTo>
                    <a:pt x="22" y="146"/>
                  </a:lnTo>
                  <a:lnTo>
                    <a:pt x="22" y="142"/>
                  </a:lnTo>
                  <a:lnTo>
                    <a:pt x="22" y="138"/>
                  </a:lnTo>
                  <a:lnTo>
                    <a:pt x="18" y="134"/>
                  </a:lnTo>
                  <a:lnTo>
                    <a:pt x="14" y="132"/>
                  </a:lnTo>
                  <a:lnTo>
                    <a:pt x="10" y="128"/>
                  </a:lnTo>
                  <a:lnTo>
                    <a:pt x="10" y="124"/>
                  </a:lnTo>
                  <a:lnTo>
                    <a:pt x="6" y="124"/>
                  </a:lnTo>
                  <a:lnTo>
                    <a:pt x="6" y="120"/>
                  </a:lnTo>
                  <a:lnTo>
                    <a:pt x="6" y="116"/>
                  </a:lnTo>
                  <a:lnTo>
                    <a:pt x="6" y="112"/>
                  </a:lnTo>
                  <a:lnTo>
                    <a:pt x="2" y="112"/>
                  </a:lnTo>
                  <a:lnTo>
                    <a:pt x="2" y="108"/>
                  </a:lnTo>
                  <a:lnTo>
                    <a:pt x="2" y="104"/>
                  </a:lnTo>
                  <a:lnTo>
                    <a:pt x="2" y="102"/>
                  </a:lnTo>
                  <a:lnTo>
                    <a:pt x="0" y="98"/>
                  </a:lnTo>
                  <a:lnTo>
                    <a:pt x="0" y="94"/>
                  </a:lnTo>
                  <a:lnTo>
                    <a:pt x="2" y="90"/>
                  </a:lnTo>
                  <a:lnTo>
                    <a:pt x="0" y="90"/>
                  </a:lnTo>
                  <a:lnTo>
                    <a:pt x="0" y="86"/>
                  </a:lnTo>
                  <a:lnTo>
                    <a:pt x="0" y="82"/>
                  </a:lnTo>
                  <a:lnTo>
                    <a:pt x="2" y="82"/>
                  </a:lnTo>
                  <a:lnTo>
                    <a:pt x="2" y="78"/>
                  </a:lnTo>
                  <a:lnTo>
                    <a:pt x="6" y="74"/>
                  </a:lnTo>
                  <a:lnTo>
                    <a:pt x="6" y="72"/>
                  </a:lnTo>
                  <a:lnTo>
                    <a:pt x="6" y="68"/>
                  </a:lnTo>
                  <a:lnTo>
                    <a:pt x="10" y="68"/>
                  </a:lnTo>
                  <a:lnTo>
                    <a:pt x="10" y="64"/>
                  </a:lnTo>
                  <a:lnTo>
                    <a:pt x="14" y="64"/>
                  </a:lnTo>
                  <a:lnTo>
                    <a:pt x="14" y="60"/>
                  </a:lnTo>
                  <a:lnTo>
                    <a:pt x="18" y="60"/>
                  </a:lnTo>
                  <a:lnTo>
                    <a:pt x="22" y="60"/>
                  </a:lnTo>
                  <a:lnTo>
                    <a:pt x="26" y="60"/>
                  </a:lnTo>
                  <a:lnTo>
                    <a:pt x="26" y="56"/>
                  </a:lnTo>
                  <a:lnTo>
                    <a:pt x="28" y="52"/>
                  </a:lnTo>
                  <a:lnTo>
                    <a:pt x="28" y="56"/>
                  </a:lnTo>
                  <a:lnTo>
                    <a:pt x="32" y="60"/>
                  </a:lnTo>
                  <a:lnTo>
                    <a:pt x="32" y="56"/>
                  </a:lnTo>
                  <a:lnTo>
                    <a:pt x="36" y="56"/>
                  </a:lnTo>
                  <a:lnTo>
                    <a:pt x="40" y="52"/>
                  </a:lnTo>
                  <a:lnTo>
                    <a:pt x="44" y="52"/>
                  </a:lnTo>
                  <a:lnTo>
                    <a:pt x="48" y="52"/>
                  </a:lnTo>
                  <a:lnTo>
                    <a:pt x="52" y="52"/>
                  </a:lnTo>
                  <a:lnTo>
                    <a:pt x="54" y="52"/>
                  </a:lnTo>
                  <a:lnTo>
                    <a:pt x="58" y="52"/>
                  </a:lnTo>
                  <a:lnTo>
                    <a:pt x="58" y="48"/>
                  </a:lnTo>
                  <a:lnTo>
                    <a:pt x="58" y="44"/>
                  </a:lnTo>
                  <a:lnTo>
                    <a:pt x="62" y="44"/>
                  </a:lnTo>
                  <a:lnTo>
                    <a:pt x="62" y="42"/>
                  </a:lnTo>
                  <a:lnTo>
                    <a:pt x="66" y="42"/>
                  </a:lnTo>
                  <a:lnTo>
                    <a:pt x="62" y="38"/>
                  </a:lnTo>
                  <a:lnTo>
                    <a:pt x="62" y="34"/>
                  </a:lnTo>
                  <a:lnTo>
                    <a:pt x="66" y="34"/>
                  </a:lnTo>
                  <a:lnTo>
                    <a:pt x="70" y="34"/>
                  </a:lnTo>
                  <a:lnTo>
                    <a:pt x="74" y="34"/>
                  </a:lnTo>
                  <a:lnTo>
                    <a:pt x="78" y="34"/>
                  </a:lnTo>
                  <a:lnTo>
                    <a:pt x="82" y="34"/>
                  </a:lnTo>
                  <a:lnTo>
                    <a:pt x="84" y="34"/>
                  </a:lnTo>
                  <a:lnTo>
                    <a:pt x="84" y="30"/>
                  </a:lnTo>
                  <a:lnTo>
                    <a:pt x="88" y="26"/>
                  </a:lnTo>
                  <a:lnTo>
                    <a:pt x="92" y="22"/>
                  </a:lnTo>
                  <a:lnTo>
                    <a:pt x="96" y="18"/>
                  </a:lnTo>
                  <a:lnTo>
                    <a:pt x="96" y="14"/>
                  </a:lnTo>
                  <a:lnTo>
                    <a:pt x="100" y="14"/>
                  </a:lnTo>
                  <a:lnTo>
                    <a:pt x="100" y="12"/>
                  </a:lnTo>
                  <a:lnTo>
                    <a:pt x="104" y="12"/>
                  </a:lnTo>
                  <a:lnTo>
                    <a:pt x="100" y="12"/>
                  </a:lnTo>
                  <a:lnTo>
                    <a:pt x="100" y="8"/>
                  </a:lnTo>
                  <a:lnTo>
                    <a:pt x="104" y="4"/>
                  </a:lnTo>
                  <a:lnTo>
                    <a:pt x="108" y="4"/>
                  </a:lnTo>
                  <a:lnTo>
                    <a:pt x="108" y="0"/>
                  </a:lnTo>
                  <a:lnTo>
                    <a:pt x="110" y="0"/>
                  </a:lnTo>
                  <a:lnTo>
                    <a:pt x="114" y="0"/>
                  </a:lnTo>
                  <a:lnTo>
                    <a:pt x="118" y="0"/>
                  </a:lnTo>
                  <a:lnTo>
                    <a:pt x="118" y="4"/>
                  </a:lnTo>
                  <a:lnTo>
                    <a:pt x="122" y="8"/>
                  </a:lnTo>
                  <a:lnTo>
                    <a:pt x="126" y="12"/>
                  </a:lnTo>
                  <a:lnTo>
                    <a:pt x="126" y="14"/>
                  </a:lnTo>
                  <a:lnTo>
                    <a:pt x="130" y="18"/>
                  </a:lnTo>
                  <a:lnTo>
                    <a:pt x="130" y="22"/>
                  </a:lnTo>
                  <a:lnTo>
                    <a:pt x="130" y="26"/>
                  </a:lnTo>
                  <a:lnTo>
                    <a:pt x="130" y="30"/>
                  </a:lnTo>
                  <a:lnTo>
                    <a:pt x="126" y="30"/>
                  </a:lnTo>
                  <a:lnTo>
                    <a:pt x="126" y="34"/>
                  </a:lnTo>
                  <a:lnTo>
                    <a:pt x="126" y="38"/>
                  </a:lnTo>
                  <a:lnTo>
                    <a:pt x="126" y="42"/>
                  </a:lnTo>
                  <a:lnTo>
                    <a:pt x="130" y="42"/>
                  </a:lnTo>
                  <a:lnTo>
                    <a:pt x="130" y="38"/>
                  </a:lnTo>
                  <a:lnTo>
                    <a:pt x="134" y="38"/>
                  </a:lnTo>
                  <a:lnTo>
                    <a:pt x="134" y="42"/>
                  </a:lnTo>
                  <a:lnTo>
                    <a:pt x="136" y="42"/>
                  </a:lnTo>
                  <a:lnTo>
                    <a:pt x="136" y="44"/>
                  </a:lnTo>
                  <a:lnTo>
                    <a:pt x="136" y="48"/>
                  </a:lnTo>
                  <a:lnTo>
                    <a:pt x="140" y="48"/>
                  </a:lnTo>
                  <a:lnTo>
                    <a:pt x="144" y="48"/>
                  </a:lnTo>
                  <a:lnTo>
                    <a:pt x="148" y="48"/>
                  </a:lnTo>
                  <a:lnTo>
                    <a:pt x="148" y="52"/>
                  </a:lnTo>
                  <a:lnTo>
                    <a:pt x="152" y="52"/>
                  </a:lnTo>
                  <a:lnTo>
                    <a:pt x="152" y="56"/>
                  </a:lnTo>
                  <a:lnTo>
                    <a:pt x="152" y="60"/>
                  </a:lnTo>
                  <a:lnTo>
                    <a:pt x="152" y="64"/>
                  </a:lnTo>
                  <a:lnTo>
                    <a:pt x="156" y="64"/>
                  </a:lnTo>
                  <a:lnTo>
                    <a:pt x="160" y="68"/>
                  </a:lnTo>
                  <a:lnTo>
                    <a:pt x="162" y="68"/>
                  </a:lnTo>
                  <a:lnTo>
                    <a:pt x="162" y="72"/>
                  </a:lnTo>
                  <a:lnTo>
                    <a:pt x="166" y="74"/>
                  </a:lnTo>
                  <a:lnTo>
                    <a:pt x="166" y="78"/>
                  </a:lnTo>
                  <a:lnTo>
                    <a:pt x="166" y="82"/>
                  </a:lnTo>
                  <a:lnTo>
                    <a:pt x="170" y="82"/>
                  </a:lnTo>
                  <a:lnTo>
                    <a:pt x="166" y="82"/>
                  </a:lnTo>
                  <a:lnTo>
                    <a:pt x="166" y="86"/>
                  </a:lnTo>
                  <a:lnTo>
                    <a:pt x="170" y="86"/>
                  </a:lnTo>
                  <a:lnTo>
                    <a:pt x="174" y="86"/>
                  </a:lnTo>
                  <a:lnTo>
                    <a:pt x="174" y="90"/>
                  </a:lnTo>
                  <a:lnTo>
                    <a:pt x="178" y="90"/>
                  </a:lnTo>
                  <a:lnTo>
                    <a:pt x="178" y="94"/>
                  </a:lnTo>
                  <a:lnTo>
                    <a:pt x="182" y="94"/>
                  </a:lnTo>
                  <a:lnTo>
                    <a:pt x="178" y="94"/>
                  </a:lnTo>
                  <a:lnTo>
                    <a:pt x="178" y="98"/>
                  </a:lnTo>
                  <a:lnTo>
                    <a:pt x="182" y="98"/>
                  </a:lnTo>
                  <a:lnTo>
                    <a:pt x="182" y="102"/>
                  </a:lnTo>
                  <a:lnTo>
                    <a:pt x="182" y="104"/>
                  </a:lnTo>
                  <a:lnTo>
                    <a:pt x="182" y="102"/>
                  </a:lnTo>
                  <a:lnTo>
                    <a:pt x="178" y="102"/>
                  </a:lnTo>
                  <a:lnTo>
                    <a:pt x="174" y="102"/>
                  </a:lnTo>
                  <a:lnTo>
                    <a:pt x="170" y="102"/>
                  </a:lnTo>
                  <a:lnTo>
                    <a:pt x="166" y="102"/>
                  </a:lnTo>
                  <a:lnTo>
                    <a:pt x="162" y="102"/>
                  </a:lnTo>
                  <a:lnTo>
                    <a:pt x="162" y="98"/>
                  </a:lnTo>
                  <a:lnTo>
                    <a:pt x="162" y="102"/>
                  </a:lnTo>
                  <a:lnTo>
                    <a:pt x="160" y="102"/>
                  </a:lnTo>
                  <a:lnTo>
                    <a:pt x="160" y="98"/>
                  </a:lnTo>
                  <a:lnTo>
                    <a:pt x="156" y="98"/>
                  </a:lnTo>
                  <a:lnTo>
                    <a:pt x="152" y="98"/>
                  </a:lnTo>
                  <a:lnTo>
                    <a:pt x="152" y="102"/>
                  </a:lnTo>
                  <a:lnTo>
                    <a:pt x="152" y="104"/>
                  </a:lnTo>
                  <a:lnTo>
                    <a:pt x="148" y="104"/>
                  </a:lnTo>
                  <a:lnTo>
                    <a:pt x="144" y="104"/>
                  </a:lnTo>
                  <a:lnTo>
                    <a:pt x="140" y="102"/>
                  </a:lnTo>
                  <a:lnTo>
                    <a:pt x="136" y="102"/>
                  </a:lnTo>
                  <a:lnTo>
                    <a:pt x="140" y="102"/>
                  </a:lnTo>
                  <a:lnTo>
                    <a:pt x="136" y="104"/>
                  </a:lnTo>
                  <a:lnTo>
                    <a:pt x="134" y="104"/>
                  </a:lnTo>
                  <a:lnTo>
                    <a:pt x="130" y="104"/>
                  </a:lnTo>
                  <a:lnTo>
                    <a:pt x="126" y="108"/>
                  </a:lnTo>
                  <a:lnTo>
                    <a:pt x="122" y="108"/>
                  </a:lnTo>
                  <a:lnTo>
                    <a:pt x="118" y="108"/>
                  </a:lnTo>
                  <a:lnTo>
                    <a:pt x="118" y="104"/>
                  </a:lnTo>
                  <a:lnTo>
                    <a:pt x="118" y="108"/>
                  </a:lnTo>
                  <a:lnTo>
                    <a:pt x="114" y="108"/>
                  </a:lnTo>
                  <a:lnTo>
                    <a:pt x="114" y="112"/>
                  </a:lnTo>
                  <a:lnTo>
                    <a:pt x="114" y="116"/>
                  </a:lnTo>
                  <a:lnTo>
                    <a:pt x="110" y="116"/>
                  </a:lnTo>
                  <a:lnTo>
                    <a:pt x="110" y="120"/>
                  </a:lnTo>
                  <a:lnTo>
                    <a:pt x="108" y="120"/>
                  </a:lnTo>
                  <a:lnTo>
                    <a:pt x="108" y="116"/>
                  </a:lnTo>
                  <a:lnTo>
                    <a:pt x="104" y="116"/>
                  </a:lnTo>
                  <a:lnTo>
                    <a:pt x="100" y="116"/>
                  </a:lnTo>
                  <a:lnTo>
                    <a:pt x="92" y="116"/>
                  </a:lnTo>
                  <a:lnTo>
                    <a:pt x="92" y="112"/>
                  </a:lnTo>
                  <a:lnTo>
                    <a:pt x="88" y="112"/>
                  </a:lnTo>
                  <a:lnTo>
                    <a:pt x="84" y="112"/>
                  </a:lnTo>
                  <a:lnTo>
                    <a:pt x="84" y="112"/>
                  </a:lnTo>
                  <a:lnTo>
                    <a:pt x="84" y="11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43" name="Freeform 136"/>
            <p:cNvSpPr>
              <a:spLocks/>
            </p:cNvSpPr>
            <p:nvPr/>
          </p:nvSpPr>
          <p:spPr bwMode="auto">
            <a:xfrm>
              <a:off x="7159601" y="3896312"/>
              <a:ext cx="94197" cy="180446"/>
            </a:xfrm>
            <a:custGeom>
              <a:avLst/>
              <a:gdLst>
                <a:gd name="T0" fmla="*/ 22 w 150"/>
                <a:gd name="T1" fmla="*/ 234 h 276"/>
                <a:gd name="T2" fmla="*/ 30 w 150"/>
                <a:gd name="T3" fmla="*/ 234 h 276"/>
                <a:gd name="T4" fmla="*/ 26 w 150"/>
                <a:gd name="T5" fmla="*/ 226 h 276"/>
                <a:gd name="T6" fmla="*/ 22 w 150"/>
                <a:gd name="T7" fmla="*/ 220 h 276"/>
                <a:gd name="T8" fmla="*/ 22 w 150"/>
                <a:gd name="T9" fmla="*/ 208 h 276"/>
                <a:gd name="T10" fmla="*/ 22 w 150"/>
                <a:gd name="T11" fmla="*/ 198 h 276"/>
                <a:gd name="T12" fmla="*/ 14 w 150"/>
                <a:gd name="T13" fmla="*/ 186 h 276"/>
                <a:gd name="T14" fmla="*/ 14 w 150"/>
                <a:gd name="T15" fmla="*/ 178 h 276"/>
                <a:gd name="T16" fmla="*/ 0 w 150"/>
                <a:gd name="T17" fmla="*/ 164 h 276"/>
                <a:gd name="T18" fmla="*/ 4 w 150"/>
                <a:gd name="T19" fmla="*/ 156 h 276"/>
                <a:gd name="T20" fmla="*/ 4 w 150"/>
                <a:gd name="T21" fmla="*/ 148 h 276"/>
                <a:gd name="T22" fmla="*/ 14 w 150"/>
                <a:gd name="T23" fmla="*/ 130 h 276"/>
                <a:gd name="T24" fmla="*/ 30 w 150"/>
                <a:gd name="T25" fmla="*/ 112 h 276"/>
                <a:gd name="T26" fmla="*/ 34 w 150"/>
                <a:gd name="T27" fmla="*/ 66 h 276"/>
                <a:gd name="T28" fmla="*/ 30 w 150"/>
                <a:gd name="T29" fmla="*/ 48 h 276"/>
                <a:gd name="T30" fmla="*/ 30 w 150"/>
                <a:gd name="T31" fmla="*/ 42 h 276"/>
                <a:gd name="T32" fmla="*/ 26 w 150"/>
                <a:gd name="T33" fmla="*/ 26 h 276"/>
                <a:gd name="T34" fmla="*/ 38 w 150"/>
                <a:gd name="T35" fmla="*/ 0 h 276"/>
                <a:gd name="T36" fmla="*/ 78 w 150"/>
                <a:gd name="T37" fmla="*/ 22 h 276"/>
                <a:gd name="T38" fmla="*/ 134 w 150"/>
                <a:gd name="T39" fmla="*/ 58 h 276"/>
                <a:gd name="T40" fmla="*/ 150 w 150"/>
                <a:gd name="T41" fmla="*/ 88 h 276"/>
                <a:gd name="T42" fmla="*/ 146 w 150"/>
                <a:gd name="T43" fmla="*/ 134 h 276"/>
                <a:gd name="T44" fmla="*/ 142 w 150"/>
                <a:gd name="T45" fmla="*/ 134 h 276"/>
                <a:gd name="T46" fmla="*/ 138 w 150"/>
                <a:gd name="T47" fmla="*/ 134 h 276"/>
                <a:gd name="T48" fmla="*/ 134 w 150"/>
                <a:gd name="T49" fmla="*/ 142 h 276"/>
                <a:gd name="T50" fmla="*/ 134 w 150"/>
                <a:gd name="T51" fmla="*/ 144 h 276"/>
                <a:gd name="T52" fmla="*/ 128 w 150"/>
                <a:gd name="T53" fmla="*/ 152 h 276"/>
                <a:gd name="T54" fmla="*/ 128 w 150"/>
                <a:gd name="T55" fmla="*/ 160 h 276"/>
                <a:gd name="T56" fmla="*/ 124 w 150"/>
                <a:gd name="T57" fmla="*/ 164 h 276"/>
                <a:gd name="T58" fmla="*/ 124 w 150"/>
                <a:gd name="T59" fmla="*/ 178 h 276"/>
                <a:gd name="T60" fmla="*/ 120 w 150"/>
                <a:gd name="T61" fmla="*/ 186 h 276"/>
                <a:gd name="T62" fmla="*/ 124 w 150"/>
                <a:gd name="T63" fmla="*/ 186 h 276"/>
                <a:gd name="T64" fmla="*/ 130 w 150"/>
                <a:gd name="T65" fmla="*/ 198 h 276"/>
                <a:gd name="T66" fmla="*/ 130 w 150"/>
                <a:gd name="T67" fmla="*/ 204 h 276"/>
                <a:gd name="T68" fmla="*/ 134 w 150"/>
                <a:gd name="T69" fmla="*/ 216 h 276"/>
                <a:gd name="T70" fmla="*/ 124 w 150"/>
                <a:gd name="T71" fmla="*/ 220 h 276"/>
                <a:gd name="T72" fmla="*/ 116 w 150"/>
                <a:gd name="T73" fmla="*/ 224 h 276"/>
                <a:gd name="T74" fmla="*/ 116 w 150"/>
                <a:gd name="T75" fmla="*/ 230 h 276"/>
                <a:gd name="T76" fmla="*/ 112 w 150"/>
                <a:gd name="T77" fmla="*/ 234 h 276"/>
                <a:gd name="T78" fmla="*/ 104 w 150"/>
                <a:gd name="T79" fmla="*/ 242 h 276"/>
                <a:gd name="T80" fmla="*/ 100 w 150"/>
                <a:gd name="T81" fmla="*/ 246 h 276"/>
                <a:gd name="T82" fmla="*/ 94 w 150"/>
                <a:gd name="T83" fmla="*/ 250 h 276"/>
                <a:gd name="T84" fmla="*/ 78 w 150"/>
                <a:gd name="T85" fmla="*/ 250 h 276"/>
                <a:gd name="T86" fmla="*/ 78 w 150"/>
                <a:gd name="T87" fmla="*/ 254 h 276"/>
                <a:gd name="T88" fmla="*/ 78 w 150"/>
                <a:gd name="T89" fmla="*/ 260 h 276"/>
                <a:gd name="T90" fmla="*/ 74 w 150"/>
                <a:gd name="T91" fmla="*/ 264 h 276"/>
                <a:gd name="T92" fmla="*/ 64 w 150"/>
                <a:gd name="T93" fmla="*/ 268 h 276"/>
                <a:gd name="T94" fmla="*/ 56 w 150"/>
                <a:gd name="T95" fmla="*/ 268 h 276"/>
                <a:gd name="T96" fmla="*/ 48 w 150"/>
                <a:gd name="T97" fmla="*/ 276 h 276"/>
                <a:gd name="T98" fmla="*/ 44 w 150"/>
                <a:gd name="T99" fmla="*/ 268 h 276"/>
                <a:gd name="T100" fmla="*/ 38 w 150"/>
                <a:gd name="T101" fmla="*/ 276 h 276"/>
                <a:gd name="T102" fmla="*/ 34 w 150"/>
                <a:gd name="T103" fmla="*/ 276 h 276"/>
                <a:gd name="T104" fmla="*/ 30 w 150"/>
                <a:gd name="T105" fmla="*/ 276 h 276"/>
                <a:gd name="T106" fmla="*/ 30 w 150"/>
                <a:gd name="T107" fmla="*/ 272 h 276"/>
                <a:gd name="T108" fmla="*/ 26 w 150"/>
                <a:gd name="T109" fmla="*/ 264 h 276"/>
                <a:gd name="T110" fmla="*/ 18 w 150"/>
                <a:gd name="T111" fmla="*/ 254 h 276"/>
                <a:gd name="T112" fmla="*/ 8 w 150"/>
                <a:gd name="T113" fmla="*/ 238 h 276"/>
                <a:gd name="T114" fmla="*/ 12 w 150"/>
                <a:gd name="T115" fmla="*/ 23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0" h="276">
                  <a:moveTo>
                    <a:pt x="12" y="234"/>
                  </a:moveTo>
                  <a:lnTo>
                    <a:pt x="14" y="234"/>
                  </a:lnTo>
                  <a:lnTo>
                    <a:pt x="14" y="234"/>
                  </a:lnTo>
                  <a:lnTo>
                    <a:pt x="18" y="234"/>
                  </a:lnTo>
                  <a:lnTo>
                    <a:pt x="18" y="234"/>
                  </a:lnTo>
                  <a:lnTo>
                    <a:pt x="22" y="234"/>
                  </a:lnTo>
                  <a:lnTo>
                    <a:pt x="22" y="234"/>
                  </a:lnTo>
                  <a:lnTo>
                    <a:pt x="22" y="234"/>
                  </a:lnTo>
                  <a:lnTo>
                    <a:pt x="22" y="234"/>
                  </a:lnTo>
                  <a:lnTo>
                    <a:pt x="22" y="234"/>
                  </a:lnTo>
                  <a:lnTo>
                    <a:pt x="22" y="234"/>
                  </a:lnTo>
                  <a:lnTo>
                    <a:pt x="26" y="234"/>
                  </a:lnTo>
                  <a:lnTo>
                    <a:pt x="26" y="234"/>
                  </a:lnTo>
                  <a:lnTo>
                    <a:pt x="26" y="234"/>
                  </a:lnTo>
                  <a:lnTo>
                    <a:pt x="30" y="234"/>
                  </a:lnTo>
                  <a:lnTo>
                    <a:pt x="30" y="234"/>
                  </a:lnTo>
                  <a:lnTo>
                    <a:pt x="30" y="234"/>
                  </a:lnTo>
                  <a:lnTo>
                    <a:pt x="30" y="234"/>
                  </a:lnTo>
                  <a:lnTo>
                    <a:pt x="30" y="234"/>
                  </a:lnTo>
                  <a:lnTo>
                    <a:pt x="30" y="230"/>
                  </a:lnTo>
                  <a:lnTo>
                    <a:pt x="30" y="230"/>
                  </a:lnTo>
                  <a:lnTo>
                    <a:pt x="30" y="230"/>
                  </a:lnTo>
                  <a:lnTo>
                    <a:pt x="30" y="230"/>
                  </a:lnTo>
                  <a:lnTo>
                    <a:pt x="26" y="226"/>
                  </a:lnTo>
                  <a:lnTo>
                    <a:pt x="26" y="226"/>
                  </a:lnTo>
                  <a:lnTo>
                    <a:pt x="26" y="224"/>
                  </a:lnTo>
                  <a:lnTo>
                    <a:pt x="22" y="224"/>
                  </a:lnTo>
                  <a:lnTo>
                    <a:pt x="22" y="224"/>
                  </a:lnTo>
                  <a:lnTo>
                    <a:pt x="22" y="220"/>
                  </a:lnTo>
                  <a:lnTo>
                    <a:pt x="22" y="220"/>
                  </a:lnTo>
                  <a:lnTo>
                    <a:pt x="22" y="220"/>
                  </a:lnTo>
                  <a:lnTo>
                    <a:pt x="22" y="220"/>
                  </a:lnTo>
                  <a:lnTo>
                    <a:pt x="22" y="220"/>
                  </a:lnTo>
                  <a:lnTo>
                    <a:pt x="22" y="220"/>
                  </a:lnTo>
                  <a:lnTo>
                    <a:pt x="22" y="216"/>
                  </a:lnTo>
                  <a:lnTo>
                    <a:pt x="22" y="216"/>
                  </a:lnTo>
                  <a:lnTo>
                    <a:pt x="22" y="212"/>
                  </a:lnTo>
                  <a:lnTo>
                    <a:pt x="22" y="212"/>
                  </a:lnTo>
                  <a:lnTo>
                    <a:pt x="22" y="208"/>
                  </a:lnTo>
                  <a:lnTo>
                    <a:pt x="22" y="208"/>
                  </a:lnTo>
                  <a:lnTo>
                    <a:pt x="22" y="208"/>
                  </a:lnTo>
                  <a:lnTo>
                    <a:pt x="22" y="204"/>
                  </a:lnTo>
                  <a:lnTo>
                    <a:pt x="22" y="204"/>
                  </a:lnTo>
                  <a:lnTo>
                    <a:pt x="22" y="200"/>
                  </a:lnTo>
                  <a:lnTo>
                    <a:pt x="22" y="198"/>
                  </a:lnTo>
                  <a:lnTo>
                    <a:pt x="22" y="198"/>
                  </a:lnTo>
                  <a:lnTo>
                    <a:pt x="22" y="198"/>
                  </a:lnTo>
                  <a:lnTo>
                    <a:pt x="22" y="198"/>
                  </a:lnTo>
                  <a:lnTo>
                    <a:pt x="22" y="194"/>
                  </a:lnTo>
                  <a:lnTo>
                    <a:pt x="22" y="194"/>
                  </a:lnTo>
                  <a:lnTo>
                    <a:pt x="22" y="194"/>
                  </a:lnTo>
                  <a:lnTo>
                    <a:pt x="22" y="194"/>
                  </a:lnTo>
                  <a:lnTo>
                    <a:pt x="18" y="186"/>
                  </a:lnTo>
                  <a:lnTo>
                    <a:pt x="18" y="186"/>
                  </a:lnTo>
                  <a:lnTo>
                    <a:pt x="18" y="186"/>
                  </a:lnTo>
                  <a:lnTo>
                    <a:pt x="14" y="186"/>
                  </a:lnTo>
                  <a:lnTo>
                    <a:pt x="14" y="186"/>
                  </a:lnTo>
                  <a:lnTo>
                    <a:pt x="14" y="182"/>
                  </a:lnTo>
                  <a:lnTo>
                    <a:pt x="14" y="182"/>
                  </a:lnTo>
                  <a:lnTo>
                    <a:pt x="14" y="182"/>
                  </a:lnTo>
                  <a:lnTo>
                    <a:pt x="14" y="182"/>
                  </a:lnTo>
                  <a:lnTo>
                    <a:pt x="14" y="182"/>
                  </a:lnTo>
                  <a:lnTo>
                    <a:pt x="14" y="178"/>
                  </a:lnTo>
                  <a:lnTo>
                    <a:pt x="14" y="178"/>
                  </a:lnTo>
                  <a:lnTo>
                    <a:pt x="12" y="178"/>
                  </a:lnTo>
                  <a:lnTo>
                    <a:pt x="8" y="178"/>
                  </a:lnTo>
                  <a:lnTo>
                    <a:pt x="8" y="174"/>
                  </a:lnTo>
                  <a:lnTo>
                    <a:pt x="4" y="170"/>
                  </a:lnTo>
                  <a:lnTo>
                    <a:pt x="4" y="168"/>
                  </a:lnTo>
                  <a:lnTo>
                    <a:pt x="4" y="168"/>
                  </a:lnTo>
                  <a:lnTo>
                    <a:pt x="4" y="168"/>
                  </a:lnTo>
                  <a:lnTo>
                    <a:pt x="0" y="164"/>
                  </a:lnTo>
                  <a:lnTo>
                    <a:pt x="0" y="156"/>
                  </a:lnTo>
                  <a:lnTo>
                    <a:pt x="0" y="156"/>
                  </a:lnTo>
                  <a:lnTo>
                    <a:pt x="0" y="156"/>
                  </a:lnTo>
                  <a:lnTo>
                    <a:pt x="0" y="156"/>
                  </a:lnTo>
                  <a:lnTo>
                    <a:pt x="0" y="156"/>
                  </a:lnTo>
                  <a:lnTo>
                    <a:pt x="0" y="156"/>
                  </a:lnTo>
                  <a:lnTo>
                    <a:pt x="4" y="156"/>
                  </a:lnTo>
                  <a:lnTo>
                    <a:pt x="4" y="156"/>
                  </a:lnTo>
                  <a:lnTo>
                    <a:pt x="4" y="156"/>
                  </a:lnTo>
                  <a:lnTo>
                    <a:pt x="4" y="152"/>
                  </a:lnTo>
                  <a:lnTo>
                    <a:pt x="4" y="152"/>
                  </a:lnTo>
                  <a:lnTo>
                    <a:pt x="4" y="152"/>
                  </a:lnTo>
                  <a:lnTo>
                    <a:pt x="4" y="152"/>
                  </a:lnTo>
                  <a:lnTo>
                    <a:pt x="4" y="152"/>
                  </a:lnTo>
                  <a:lnTo>
                    <a:pt x="4" y="148"/>
                  </a:lnTo>
                  <a:lnTo>
                    <a:pt x="4" y="148"/>
                  </a:lnTo>
                  <a:lnTo>
                    <a:pt x="4" y="148"/>
                  </a:lnTo>
                  <a:lnTo>
                    <a:pt x="8" y="144"/>
                  </a:lnTo>
                  <a:lnTo>
                    <a:pt x="8" y="142"/>
                  </a:lnTo>
                  <a:lnTo>
                    <a:pt x="8" y="142"/>
                  </a:lnTo>
                  <a:lnTo>
                    <a:pt x="12" y="138"/>
                  </a:lnTo>
                  <a:lnTo>
                    <a:pt x="12" y="138"/>
                  </a:lnTo>
                  <a:lnTo>
                    <a:pt x="14" y="134"/>
                  </a:lnTo>
                  <a:lnTo>
                    <a:pt x="14" y="130"/>
                  </a:lnTo>
                  <a:lnTo>
                    <a:pt x="22" y="122"/>
                  </a:lnTo>
                  <a:lnTo>
                    <a:pt x="22" y="118"/>
                  </a:lnTo>
                  <a:lnTo>
                    <a:pt x="26" y="118"/>
                  </a:lnTo>
                  <a:lnTo>
                    <a:pt x="26" y="114"/>
                  </a:lnTo>
                  <a:lnTo>
                    <a:pt x="30" y="114"/>
                  </a:lnTo>
                  <a:lnTo>
                    <a:pt x="30" y="114"/>
                  </a:lnTo>
                  <a:lnTo>
                    <a:pt x="30" y="114"/>
                  </a:lnTo>
                  <a:lnTo>
                    <a:pt x="30" y="112"/>
                  </a:lnTo>
                  <a:lnTo>
                    <a:pt x="30" y="104"/>
                  </a:lnTo>
                  <a:lnTo>
                    <a:pt x="30" y="92"/>
                  </a:lnTo>
                  <a:lnTo>
                    <a:pt x="30" y="88"/>
                  </a:lnTo>
                  <a:lnTo>
                    <a:pt x="30" y="88"/>
                  </a:lnTo>
                  <a:lnTo>
                    <a:pt x="30" y="82"/>
                  </a:lnTo>
                  <a:lnTo>
                    <a:pt x="30" y="78"/>
                  </a:lnTo>
                  <a:lnTo>
                    <a:pt x="30" y="78"/>
                  </a:lnTo>
                  <a:lnTo>
                    <a:pt x="34" y="66"/>
                  </a:lnTo>
                  <a:lnTo>
                    <a:pt x="34" y="62"/>
                  </a:lnTo>
                  <a:lnTo>
                    <a:pt x="34" y="58"/>
                  </a:lnTo>
                  <a:lnTo>
                    <a:pt x="34" y="58"/>
                  </a:lnTo>
                  <a:lnTo>
                    <a:pt x="34" y="56"/>
                  </a:lnTo>
                  <a:lnTo>
                    <a:pt x="38" y="52"/>
                  </a:lnTo>
                  <a:lnTo>
                    <a:pt x="38" y="52"/>
                  </a:lnTo>
                  <a:lnTo>
                    <a:pt x="30" y="48"/>
                  </a:lnTo>
                  <a:lnTo>
                    <a:pt x="30" y="48"/>
                  </a:lnTo>
                  <a:lnTo>
                    <a:pt x="30" y="44"/>
                  </a:lnTo>
                  <a:lnTo>
                    <a:pt x="30" y="44"/>
                  </a:lnTo>
                  <a:lnTo>
                    <a:pt x="30" y="44"/>
                  </a:lnTo>
                  <a:lnTo>
                    <a:pt x="30" y="44"/>
                  </a:lnTo>
                  <a:lnTo>
                    <a:pt x="30" y="44"/>
                  </a:lnTo>
                  <a:lnTo>
                    <a:pt x="30" y="44"/>
                  </a:lnTo>
                  <a:lnTo>
                    <a:pt x="30" y="44"/>
                  </a:lnTo>
                  <a:lnTo>
                    <a:pt x="30" y="42"/>
                  </a:lnTo>
                  <a:lnTo>
                    <a:pt x="30" y="42"/>
                  </a:lnTo>
                  <a:lnTo>
                    <a:pt x="30" y="42"/>
                  </a:lnTo>
                  <a:lnTo>
                    <a:pt x="26" y="34"/>
                  </a:lnTo>
                  <a:lnTo>
                    <a:pt x="26" y="34"/>
                  </a:lnTo>
                  <a:lnTo>
                    <a:pt x="26" y="34"/>
                  </a:lnTo>
                  <a:lnTo>
                    <a:pt x="26" y="30"/>
                  </a:lnTo>
                  <a:lnTo>
                    <a:pt x="26" y="30"/>
                  </a:lnTo>
                  <a:lnTo>
                    <a:pt x="26" y="26"/>
                  </a:lnTo>
                  <a:lnTo>
                    <a:pt x="26" y="22"/>
                  </a:lnTo>
                  <a:lnTo>
                    <a:pt x="26" y="22"/>
                  </a:lnTo>
                  <a:lnTo>
                    <a:pt x="22" y="12"/>
                  </a:lnTo>
                  <a:lnTo>
                    <a:pt x="22" y="8"/>
                  </a:lnTo>
                  <a:lnTo>
                    <a:pt x="22" y="8"/>
                  </a:lnTo>
                  <a:lnTo>
                    <a:pt x="22" y="4"/>
                  </a:lnTo>
                  <a:lnTo>
                    <a:pt x="26" y="4"/>
                  </a:lnTo>
                  <a:lnTo>
                    <a:pt x="38" y="0"/>
                  </a:lnTo>
                  <a:lnTo>
                    <a:pt x="40" y="0"/>
                  </a:lnTo>
                  <a:lnTo>
                    <a:pt x="48" y="8"/>
                  </a:lnTo>
                  <a:lnTo>
                    <a:pt x="60" y="12"/>
                  </a:lnTo>
                  <a:lnTo>
                    <a:pt x="60" y="12"/>
                  </a:lnTo>
                  <a:lnTo>
                    <a:pt x="64" y="14"/>
                  </a:lnTo>
                  <a:lnTo>
                    <a:pt x="70" y="18"/>
                  </a:lnTo>
                  <a:lnTo>
                    <a:pt x="74" y="22"/>
                  </a:lnTo>
                  <a:lnTo>
                    <a:pt x="78" y="22"/>
                  </a:lnTo>
                  <a:lnTo>
                    <a:pt x="82" y="26"/>
                  </a:lnTo>
                  <a:lnTo>
                    <a:pt x="90" y="30"/>
                  </a:lnTo>
                  <a:lnTo>
                    <a:pt x="98" y="38"/>
                  </a:lnTo>
                  <a:lnTo>
                    <a:pt x="108" y="42"/>
                  </a:lnTo>
                  <a:lnTo>
                    <a:pt x="112" y="44"/>
                  </a:lnTo>
                  <a:lnTo>
                    <a:pt x="120" y="48"/>
                  </a:lnTo>
                  <a:lnTo>
                    <a:pt x="128" y="52"/>
                  </a:lnTo>
                  <a:lnTo>
                    <a:pt x="134" y="58"/>
                  </a:lnTo>
                  <a:lnTo>
                    <a:pt x="142" y="62"/>
                  </a:lnTo>
                  <a:lnTo>
                    <a:pt x="150" y="66"/>
                  </a:lnTo>
                  <a:lnTo>
                    <a:pt x="150" y="66"/>
                  </a:lnTo>
                  <a:lnTo>
                    <a:pt x="150" y="70"/>
                  </a:lnTo>
                  <a:lnTo>
                    <a:pt x="150" y="78"/>
                  </a:lnTo>
                  <a:lnTo>
                    <a:pt x="150" y="82"/>
                  </a:lnTo>
                  <a:lnTo>
                    <a:pt x="150" y="84"/>
                  </a:lnTo>
                  <a:lnTo>
                    <a:pt x="150" y="88"/>
                  </a:lnTo>
                  <a:lnTo>
                    <a:pt x="150" y="122"/>
                  </a:lnTo>
                  <a:lnTo>
                    <a:pt x="150" y="126"/>
                  </a:lnTo>
                  <a:lnTo>
                    <a:pt x="150" y="134"/>
                  </a:lnTo>
                  <a:lnTo>
                    <a:pt x="150" y="134"/>
                  </a:lnTo>
                  <a:lnTo>
                    <a:pt x="150" y="134"/>
                  </a:lnTo>
                  <a:lnTo>
                    <a:pt x="150" y="134"/>
                  </a:lnTo>
                  <a:lnTo>
                    <a:pt x="150" y="134"/>
                  </a:lnTo>
                  <a:lnTo>
                    <a:pt x="146" y="134"/>
                  </a:lnTo>
                  <a:lnTo>
                    <a:pt x="146" y="134"/>
                  </a:lnTo>
                  <a:lnTo>
                    <a:pt x="146" y="134"/>
                  </a:lnTo>
                  <a:lnTo>
                    <a:pt x="142" y="134"/>
                  </a:lnTo>
                  <a:lnTo>
                    <a:pt x="142" y="134"/>
                  </a:lnTo>
                  <a:lnTo>
                    <a:pt x="142" y="134"/>
                  </a:lnTo>
                  <a:lnTo>
                    <a:pt x="142" y="134"/>
                  </a:lnTo>
                  <a:lnTo>
                    <a:pt x="142" y="134"/>
                  </a:lnTo>
                  <a:lnTo>
                    <a:pt x="142" y="134"/>
                  </a:lnTo>
                  <a:lnTo>
                    <a:pt x="142" y="134"/>
                  </a:lnTo>
                  <a:lnTo>
                    <a:pt x="142" y="134"/>
                  </a:lnTo>
                  <a:lnTo>
                    <a:pt x="142" y="134"/>
                  </a:lnTo>
                  <a:lnTo>
                    <a:pt x="138" y="134"/>
                  </a:lnTo>
                  <a:lnTo>
                    <a:pt x="138" y="134"/>
                  </a:lnTo>
                  <a:lnTo>
                    <a:pt x="138" y="134"/>
                  </a:lnTo>
                  <a:lnTo>
                    <a:pt x="138" y="134"/>
                  </a:lnTo>
                  <a:lnTo>
                    <a:pt x="138" y="134"/>
                  </a:lnTo>
                  <a:lnTo>
                    <a:pt x="138" y="134"/>
                  </a:lnTo>
                  <a:lnTo>
                    <a:pt x="134" y="138"/>
                  </a:lnTo>
                  <a:lnTo>
                    <a:pt x="134" y="138"/>
                  </a:lnTo>
                  <a:lnTo>
                    <a:pt x="134" y="138"/>
                  </a:lnTo>
                  <a:lnTo>
                    <a:pt x="134" y="138"/>
                  </a:lnTo>
                  <a:lnTo>
                    <a:pt x="134" y="138"/>
                  </a:lnTo>
                  <a:lnTo>
                    <a:pt x="134" y="138"/>
                  </a:lnTo>
                  <a:lnTo>
                    <a:pt x="134" y="142"/>
                  </a:lnTo>
                  <a:lnTo>
                    <a:pt x="134" y="142"/>
                  </a:lnTo>
                  <a:lnTo>
                    <a:pt x="134" y="142"/>
                  </a:lnTo>
                  <a:lnTo>
                    <a:pt x="134" y="142"/>
                  </a:lnTo>
                  <a:lnTo>
                    <a:pt x="134" y="142"/>
                  </a:lnTo>
                  <a:lnTo>
                    <a:pt x="134" y="144"/>
                  </a:lnTo>
                  <a:lnTo>
                    <a:pt x="134" y="144"/>
                  </a:lnTo>
                  <a:lnTo>
                    <a:pt x="134" y="144"/>
                  </a:lnTo>
                  <a:lnTo>
                    <a:pt x="134" y="144"/>
                  </a:lnTo>
                  <a:lnTo>
                    <a:pt x="130" y="144"/>
                  </a:lnTo>
                  <a:lnTo>
                    <a:pt x="130" y="148"/>
                  </a:lnTo>
                  <a:lnTo>
                    <a:pt x="130" y="148"/>
                  </a:lnTo>
                  <a:lnTo>
                    <a:pt x="130" y="148"/>
                  </a:lnTo>
                  <a:lnTo>
                    <a:pt x="130" y="152"/>
                  </a:lnTo>
                  <a:lnTo>
                    <a:pt x="130" y="152"/>
                  </a:lnTo>
                  <a:lnTo>
                    <a:pt x="128" y="152"/>
                  </a:lnTo>
                  <a:lnTo>
                    <a:pt x="128" y="152"/>
                  </a:lnTo>
                  <a:lnTo>
                    <a:pt x="128" y="152"/>
                  </a:lnTo>
                  <a:lnTo>
                    <a:pt x="128" y="152"/>
                  </a:lnTo>
                  <a:lnTo>
                    <a:pt x="128" y="152"/>
                  </a:lnTo>
                  <a:lnTo>
                    <a:pt x="128" y="156"/>
                  </a:lnTo>
                  <a:lnTo>
                    <a:pt x="128" y="156"/>
                  </a:lnTo>
                  <a:lnTo>
                    <a:pt x="128" y="156"/>
                  </a:lnTo>
                  <a:lnTo>
                    <a:pt x="128" y="156"/>
                  </a:lnTo>
                  <a:lnTo>
                    <a:pt x="128" y="160"/>
                  </a:lnTo>
                  <a:lnTo>
                    <a:pt x="128" y="160"/>
                  </a:lnTo>
                  <a:lnTo>
                    <a:pt x="130" y="160"/>
                  </a:lnTo>
                  <a:lnTo>
                    <a:pt x="130" y="160"/>
                  </a:lnTo>
                  <a:lnTo>
                    <a:pt x="130" y="160"/>
                  </a:lnTo>
                  <a:lnTo>
                    <a:pt x="128" y="164"/>
                  </a:lnTo>
                  <a:lnTo>
                    <a:pt x="128" y="164"/>
                  </a:lnTo>
                  <a:lnTo>
                    <a:pt x="128" y="164"/>
                  </a:lnTo>
                  <a:lnTo>
                    <a:pt x="124" y="164"/>
                  </a:lnTo>
                  <a:lnTo>
                    <a:pt x="124" y="164"/>
                  </a:lnTo>
                  <a:lnTo>
                    <a:pt x="124" y="168"/>
                  </a:lnTo>
                  <a:lnTo>
                    <a:pt x="124" y="170"/>
                  </a:lnTo>
                  <a:lnTo>
                    <a:pt x="124" y="170"/>
                  </a:lnTo>
                  <a:lnTo>
                    <a:pt x="128" y="174"/>
                  </a:lnTo>
                  <a:lnTo>
                    <a:pt x="128" y="174"/>
                  </a:lnTo>
                  <a:lnTo>
                    <a:pt x="128" y="174"/>
                  </a:lnTo>
                  <a:lnTo>
                    <a:pt x="124" y="178"/>
                  </a:lnTo>
                  <a:lnTo>
                    <a:pt x="124" y="178"/>
                  </a:lnTo>
                  <a:lnTo>
                    <a:pt x="124" y="178"/>
                  </a:lnTo>
                  <a:lnTo>
                    <a:pt x="120" y="178"/>
                  </a:lnTo>
                  <a:lnTo>
                    <a:pt x="120" y="182"/>
                  </a:lnTo>
                  <a:lnTo>
                    <a:pt x="120" y="186"/>
                  </a:lnTo>
                  <a:lnTo>
                    <a:pt x="120" y="186"/>
                  </a:lnTo>
                  <a:lnTo>
                    <a:pt x="120" y="186"/>
                  </a:lnTo>
                  <a:lnTo>
                    <a:pt x="120" y="186"/>
                  </a:lnTo>
                  <a:lnTo>
                    <a:pt x="120" y="186"/>
                  </a:lnTo>
                  <a:lnTo>
                    <a:pt x="120" y="186"/>
                  </a:lnTo>
                  <a:lnTo>
                    <a:pt x="124" y="186"/>
                  </a:lnTo>
                  <a:lnTo>
                    <a:pt x="124" y="186"/>
                  </a:lnTo>
                  <a:lnTo>
                    <a:pt x="124" y="186"/>
                  </a:lnTo>
                  <a:lnTo>
                    <a:pt x="124" y="186"/>
                  </a:lnTo>
                  <a:lnTo>
                    <a:pt x="124" y="186"/>
                  </a:lnTo>
                  <a:lnTo>
                    <a:pt x="124" y="186"/>
                  </a:lnTo>
                  <a:lnTo>
                    <a:pt x="124" y="186"/>
                  </a:lnTo>
                  <a:lnTo>
                    <a:pt x="124" y="186"/>
                  </a:lnTo>
                  <a:lnTo>
                    <a:pt x="128" y="186"/>
                  </a:lnTo>
                  <a:lnTo>
                    <a:pt x="128" y="186"/>
                  </a:lnTo>
                  <a:lnTo>
                    <a:pt x="128" y="190"/>
                  </a:lnTo>
                  <a:lnTo>
                    <a:pt x="128" y="194"/>
                  </a:lnTo>
                  <a:lnTo>
                    <a:pt x="128" y="198"/>
                  </a:lnTo>
                  <a:lnTo>
                    <a:pt x="130" y="198"/>
                  </a:lnTo>
                  <a:lnTo>
                    <a:pt x="130" y="198"/>
                  </a:lnTo>
                  <a:lnTo>
                    <a:pt x="130" y="200"/>
                  </a:lnTo>
                  <a:lnTo>
                    <a:pt x="130" y="200"/>
                  </a:lnTo>
                  <a:lnTo>
                    <a:pt x="130" y="204"/>
                  </a:lnTo>
                  <a:lnTo>
                    <a:pt x="130" y="204"/>
                  </a:lnTo>
                  <a:lnTo>
                    <a:pt x="130" y="204"/>
                  </a:lnTo>
                  <a:lnTo>
                    <a:pt x="130" y="204"/>
                  </a:lnTo>
                  <a:lnTo>
                    <a:pt x="130" y="204"/>
                  </a:lnTo>
                  <a:lnTo>
                    <a:pt x="130" y="208"/>
                  </a:lnTo>
                  <a:lnTo>
                    <a:pt x="130" y="208"/>
                  </a:lnTo>
                  <a:lnTo>
                    <a:pt x="134" y="208"/>
                  </a:lnTo>
                  <a:lnTo>
                    <a:pt x="134" y="212"/>
                  </a:lnTo>
                  <a:lnTo>
                    <a:pt x="134" y="212"/>
                  </a:lnTo>
                  <a:lnTo>
                    <a:pt x="134" y="216"/>
                  </a:lnTo>
                  <a:lnTo>
                    <a:pt x="134" y="216"/>
                  </a:lnTo>
                  <a:lnTo>
                    <a:pt x="134" y="216"/>
                  </a:lnTo>
                  <a:lnTo>
                    <a:pt x="130" y="216"/>
                  </a:lnTo>
                  <a:lnTo>
                    <a:pt x="128" y="216"/>
                  </a:lnTo>
                  <a:lnTo>
                    <a:pt x="128" y="216"/>
                  </a:lnTo>
                  <a:lnTo>
                    <a:pt x="128" y="216"/>
                  </a:lnTo>
                  <a:lnTo>
                    <a:pt x="128" y="216"/>
                  </a:lnTo>
                  <a:lnTo>
                    <a:pt x="128" y="216"/>
                  </a:lnTo>
                  <a:lnTo>
                    <a:pt x="124" y="216"/>
                  </a:lnTo>
                  <a:lnTo>
                    <a:pt x="124" y="220"/>
                  </a:lnTo>
                  <a:lnTo>
                    <a:pt x="120" y="220"/>
                  </a:lnTo>
                  <a:lnTo>
                    <a:pt x="120" y="220"/>
                  </a:lnTo>
                  <a:lnTo>
                    <a:pt x="120" y="220"/>
                  </a:lnTo>
                  <a:lnTo>
                    <a:pt x="120" y="220"/>
                  </a:lnTo>
                  <a:lnTo>
                    <a:pt x="116" y="224"/>
                  </a:lnTo>
                  <a:lnTo>
                    <a:pt x="116" y="224"/>
                  </a:lnTo>
                  <a:lnTo>
                    <a:pt x="116" y="224"/>
                  </a:lnTo>
                  <a:lnTo>
                    <a:pt x="116" y="224"/>
                  </a:lnTo>
                  <a:lnTo>
                    <a:pt x="116" y="224"/>
                  </a:lnTo>
                  <a:lnTo>
                    <a:pt x="116" y="226"/>
                  </a:lnTo>
                  <a:lnTo>
                    <a:pt x="120" y="226"/>
                  </a:lnTo>
                  <a:lnTo>
                    <a:pt x="116" y="226"/>
                  </a:lnTo>
                  <a:lnTo>
                    <a:pt x="116" y="226"/>
                  </a:lnTo>
                  <a:lnTo>
                    <a:pt x="116" y="230"/>
                  </a:lnTo>
                  <a:lnTo>
                    <a:pt x="116" y="230"/>
                  </a:lnTo>
                  <a:lnTo>
                    <a:pt x="116" y="230"/>
                  </a:lnTo>
                  <a:lnTo>
                    <a:pt x="116" y="230"/>
                  </a:lnTo>
                  <a:lnTo>
                    <a:pt x="116" y="230"/>
                  </a:lnTo>
                  <a:lnTo>
                    <a:pt x="116" y="230"/>
                  </a:lnTo>
                  <a:lnTo>
                    <a:pt x="112" y="230"/>
                  </a:lnTo>
                  <a:lnTo>
                    <a:pt x="112" y="230"/>
                  </a:lnTo>
                  <a:lnTo>
                    <a:pt x="112" y="230"/>
                  </a:lnTo>
                  <a:lnTo>
                    <a:pt x="112" y="230"/>
                  </a:lnTo>
                  <a:lnTo>
                    <a:pt x="112" y="234"/>
                  </a:lnTo>
                  <a:lnTo>
                    <a:pt x="112" y="234"/>
                  </a:lnTo>
                  <a:lnTo>
                    <a:pt x="112" y="234"/>
                  </a:lnTo>
                  <a:lnTo>
                    <a:pt x="112" y="234"/>
                  </a:lnTo>
                  <a:lnTo>
                    <a:pt x="112" y="234"/>
                  </a:lnTo>
                  <a:lnTo>
                    <a:pt x="112" y="234"/>
                  </a:lnTo>
                  <a:lnTo>
                    <a:pt x="108" y="238"/>
                  </a:lnTo>
                  <a:lnTo>
                    <a:pt x="108" y="238"/>
                  </a:lnTo>
                  <a:lnTo>
                    <a:pt x="104" y="242"/>
                  </a:lnTo>
                  <a:lnTo>
                    <a:pt x="104" y="242"/>
                  </a:lnTo>
                  <a:lnTo>
                    <a:pt x="104" y="242"/>
                  </a:lnTo>
                  <a:lnTo>
                    <a:pt x="104" y="242"/>
                  </a:lnTo>
                  <a:lnTo>
                    <a:pt x="104" y="242"/>
                  </a:lnTo>
                  <a:lnTo>
                    <a:pt x="104" y="242"/>
                  </a:lnTo>
                  <a:lnTo>
                    <a:pt x="100" y="246"/>
                  </a:lnTo>
                  <a:lnTo>
                    <a:pt x="100" y="246"/>
                  </a:lnTo>
                  <a:lnTo>
                    <a:pt x="100" y="246"/>
                  </a:lnTo>
                  <a:lnTo>
                    <a:pt x="100" y="246"/>
                  </a:lnTo>
                  <a:lnTo>
                    <a:pt x="100" y="250"/>
                  </a:lnTo>
                  <a:lnTo>
                    <a:pt x="98" y="250"/>
                  </a:lnTo>
                  <a:lnTo>
                    <a:pt x="98" y="250"/>
                  </a:lnTo>
                  <a:lnTo>
                    <a:pt x="98" y="250"/>
                  </a:lnTo>
                  <a:lnTo>
                    <a:pt x="98" y="250"/>
                  </a:lnTo>
                  <a:lnTo>
                    <a:pt x="94" y="250"/>
                  </a:lnTo>
                  <a:lnTo>
                    <a:pt x="94" y="250"/>
                  </a:lnTo>
                  <a:lnTo>
                    <a:pt x="94" y="250"/>
                  </a:lnTo>
                  <a:lnTo>
                    <a:pt x="94" y="250"/>
                  </a:lnTo>
                  <a:lnTo>
                    <a:pt x="90" y="250"/>
                  </a:lnTo>
                  <a:lnTo>
                    <a:pt x="86" y="250"/>
                  </a:lnTo>
                  <a:lnTo>
                    <a:pt x="86" y="250"/>
                  </a:lnTo>
                  <a:lnTo>
                    <a:pt x="82" y="250"/>
                  </a:lnTo>
                  <a:lnTo>
                    <a:pt x="82" y="250"/>
                  </a:lnTo>
                  <a:lnTo>
                    <a:pt x="78" y="250"/>
                  </a:lnTo>
                  <a:lnTo>
                    <a:pt x="78" y="250"/>
                  </a:lnTo>
                  <a:lnTo>
                    <a:pt x="78" y="250"/>
                  </a:lnTo>
                  <a:lnTo>
                    <a:pt x="78" y="254"/>
                  </a:lnTo>
                  <a:lnTo>
                    <a:pt x="78" y="254"/>
                  </a:lnTo>
                  <a:lnTo>
                    <a:pt x="78" y="254"/>
                  </a:lnTo>
                  <a:lnTo>
                    <a:pt x="78" y="254"/>
                  </a:lnTo>
                  <a:lnTo>
                    <a:pt x="78" y="254"/>
                  </a:lnTo>
                  <a:lnTo>
                    <a:pt x="78" y="254"/>
                  </a:lnTo>
                  <a:lnTo>
                    <a:pt x="78" y="254"/>
                  </a:lnTo>
                  <a:lnTo>
                    <a:pt x="82" y="256"/>
                  </a:lnTo>
                  <a:lnTo>
                    <a:pt x="82" y="256"/>
                  </a:lnTo>
                  <a:lnTo>
                    <a:pt x="78" y="256"/>
                  </a:lnTo>
                  <a:lnTo>
                    <a:pt x="78" y="256"/>
                  </a:lnTo>
                  <a:lnTo>
                    <a:pt x="78" y="260"/>
                  </a:lnTo>
                  <a:lnTo>
                    <a:pt x="78" y="260"/>
                  </a:lnTo>
                  <a:lnTo>
                    <a:pt x="78" y="260"/>
                  </a:lnTo>
                  <a:lnTo>
                    <a:pt x="78" y="260"/>
                  </a:lnTo>
                  <a:lnTo>
                    <a:pt x="74" y="260"/>
                  </a:lnTo>
                  <a:lnTo>
                    <a:pt x="74" y="264"/>
                  </a:lnTo>
                  <a:lnTo>
                    <a:pt x="74" y="264"/>
                  </a:lnTo>
                  <a:lnTo>
                    <a:pt x="74" y="264"/>
                  </a:lnTo>
                  <a:lnTo>
                    <a:pt x="74" y="264"/>
                  </a:lnTo>
                  <a:lnTo>
                    <a:pt x="74" y="264"/>
                  </a:lnTo>
                  <a:lnTo>
                    <a:pt x="74" y="264"/>
                  </a:lnTo>
                  <a:lnTo>
                    <a:pt x="74" y="264"/>
                  </a:lnTo>
                  <a:lnTo>
                    <a:pt x="74" y="264"/>
                  </a:lnTo>
                  <a:lnTo>
                    <a:pt x="74" y="268"/>
                  </a:lnTo>
                  <a:lnTo>
                    <a:pt x="74" y="268"/>
                  </a:lnTo>
                  <a:lnTo>
                    <a:pt x="70" y="268"/>
                  </a:lnTo>
                  <a:lnTo>
                    <a:pt x="70" y="268"/>
                  </a:lnTo>
                  <a:lnTo>
                    <a:pt x="68" y="268"/>
                  </a:lnTo>
                  <a:lnTo>
                    <a:pt x="64" y="268"/>
                  </a:lnTo>
                  <a:lnTo>
                    <a:pt x="64" y="268"/>
                  </a:lnTo>
                  <a:lnTo>
                    <a:pt x="60" y="268"/>
                  </a:lnTo>
                  <a:lnTo>
                    <a:pt x="60" y="268"/>
                  </a:lnTo>
                  <a:lnTo>
                    <a:pt x="60" y="268"/>
                  </a:lnTo>
                  <a:lnTo>
                    <a:pt x="60" y="268"/>
                  </a:lnTo>
                  <a:lnTo>
                    <a:pt x="56" y="268"/>
                  </a:lnTo>
                  <a:lnTo>
                    <a:pt x="56" y="268"/>
                  </a:lnTo>
                  <a:lnTo>
                    <a:pt x="56" y="268"/>
                  </a:lnTo>
                  <a:lnTo>
                    <a:pt x="52" y="272"/>
                  </a:lnTo>
                  <a:lnTo>
                    <a:pt x="52" y="272"/>
                  </a:lnTo>
                  <a:lnTo>
                    <a:pt x="52" y="272"/>
                  </a:lnTo>
                  <a:lnTo>
                    <a:pt x="52" y="272"/>
                  </a:lnTo>
                  <a:lnTo>
                    <a:pt x="52" y="272"/>
                  </a:lnTo>
                  <a:lnTo>
                    <a:pt x="48" y="272"/>
                  </a:lnTo>
                  <a:lnTo>
                    <a:pt x="48" y="272"/>
                  </a:lnTo>
                  <a:lnTo>
                    <a:pt x="48" y="276"/>
                  </a:lnTo>
                  <a:lnTo>
                    <a:pt x="48" y="276"/>
                  </a:lnTo>
                  <a:lnTo>
                    <a:pt x="48" y="276"/>
                  </a:lnTo>
                  <a:lnTo>
                    <a:pt x="48" y="276"/>
                  </a:lnTo>
                  <a:lnTo>
                    <a:pt x="48" y="276"/>
                  </a:lnTo>
                  <a:lnTo>
                    <a:pt x="48" y="276"/>
                  </a:lnTo>
                  <a:lnTo>
                    <a:pt x="44" y="272"/>
                  </a:lnTo>
                  <a:lnTo>
                    <a:pt x="44" y="272"/>
                  </a:lnTo>
                  <a:lnTo>
                    <a:pt x="44" y="268"/>
                  </a:lnTo>
                  <a:lnTo>
                    <a:pt x="44" y="268"/>
                  </a:lnTo>
                  <a:lnTo>
                    <a:pt x="44" y="268"/>
                  </a:lnTo>
                  <a:lnTo>
                    <a:pt x="40" y="272"/>
                  </a:lnTo>
                  <a:lnTo>
                    <a:pt x="40" y="272"/>
                  </a:lnTo>
                  <a:lnTo>
                    <a:pt x="40" y="272"/>
                  </a:lnTo>
                  <a:lnTo>
                    <a:pt x="40" y="272"/>
                  </a:lnTo>
                  <a:lnTo>
                    <a:pt x="40" y="276"/>
                  </a:lnTo>
                  <a:lnTo>
                    <a:pt x="38" y="276"/>
                  </a:lnTo>
                  <a:lnTo>
                    <a:pt x="38" y="276"/>
                  </a:lnTo>
                  <a:lnTo>
                    <a:pt x="38" y="276"/>
                  </a:lnTo>
                  <a:lnTo>
                    <a:pt x="38" y="276"/>
                  </a:lnTo>
                  <a:lnTo>
                    <a:pt x="38" y="276"/>
                  </a:lnTo>
                  <a:lnTo>
                    <a:pt x="38" y="276"/>
                  </a:lnTo>
                  <a:lnTo>
                    <a:pt x="34" y="276"/>
                  </a:lnTo>
                  <a:lnTo>
                    <a:pt x="34" y="276"/>
                  </a:lnTo>
                  <a:lnTo>
                    <a:pt x="34" y="276"/>
                  </a:lnTo>
                  <a:lnTo>
                    <a:pt x="34" y="276"/>
                  </a:lnTo>
                  <a:lnTo>
                    <a:pt x="34" y="276"/>
                  </a:lnTo>
                  <a:lnTo>
                    <a:pt x="30" y="276"/>
                  </a:lnTo>
                  <a:lnTo>
                    <a:pt x="30" y="276"/>
                  </a:lnTo>
                  <a:lnTo>
                    <a:pt x="30" y="276"/>
                  </a:lnTo>
                  <a:lnTo>
                    <a:pt x="30" y="276"/>
                  </a:lnTo>
                  <a:lnTo>
                    <a:pt x="30" y="276"/>
                  </a:lnTo>
                  <a:lnTo>
                    <a:pt x="30" y="276"/>
                  </a:lnTo>
                  <a:lnTo>
                    <a:pt x="30" y="276"/>
                  </a:lnTo>
                  <a:lnTo>
                    <a:pt x="30" y="276"/>
                  </a:lnTo>
                  <a:lnTo>
                    <a:pt x="30" y="272"/>
                  </a:lnTo>
                  <a:lnTo>
                    <a:pt x="30" y="272"/>
                  </a:lnTo>
                  <a:lnTo>
                    <a:pt x="30" y="272"/>
                  </a:lnTo>
                  <a:lnTo>
                    <a:pt x="30" y="272"/>
                  </a:lnTo>
                  <a:lnTo>
                    <a:pt x="30" y="272"/>
                  </a:lnTo>
                  <a:lnTo>
                    <a:pt x="30" y="272"/>
                  </a:lnTo>
                  <a:lnTo>
                    <a:pt x="30" y="272"/>
                  </a:lnTo>
                  <a:lnTo>
                    <a:pt x="30" y="268"/>
                  </a:lnTo>
                  <a:lnTo>
                    <a:pt x="30" y="268"/>
                  </a:lnTo>
                  <a:lnTo>
                    <a:pt x="26" y="268"/>
                  </a:lnTo>
                  <a:lnTo>
                    <a:pt x="26" y="264"/>
                  </a:lnTo>
                  <a:lnTo>
                    <a:pt x="26" y="264"/>
                  </a:lnTo>
                  <a:lnTo>
                    <a:pt x="26" y="264"/>
                  </a:lnTo>
                  <a:lnTo>
                    <a:pt x="26" y="264"/>
                  </a:lnTo>
                  <a:lnTo>
                    <a:pt x="26" y="260"/>
                  </a:lnTo>
                  <a:lnTo>
                    <a:pt x="26" y="260"/>
                  </a:lnTo>
                  <a:lnTo>
                    <a:pt x="26" y="260"/>
                  </a:lnTo>
                  <a:lnTo>
                    <a:pt x="22" y="256"/>
                  </a:lnTo>
                  <a:lnTo>
                    <a:pt x="22" y="254"/>
                  </a:lnTo>
                  <a:lnTo>
                    <a:pt x="18" y="254"/>
                  </a:lnTo>
                  <a:lnTo>
                    <a:pt x="18" y="254"/>
                  </a:lnTo>
                  <a:lnTo>
                    <a:pt x="18" y="254"/>
                  </a:lnTo>
                  <a:lnTo>
                    <a:pt x="14" y="250"/>
                  </a:lnTo>
                  <a:lnTo>
                    <a:pt x="14" y="250"/>
                  </a:lnTo>
                  <a:lnTo>
                    <a:pt x="12" y="246"/>
                  </a:lnTo>
                  <a:lnTo>
                    <a:pt x="12" y="246"/>
                  </a:lnTo>
                  <a:lnTo>
                    <a:pt x="12" y="246"/>
                  </a:lnTo>
                  <a:lnTo>
                    <a:pt x="8" y="238"/>
                  </a:lnTo>
                  <a:lnTo>
                    <a:pt x="8" y="238"/>
                  </a:lnTo>
                  <a:lnTo>
                    <a:pt x="8" y="238"/>
                  </a:lnTo>
                  <a:lnTo>
                    <a:pt x="8" y="238"/>
                  </a:lnTo>
                  <a:lnTo>
                    <a:pt x="8" y="238"/>
                  </a:lnTo>
                  <a:lnTo>
                    <a:pt x="8" y="238"/>
                  </a:lnTo>
                  <a:lnTo>
                    <a:pt x="8" y="238"/>
                  </a:lnTo>
                  <a:lnTo>
                    <a:pt x="12" y="234"/>
                  </a:lnTo>
                  <a:lnTo>
                    <a:pt x="12" y="234"/>
                  </a:lnTo>
                  <a:lnTo>
                    <a:pt x="12" y="234"/>
                  </a:lnTo>
                  <a:lnTo>
                    <a:pt x="12" y="234"/>
                  </a:lnTo>
                  <a:lnTo>
                    <a:pt x="12" y="234"/>
                  </a:lnTo>
                  <a:lnTo>
                    <a:pt x="12" y="234"/>
                  </a:lnTo>
                  <a:lnTo>
                    <a:pt x="12" y="23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44" name="Freeform 137"/>
            <p:cNvSpPr>
              <a:spLocks noEditPoints="1"/>
            </p:cNvSpPr>
            <p:nvPr/>
          </p:nvSpPr>
          <p:spPr bwMode="auto">
            <a:xfrm>
              <a:off x="7424609" y="4288586"/>
              <a:ext cx="11304" cy="9153"/>
            </a:xfrm>
            <a:custGeom>
              <a:avLst/>
              <a:gdLst>
                <a:gd name="T0" fmla="*/ 2 w 18"/>
                <a:gd name="T1" fmla="*/ 8 h 14"/>
                <a:gd name="T2" fmla="*/ 0 w 18"/>
                <a:gd name="T3" fmla="*/ 8 h 14"/>
                <a:gd name="T4" fmla="*/ 0 w 18"/>
                <a:gd name="T5" fmla="*/ 8 h 14"/>
                <a:gd name="T6" fmla="*/ 0 w 18"/>
                <a:gd name="T7" fmla="*/ 4 h 14"/>
                <a:gd name="T8" fmla="*/ 0 w 18"/>
                <a:gd name="T9" fmla="*/ 4 h 14"/>
                <a:gd name="T10" fmla="*/ 0 w 18"/>
                <a:gd name="T11" fmla="*/ 4 h 14"/>
                <a:gd name="T12" fmla="*/ 0 w 18"/>
                <a:gd name="T13" fmla="*/ 0 h 14"/>
                <a:gd name="T14" fmla="*/ 0 w 18"/>
                <a:gd name="T15" fmla="*/ 0 h 14"/>
                <a:gd name="T16" fmla="*/ 0 w 18"/>
                <a:gd name="T17" fmla="*/ 0 h 14"/>
                <a:gd name="T18" fmla="*/ 0 w 18"/>
                <a:gd name="T19" fmla="*/ 0 h 14"/>
                <a:gd name="T20" fmla="*/ 2 w 18"/>
                <a:gd name="T21" fmla="*/ 0 h 14"/>
                <a:gd name="T22" fmla="*/ 2 w 18"/>
                <a:gd name="T23" fmla="*/ 0 h 14"/>
                <a:gd name="T24" fmla="*/ 2 w 18"/>
                <a:gd name="T25" fmla="*/ 0 h 14"/>
                <a:gd name="T26" fmla="*/ 2 w 18"/>
                <a:gd name="T27" fmla="*/ 4 h 14"/>
                <a:gd name="T28" fmla="*/ 2 w 18"/>
                <a:gd name="T29" fmla="*/ 4 h 14"/>
                <a:gd name="T30" fmla="*/ 2 w 18"/>
                <a:gd name="T31" fmla="*/ 8 h 14"/>
                <a:gd name="T32" fmla="*/ 2 w 18"/>
                <a:gd name="T33" fmla="*/ 8 h 14"/>
                <a:gd name="T34" fmla="*/ 2 w 18"/>
                <a:gd name="T35" fmla="*/ 8 h 14"/>
                <a:gd name="T36" fmla="*/ 18 w 18"/>
                <a:gd name="T37" fmla="*/ 14 h 14"/>
                <a:gd name="T38" fmla="*/ 18 w 18"/>
                <a:gd name="T39" fmla="*/ 14 h 14"/>
                <a:gd name="T40" fmla="*/ 14 w 18"/>
                <a:gd name="T41" fmla="*/ 14 h 14"/>
                <a:gd name="T42" fmla="*/ 14 w 18"/>
                <a:gd name="T43" fmla="*/ 14 h 14"/>
                <a:gd name="T44" fmla="*/ 14 w 18"/>
                <a:gd name="T45" fmla="*/ 14 h 14"/>
                <a:gd name="T46" fmla="*/ 14 w 18"/>
                <a:gd name="T47" fmla="*/ 10 h 14"/>
                <a:gd name="T48" fmla="*/ 14 w 18"/>
                <a:gd name="T49" fmla="*/ 10 h 14"/>
                <a:gd name="T50" fmla="*/ 14 w 18"/>
                <a:gd name="T51" fmla="*/ 14 h 14"/>
                <a:gd name="T52" fmla="*/ 14 w 18"/>
                <a:gd name="T53" fmla="*/ 10 h 14"/>
                <a:gd name="T54" fmla="*/ 18 w 18"/>
                <a:gd name="T55" fmla="*/ 10 h 14"/>
                <a:gd name="T56" fmla="*/ 18 w 18"/>
                <a:gd name="T57" fmla="*/ 10 h 14"/>
                <a:gd name="T58" fmla="*/ 18 w 18"/>
                <a:gd name="T59" fmla="*/ 10 h 14"/>
                <a:gd name="T60" fmla="*/ 18 w 18"/>
                <a:gd name="T61" fmla="*/ 10 h 14"/>
                <a:gd name="T62" fmla="*/ 18 w 18"/>
                <a:gd name="T63" fmla="*/ 10 h 14"/>
                <a:gd name="T64" fmla="*/ 18 w 18"/>
                <a:gd name="T65" fmla="*/ 14 h 14"/>
                <a:gd name="T66" fmla="*/ 18 w 18"/>
                <a:gd name="T67" fmla="*/ 14 h 14"/>
                <a:gd name="T68" fmla="*/ 18 w 18"/>
                <a:gd name="T69" fmla="*/ 14 h 14"/>
                <a:gd name="T70" fmla="*/ 6 w 18"/>
                <a:gd name="T71" fmla="*/ 14 h 14"/>
                <a:gd name="T72" fmla="*/ 6 w 18"/>
                <a:gd name="T73" fmla="*/ 14 h 14"/>
                <a:gd name="T74" fmla="*/ 6 w 18"/>
                <a:gd name="T75" fmla="*/ 14 h 14"/>
                <a:gd name="T76" fmla="*/ 6 w 18"/>
                <a:gd name="T77" fmla="*/ 14 h 14"/>
                <a:gd name="T78" fmla="*/ 6 w 18"/>
                <a:gd name="T79" fmla="*/ 14 h 14"/>
                <a:gd name="T80" fmla="*/ 6 w 18"/>
                <a:gd name="T81" fmla="*/ 14 h 14"/>
                <a:gd name="T82" fmla="*/ 6 w 18"/>
                <a:gd name="T83" fmla="*/ 14 h 14"/>
                <a:gd name="T84" fmla="*/ 6 w 18"/>
                <a:gd name="T85" fmla="*/ 14 h 14"/>
                <a:gd name="T86" fmla="*/ 6 w 18"/>
                <a:gd name="T87" fmla="*/ 14 h 14"/>
                <a:gd name="T88" fmla="*/ 6 w 18"/>
                <a:gd name="T89" fmla="*/ 14 h 14"/>
                <a:gd name="T90" fmla="*/ 6 w 18"/>
                <a:gd name="T9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 h="14">
                  <a:moveTo>
                    <a:pt x="2" y="8"/>
                  </a:moveTo>
                  <a:lnTo>
                    <a:pt x="2" y="8"/>
                  </a:lnTo>
                  <a:lnTo>
                    <a:pt x="0" y="8"/>
                  </a:lnTo>
                  <a:lnTo>
                    <a:pt x="0" y="8"/>
                  </a:lnTo>
                  <a:lnTo>
                    <a:pt x="0" y="8"/>
                  </a:lnTo>
                  <a:lnTo>
                    <a:pt x="0" y="8"/>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4"/>
                  </a:lnTo>
                  <a:lnTo>
                    <a:pt x="2" y="4"/>
                  </a:lnTo>
                  <a:lnTo>
                    <a:pt x="2" y="4"/>
                  </a:lnTo>
                  <a:lnTo>
                    <a:pt x="2" y="4"/>
                  </a:lnTo>
                  <a:lnTo>
                    <a:pt x="2" y="4"/>
                  </a:lnTo>
                  <a:lnTo>
                    <a:pt x="2" y="8"/>
                  </a:lnTo>
                  <a:lnTo>
                    <a:pt x="2" y="8"/>
                  </a:lnTo>
                  <a:lnTo>
                    <a:pt x="2" y="8"/>
                  </a:lnTo>
                  <a:lnTo>
                    <a:pt x="2" y="8"/>
                  </a:lnTo>
                  <a:lnTo>
                    <a:pt x="2" y="8"/>
                  </a:lnTo>
                  <a:lnTo>
                    <a:pt x="2" y="8"/>
                  </a:lnTo>
                  <a:close/>
                  <a:moveTo>
                    <a:pt x="18" y="14"/>
                  </a:moveTo>
                  <a:lnTo>
                    <a:pt x="18" y="14"/>
                  </a:lnTo>
                  <a:lnTo>
                    <a:pt x="18" y="14"/>
                  </a:lnTo>
                  <a:lnTo>
                    <a:pt x="18" y="14"/>
                  </a:lnTo>
                  <a:lnTo>
                    <a:pt x="14" y="14"/>
                  </a:lnTo>
                  <a:lnTo>
                    <a:pt x="14" y="14"/>
                  </a:lnTo>
                  <a:lnTo>
                    <a:pt x="14" y="14"/>
                  </a:lnTo>
                  <a:lnTo>
                    <a:pt x="14" y="14"/>
                  </a:lnTo>
                  <a:lnTo>
                    <a:pt x="14" y="14"/>
                  </a:lnTo>
                  <a:lnTo>
                    <a:pt x="14" y="14"/>
                  </a:lnTo>
                  <a:lnTo>
                    <a:pt x="14" y="10"/>
                  </a:lnTo>
                  <a:lnTo>
                    <a:pt x="14" y="10"/>
                  </a:lnTo>
                  <a:lnTo>
                    <a:pt x="14" y="10"/>
                  </a:lnTo>
                  <a:lnTo>
                    <a:pt x="14" y="14"/>
                  </a:lnTo>
                  <a:lnTo>
                    <a:pt x="14" y="14"/>
                  </a:lnTo>
                  <a:lnTo>
                    <a:pt x="14" y="14"/>
                  </a:lnTo>
                  <a:lnTo>
                    <a:pt x="14" y="10"/>
                  </a:lnTo>
                  <a:lnTo>
                    <a:pt x="14" y="10"/>
                  </a:lnTo>
                  <a:lnTo>
                    <a:pt x="18" y="10"/>
                  </a:lnTo>
                  <a:lnTo>
                    <a:pt x="18" y="10"/>
                  </a:lnTo>
                  <a:lnTo>
                    <a:pt x="18" y="10"/>
                  </a:lnTo>
                  <a:lnTo>
                    <a:pt x="18" y="10"/>
                  </a:lnTo>
                  <a:lnTo>
                    <a:pt x="18" y="10"/>
                  </a:lnTo>
                  <a:lnTo>
                    <a:pt x="18" y="10"/>
                  </a:lnTo>
                  <a:lnTo>
                    <a:pt x="18" y="10"/>
                  </a:lnTo>
                  <a:lnTo>
                    <a:pt x="18" y="10"/>
                  </a:lnTo>
                  <a:lnTo>
                    <a:pt x="18" y="10"/>
                  </a:lnTo>
                  <a:lnTo>
                    <a:pt x="18" y="14"/>
                  </a:lnTo>
                  <a:lnTo>
                    <a:pt x="18" y="14"/>
                  </a:lnTo>
                  <a:lnTo>
                    <a:pt x="18" y="14"/>
                  </a:lnTo>
                  <a:lnTo>
                    <a:pt x="18" y="14"/>
                  </a:lnTo>
                  <a:lnTo>
                    <a:pt x="18" y="14"/>
                  </a:lnTo>
                  <a:lnTo>
                    <a:pt x="18" y="14"/>
                  </a:lnTo>
                  <a:lnTo>
                    <a:pt x="18" y="14"/>
                  </a:lnTo>
                  <a:close/>
                  <a:moveTo>
                    <a:pt x="6" y="14"/>
                  </a:move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lnTo>
                    <a:pt x="6" y="1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45" name="Freeform 138"/>
            <p:cNvSpPr>
              <a:spLocks/>
            </p:cNvSpPr>
            <p:nvPr/>
          </p:nvSpPr>
          <p:spPr bwMode="auto">
            <a:xfrm>
              <a:off x="7138250" y="4117293"/>
              <a:ext cx="67822" cy="98069"/>
            </a:xfrm>
            <a:custGeom>
              <a:avLst/>
              <a:gdLst>
                <a:gd name="T0" fmla="*/ 64 w 108"/>
                <a:gd name="T1" fmla="*/ 138 h 150"/>
                <a:gd name="T2" fmla="*/ 56 w 108"/>
                <a:gd name="T3" fmla="*/ 146 h 150"/>
                <a:gd name="T4" fmla="*/ 48 w 108"/>
                <a:gd name="T5" fmla="*/ 150 h 150"/>
                <a:gd name="T6" fmla="*/ 48 w 108"/>
                <a:gd name="T7" fmla="*/ 138 h 150"/>
                <a:gd name="T8" fmla="*/ 38 w 108"/>
                <a:gd name="T9" fmla="*/ 142 h 150"/>
                <a:gd name="T10" fmla="*/ 34 w 108"/>
                <a:gd name="T11" fmla="*/ 150 h 150"/>
                <a:gd name="T12" fmla="*/ 30 w 108"/>
                <a:gd name="T13" fmla="*/ 146 h 150"/>
                <a:gd name="T14" fmla="*/ 22 w 108"/>
                <a:gd name="T15" fmla="*/ 142 h 150"/>
                <a:gd name="T16" fmla="*/ 16 w 108"/>
                <a:gd name="T17" fmla="*/ 150 h 150"/>
                <a:gd name="T18" fmla="*/ 12 w 108"/>
                <a:gd name="T19" fmla="*/ 142 h 150"/>
                <a:gd name="T20" fmla="*/ 4 w 108"/>
                <a:gd name="T21" fmla="*/ 138 h 150"/>
                <a:gd name="T22" fmla="*/ 0 w 108"/>
                <a:gd name="T23" fmla="*/ 130 h 150"/>
                <a:gd name="T24" fmla="*/ 12 w 108"/>
                <a:gd name="T25" fmla="*/ 128 h 150"/>
                <a:gd name="T26" fmla="*/ 8 w 108"/>
                <a:gd name="T27" fmla="*/ 120 h 150"/>
                <a:gd name="T28" fmla="*/ 8 w 108"/>
                <a:gd name="T29" fmla="*/ 116 h 150"/>
                <a:gd name="T30" fmla="*/ 8 w 108"/>
                <a:gd name="T31" fmla="*/ 106 h 150"/>
                <a:gd name="T32" fmla="*/ 16 w 108"/>
                <a:gd name="T33" fmla="*/ 106 h 150"/>
                <a:gd name="T34" fmla="*/ 18 w 108"/>
                <a:gd name="T35" fmla="*/ 102 h 150"/>
                <a:gd name="T36" fmla="*/ 26 w 108"/>
                <a:gd name="T37" fmla="*/ 98 h 150"/>
                <a:gd name="T38" fmla="*/ 30 w 108"/>
                <a:gd name="T39" fmla="*/ 106 h 150"/>
                <a:gd name="T40" fmla="*/ 38 w 108"/>
                <a:gd name="T41" fmla="*/ 106 h 150"/>
                <a:gd name="T42" fmla="*/ 42 w 108"/>
                <a:gd name="T43" fmla="*/ 110 h 150"/>
                <a:gd name="T44" fmla="*/ 46 w 108"/>
                <a:gd name="T45" fmla="*/ 102 h 150"/>
                <a:gd name="T46" fmla="*/ 48 w 108"/>
                <a:gd name="T47" fmla="*/ 94 h 150"/>
                <a:gd name="T48" fmla="*/ 48 w 108"/>
                <a:gd name="T49" fmla="*/ 84 h 150"/>
                <a:gd name="T50" fmla="*/ 46 w 108"/>
                <a:gd name="T51" fmla="*/ 76 h 150"/>
                <a:gd name="T52" fmla="*/ 42 w 108"/>
                <a:gd name="T53" fmla="*/ 68 h 150"/>
                <a:gd name="T54" fmla="*/ 42 w 108"/>
                <a:gd name="T55" fmla="*/ 58 h 150"/>
                <a:gd name="T56" fmla="*/ 48 w 108"/>
                <a:gd name="T57" fmla="*/ 50 h 150"/>
                <a:gd name="T58" fmla="*/ 42 w 108"/>
                <a:gd name="T59" fmla="*/ 42 h 150"/>
                <a:gd name="T60" fmla="*/ 34 w 108"/>
                <a:gd name="T61" fmla="*/ 46 h 150"/>
                <a:gd name="T62" fmla="*/ 30 w 108"/>
                <a:gd name="T63" fmla="*/ 38 h 150"/>
                <a:gd name="T64" fmla="*/ 38 w 108"/>
                <a:gd name="T65" fmla="*/ 30 h 150"/>
                <a:gd name="T66" fmla="*/ 52 w 108"/>
                <a:gd name="T67" fmla="*/ 30 h 150"/>
                <a:gd name="T68" fmla="*/ 64 w 108"/>
                <a:gd name="T69" fmla="*/ 30 h 150"/>
                <a:gd name="T70" fmla="*/ 72 w 108"/>
                <a:gd name="T71" fmla="*/ 34 h 150"/>
                <a:gd name="T72" fmla="*/ 72 w 108"/>
                <a:gd name="T73" fmla="*/ 30 h 150"/>
                <a:gd name="T74" fmla="*/ 74 w 108"/>
                <a:gd name="T75" fmla="*/ 24 h 150"/>
                <a:gd name="T76" fmla="*/ 78 w 108"/>
                <a:gd name="T77" fmla="*/ 16 h 150"/>
                <a:gd name="T78" fmla="*/ 78 w 108"/>
                <a:gd name="T79" fmla="*/ 8 h 150"/>
                <a:gd name="T80" fmla="*/ 86 w 108"/>
                <a:gd name="T81" fmla="*/ 4 h 150"/>
                <a:gd name="T82" fmla="*/ 90 w 108"/>
                <a:gd name="T83" fmla="*/ 4 h 150"/>
                <a:gd name="T84" fmla="*/ 102 w 108"/>
                <a:gd name="T85" fmla="*/ 4 h 150"/>
                <a:gd name="T86" fmla="*/ 104 w 108"/>
                <a:gd name="T87" fmla="*/ 4 h 150"/>
                <a:gd name="T88" fmla="*/ 108 w 108"/>
                <a:gd name="T89" fmla="*/ 12 h 150"/>
                <a:gd name="T90" fmla="*/ 104 w 108"/>
                <a:gd name="T91" fmla="*/ 20 h 150"/>
                <a:gd name="T92" fmla="*/ 102 w 108"/>
                <a:gd name="T93" fmla="*/ 28 h 150"/>
                <a:gd name="T94" fmla="*/ 102 w 108"/>
                <a:gd name="T95" fmla="*/ 38 h 150"/>
                <a:gd name="T96" fmla="*/ 98 w 108"/>
                <a:gd name="T97" fmla="*/ 54 h 150"/>
                <a:gd name="T98" fmla="*/ 98 w 108"/>
                <a:gd name="T99" fmla="*/ 64 h 150"/>
                <a:gd name="T100" fmla="*/ 94 w 108"/>
                <a:gd name="T101" fmla="*/ 72 h 150"/>
                <a:gd name="T102" fmla="*/ 90 w 108"/>
                <a:gd name="T103" fmla="*/ 84 h 150"/>
                <a:gd name="T104" fmla="*/ 82 w 108"/>
                <a:gd name="T105" fmla="*/ 90 h 150"/>
                <a:gd name="T106" fmla="*/ 78 w 108"/>
                <a:gd name="T107" fmla="*/ 98 h 150"/>
                <a:gd name="T108" fmla="*/ 72 w 108"/>
                <a:gd name="T109" fmla="*/ 102 h 150"/>
                <a:gd name="T110" fmla="*/ 74 w 108"/>
                <a:gd name="T111" fmla="*/ 114 h 150"/>
                <a:gd name="T112" fmla="*/ 72 w 108"/>
                <a:gd name="T113" fmla="*/ 120 h 150"/>
                <a:gd name="T114" fmla="*/ 72 w 108"/>
                <a:gd name="T115" fmla="*/ 128 h 150"/>
                <a:gd name="T116" fmla="*/ 68 w 108"/>
                <a:gd name="T117" fmla="*/ 13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 h="150">
                  <a:moveTo>
                    <a:pt x="68" y="134"/>
                  </a:moveTo>
                  <a:lnTo>
                    <a:pt x="64" y="134"/>
                  </a:lnTo>
                  <a:lnTo>
                    <a:pt x="64" y="138"/>
                  </a:lnTo>
                  <a:lnTo>
                    <a:pt x="60" y="138"/>
                  </a:lnTo>
                  <a:lnTo>
                    <a:pt x="56" y="142"/>
                  </a:lnTo>
                  <a:lnTo>
                    <a:pt x="56" y="146"/>
                  </a:lnTo>
                  <a:lnTo>
                    <a:pt x="52" y="146"/>
                  </a:lnTo>
                  <a:lnTo>
                    <a:pt x="52" y="150"/>
                  </a:lnTo>
                  <a:lnTo>
                    <a:pt x="48" y="150"/>
                  </a:lnTo>
                  <a:lnTo>
                    <a:pt x="48" y="146"/>
                  </a:lnTo>
                  <a:lnTo>
                    <a:pt x="48" y="142"/>
                  </a:lnTo>
                  <a:lnTo>
                    <a:pt x="48" y="138"/>
                  </a:lnTo>
                  <a:lnTo>
                    <a:pt x="46" y="138"/>
                  </a:lnTo>
                  <a:lnTo>
                    <a:pt x="42" y="142"/>
                  </a:lnTo>
                  <a:lnTo>
                    <a:pt x="38" y="142"/>
                  </a:lnTo>
                  <a:lnTo>
                    <a:pt x="38" y="146"/>
                  </a:lnTo>
                  <a:lnTo>
                    <a:pt x="34" y="146"/>
                  </a:lnTo>
                  <a:lnTo>
                    <a:pt x="34" y="150"/>
                  </a:lnTo>
                  <a:lnTo>
                    <a:pt x="30" y="146"/>
                  </a:lnTo>
                  <a:lnTo>
                    <a:pt x="30" y="142"/>
                  </a:lnTo>
                  <a:lnTo>
                    <a:pt x="30" y="146"/>
                  </a:lnTo>
                  <a:lnTo>
                    <a:pt x="26" y="146"/>
                  </a:lnTo>
                  <a:lnTo>
                    <a:pt x="26" y="142"/>
                  </a:lnTo>
                  <a:lnTo>
                    <a:pt x="22" y="142"/>
                  </a:lnTo>
                  <a:lnTo>
                    <a:pt x="18" y="146"/>
                  </a:lnTo>
                  <a:lnTo>
                    <a:pt x="16" y="146"/>
                  </a:lnTo>
                  <a:lnTo>
                    <a:pt x="16" y="150"/>
                  </a:lnTo>
                  <a:lnTo>
                    <a:pt x="12" y="150"/>
                  </a:lnTo>
                  <a:lnTo>
                    <a:pt x="12" y="146"/>
                  </a:lnTo>
                  <a:lnTo>
                    <a:pt x="12" y="142"/>
                  </a:lnTo>
                  <a:lnTo>
                    <a:pt x="8" y="142"/>
                  </a:lnTo>
                  <a:lnTo>
                    <a:pt x="8" y="138"/>
                  </a:lnTo>
                  <a:lnTo>
                    <a:pt x="4" y="138"/>
                  </a:lnTo>
                  <a:lnTo>
                    <a:pt x="4" y="134"/>
                  </a:lnTo>
                  <a:lnTo>
                    <a:pt x="0" y="134"/>
                  </a:lnTo>
                  <a:lnTo>
                    <a:pt x="0" y="130"/>
                  </a:lnTo>
                  <a:lnTo>
                    <a:pt x="4" y="128"/>
                  </a:lnTo>
                  <a:lnTo>
                    <a:pt x="8" y="128"/>
                  </a:lnTo>
                  <a:lnTo>
                    <a:pt x="12" y="128"/>
                  </a:lnTo>
                  <a:lnTo>
                    <a:pt x="12" y="124"/>
                  </a:lnTo>
                  <a:lnTo>
                    <a:pt x="12" y="120"/>
                  </a:lnTo>
                  <a:lnTo>
                    <a:pt x="8" y="120"/>
                  </a:lnTo>
                  <a:lnTo>
                    <a:pt x="12" y="116"/>
                  </a:lnTo>
                  <a:lnTo>
                    <a:pt x="8" y="114"/>
                  </a:lnTo>
                  <a:lnTo>
                    <a:pt x="8" y="116"/>
                  </a:lnTo>
                  <a:lnTo>
                    <a:pt x="8" y="114"/>
                  </a:lnTo>
                  <a:lnTo>
                    <a:pt x="8" y="110"/>
                  </a:lnTo>
                  <a:lnTo>
                    <a:pt x="8" y="106"/>
                  </a:lnTo>
                  <a:lnTo>
                    <a:pt x="12" y="110"/>
                  </a:lnTo>
                  <a:lnTo>
                    <a:pt x="12" y="106"/>
                  </a:lnTo>
                  <a:lnTo>
                    <a:pt x="16" y="106"/>
                  </a:lnTo>
                  <a:lnTo>
                    <a:pt x="16" y="110"/>
                  </a:lnTo>
                  <a:lnTo>
                    <a:pt x="18" y="106"/>
                  </a:lnTo>
                  <a:lnTo>
                    <a:pt x="18" y="102"/>
                  </a:lnTo>
                  <a:lnTo>
                    <a:pt x="18" y="98"/>
                  </a:lnTo>
                  <a:lnTo>
                    <a:pt x="22" y="98"/>
                  </a:lnTo>
                  <a:lnTo>
                    <a:pt x="26" y="98"/>
                  </a:lnTo>
                  <a:lnTo>
                    <a:pt x="26" y="102"/>
                  </a:lnTo>
                  <a:lnTo>
                    <a:pt x="26" y="106"/>
                  </a:lnTo>
                  <a:lnTo>
                    <a:pt x="30" y="106"/>
                  </a:lnTo>
                  <a:lnTo>
                    <a:pt x="34" y="110"/>
                  </a:lnTo>
                  <a:lnTo>
                    <a:pt x="34" y="106"/>
                  </a:lnTo>
                  <a:lnTo>
                    <a:pt x="38" y="106"/>
                  </a:lnTo>
                  <a:lnTo>
                    <a:pt x="38" y="102"/>
                  </a:lnTo>
                  <a:lnTo>
                    <a:pt x="42" y="106"/>
                  </a:lnTo>
                  <a:lnTo>
                    <a:pt x="42" y="110"/>
                  </a:lnTo>
                  <a:lnTo>
                    <a:pt x="46" y="110"/>
                  </a:lnTo>
                  <a:lnTo>
                    <a:pt x="46" y="106"/>
                  </a:lnTo>
                  <a:lnTo>
                    <a:pt x="46" y="102"/>
                  </a:lnTo>
                  <a:lnTo>
                    <a:pt x="46" y="98"/>
                  </a:lnTo>
                  <a:lnTo>
                    <a:pt x="48" y="98"/>
                  </a:lnTo>
                  <a:lnTo>
                    <a:pt x="48" y="94"/>
                  </a:lnTo>
                  <a:lnTo>
                    <a:pt x="48" y="90"/>
                  </a:lnTo>
                  <a:lnTo>
                    <a:pt x="48" y="86"/>
                  </a:lnTo>
                  <a:lnTo>
                    <a:pt x="48" y="84"/>
                  </a:lnTo>
                  <a:lnTo>
                    <a:pt x="48" y="80"/>
                  </a:lnTo>
                  <a:lnTo>
                    <a:pt x="48" y="76"/>
                  </a:lnTo>
                  <a:lnTo>
                    <a:pt x="46" y="76"/>
                  </a:lnTo>
                  <a:lnTo>
                    <a:pt x="46" y="72"/>
                  </a:lnTo>
                  <a:lnTo>
                    <a:pt x="42" y="72"/>
                  </a:lnTo>
                  <a:lnTo>
                    <a:pt x="42" y="68"/>
                  </a:lnTo>
                  <a:lnTo>
                    <a:pt x="42" y="64"/>
                  </a:lnTo>
                  <a:lnTo>
                    <a:pt x="42" y="60"/>
                  </a:lnTo>
                  <a:lnTo>
                    <a:pt x="42" y="58"/>
                  </a:lnTo>
                  <a:lnTo>
                    <a:pt x="46" y="58"/>
                  </a:lnTo>
                  <a:lnTo>
                    <a:pt x="48" y="54"/>
                  </a:lnTo>
                  <a:lnTo>
                    <a:pt x="48" y="50"/>
                  </a:lnTo>
                  <a:lnTo>
                    <a:pt x="46" y="46"/>
                  </a:lnTo>
                  <a:lnTo>
                    <a:pt x="46" y="42"/>
                  </a:lnTo>
                  <a:lnTo>
                    <a:pt x="42" y="42"/>
                  </a:lnTo>
                  <a:lnTo>
                    <a:pt x="38" y="42"/>
                  </a:lnTo>
                  <a:lnTo>
                    <a:pt x="38" y="46"/>
                  </a:lnTo>
                  <a:lnTo>
                    <a:pt x="34" y="46"/>
                  </a:lnTo>
                  <a:lnTo>
                    <a:pt x="30" y="46"/>
                  </a:lnTo>
                  <a:lnTo>
                    <a:pt x="30" y="42"/>
                  </a:lnTo>
                  <a:lnTo>
                    <a:pt x="30" y="38"/>
                  </a:lnTo>
                  <a:lnTo>
                    <a:pt x="30" y="34"/>
                  </a:lnTo>
                  <a:lnTo>
                    <a:pt x="30" y="30"/>
                  </a:lnTo>
                  <a:lnTo>
                    <a:pt x="38" y="30"/>
                  </a:lnTo>
                  <a:lnTo>
                    <a:pt x="46" y="30"/>
                  </a:lnTo>
                  <a:lnTo>
                    <a:pt x="48" y="30"/>
                  </a:lnTo>
                  <a:lnTo>
                    <a:pt x="52" y="30"/>
                  </a:lnTo>
                  <a:lnTo>
                    <a:pt x="56" y="30"/>
                  </a:lnTo>
                  <a:lnTo>
                    <a:pt x="60" y="30"/>
                  </a:lnTo>
                  <a:lnTo>
                    <a:pt x="64" y="30"/>
                  </a:lnTo>
                  <a:lnTo>
                    <a:pt x="64" y="34"/>
                  </a:lnTo>
                  <a:lnTo>
                    <a:pt x="68" y="34"/>
                  </a:lnTo>
                  <a:lnTo>
                    <a:pt x="72" y="34"/>
                  </a:lnTo>
                  <a:lnTo>
                    <a:pt x="72" y="38"/>
                  </a:lnTo>
                  <a:lnTo>
                    <a:pt x="72" y="34"/>
                  </a:lnTo>
                  <a:lnTo>
                    <a:pt x="72" y="30"/>
                  </a:lnTo>
                  <a:lnTo>
                    <a:pt x="72" y="28"/>
                  </a:lnTo>
                  <a:lnTo>
                    <a:pt x="74" y="28"/>
                  </a:lnTo>
                  <a:lnTo>
                    <a:pt x="74" y="24"/>
                  </a:lnTo>
                  <a:lnTo>
                    <a:pt x="74" y="20"/>
                  </a:lnTo>
                  <a:lnTo>
                    <a:pt x="78" y="20"/>
                  </a:lnTo>
                  <a:lnTo>
                    <a:pt x="78" y="16"/>
                  </a:lnTo>
                  <a:lnTo>
                    <a:pt x="74" y="16"/>
                  </a:lnTo>
                  <a:lnTo>
                    <a:pt x="78" y="12"/>
                  </a:lnTo>
                  <a:lnTo>
                    <a:pt x="78" y="8"/>
                  </a:lnTo>
                  <a:lnTo>
                    <a:pt x="78" y="4"/>
                  </a:lnTo>
                  <a:lnTo>
                    <a:pt x="82" y="4"/>
                  </a:lnTo>
                  <a:lnTo>
                    <a:pt x="86" y="4"/>
                  </a:lnTo>
                  <a:lnTo>
                    <a:pt x="90" y="4"/>
                  </a:lnTo>
                  <a:lnTo>
                    <a:pt x="90" y="0"/>
                  </a:lnTo>
                  <a:lnTo>
                    <a:pt x="90" y="4"/>
                  </a:lnTo>
                  <a:lnTo>
                    <a:pt x="94" y="4"/>
                  </a:lnTo>
                  <a:lnTo>
                    <a:pt x="98" y="4"/>
                  </a:lnTo>
                  <a:lnTo>
                    <a:pt x="102" y="4"/>
                  </a:lnTo>
                  <a:lnTo>
                    <a:pt x="102" y="8"/>
                  </a:lnTo>
                  <a:lnTo>
                    <a:pt x="102" y="4"/>
                  </a:lnTo>
                  <a:lnTo>
                    <a:pt x="104" y="4"/>
                  </a:lnTo>
                  <a:lnTo>
                    <a:pt x="108" y="4"/>
                  </a:lnTo>
                  <a:lnTo>
                    <a:pt x="108" y="8"/>
                  </a:lnTo>
                  <a:lnTo>
                    <a:pt x="108" y="12"/>
                  </a:lnTo>
                  <a:lnTo>
                    <a:pt x="104" y="12"/>
                  </a:lnTo>
                  <a:lnTo>
                    <a:pt x="104" y="16"/>
                  </a:lnTo>
                  <a:lnTo>
                    <a:pt x="104" y="20"/>
                  </a:lnTo>
                  <a:lnTo>
                    <a:pt x="104" y="24"/>
                  </a:lnTo>
                  <a:lnTo>
                    <a:pt x="102" y="24"/>
                  </a:lnTo>
                  <a:lnTo>
                    <a:pt x="102" y="28"/>
                  </a:lnTo>
                  <a:lnTo>
                    <a:pt x="102" y="30"/>
                  </a:lnTo>
                  <a:lnTo>
                    <a:pt x="102" y="34"/>
                  </a:lnTo>
                  <a:lnTo>
                    <a:pt x="102" y="38"/>
                  </a:lnTo>
                  <a:lnTo>
                    <a:pt x="98" y="46"/>
                  </a:lnTo>
                  <a:lnTo>
                    <a:pt x="98" y="50"/>
                  </a:lnTo>
                  <a:lnTo>
                    <a:pt x="98" y="54"/>
                  </a:lnTo>
                  <a:lnTo>
                    <a:pt x="98" y="58"/>
                  </a:lnTo>
                  <a:lnTo>
                    <a:pt x="98" y="60"/>
                  </a:lnTo>
                  <a:lnTo>
                    <a:pt x="98" y="64"/>
                  </a:lnTo>
                  <a:lnTo>
                    <a:pt x="94" y="64"/>
                  </a:lnTo>
                  <a:lnTo>
                    <a:pt x="94" y="68"/>
                  </a:lnTo>
                  <a:lnTo>
                    <a:pt x="94" y="72"/>
                  </a:lnTo>
                  <a:lnTo>
                    <a:pt x="94" y="76"/>
                  </a:lnTo>
                  <a:lnTo>
                    <a:pt x="94" y="80"/>
                  </a:lnTo>
                  <a:lnTo>
                    <a:pt x="90" y="84"/>
                  </a:lnTo>
                  <a:lnTo>
                    <a:pt x="86" y="84"/>
                  </a:lnTo>
                  <a:lnTo>
                    <a:pt x="82" y="86"/>
                  </a:lnTo>
                  <a:lnTo>
                    <a:pt x="82" y="90"/>
                  </a:lnTo>
                  <a:lnTo>
                    <a:pt x="78" y="90"/>
                  </a:lnTo>
                  <a:lnTo>
                    <a:pt x="78" y="94"/>
                  </a:lnTo>
                  <a:lnTo>
                    <a:pt x="78" y="98"/>
                  </a:lnTo>
                  <a:lnTo>
                    <a:pt x="74" y="98"/>
                  </a:lnTo>
                  <a:lnTo>
                    <a:pt x="74" y="102"/>
                  </a:lnTo>
                  <a:lnTo>
                    <a:pt x="72" y="102"/>
                  </a:lnTo>
                  <a:lnTo>
                    <a:pt x="72" y="106"/>
                  </a:lnTo>
                  <a:lnTo>
                    <a:pt x="74" y="110"/>
                  </a:lnTo>
                  <a:lnTo>
                    <a:pt x="74" y="114"/>
                  </a:lnTo>
                  <a:lnTo>
                    <a:pt x="72" y="114"/>
                  </a:lnTo>
                  <a:lnTo>
                    <a:pt x="72" y="116"/>
                  </a:lnTo>
                  <a:lnTo>
                    <a:pt x="72" y="120"/>
                  </a:lnTo>
                  <a:lnTo>
                    <a:pt x="74" y="124"/>
                  </a:lnTo>
                  <a:lnTo>
                    <a:pt x="72" y="124"/>
                  </a:lnTo>
                  <a:lnTo>
                    <a:pt x="72" y="128"/>
                  </a:lnTo>
                  <a:lnTo>
                    <a:pt x="72" y="130"/>
                  </a:lnTo>
                  <a:lnTo>
                    <a:pt x="68" y="130"/>
                  </a:lnTo>
                  <a:lnTo>
                    <a:pt x="68" y="134"/>
                  </a:lnTo>
                  <a:lnTo>
                    <a:pt x="68" y="134"/>
                  </a:lnTo>
                  <a:lnTo>
                    <a:pt x="68" y="13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46" name="Freeform 139"/>
            <p:cNvSpPr>
              <a:spLocks/>
            </p:cNvSpPr>
            <p:nvPr/>
          </p:nvSpPr>
          <p:spPr bwMode="auto">
            <a:xfrm>
              <a:off x="7147041" y="4100294"/>
              <a:ext cx="172067" cy="210521"/>
            </a:xfrm>
            <a:custGeom>
              <a:avLst/>
              <a:gdLst>
                <a:gd name="T0" fmla="*/ 30 w 274"/>
                <a:gd name="T1" fmla="*/ 194 h 322"/>
                <a:gd name="T2" fmla="*/ 12 w 274"/>
                <a:gd name="T3" fmla="*/ 190 h 322"/>
                <a:gd name="T4" fmla="*/ 4 w 274"/>
                <a:gd name="T5" fmla="*/ 190 h 322"/>
                <a:gd name="T6" fmla="*/ 16 w 274"/>
                <a:gd name="T7" fmla="*/ 172 h 322"/>
                <a:gd name="T8" fmla="*/ 24 w 274"/>
                <a:gd name="T9" fmla="*/ 168 h 322"/>
                <a:gd name="T10" fmla="*/ 34 w 274"/>
                <a:gd name="T11" fmla="*/ 176 h 322"/>
                <a:gd name="T12" fmla="*/ 50 w 274"/>
                <a:gd name="T13" fmla="*/ 164 h 322"/>
                <a:gd name="T14" fmla="*/ 56 w 274"/>
                <a:gd name="T15" fmla="*/ 150 h 322"/>
                <a:gd name="T16" fmla="*/ 60 w 274"/>
                <a:gd name="T17" fmla="*/ 136 h 322"/>
                <a:gd name="T18" fmla="*/ 64 w 274"/>
                <a:gd name="T19" fmla="*/ 120 h 322"/>
                <a:gd name="T20" fmla="*/ 80 w 274"/>
                <a:gd name="T21" fmla="*/ 106 h 322"/>
                <a:gd name="T22" fmla="*/ 84 w 274"/>
                <a:gd name="T23" fmla="*/ 86 h 322"/>
                <a:gd name="T24" fmla="*/ 86 w 274"/>
                <a:gd name="T25" fmla="*/ 60 h 322"/>
                <a:gd name="T26" fmla="*/ 90 w 274"/>
                <a:gd name="T27" fmla="*/ 42 h 322"/>
                <a:gd name="T28" fmla="*/ 94 w 274"/>
                <a:gd name="T29" fmla="*/ 24 h 322"/>
                <a:gd name="T30" fmla="*/ 98 w 274"/>
                <a:gd name="T31" fmla="*/ 12 h 322"/>
                <a:gd name="T32" fmla="*/ 114 w 274"/>
                <a:gd name="T33" fmla="*/ 8 h 322"/>
                <a:gd name="T34" fmla="*/ 128 w 274"/>
                <a:gd name="T35" fmla="*/ 16 h 322"/>
                <a:gd name="T36" fmla="*/ 146 w 274"/>
                <a:gd name="T37" fmla="*/ 24 h 322"/>
                <a:gd name="T38" fmla="*/ 154 w 274"/>
                <a:gd name="T39" fmla="*/ 8 h 322"/>
                <a:gd name="T40" fmla="*/ 172 w 274"/>
                <a:gd name="T41" fmla="*/ 8 h 322"/>
                <a:gd name="T42" fmla="*/ 188 w 274"/>
                <a:gd name="T43" fmla="*/ 8 h 322"/>
                <a:gd name="T44" fmla="*/ 200 w 274"/>
                <a:gd name="T45" fmla="*/ 4 h 322"/>
                <a:gd name="T46" fmla="*/ 214 w 274"/>
                <a:gd name="T47" fmla="*/ 4 h 322"/>
                <a:gd name="T48" fmla="*/ 228 w 274"/>
                <a:gd name="T49" fmla="*/ 16 h 322"/>
                <a:gd name="T50" fmla="*/ 244 w 274"/>
                <a:gd name="T51" fmla="*/ 16 h 322"/>
                <a:gd name="T52" fmla="*/ 250 w 274"/>
                <a:gd name="T53" fmla="*/ 16 h 322"/>
                <a:gd name="T54" fmla="*/ 262 w 274"/>
                <a:gd name="T55" fmla="*/ 28 h 322"/>
                <a:gd name="T56" fmla="*/ 266 w 274"/>
                <a:gd name="T57" fmla="*/ 46 h 322"/>
                <a:gd name="T58" fmla="*/ 270 w 274"/>
                <a:gd name="T59" fmla="*/ 58 h 322"/>
                <a:gd name="T60" fmla="*/ 258 w 274"/>
                <a:gd name="T61" fmla="*/ 76 h 322"/>
                <a:gd name="T62" fmla="*/ 250 w 274"/>
                <a:gd name="T63" fmla="*/ 90 h 322"/>
                <a:gd name="T64" fmla="*/ 246 w 274"/>
                <a:gd name="T65" fmla="*/ 110 h 322"/>
                <a:gd name="T66" fmla="*/ 244 w 274"/>
                <a:gd name="T67" fmla="*/ 128 h 322"/>
                <a:gd name="T68" fmla="*/ 244 w 274"/>
                <a:gd name="T69" fmla="*/ 146 h 322"/>
                <a:gd name="T70" fmla="*/ 246 w 274"/>
                <a:gd name="T71" fmla="*/ 168 h 322"/>
                <a:gd name="T72" fmla="*/ 246 w 274"/>
                <a:gd name="T73" fmla="*/ 184 h 322"/>
                <a:gd name="T74" fmla="*/ 250 w 274"/>
                <a:gd name="T75" fmla="*/ 206 h 322"/>
                <a:gd name="T76" fmla="*/ 262 w 274"/>
                <a:gd name="T77" fmla="*/ 220 h 322"/>
                <a:gd name="T78" fmla="*/ 258 w 274"/>
                <a:gd name="T79" fmla="*/ 232 h 322"/>
                <a:gd name="T80" fmla="*/ 240 w 274"/>
                <a:gd name="T81" fmla="*/ 244 h 322"/>
                <a:gd name="T82" fmla="*/ 236 w 274"/>
                <a:gd name="T83" fmla="*/ 262 h 322"/>
                <a:gd name="T84" fmla="*/ 232 w 274"/>
                <a:gd name="T85" fmla="*/ 280 h 322"/>
                <a:gd name="T86" fmla="*/ 236 w 274"/>
                <a:gd name="T87" fmla="*/ 300 h 322"/>
                <a:gd name="T88" fmla="*/ 250 w 274"/>
                <a:gd name="T89" fmla="*/ 302 h 322"/>
                <a:gd name="T90" fmla="*/ 250 w 274"/>
                <a:gd name="T91" fmla="*/ 322 h 322"/>
                <a:gd name="T92" fmla="*/ 236 w 274"/>
                <a:gd name="T93" fmla="*/ 314 h 322"/>
                <a:gd name="T94" fmla="*/ 222 w 274"/>
                <a:gd name="T95" fmla="*/ 302 h 322"/>
                <a:gd name="T96" fmla="*/ 210 w 274"/>
                <a:gd name="T97" fmla="*/ 300 h 322"/>
                <a:gd name="T98" fmla="*/ 188 w 274"/>
                <a:gd name="T99" fmla="*/ 292 h 322"/>
                <a:gd name="T100" fmla="*/ 172 w 274"/>
                <a:gd name="T101" fmla="*/ 288 h 322"/>
                <a:gd name="T102" fmla="*/ 170 w 274"/>
                <a:gd name="T103" fmla="*/ 280 h 322"/>
                <a:gd name="T104" fmla="*/ 146 w 274"/>
                <a:gd name="T105" fmla="*/ 280 h 322"/>
                <a:gd name="T106" fmla="*/ 146 w 274"/>
                <a:gd name="T107" fmla="*/ 272 h 322"/>
                <a:gd name="T108" fmla="*/ 140 w 274"/>
                <a:gd name="T109" fmla="*/ 250 h 322"/>
                <a:gd name="T110" fmla="*/ 140 w 274"/>
                <a:gd name="T111" fmla="*/ 228 h 322"/>
                <a:gd name="T112" fmla="*/ 120 w 274"/>
                <a:gd name="T113" fmla="*/ 216 h 322"/>
                <a:gd name="T114" fmla="*/ 106 w 274"/>
                <a:gd name="T115" fmla="*/ 214 h 322"/>
                <a:gd name="T116" fmla="*/ 106 w 274"/>
                <a:gd name="T117" fmla="*/ 228 h 322"/>
                <a:gd name="T118" fmla="*/ 84 w 274"/>
                <a:gd name="T119" fmla="*/ 232 h 322"/>
                <a:gd name="T120" fmla="*/ 72 w 274"/>
                <a:gd name="T121" fmla="*/ 220 h 322"/>
                <a:gd name="T122" fmla="*/ 64 w 274"/>
                <a:gd name="T123" fmla="*/ 202 h 322"/>
                <a:gd name="T124" fmla="*/ 56 w 274"/>
                <a:gd name="T125" fmla="*/ 19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322">
                  <a:moveTo>
                    <a:pt x="56" y="190"/>
                  </a:moveTo>
                  <a:lnTo>
                    <a:pt x="54" y="190"/>
                  </a:lnTo>
                  <a:lnTo>
                    <a:pt x="42" y="190"/>
                  </a:lnTo>
                  <a:lnTo>
                    <a:pt x="38" y="190"/>
                  </a:lnTo>
                  <a:lnTo>
                    <a:pt x="34" y="194"/>
                  </a:lnTo>
                  <a:lnTo>
                    <a:pt x="30" y="194"/>
                  </a:lnTo>
                  <a:lnTo>
                    <a:pt x="30" y="190"/>
                  </a:lnTo>
                  <a:lnTo>
                    <a:pt x="26" y="190"/>
                  </a:lnTo>
                  <a:lnTo>
                    <a:pt x="24" y="190"/>
                  </a:lnTo>
                  <a:lnTo>
                    <a:pt x="20" y="190"/>
                  </a:lnTo>
                  <a:lnTo>
                    <a:pt x="16" y="190"/>
                  </a:lnTo>
                  <a:lnTo>
                    <a:pt x="12" y="190"/>
                  </a:lnTo>
                  <a:lnTo>
                    <a:pt x="8" y="190"/>
                  </a:lnTo>
                  <a:lnTo>
                    <a:pt x="8" y="194"/>
                  </a:lnTo>
                  <a:lnTo>
                    <a:pt x="4" y="194"/>
                  </a:lnTo>
                  <a:lnTo>
                    <a:pt x="4" y="190"/>
                  </a:lnTo>
                  <a:lnTo>
                    <a:pt x="0" y="190"/>
                  </a:lnTo>
                  <a:lnTo>
                    <a:pt x="4" y="190"/>
                  </a:lnTo>
                  <a:lnTo>
                    <a:pt x="8" y="190"/>
                  </a:lnTo>
                  <a:lnTo>
                    <a:pt x="8" y="184"/>
                  </a:lnTo>
                  <a:lnTo>
                    <a:pt x="8" y="180"/>
                  </a:lnTo>
                  <a:lnTo>
                    <a:pt x="8" y="176"/>
                  </a:lnTo>
                  <a:lnTo>
                    <a:pt x="12" y="172"/>
                  </a:lnTo>
                  <a:lnTo>
                    <a:pt x="16" y="172"/>
                  </a:lnTo>
                  <a:lnTo>
                    <a:pt x="16" y="168"/>
                  </a:lnTo>
                  <a:lnTo>
                    <a:pt x="16" y="172"/>
                  </a:lnTo>
                  <a:lnTo>
                    <a:pt x="20" y="176"/>
                  </a:lnTo>
                  <a:lnTo>
                    <a:pt x="20" y="172"/>
                  </a:lnTo>
                  <a:lnTo>
                    <a:pt x="24" y="172"/>
                  </a:lnTo>
                  <a:lnTo>
                    <a:pt x="24" y="168"/>
                  </a:lnTo>
                  <a:lnTo>
                    <a:pt x="26" y="168"/>
                  </a:lnTo>
                  <a:lnTo>
                    <a:pt x="30" y="164"/>
                  </a:lnTo>
                  <a:lnTo>
                    <a:pt x="34" y="164"/>
                  </a:lnTo>
                  <a:lnTo>
                    <a:pt x="34" y="168"/>
                  </a:lnTo>
                  <a:lnTo>
                    <a:pt x="34" y="172"/>
                  </a:lnTo>
                  <a:lnTo>
                    <a:pt x="34" y="176"/>
                  </a:lnTo>
                  <a:lnTo>
                    <a:pt x="38" y="176"/>
                  </a:lnTo>
                  <a:lnTo>
                    <a:pt x="38" y="172"/>
                  </a:lnTo>
                  <a:lnTo>
                    <a:pt x="42" y="172"/>
                  </a:lnTo>
                  <a:lnTo>
                    <a:pt x="42" y="168"/>
                  </a:lnTo>
                  <a:lnTo>
                    <a:pt x="46" y="164"/>
                  </a:lnTo>
                  <a:lnTo>
                    <a:pt x="50" y="164"/>
                  </a:lnTo>
                  <a:lnTo>
                    <a:pt x="50" y="160"/>
                  </a:lnTo>
                  <a:lnTo>
                    <a:pt x="54" y="160"/>
                  </a:lnTo>
                  <a:lnTo>
                    <a:pt x="54" y="158"/>
                  </a:lnTo>
                  <a:lnTo>
                    <a:pt x="56" y="158"/>
                  </a:lnTo>
                  <a:lnTo>
                    <a:pt x="56" y="154"/>
                  </a:lnTo>
                  <a:lnTo>
                    <a:pt x="56" y="150"/>
                  </a:lnTo>
                  <a:lnTo>
                    <a:pt x="60" y="150"/>
                  </a:lnTo>
                  <a:lnTo>
                    <a:pt x="56" y="146"/>
                  </a:lnTo>
                  <a:lnTo>
                    <a:pt x="56" y="144"/>
                  </a:lnTo>
                  <a:lnTo>
                    <a:pt x="56" y="140"/>
                  </a:lnTo>
                  <a:lnTo>
                    <a:pt x="60" y="140"/>
                  </a:lnTo>
                  <a:lnTo>
                    <a:pt x="60" y="136"/>
                  </a:lnTo>
                  <a:lnTo>
                    <a:pt x="56" y="132"/>
                  </a:lnTo>
                  <a:lnTo>
                    <a:pt x="56" y="128"/>
                  </a:lnTo>
                  <a:lnTo>
                    <a:pt x="60" y="128"/>
                  </a:lnTo>
                  <a:lnTo>
                    <a:pt x="60" y="124"/>
                  </a:lnTo>
                  <a:lnTo>
                    <a:pt x="64" y="124"/>
                  </a:lnTo>
                  <a:lnTo>
                    <a:pt x="64" y="120"/>
                  </a:lnTo>
                  <a:lnTo>
                    <a:pt x="64" y="116"/>
                  </a:lnTo>
                  <a:lnTo>
                    <a:pt x="68" y="116"/>
                  </a:lnTo>
                  <a:lnTo>
                    <a:pt x="68" y="114"/>
                  </a:lnTo>
                  <a:lnTo>
                    <a:pt x="72" y="110"/>
                  </a:lnTo>
                  <a:lnTo>
                    <a:pt x="76" y="110"/>
                  </a:lnTo>
                  <a:lnTo>
                    <a:pt x="80" y="106"/>
                  </a:lnTo>
                  <a:lnTo>
                    <a:pt x="80" y="102"/>
                  </a:lnTo>
                  <a:lnTo>
                    <a:pt x="80" y="98"/>
                  </a:lnTo>
                  <a:lnTo>
                    <a:pt x="80" y="94"/>
                  </a:lnTo>
                  <a:lnTo>
                    <a:pt x="80" y="90"/>
                  </a:lnTo>
                  <a:lnTo>
                    <a:pt x="84" y="90"/>
                  </a:lnTo>
                  <a:lnTo>
                    <a:pt x="84" y="86"/>
                  </a:lnTo>
                  <a:lnTo>
                    <a:pt x="84" y="84"/>
                  </a:lnTo>
                  <a:lnTo>
                    <a:pt x="84" y="80"/>
                  </a:lnTo>
                  <a:lnTo>
                    <a:pt x="84" y="76"/>
                  </a:lnTo>
                  <a:lnTo>
                    <a:pt x="84" y="72"/>
                  </a:lnTo>
                  <a:lnTo>
                    <a:pt x="86" y="64"/>
                  </a:lnTo>
                  <a:lnTo>
                    <a:pt x="86" y="60"/>
                  </a:lnTo>
                  <a:lnTo>
                    <a:pt x="86" y="58"/>
                  </a:lnTo>
                  <a:lnTo>
                    <a:pt x="86" y="54"/>
                  </a:lnTo>
                  <a:lnTo>
                    <a:pt x="86" y="50"/>
                  </a:lnTo>
                  <a:lnTo>
                    <a:pt x="90" y="50"/>
                  </a:lnTo>
                  <a:lnTo>
                    <a:pt x="90" y="46"/>
                  </a:lnTo>
                  <a:lnTo>
                    <a:pt x="90" y="42"/>
                  </a:lnTo>
                  <a:lnTo>
                    <a:pt x="90" y="38"/>
                  </a:lnTo>
                  <a:lnTo>
                    <a:pt x="94" y="38"/>
                  </a:lnTo>
                  <a:lnTo>
                    <a:pt x="94" y="34"/>
                  </a:lnTo>
                  <a:lnTo>
                    <a:pt x="94" y="30"/>
                  </a:lnTo>
                  <a:lnTo>
                    <a:pt x="94" y="28"/>
                  </a:lnTo>
                  <a:lnTo>
                    <a:pt x="94" y="24"/>
                  </a:lnTo>
                  <a:lnTo>
                    <a:pt x="94" y="20"/>
                  </a:lnTo>
                  <a:lnTo>
                    <a:pt x="90" y="20"/>
                  </a:lnTo>
                  <a:lnTo>
                    <a:pt x="94" y="16"/>
                  </a:lnTo>
                  <a:lnTo>
                    <a:pt x="94" y="20"/>
                  </a:lnTo>
                  <a:lnTo>
                    <a:pt x="94" y="16"/>
                  </a:lnTo>
                  <a:lnTo>
                    <a:pt x="98" y="12"/>
                  </a:lnTo>
                  <a:lnTo>
                    <a:pt x="98" y="8"/>
                  </a:lnTo>
                  <a:lnTo>
                    <a:pt x="102" y="8"/>
                  </a:lnTo>
                  <a:lnTo>
                    <a:pt x="106" y="4"/>
                  </a:lnTo>
                  <a:lnTo>
                    <a:pt x="110" y="4"/>
                  </a:lnTo>
                  <a:lnTo>
                    <a:pt x="110" y="8"/>
                  </a:lnTo>
                  <a:lnTo>
                    <a:pt x="114" y="8"/>
                  </a:lnTo>
                  <a:lnTo>
                    <a:pt x="116" y="8"/>
                  </a:lnTo>
                  <a:lnTo>
                    <a:pt x="116" y="12"/>
                  </a:lnTo>
                  <a:lnTo>
                    <a:pt x="120" y="12"/>
                  </a:lnTo>
                  <a:lnTo>
                    <a:pt x="120" y="16"/>
                  </a:lnTo>
                  <a:lnTo>
                    <a:pt x="124" y="16"/>
                  </a:lnTo>
                  <a:lnTo>
                    <a:pt x="128" y="16"/>
                  </a:lnTo>
                  <a:lnTo>
                    <a:pt x="128" y="20"/>
                  </a:lnTo>
                  <a:lnTo>
                    <a:pt x="136" y="20"/>
                  </a:lnTo>
                  <a:lnTo>
                    <a:pt x="140" y="20"/>
                  </a:lnTo>
                  <a:lnTo>
                    <a:pt x="142" y="20"/>
                  </a:lnTo>
                  <a:lnTo>
                    <a:pt x="142" y="24"/>
                  </a:lnTo>
                  <a:lnTo>
                    <a:pt x="146" y="24"/>
                  </a:lnTo>
                  <a:lnTo>
                    <a:pt x="146" y="20"/>
                  </a:lnTo>
                  <a:lnTo>
                    <a:pt x="150" y="20"/>
                  </a:lnTo>
                  <a:lnTo>
                    <a:pt x="150" y="16"/>
                  </a:lnTo>
                  <a:lnTo>
                    <a:pt x="150" y="12"/>
                  </a:lnTo>
                  <a:lnTo>
                    <a:pt x="154" y="12"/>
                  </a:lnTo>
                  <a:lnTo>
                    <a:pt x="154" y="8"/>
                  </a:lnTo>
                  <a:lnTo>
                    <a:pt x="154" y="12"/>
                  </a:lnTo>
                  <a:lnTo>
                    <a:pt x="158" y="12"/>
                  </a:lnTo>
                  <a:lnTo>
                    <a:pt x="162" y="12"/>
                  </a:lnTo>
                  <a:lnTo>
                    <a:pt x="166" y="8"/>
                  </a:lnTo>
                  <a:lnTo>
                    <a:pt x="170" y="8"/>
                  </a:lnTo>
                  <a:lnTo>
                    <a:pt x="172" y="8"/>
                  </a:lnTo>
                  <a:lnTo>
                    <a:pt x="176" y="4"/>
                  </a:lnTo>
                  <a:lnTo>
                    <a:pt x="172" y="4"/>
                  </a:lnTo>
                  <a:lnTo>
                    <a:pt x="176" y="4"/>
                  </a:lnTo>
                  <a:lnTo>
                    <a:pt x="180" y="8"/>
                  </a:lnTo>
                  <a:lnTo>
                    <a:pt x="184" y="8"/>
                  </a:lnTo>
                  <a:lnTo>
                    <a:pt x="188" y="8"/>
                  </a:lnTo>
                  <a:lnTo>
                    <a:pt x="188" y="4"/>
                  </a:lnTo>
                  <a:lnTo>
                    <a:pt x="188" y="0"/>
                  </a:lnTo>
                  <a:lnTo>
                    <a:pt x="192" y="0"/>
                  </a:lnTo>
                  <a:lnTo>
                    <a:pt x="196" y="0"/>
                  </a:lnTo>
                  <a:lnTo>
                    <a:pt x="196" y="4"/>
                  </a:lnTo>
                  <a:lnTo>
                    <a:pt x="200" y="4"/>
                  </a:lnTo>
                  <a:lnTo>
                    <a:pt x="200" y="0"/>
                  </a:lnTo>
                  <a:lnTo>
                    <a:pt x="200" y="4"/>
                  </a:lnTo>
                  <a:lnTo>
                    <a:pt x="202" y="4"/>
                  </a:lnTo>
                  <a:lnTo>
                    <a:pt x="206" y="4"/>
                  </a:lnTo>
                  <a:lnTo>
                    <a:pt x="210" y="4"/>
                  </a:lnTo>
                  <a:lnTo>
                    <a:pt x="214" y="4"/>
                  </a:lnTo>
                  <a:lnTo>
                    <a:pt x="218" y="4"/>
                  </a:lnTo>
                  <a:lnTo>
                    <a:pt x="218" y="8"/>
                  </a:lnTo>
                  <a:lnTo>
                    <a:pt x="222" y="8"/>
                  </a:lnTo>
                  <a:lnTo>
                    <a:pt x="222" y="12"/>
                  </a:lnTo>
                  <a:lnTo>
                    <a:pt x="226" y="16"/>
                  </a:lnTo>
                  <a:lnTo>
                    <a:pt x="228" y="16"/>
                  </a:lnTo>
                  <a:lnTo>
                    <a:pt x="228" y="20"/>
                  </a:lnTo>
                  <a:lnTo>
                    <a:pt x="232" y="20"/>
                  </a:lnTo>
                  <a:lnTo>
                    <a:pt x="232" y="16"/>
                  </a:lnTo>
                  <a:lnTo>
                    <a:pt x="236" y="16"/>
                  </a:lnTo>
                  <a:lnTo>
                    <a:pt x="240" y="16"/>
                  </a:lnTo>
                  <a:lnTo>
                    <a:pt x="244" y="16"/>
                  </a:lnTo>
                  <a:lnTo>
                    <a:pt x="244" y="20"/>
                  </a:lnTo>
                  <a:lnTo>
                    <a:pt x="244" y="16"/>
                  </a:lnTo>
                  <a:lnTo>
                    <a:pt x="246" y="16"/>
                  </a:lnTo>
                  <a:lnTo>
                    <a:pt x="246" y="12"/>
                  </a:lnTo>
                  <a:lnTo>
                    <a:pt x="250" y="12"/>
                  </a:lnTo>
                  <a:lnTo>
                    <a:pt x="250" y="16"/>
                  </a:lnTo>
                  <a:lnTo>
                    <a:pt x="250" y="20"/>
                  </a:lnTo>
                  <a:lnTo>
                    <a:pt x="254" y="20"/>
                  </a:lnTo>
                  <a:lnTo>
                    <a:pt x="254" y="24"/>
                  </a:lnTo>
                  <a:lnTo>
                    <a:pt x="258" y="24"/>
                  </a:lnTo>
                  <a:lnTo>
                    <a:pt x="258" y="28"/>
                  </a:lnTo>
                  <a:lnTo>
                    <a:pt x="262" y="28"/>
                  </a:lnTo>
                  <a:lnTo>
                    <a:pt x="262" y="30"/>
                  </a:lnTo>
                  <a:lnTo>
                    <a:pt x="266" y="30"/>
                  </a:lnTo>
                  <a:lnTo>
                    <a:pt x="266" y="34"/>
                  </a:lnTo>
                  <a:lnTo>
                    <a:pt x="266" y="38"/>
                  </a:lnTo>
                  <a:lnTo>
                    <a:pt x="266" y="42"/>
                  </a:lnTo>
                  <a:lnTo>
                    <a:pt x="266" y="46"/>
                  </a:lnTo>
                  <a:lnTo>
                    <a:pt x="266" y="50"/>
                  </a:lnTo>
                  <a:lnTo>
                    <a:pt x="266" y="54"/>
                  </a:lnTo>
                  <a:lnTo>
                    <a:pt x="270" y="50"/>
                  </a:lnTo>
                  <a:lnTo>
                    <a:pt x="270" y="54"/>
                  </a:lnTo>
                  <a:lnTo>
                    <a:pt x="274" y="58"/>
                  </a:lnTo>
                  <a:lnTo>
                    <a:pt x="270" y="58"/>
                  </a:lnTo>
                  <a:lnTo>
                    <a:pt x="270" y="60"/>
                  </a:lnTo>
                  <a:lnTo>
                    <a:pt x="266" y="64"/>
                  </a:lnTo>
                  <a:lnTo>
                    <a:pt x="262" y="68"/>
                  </a:lnTo>
                  <a:lnTo>
                    <a:pt x="262" y="72"/>
                  </a:lnTo>
                  <a:lnTo>
                    <a:pt x="258" y="72"/>
                  </a:lnTo>
                  <a:lnTo>
                    <a:pt x="258" y="76"/>
                  </a:lnTo>
                  <a:lnTo>
                    <a:pt x="254" y="76"/>
                  </a:lnTo>
                  <a:lnTo>
                    <a:pt x="254" y="80"/>
                  </a:lnTo>
                  <a:lnTo>
                    <a:pt x="254" y="84"/>
                  </a:lnTo>
                  <a:lnTo>
                    <a:pt x="254" y="86"/>
                  </a:lnTo>
                  <a:lnTo>
                    <a:pt x="250" y="86"/>
                  </a:lnTo>
                  <a:lnTo>
                    <a:pt x="250" y="90"/>
                  </a:lnTo>
                  <a:lnTo>
                    <a:pt x="250" y="94"/>
                  </a:lnTo>
                  <a:lnTo>
                    <a:pt x="250" y="98"/>
                  </a:lnTo>
                  <a:lnTo>
                    <a:pt x="250" y="102"/>
                  </a:lnTo>
                  <a:lnTo>
                    <a:pt x="246" y="102"/>
                  </a:lnTo>
                  <a:lnTo>
                    <a:pt x="246" y="106"/>
                  </a:lnTo>
                  <a:lnTo>
                    <a:pt x="246" y="110"/>
                  </a:lnTo>
                  <a:lnTo>
                    <a:pt x="246" y="114"/>
                  </a:lnTo>
                  <a:lnTo>
                    <a:pt x="246" y="116"/>
                  </a:lnTo>
                  <a:lnTo>
                    <a:pt x="244" y="116"/>
                  </a:lnTo>
                  <a:lnTo>
                    <a:pt x="244" y="120"/>
                  </a:lnTo>
                  <a:lnTo>
                    <a:pt x="244" y="124"/>
                  </a:lnTo>
                  <a:lnTo>
                    <a:pt x="244" y="128"/>
                  </a:lnTo>
                  <a:lnTo>
                    <a:pt x="244" y="132"/>
                  </a:lnTo>
                  <a:lnTo>
                    <a:pt x="240" y="132"/>
                  </a:lnTo>
                  <a:lnTo>
                    <a:pt x="240" y="136"/>
                  </a:lnTo>
                  <a:lnTo>
                    <a:pt x="240" y="140"/>
                  </a:lnTo>
                  <a:lnTo>
                    <a:pt x="244" y="144"/>
                  </a:lnTo>
                  <a:lnTo>
                    <a:pt x="244" y="146"/>
                  </a:lnTo>
                  <a:lnTo>
                    <a:pt x="244" y="150"/>
                  </a:lnTo>
                  <a:lnTo>
                    <a:pt x="244" y="154"/>
                  </a:lnTo>
                  <a:lnTo>
                    <a:pt x="244" y="158"/>
                  </a:lnTo>
                  <a:lnTo>
                    <a:pt x="244" y="160"/>
                  </a:lnTo>
                  <a:lnTo>
                    <a:pt x="246" y="164"/>
                  </a:lnTo>
                  <a:lnTo>
                    <a:pt x="246" y="168"/>
                  </a:lnTo>
                  <a:lnTo>
                    <a:pt x="246" y="172"/>
                  </a:lnTo>
                  <a:lnTo>
                    <a:pt x="244" y="172"/>
                  </a:lnTo>
                  <a:lnTo>
                    <a:pt x="244" y="176"/>
                  </a:lnTo>
                  <a:lnTo>
                    <a:pt x="244" y="180"/>
                  </a:lnTo>
                  <a:lnTo>
                    <a:pt x="246" y="180"/>
                  </a:lnTo>
                  <a:lnTo>
                    <a:pt x="246" y="184"/>
                  </a:lnTo>
                  <a:lnTo>
                    <a:pt x="246" y="186"/>
                  </a:lnTo>
                  <a:lnTo>
                    <a:pt x="246" y="190"/>
                  </a:lnTo>
                  <a:lnTo>
                    <a:pt x="246" y="194"/>
                  </a:lnTo>
                  <a:lnTo>
                    <a:pt x="246" y="198"/>
                  </a:lnTo>
                  <a:lnTo>
                    <a:pt x="246" y="202"/>
                  </a:lnTo>
                  <a:lnTo>
                    <a:pt x="250" y="206"/>
                  </a:lnTo>
                  <a:lnTo>
                    <a:pt x="254" y="210"/>
                  </a:lnTo>
                  <a:lnTo>
                    <a:pt x="258" y="210"/>
                  </a:lnTo>
                  <a:lnTo>
                    <a:pt x="258" y="214"/>
                  </a:lnTo>
                  <a:lnTo>
                    <a:pt x="258" y="216"/>
                  </a:lnTo>
                  <a:lnTo>
                    <a:pt x="258" y="220"/>
                  </a:lnTo>
                  <a:lnTo>
                    <a:pt x="262" y="220"/>
                  </a:lnTo>
                  <a:lnTo>
                    <a:pt x="262" y="224"/>
                  </a:lnTo>
                  <a:lnTo>
                    <a:pt x="262" y="228"/>
                  </a:lnTo>
                  <a:lnTo>
                    <a:pt x="266" y="228"/>
                  </a:lnTo>
                  <a:lnTo>
                    <a:pt x="266" y="232"/>
                  </a:lnTo>
                  <a:lnTo>
                    <a:pt x="262" y="232"/>
                  </a:lnTo>
                  <a:lnTo>
                    <a:pt x="258" y="232"/>
                  </a:lnTo>
                  <a:lnTo>
                    <a:pt x="254" y="236"/>
                  </a:lnTo>
                  <a:lnTo>
                    <a:pt x="246" y="236"/>
                  </a:lnTo>
                  <a:lnTo>
                    <a:pt x="244" y="236"/>
                  </a:lnTo>
                  <a:lnTo>
                    <a:pt x="240" y="236"/>
                  </a:lnTo>
                  <a:lnTo>
                    <a:pt x="240" y="240"/>
                  </a:lnTo>
                  <a:lnTo>
                    <a:pt x="240" y="244"/>
                  </a:lnTo>
                  <a:lnTo>
                    <a:pt x="236" y="244"/>
                  </a:lnTo>
                  <a:lnTo>
                    <a:pt x="236" y="246"/>
                  </a:lnTo>
                  <a:lnTo>
                    <a:pt x="232" y="250"/>
                  </a:lnTo>
                  <a:lnTo>
                    <a:pt x="232" y="254"/>
                  </a:lnTo>
                  <a:lnTo>
                    <a:pt x="236" y="258"/>
                  </a:lnTo>
                  <a:lnTo>
                    <a:pt x="236" y="262"/>
                  </a:lnTo>
                  <a:lnTo>
                    <a:pt x="236" y="266"/>
                  </a:lnTo>
                  <a:lnTo>
                    <a:pt x="236" y="270"/>
                  </a:lnTo>
                  <a:lnTo>
                    <a:pt x="236" y="272"/>
                  </a:lnTo>
                  <a:lnTo>
                    <a:pt x="236" y="276"/>
                  </a:lnTo>
                  <a:lnTo>
                    <a:pt x="232" y="276"/>
                  </a:lnTo>
                  <a:lnTo>
                    <a:pt x="232" y="280"/>
                  </a:lnTo>
                  <a:lnTo>
                    <a:pt x="232" y="284"/>
                  </a:lnTo>
                  <a:lnTo>
                    <a:pt x="232" y="288"/>
                  </a:lnTo>
                  <a:lnTo>
                    <a:pt x="232" y="292"/>
                  </a:lnTo>
                  <a:lnTo>
                    <a:pt x="232" y="296"/>
                  </a:lnTo>
                  <a:lnTo>
                    <a:pt x="236" y="296"/>
                  </a:lnTo>
                  <a:lnTo>
                    <a:pt x="236" y="300"/>
                  </a:lnTo>
                  <a:lnTo>
                    <a:pt x="240" y="302"/>
                  </a:lnTo>
                  <a:lnTo>
                    <a:pt x="244" y="302"/>
                  </a:lnTo>
                  <a:lnTo>
                    <a:pt x="246" y="306"/>
                  </a:lnTo>
                  <a:lnTo>
                    <a:pt x="246" y="302"/>
                  </a:lnTo>
                  <a:lnTo>
                    <a:pt x="250" y="300"/>
                  </a:lnTo>
                  <a:lnTo>
                    <a:pt x="250" y="302"/>
                  </a:lnTo>
                  <a:lnTo>
                    <a:pt x="250" y="306"/>
                  </a:lnTo>
                  <a:lnTo>
                    <a:pt x="250" y="310"/>
                  </a:lnTo>
                  <a:lnTo>
                    <a:pt x="250" y="318"/>
                  </a:lnTo>
                  <a:lnTo>
                    <a:pt x="250" y="322"/>
                  </a:lnTo>
                  <a:lnTo>
                    <a:pt x="246" y="322"/>
                  </a:lnTo>
                  <a:lnTo>
                    <a:pt x="250" y="322"/>
                  </a:lnTo>
                  <a:lnTo>
                    <a:pt x="246" y="318"/>
                  </a:lnTo>
                  <a:lnTo>
                    <a:pt x="246" y="322"/>
                  </a:lnTo>
                  <a:lnTo>
                    <a:pt x="244" y="322"/>
                  </a:lnTo>
                  <a:lnTo>
                    <a:pt x="240" y="322"/>
                  </a:lnTo>
                  <a:lnTo>
                    <a:pt x="240" y="318"/>
                  </a:lnTo>
                  <a:lnTo>
                    <a:pt x="236" y="314"/>
                  </a:lnTo>
                  <a:lnTo>
                    <a:pt x="232" y="314"/>
                  </a:lnTo>
                  <a:lnTo>
                    <a:pt x="232" y="310"/>
                  </a:lnTo>
                  <a:lnTo>
                    <a:pt x="232" y="306"/>
                  </a:lnTo>
                  <a:lnTo>
                    <a:pt x="228" y="306"/>
                  </a:lnTo>
                  <a:lnTo>
                    <a:pt x="226" y="302"/>
                  </a:lnTo>
                  <a:lnTo>
                    <a:pt x="222" y="302"/>
                  </a:lnTo>
                  <a:lnTo>
                    <a:pt x="218" y="300"/>
                  </a:lnTo>
                  <a:lnTo>
                    <a:pt x="218" y="296"/>
                  </a:lnTo>
                  <a:lnTo>
                    <a:pt x="214" y="296"/>
                  </a:lnTo>
                  <a:lnTo>
                    <a:pt x="214" y="292"/>
                  </a:lnTo>
                  <a:lnTo>
                    <a:pt x="210" y="296"/>
                  </a:lnTo>
                  <a:lnTo>
                    <a:pt x="210" y="300"/>
                  </a:lnTo>
                  <a:lnTo>
                    <a:pt x="206" y="300"/>
                  </a:lnTo>
                  <a:lnTo>
                    <a:pt x="202" y="296"/>
                  </a:lnTo>
                  <a:lnTo>
                    <a:pt x="200" y="296"/>
                  </a:lnTo>
                  <a:lnTo>
                    <a:pt x="196" y="296"/>
                  </a:lnTo>
                  <a:lnTo>
                    <a:pt x="192" y="292"/>
                  </a:lnTo>
                  <a:lnTo>
                    <a:pt x="188" y="292"/>
                  </a:lnTo>
                  <a:lnTo>
                    <a:pt x="188" y="288"/>
                  </a:lnTo>
                  <a:lnTo>
                    <a:pt x="188" y="284"/>
                  </a:lnTo>
                  <a:lnTo>
                    <a:pt x="184" y="284"/>
                  </a:lnTo>
                  <a:lnTo>
                    <a:pt x="180" y="288"/>
                  </a:lnTo>
                  <a:lnTo>
                    <a:pt x="176" y="288"/>
                  </a:lnTo>
                  <a:lnTo>
                    <a:pt x="172" y="288"/>
                  </a:lnTo>
                  <a:lnTo>
                    <a:pt x="176" y="284"/>
                  </a:lnTo>
                  <a:lnTo>
                    <a:pt x="176" y="280"/>
                  </a:lnTo>
                  <a:lnTo>
                    <a:pt x="172" y="280"/>
                  </a:lnTo>
                  <a:lnTo>
                    <a:pt x="170" y="280"/>
                  </a:lnTo>
                  <a:lnTo>
                    <a:pt x="170" y="276"/>
                  </a:lnTo>
                  <a:lnTo>
                    <a:pt x="170" y="280"/>
                  </a:lnTo>
                  <a:lnTo>
                    <a:pt x="166" y="280"/>
                  </a:lnTo>
                  <a:lnTo>
                    <a:pt x="162" y="280"/>
                  </a:lnTo>
                  <a:lnTo>
                    <a:pt x="158" y="280"/>
                  </a:lnTo>
                  <a:lnTo>
                    <a:pt x="154" y="280"/>
                  </a:lnTo>
                  <a:lnTo>
                    <a:pt x="150" y="280"/>
                  </a:lnTo>
                  <a:lnTo>
                    <a:pt x="146" y="280"/>
                  </a:lnTo>
                  <a:lnTo>
                    <a:pt x="146" y="284"/>
                  </a:lnTo>
                  <a:lnTo>
                    <a:pt x="142" y="284"/>
                  </a:lnTo>
                  <a:lnTo>
                    <a:pt x="142" y="280"/>
                  </a:lnTo>
                  <a:lnTo>
                    <a:pt x="142" y="276"/>
                  </a:lnTo>
                  <a:lnTo>
                    <a:pt x="146" y="276"/>
                  </a:lnTo>
                  <a:lnTo>
                    <a:pt x="146" y="272"/>
                  </a:lnTo>
                  <a:lnTo>
                    <a:pt x="146" y="270"/>
                  </a:lnTo>
                  <a:lnTo>
                    <a:pt x="142" y="266"/>
                  </a:lnTo>
                  <a:lnTo>
                    <a:pt x="142" y="262"/>
                  </a:lnTo>
                  <a:lnTo>
                    <a:pt x="140" y="258"/>
                  </a:lnTo>
                  <a:lnTo>
                    <a:pt x="140" y="254"/>
                  </a:lnTo>
                  <a:lnTo>
                    <a:pt x="140" y="250"/>
                  </a:lnTo>
                  <a:lnTo>
                    <a:pt x="140" y="246"/>
                  </a:lnTo>
                  <a:lnTo>
                    <a:pt x="140" y="244"/>
                  </a:lnTo>
                  <a:lnTo>
                    <a:pt x="140" y="240"/>
                  </a:lnTo>
                  <a:lnTo>
                    <a:pt x="140" y="236"/>
                  </a:lnTo>
                  <a:lnTo>
                    <a:pt x="140" y="232"/>
                  </a:lnTo>
                  <a:lnTo>
                    <a:pt x="140" y="228"/>
                  </a:lnTo>
                  <a:lnTo>
                    <a:pt x="140" y="224"/>
                  </a:lnTo>
                  <a:lnTo>
                    <a:pt x="140" y="220"/>
                  </a:lnTo>
                  <a:lnTo>
                    <a:pt x="140" y="216"/>
                  </a:lnTo>
                  <a:lnTo>
                    <a:pt x="136" y="216"/>
                  </a:lnTo>
                  <a:lnTo>
                    <a:pt x="128" y="216"/>
                  </a:lnTo>
                  <a:lnTo>
                    <a:pt x="120" y="216"/>
                  </a:lnTo>
                  <a:lnTo>
                    <a:pt x="120" y="214"/>
                  </a:lnTo>
                  <a:lnTo>
                    <a:pt x="120" y="210"/>
                  </a:lnTo>
                  <a:lnTo>
                    <a:pt x="116" y="210"/>
                  </a:lnTo>
                  <a:lnTo>
                    <a:pt x="116" y="214"/>
                  </a:lnTo>
                  <a:lnTo>
                    <a:pt x="114" y="214"/>
                  </a:lnTo>
                  <a:lnTo>
                    <a:pt x="106" y="214"/>
                  </a:lnTo>
                  <a:lnTo>
                    <a:pt x="106" y="216"/>
                  </a:lnTo>
                  <a:lnTo>
                    <a:pt x="106" y="220"/>
                  </a:lnTo>
                  <a:lnTo>
                    <a:pt x="106" y="224"/>
                  </a:lnTo>
                  <a:lnTo>
                    <a:pt x="102" y="224"/>
                  </a:lnTo>
                  <a:lnTo>
                    <a:pt x="102" y="228"/>
                  </a:lnTo>
                  <a:lnTo>
                    <a:pt x="106" y="228"/>
                  </a:lnTo>
                  <a:lnTo>
                    <a:pt x="98" y="228"/>
                  </a:lnTo>
                  <a:lnTo>
                    <a:pt x="94" y="228"/>
                  </a:lnTo>
                  <a:lnTo>
                    <a:pt x="90" y="228"/>
                  </a:lnTo>
                  <a:lnTo>
                    <a:pt x="86" y="228"/>
                  </a:lnTo>
                  <a:lnTo>
                    <a:pt x="86" y="232"/>
                  </a:lnTo>
                  <a:lnTo>
                    <a:pt x="84" y="232"/>
                  </a:lnTo>
                  <a:lnTo>
                    <a:pt x="84" y="228"/>
                  </a:lnTo>
                  <a:lnTo>
                    <a:pt x="80" y="232"/>
                  </a:lnTo>
                  <a:lnTo>
                    <a:pt x="80" y="228"/>
                  </a:lnTo>
                  <a:lnTo>
                    <a:pt x="76" y="228"/>
                  </a:lnTo>
                  <a:lnTo>
                    <a:pt x="76" y="224"/>
                  </a:lnTo>
                  <a:lnTo>
                    <a:pt x="72" y="220"/>
                  </a:lnTo>
                  <a:lnTo>
                    <a:pt x="72" y="216"/>
                  </a:lnTo>
                  <a:lnTo>
                    <a:pt x="68" y="216"/>
                  </a:lnTo>
                  <a:lnTo>
                    <a:pt x="68" y="214"/>
                  </a:lnTo>
                  <a:lnTo>
                    <a:pt x="68" y="210"/>
                  </a:lnTo>
                  <a:lnTo>
                    <a:pt x="68" y="206"/>
                  </a:lnTo>
                  <a:lnTo>
                    <a:pt x="64" y="202"/>
                  </a:lnTo>
                  <a:lnTo>
                    <a:pt x="64" y="198"/>
                  </a:lnTo>
                  <a:lnTo>
                    <a:pt x="64" y="194"/>
                  </a:lnTo>
                  <a:lnTo>
                    <a:pt x="64" y="190"/>
                  </a:lnTo>
                  <a:lnTo>
                    <a:pt x="60" y="190"/>
                  </a:lnTo>
                  <a:lnTo>
                    <a:pt x="56" y="190"/>
                  </a:lnTo>
                  <a:lnTo>
                    <a:pt x="56" y="190"/>
                  </a:lnTo>
                  <a:lnTo>
                    <a:pt x="56" y="19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47" name="Freeform 140"/>
            <p:cNvSpPr>
              <a:spLocks noEditPoints="1"/>
            </p:cNvSpPr>
            <p:nvPr/>
          </p:nvSpPr>
          <p:spPr bwMode="auto">
            <a:xfrm>
              <a:off x="6962415" y="4040146"/>
              <a:ext cx="56518" cy="73225"/>
            </a:xfrm>
            <a:custGeom>
              <a:avLst/>
              <a:gdLst>
                <a:gd name="T0" fmla="*/ 46 w 90"/>
                <a:gd name="T1" fmla="*/ 96 h 112"/>
                <a:gd name="T2" fmla="*/ 52 w 90"/>
                <a:gd name="T3" fmla="*/ 96 h 112"/>
                <a:gd name="T4" fmla="*/ 46 w 90"/>
                <a:gd name="T5" fmla="*/ 96 h 112"/>
                <a:gd name="T6" fmla="*/ 34 w 90"/>
                <a:gd name="T7" fmla="*/ 100 h 112"/>
                <a:gd name="T8" fmla="*/ 30 w 90"/>
                <a:gd name="T9" fmla="*/ 104 h 112"/>
                <a:gd name="T10" fmla="*/ 24 w 90"/>
                <a:gd name="T11" fmla="*/ 108 h 112"/>
                <a:gd name="T12" fmla="*/ 20 w 90"/>
                <a:gd name="T13" fmla="*/ 112 h 112"/>
                <a:gd name="T14" fmla="*/ 16 w 90"/>
                <a:gd name="T15" fmla="*/ 104 h 112"/>
                <a:gd name="T16" fmla="*/ 20 w 90"/>
                <a:gd name="T17" fmla="*/ 92 h 112"/>
                <a:gd name="T18" fmla="*/ 20 w 90"/>
                <a:gd name="T19" fmla="*/ 86 h 112"/>
                <a:gd name="T20" fmla="*/ 16 w 90"/>
                <a:gd name="T21" fmla="*/ 82 h 112"/>
                <a:gd name="T22" fmla="*/ 12 w 90"/>
                <a:gd name="T23" fmla="*/ 78 h 112"/>
                <a:gd name="T24" fmla="*/ 0 w 90"/>
                <a:gd name="T25" fmla="*/ 74 h 112"/>
                <a:gd name="T26" fmla="*/ 4 w 90"/>
                <a:gd name="T27" fmla="*/ 70 h 112"/>
                <a:gd name="T28" fmla="*/ 4 w 90"/>
                <a:gd name="T29" fmla="*/ 66 h 112"/>
                <a:gd name="T30" fmla="*/ 4 w 90"/>
                <a:gd name="T31" fmla="*/ 56 h 112"/>
                <a:gd name="T32" fmla="*/ 8 w 90"/>
                <a:gd name="T33" fmla="*/ 56 h 112"/>
                <a:gd name="T34" fmla="*/ 8 w 90"/>
                <a:gd name="T35" fmla="*/ 48 h 112"/>
                <a:gd name="T36" fmla="*/ 8 w 90"/>
                <a:gd name="T37" fmla="*/ 44 h 112"/>
                <a:gd name="T38" fmla="*/ 12 w 90"/>
                <a:gd name="T39" fmla="*/ 36 h 112"/>
                <a:gd name="T40" fmla="*/ 16 w 90"/>
                <a:gd name="T41" fmla="*/ 40 h 112"/>
                <a:gd name="T42" fmla="*/ 12 w 90"/>
                <a:gd name="T43" fmla="*/ 34 h 112"/>
                <a:gd name="T44" fmla="*/ 16 w 90"/>
                <a:gd name="T45" fmla="*/ 30 h 112"/>
                <a:gd name="T46" fmla="*/ 8 w 90"/>
                <a:gd name="T47" fmla="*/ 22 h 112"/>
                <a:gd name="T48" fmla="*/ 8 w 90"/>
                <a:gd name="T49" fmla="*/ 14 h 112"/>
                <a:gd name="T50" fmla="*/ 8 w 90"/>
                <a:gd name="T51" fmla="*/ 10 h 112"/>
                <a:gd name="T52" fmla="*/ 12 w 90"/>
                <a:gd name="T53" fmla="*/ 8 h 112"/>
                <a:gd name="T54" fmla="*/ 20 w 90"/>
                <a:gd name="T55" fmla="*/ 8 h 112"/>
                <a:gd name="T56" fmla="*/ 24 w 90"/>
                <a:gd name="T57" fmla="*/ 10 h 112"/>
                <a:gd name="T58" fmla="*/ 30 w 90"/>
                <a:gd name="T59" fmla="*/ 8 h 112"/>
                <a:gd name="T60" fmla="*/ 30 w 90"/>
                <a:gd name="T61" fmla="*/ 4 h 112"/>
                <a:gd name="T62" fmla="*/ 34 w 90"/>
                <a:gd name="T63" fmla="*/ 4 h 112"/>
                <a:gd name="T64" fmla="*/ 38 w 90"/>
                <a:gd name="T65" fmla="*/ 8 h 112"/>
                <a:gd name="T66" fmla="*/ 38 w 90"/>
                <a:gd name="T67" fmla="*/ 10 h 112"/>
                <a:gd name="T68" fmla="*/ 42 w 90"/>
                <a:gd name="T69" fmla="*/ 8 h 112"/>
                <a:gd name="T70" fmla="*/ 50 w 90"/>
                <a:gd name="T71" fmla="*/ 8 h 112"/>
                <a:gd name="T72" fmla="*/ 56 w 90"/>
                <a:gd name="T73" fmla="*/ 14 h 112"/>
                <a:gd name="T74" fmla="*/ 60 w 90"/>
                <a:gd name="T75" fmla="*/ 18 h 112"/>
                <a:gd name="T76" fmla="*/ 68 w 90"/>
                <a:gd name="T77" fmla="*/ 14 h 112"/>
                <a:gd name="T78" fmla="*/ 76 w 90"/>
                <a:gd name="T79" fmla="*/ 14 h 112"/>
                <a:gd name="T80" fmla="*/ 82 w 90"/>
                <a:gd name="T81" fmla="*/ 22 h 112"/>
                <a:gd name="T82" fmla="*/ 86 w 90"/>
                <a:gd name="T83" fmla="*/ 26 h 112"/>
                <a:gd name="T84" fmla="*/ 86 w 90"/>
                <a:gd name="T85" fmla="*/ 34 h 112"/>
                <a:gd name="T86" fmla="*/ 86 w 90"/>
                <a:gd name="T87" fmla="*/ 44 h 112"/>
                <a:gd name="T88" fmla="*/ 82 w 90"/>
                <a:gd name="T89" fmla="*/ 60 h 112"/>
                <a:gd name="T90" fmla="*/ 78 w 90"/>
                <a:gd name="T91" fmla="*/ 70 h 112"/>
                <a:gd name="T92" fmla="*/ 78 w 90"/>
                <a:gd name="T93" fmla="*/ 78 h 112"/>
                <a:gd name="T94" fmla="*/ 82 w 90"/>
                <a:gd name="T95" fmla="*/ 88 h 112"/>
                <a:gd name="T96" fmla="*/ 86 w 90"/>
                <a:gd name="T97" fmla="*/ 96 h 112"/>
                <a:gd name="T98" fmla="*/ 82 w 90"/>
                <a:gd name="T99" fmla="*/ 96 h 112"/>
                <a:gd name="T100" fmla="*/ 78 w 90"/>
                <a:gd name="T101" fmla="*/ 92 h 112"/>
                <a:gd name="T102" fmla="*/ 76 w 90"/>
                <a:gd name="T103" fmla="*/ 96 h 112"/>
                <a:gd name="T104" fmla="*/ 72 w 90"/>
                <a:gd name="T105" fmla="*/ 96 h 112"/>
                <a:gd name="T106" fmla="*/ 72 w 90"/>
                <a:gd name="T107" fmla="*/ 92 h 112"/>
                <a:gd name="T108" fmla="*/ 72 w 90"/>
                <a:gd name="T109" fmla="*/ 92 h 112"/>
                <a:gd name="T110" fmla="*/ 60 w 90"/>
                <a:gd name="T111" fmla="*/ 92 h 112"/>
                <a:gd name="T112" fmla="*/ 60 w 90"/>
                <a:gd name="T113" fmla="*/ 96 h 112"/>
                <a:gd name="T114" fmla="*/ 64 w 90"/>
                <a:gd name="T115" fmla="*/ 92 h 112"/>
                <a:gd name="T116" fmla="*/ 56 w 90"/>
                <a:gd name="T117" fmla="*/ 96 h 112"/>
                <a:gd name="T118" fmla="*/ 52 w 90"/>
                <a:gd name="T119" fmla="*/ 96 h 112"/>
                <a:gd name="T120" fmla="*/ 50 w 90"/>
                <a:gd name="T121" fmla="*/ 96 h 112"/>
                <a:gd name="T122" fmla="*/ 50 w 90"/>
                <a:gd name="T123" fmla="*/ 96 h 112"/>
                <a:gd name="T124" fmla="*/ 78 w 90"/>
                <a:gd name="T125" fmla="*/ 9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112">
                  <a:moveTo>
                    <a:pt x="50" y="96"/>
                  </a:moveTo>
                  <a:lnTo>
                    <a:pt x="50" y="96"/>
                  </a:lnTo>
                  <a:lnTo>
                    <a:pt x="50" y="96"/>
                  </a:lnTo>
                  <a:lnTo>
                    <a:pt x="50" y="96"/>
                  </a:lnTo>
                  <a:lnTo>
                    <a:pt x="50" y="96"/>
                  </a:lnTo>
                  <a:lnTo>
                    <a:pt x="50" y="96"/>
                  </a:lnTo>
                  <a:lnTo>
                    <a:pt x="50" y="96"/>
                  </a:lnTo>
                  <a:lnTo>
                    <a:pt x="46" y="96"/>
                  </a:lnTo>
                  <a:lnTo>
                    <a:pt x="50" y="96"/>
                  </a:lnTo>
                  <a:lnTo>
                    <a:pt x="50" y="96"/>
                  </a:lnTo>
                  <a:lnTo>
                    <a:pt x="50" y="96"/>
                  </a:lnTo>
                  <a:lnTo>
                    <a:pt x="50" y="96"/>
                  </a:lnTo>
                  <a:lnTo>
                    <a:pt x="50" y="96"/>
                  </a:lnTo>
                  <a:lnTo>
                    <a:pt x="52" y="96"/>
                  </a:lnTo>
                  <a:lnTo>
                    <a:pt x="52" y="96"/>
                  </a:lnTo>
                  <a:lnTo>
                    <a:pt x="52" y="96"/>
                  </a:lnTo>
                  <a:lnTo>
                    <a:pt x="52" y="96"/>
                  </a:lnTo>
                  <a:lnTo>
                    <a:pt x="52" y="96"/>
                  </a:lnTo>
                  <a:lnTo>
                    <a:pt x="52" y="96"/>
                  </a:lnTo>
                  <a:lnTo>
                    <a:pt x="50" y="96"/>
                  </a:lnTo>
                  <a:lnTo>
                    <a:pt x="50" y="96"/>
                  </a:lnTo>
                  <a:lnTo>
                    <a:pt x="50" y="96"/>
                  </a:lnTo>
                  <a:lnTo>
                    <a:pt x="46" y="96"/>
                  </a:lnTo>
                  <a:lnTo>
                    <a:pt x="46" y="96"/>
                  </a:lnTo>
                  <a:lnTo>
                    <a:pt x="42" y="96"/>
                  </a:lnTo>
                  <a:lnTo>
                    <a:pt x="42" y="96"/>
                  </a:lnTo>
                  <a:lnTo>
                    <a:pt x="42" y="96"/>
                  </a:lnTo>
                  <a:lnTo>
                    <a:pt x="38" y="100"/>
                  </a:lnTo>
                  <a:lnTo>
                    <a:pt x="38" y="100"/>
                  </a:lnTo>
                  <a:lnTo>
                    <a:pt x="38" y="100"/>
                  </a:lnTo>
                  <a:lnTo>
                    <a:pt x="34" y="100"/>
                  </a:lnTo>
                  <a:lnTo>
                    <a:pt x="34" y="100"/>
                  </a:lnTo>
                  <a:lnTo>
                    <a:pt x="34" y="100"/>
                  </a:lnTo>
                  <a:lnTo>
                    <a:pt x="34" y="100"/>
                  </a:lnTo>
                  <a:lnTo>
                    <a:pt x="34" y="100"/>
                  </a:lnTo>
                  <a:lnTo>
                    <a:pt x="30" y="104"/>
                  </a:lnTo>
                  <a:lnTo>
                    <a:pt x="30" y="104"/>
                  </a:lnTo>
                  <a:lnTo>
                    <a:pt x="30" y="104"/>
                  </a:lnTo>
                  <a:lnTo>
                    <a:pt x="30" y="104"/>
                  </a:lnTo>
                  <a:lnTo>
                    <a:pt x="30" y="104"/>
                  </a:lnTo>
                  <a:lnTo>
                    <a:pt x="26" y="104"/>
                  </a:lnTo>
                  <a:lnTo>
                    <a:pt x="26" y="104"/>
                  </a:lnTo>
                  <a:lnTo>
                    <a:pt x="26" y="104"/>
                  </a:lnTo>
                  <a:lnTo>
                    <a:pt x="26" y="104"/>
                  </a:lnTo>
                  <a:lnTo>
                    <a:pt x="26" y="104"/>
                  </a:lnTo>
                  <a:lnTo>
                    <a:pt x="26" y="104"/>
                  </a:lnTo>
                  <a:lnTo>
                    <a:pt x="24" y="108"/>
                  </a:lnTo>
                  <a:lnTo>
                    <a:pt x="24" y="108"/>
                  </a:lnTo>
                  <a:lnTo>
                    <a:pt x="24" y="108"/>
                  </a:lnTo>
                  <a:lnTo>
                    <a:pt x="24" y="108"/>
                  </a:lnTo>
                  <a:lnTo>
                    <a:pt x="24" y="108"/>
                  </a:lnTo>
                  <a:lnTo>
                    <a:pt x="20" y="108"/>
                  </a:lnTo>
                  <a:lnTo>
                    <a:pt x="20" y="108"/>
                  </a:lnTo>
                  <a:lnTo>
                    <a:pt x="20" y="112"/>
                  </a:lnTo>
                  <a:lnTo>
                    <a:pt x="20" y="112"/>
                  </a:lnTo>
                  <a:lnTo>
                    <a:pt x="20" y="112"/>
                  </a:lnTo>
                  <a:lnTo>
                    <a:pt x="20" y="112"/>
                  </a:lnTo>
                  <a:lnTo>
                    <a:pt x="16" y="112"/>
                  </a:lnTo>
                  <a:lnTo>
                    <a:pt x="16" y="108"/>
                  </a:lnTo>
                  <a:lnTo>
                    <a:pt x="16" y="108"/>
                  </a:lnTo>
                  <a:lnTo>
                    <a:pt x="16" y="108"/>
                  </a:lnTo>
                  <a:lnTo>
                    <a:pt x="16" y="104"/>
                  </a:lnTo>
                  <a:lnTo>
                    <a:pt x="16" y="104"/>
                  </a:lnTo>
                  <a:lnTo>
                    <a:pt x="16" y="104"/>
                  </a:lnTo>
                  <a:lnTo>
                    <a:pt x="16" y="100"/>
                  </a:lnTo>
                  <a:lnTo>
                    <a:pt x="16" y="100"/>
                  </a:lnTo>
                  <a:lnTo>
                    <a:pt x="16" y="100"/>
                  </a:lnTo>
                  <a:lnTo>
                    <a:pt x="16" y="96"/>
                  </a:lnTo>
                  <a:lnTo>
                    <a:pt x="20" y="96"/>
                  </a:lnTo>
                  <a:lnTo>
                    <a:pt x="20" y="92"/>
                  </a:lnTo>
                  <a:lnTo>
                    <a:pt x="20" y="92"/>
                  </a:lnTo>
                  <a:lnTo>
                    <a:pt x="20" y="92"/>
                  </a:lnTo>
                  <a:lnTo>
                    <a:pt x="20" y="92"/>
                  </a:lnTo>
                  <a:lnTo>
                    <a:pt x="20" y="88"/>
                  </a:lnTo>
                  <a:lnTo>
                    <a:pt x="20" y="88"/>
                  </a:lnTo>
                  <a:lnTo>
                    <a:pt x="20" y="88"/>
                  </a:lnTo>
                  <a:lnTo>
                    <a:pt x="20" y="88"/>
                  </a:lnTo>
                  <a:lnTo>
                    <a:pt x="20" y="88"/>
                  </a:lnTo>
                  <a:lnTo>
                    <a:pt x="20" y="86"/>
                  </a:lnTo>
                  <a:lnTo>
                    <a:pt x="20" y="86"/>
                  </a:lnTo>
                  <a:lnTo>
                    <a:pt x="20" y="86"/>
                  </a:lnTo>
                  <a:lnTo>
                    <a:pt x="20" y="86"/>
                  </a:lnTo>
                  <a:lnTo>
                    <a:pt x="20" y="86"/>
                  </a:lnTo>
                  <a:lnTo>
                    <a:pt x="20" y="86"/>
                  </a:lnTo>
                  <a:lnTo>
                    <a:pt x="20" y="86"/>
                  </a:lnTo>
                  <a:lnTo>
                    <a:pt x="16" y="86"/>
                  </a:lnTo>
                  <a:lnTo>
                    <a:pt x="16" y="82"/>
                  </a:lnTo>
                  <a:lnTo>
                    <a:pt x="16" y="82"/>
                  </a:lnTo>
                  <a:lnTo>
                    <a:pt x="16" y="82"/>
                  </a:lnTo>
                  <a:lnTo>
                    <a:pt x="12" y="82"/>
                  </a:lnTo>
                  <a:lnTo>
                    <a:pt x="12" y="82"/>
                  </a:lnTo>
                  <a:lnTo>
                    <a:pt x="12" y="82"/>
                  </a:lnTo>
                  <a:lnTo>
                    <a:pt x="12" y="78"/>
                  </a:lnTo>
                  <a:lnTo>
                    <a:pt x="12" y="78"/>
                  </a:lnTo>
                  <a:lnTo>
                    <a:pt x="12" y="78"/>
                  </a:lnTo>
                  <a:lnTo>
                    <a:pt x="12" y="78"/>
                  </a:lnTo>
                  <a:lnTo>
                    <a:pt x="8" y="78"/>
                  </a:lnTo>
                  <a:lnTo>
                    <a:pt x="8" y="78"/>
                  </a:lnTo>
                  <a:lnTo>
                    <a:pt x="8" y="78"/>
                  </a:lnTo>
                  <a:lnTo>
                    <a:pt x="8" y="78"/>
                  </a:lnTo>
                  <a:lnTo>
                    <a:pt x="4" y="74"/>
                  </a:lnTo>
                  <a:lnTo>
                    <a:pt x="4" y="74"/>
                  </a:lnTo>
                  <a:lnTo>
                    <a:pt x="4" y="74"/>
                  </a:lnTo>
                  <a:lnTo>
                    <a:pt x="0" y="74"/>
                  </a:lnTo>
                  <a:lnTo>
                    <a:pt x="0" y="74"/>
                  </a:lnTo>
                  <a:lnTo>
                    <a:pt x="0" y="74"/>
                  </a:lnTo>
                  <a:lnTo>
                    <a:pt x="0" y="70"/>
                  </a:lnTo>
                  <a:lnTo>
                    <a:pt x="4" y="70"/>
                  </a:lnTo>
                  <a:lnTo>
                    <a:pt x="4" y="70"/>
                  </a:lnTo>
                  <a:lnTo>
                    <a:pt x="4" y="70"/>
                  </a:lnTo>
                  <a:lnTo>
                    <a:pt x="4" y="70"/>
                  </a:lnTo>
                  <a:lnTo>
                    <a:pt x="4" y="70"/>
                  </a:lnTo>
                  <a:lnTo>
                    <a:pt x="4" y="70"/>
                  </a:lnTo>
                  <a:lnTo>
                    <a:pt x="4" y="70"/>
                  </a:lnTo>
                  <a:lnTo>
                    <a:pt x="4" y="70"/>
                  </a:lnTo>
                  <a:lnTo>
                    <a:pt x="4" y="70"/>
                  </a:lnTo>
                  <a:lnTo>
                    <a:pt x="4" y="70"/>
                  </a:lnTo>
                  <a:lnTo>
                    <a:pt x="4" y="66"/>
                  </a:lnTo>
                  <a:lnTo>
                    <a:pt x="4" y="66"/>
                  </a:lnTo>
                  <a:lnTo>
                    <a:pt x="4" y="66"/>
                  </a:lnTo>
                  <a:lnTo>
                    <a:pt x="8" y="62"/>
                  </a:lnTo>
                  <a:lnTo>
                    <a:pt x="8" y="62"/>
                  </a:lnTo>
                  <a:lnTo>
                    <a:pt x="4" y="60"/>
                  </a:lnTo>
                  <a:lnTo>
                    <a:pt x="4" y="60"/>
                  </a:lnTo>
                  <a:lnTo>
                    <a:pt x="4" y="60"/>
                  </a:lnTo>
                  <a:lnTo>
                    <a:pt x="4" y="60"/>
                  </a:lnTo>
                  <a:lnTo>
                    <a:pt x="4" y="56"/>
                  </a:lnTo>
                  <a:lnTo>
                    <a:pt x="4" y="56"/>
                  </a:lnTo>
                  <a:lnTo>
                    <a:pt x="4" y="56"/>
                  </a:lnTo>
                  <a:lnTo>
                    <a:pt x="4" y="56"/>
                  </a:lnTo>
                  <a:lnTo>
                    <a:pt x="4" y="56"/>
                  </a:lnTo>
                  <a:lnTo>
                    <a:pt x="4" y="56"/>
                  </a:lnTo>
                  <a:lnTo>
                    <a:pt x="4" y="56"/>
                  </a:lnTo>
                  <a:lnTo>
                    <a:pt x="8" y="56"/>
                  </a:lnTo>
                  <a:lnTo>
                    <a:pt x="8" y="56"/>
                  </a:lnTo>
                  <a:lnTo>
                    <a:pt x="8" y="56"/>
                  </a:lnTo>
                  <a:lnTo>
                    <a:pt x="8" y="56"/>
                  </a:lnTo>
                  <a:lnTo>
                    <a:pt x="8" y="56"/>
                  </a:lnTo>
                  <a:lnTo>
                    <a:pt x="8" y="52"/>
                  </a:lnTo>
                  <a:lnTo>
                    <a:pt x="8" y="52"/>
                  </a:lnTo>
                  <a:lnTo>
                    <a:pt x="8" y="52"/>
                  </a:lnTo>
                  <a:lnTo>
                    <a:pt x="8" y="48"/>
                  </a:lnTo>
                  <a:lnTo>
                    <a:pt x="8" y="48"/>
                  </a:lnTo>
                  <a:lnTo>
                    <a:pt x="8" y="48"/>
                  </a:lnTo>
                  <a:lnTo>
                    <a:pt x="8" y="48"/>
                  </a:lnTo>
                  <a:lnTo>
                    <a:pt x="8" y="48"/>
                  </a:lnTo>
                  <a:lnTo>
                    <a:pt x="12" y="48"/>
                  </a:lnTo>
                  <a:lnTo>
                    <a:pt x="12" y="48"/>
                  </a:lnTo>
                  <a:lnTo>
                    <a:pt x="12" y="48"/>
                  </a:lnTo>
                  <a:lnTo>
                    <a:pt x="12" y="44"/>
                  </a:lnTo>
                  <a:lnTo>
                    <a:pt x="12" y="44"/>
                  </a:lnTo>
                  <a:lnTo>
                    <a:pt x="8" y="44"/>
                  </a:lnTo>
                  <a:lnTo>
                    <a:pt x="8" y="44"/>
                  </a:lnTo>
                  <a:lnTo>
                    <a:pt x="8" y="44"/>
                  </a:lnTo>
                  <a:lnTo>
                    <a:pt x="8" y="44"/>
                  </a:lnTo>
                  <a:lnTo>
                    <a:pt x="8" y="44"/>
                  </a:lnTo>
                  <a:lnTo>
                    <a:pt x="8" y="40"/>
                  </a:lnTo>
                  <a:lnTo>
                    <a:pt x="8" y="40"/>
                  </a:lnTo>
                  <a:lnTo>
                    <a:pt x="8" y="36"/>
                  </a:lnTo>
                  <a:lnTo>
                    <a:pt x="12" y="36"/>
                  </a:lnTo>
                  <a:lnTo>
                    <a:pt x="12" y="40"/>
                  </a:lnTo>
                  <a:lnTo>
                    <a:pt x="12" y="40"/>
                  </a:lnTo>
                  <a:lnTo>
                    <a:pt x="16" y="40"/>
                  </a:lnTo>
                  <a:lnTo>
                    <a:pt x="16" y="40"/>
                  </a:lnTo>
                  <a:lnTo>
                    <a:pt x="16" y="40"/>
                  </a:lnTo>
                  <a:lnTo>
                    <a:pt x="16" y="40"/>
                  </a:lnTo>
                  <a:lnTo>
                    <a:pt x="16" y="40"/>
                  </a:lnTo>
                  <a:lnTo>
                    <a:pt x="16" y="40"/>
                  </a:lnTo>
                  <a:lnTo>
                    <a:pt x="16" y="36"/>
                  </a:lnTo>
                  <a:lnTo>
                    <a:pt x="16" y="36"/>
                  </a:lnTo>
                  <a:lnTo>
                    <a:pt x="16" y="34"/>
                  </a:lnTo>
                  <a:lnTo>
                    <a:pt x="12" y="34"/>
                  </a:lnTo>
                  <a:lnTo>
                    <a:pt x="12" y="34"/>
                  </a:lnTo>
                  <a:lnTo>
                    <a:pt x="12" y="34"/>
                  </a:lnTo>
                  <a:lnTo>
                    <a:pt x="12" y="34"/>
                  </a:lnTo>
                  <a:lnTo>
                    <a:pt x="12" y="34"/>
                  </a:lnTo>
                  <a:lnTo>
                    <a:pt x="12" y="34"/>
                  </a:lnTo>
                  <a:lnTo>
                    <a:pt x="12" y="30"/>
                  </a:lnTo>
                  <a:lnTo>
                    <a:pt x="12" y="30"/>
                  </a:lnTo>
                  <a:lnTo>
                    <a:pt x="12" y="30"/>
                  </a:lnTo>
                  <a:lnTo>
                    <a:pt x="12" y="30"/>
                  </a:lnTo>
                  <a:lnTo>
                    <a:pt x="12" y="30"/>
                  </a:lnTo>
                  <a:lnTo>
                    <a:pt x="16" y="30"/>
                  </a:lnTo>
                  <a:lnTo>
                    <a:pt x="16" y="30"/>
                  </a:lnTo>
                  <a:lnTo>
                    <a:pt x="12" y="30"/>
                  </a:lnTo>
                  <a:lnTo>
                    <a:pt x="12" y="26"/>
                  </a:lnTo>
                  <a:lnTo>
                    <a:pt x="12" y="26"/>
                  </a:lnTo>
                  <a:lnTo>
                    <a:pt x="12" y="26"/>
                  </a:lnTo>
                  <a:lnTo>
                    <a:pt x="12" y="26"/>
                  </a:lnTo>
                  <a:lnTo>
                    <a:pt x="12" y="22"/>
                  </a:lnTo>
                  <a:lnTo>
                    <a:pt x="12" y="22"/>
                  </a:lnTo>
                  <a:lnTo>
                    <a:pt x="8" y="22"/>
                  </a:lnTo>
                  <a:lnTo>
                    <a:pt x="8" y="22"/>
                  </a:lnTo>
                  <a:lnTo>
                    <a:pt x="8" y="22"/>
                  </a:lnTo>
                  <a:lnTo>
                    <a:pt x="8" y="22"/>
                  </a:lnTo>
                  <a:lnTo>
                    <a:pt x="8" y="22"/>
                  </a:lnTo>
                  <a:lnTo>
                    <a:pt x="8" y="22"/>
                  </a:lnTo>
                  <a:lnTo>
                    <a:pt x="8" y="18"/>
                  </a:lnTo>
                  <a:lnTo>
                    <a:pt x="8" y="14"/>
                  </a:lnTo>
                  <a:lnTo>
                    <a:pt x="8" y="14"/>
                  </a:lnTo>
                  <a:lnTo>
                    <a:pt x="8" y="14"/>
                  </a:lnTo>
                  <a:lnTo>
                    <a:pt x="8" y="14"/>
                  </a:lnTo>
                  <a:lnTo>
                    <a:pt x="8" y="14"/>
                  </a:lnTo>
                  <a:lnTo>
                    <a:pt x="8" y="14"/>
                  </a:lnTo>
                  <a:lnTo>
                    <a:pt x="8" y="14"/>
                  </a:lnTo>
                  <a:lnTo>
                    <a:pt x="8" y="10"/>
                  </a:lnTo>
                  <a:lnTo>
                    <a:pt x="8" y="10"/>
                  </a:lnTo>
                  <a:lnTo>
                    <a:pt x="8" y="10"/>
                  </a:lnTo>
                  <a:lnTo>
                    <a:pt x="12" y="10"/>
                  </a:lnTo>
                  <a:lnTo>
                    <a:pt x="12" y="10"/>
                  </a:lnTo>
                  <a:lnTo>
                    <a:pt x="12" y="10"/>
                  </a:lnTo>
                  <a:lnTo>
                    <a:pt x="12" y="10"/>
                  </a:lnTo>
                  <a:lnTo>
                    <a:pt x="12" y="10"/>
                  </a:lnTo>
                  <a:lnTo>
                    <a:pt x="12" y="10"/>
                  </a:lnTo>
                  <a:lnTo>
                    <a:pt x="12" y="10"/>
                  </a:lnTo>
                  <a:lnTo>
                    <a:pt x="12" y="8"/>
                  </a:lnTo>
                  <a:lnTo>
                    <a:pt x="16" y="8"/>
                  </a:lnTo>
                  <a:lnTo>
                    <a:pt x="16" y="8"/>
                  </a:lnTo>
                  <a:lnTo>
                    <a:pt x="16" y="8"/>
                  </a:lnTo>
                  <a:lnTo>
                    <a:pt x="16" y="8"/>
                  </a:lnTo>
                  <a:lnTo>
                    <a:pt x="16" y="8"/>
                  </a:lnTo>
                  <a:lnTo>
                    <a:pt x="20" y="8"/>
                  </a:lnTo>
                  <a:lnTo>
                    <a:pt x="20" y="8"/>
                  </a:lnTo>
                  <a:lnTo>
                    <a:pt x="20" y="8"/>
                  </a:lnTo>
                  <a:lnTo>
                    <a:pt x="20" y="8"/>
                  </a:lnTo>
                  <a:lnTo>
                    <a:pt x="24" y="8"/>
                  </a:lnTo>
                  <a:lnTo>
                    <a:pt x="24" y="10"/>
                  </a:lnTo>
                  <a:lnTo>
                    <a:pt x="24" y="10"/>
                  </a:lnTo>
                  <a:lnTo>
                    <a:pt x="24" y="10"/>
                  </a:lnTo>
                  <a:lnTo>
                    <a:pt x="24" y="10"/>
                  </a:lnTo>
                  <a:lnTo>
                    <a:pt x="24" y="10"/>
                  </a:lnTo>
                  <a:lnTo>
                    <a:pt x="24" y="10"/>
                  </a:lnTo>
                  <a:lnTo>
                    <a:pt x="26" y="10"/>
                  </a:lnTo>
                  <a:lnTo>
                    <a:pt x="26" y="10"/>
                  </a:lnTo>
                  <a:lnTo>
                    <a:pt x="26" y="10"/>
                  </a:lnTo>
                  <a:lnTo>
                    <a:pt x="26" y="10"/>
                  </a:lnTo>
                  <a:lnTo>
                    <a:pt x="26" y="8"/>
                  </a:lnTo>
                  <a:lnTo>
                    <a:pt x="26" y="8"/>
                  </a:lnTo>
                  <a:lnTo>
                    <a:pt x="26" y="8"/>
                  </a:lnTo>
                  <a:lnTo>
                    <a:pt x="30" y="8"/>
                  </a:lnTo>
                  <a:lnTo>
                    <a:pt x="30" y="8"/>
                  </a:lnTo>
                  <a:lnTo>
                    <a:pt x="30" y="8"/>
                  </a:lnTo>
                  <a:lnTo>
                    <a:pt x="30" y="8"/>
                  </a:lnTo>
                  <a:lnTo>
                    <a:pt x="30" y="4"/>
                  </a:lnTo>
                  <a:lnTo>
                    <a:pt x="30" y="4"/>
                  </a:lnTo>
                  <a:lnTo>
                    <a:pt x="30" y="4"/>
                  </a:lnTo>
                  <a:lnTo>
                    <a:pt x="30" y="4"/>
                  </a:lnTo>
                  <a:lnTo>
                    <a:pt x="30" y="4"/>
                  </a:lnTo>
                  <a:lnTo>
                    <a:pt x="30" y="4"/>
                  </a:lnTo>
                  <a:lnTo>
                    <a:pt x="30" y="4"/>
                  </a:lnTo>
                  <a:lnTo>
                    <a:pt x="30" y="4"/>
                  </a:lnTo>
                  <a:lnTo>
                    <a:pt x="30" y="4"/>
                  </a:lnTo>
                  <a:lnTo>
                    <a:pt x="30" y="4"/>
                  </a:lnTo>
                  <a:lnTo>
                    <a:pt x="34" y="4"/>
                  </a:lnTo>
                  <a:lnTo>
                    <a:pt x="34" y="4"/>
                  </a:lnTo>
                  <a:lnTo>
                    <a:pt x="34" y="4"/>
                  </a:lnTo>
                  <a:lnTo>
                    <a:pt x="34" y="0"/>
                  </a:lnTo>
                  <a:lnTo>
                    <a:pt x="34" y="0"/>
                  </a:lnTo>
                  <a:lnTo>
                    <a:pt x="34" y="0"/>
                  </a:lnTo>
                  <a:lnTo>
                    <a:pt x="38" y="4"/>
                  </a:lnTo>
                  <a:lnTo>
                    <a:pt x="34" y="4"/>
                  </a:lnTo>
                  <a:lnTo>
                    <a:pt x="38" y="4"/>
                  </a:lnTo>
                  <a:lnTo>
                    <a:pt x="38" y="8"/>
                  </a:lnTo>
                  <a:lnTo>
                    <a:pt x="38" y="8"/>
                  </a:lnTo>
                  <a:lnTo>
                    <a:pt x="38" y="8"/>
                  </a:lnTo>
                  <a:lnTo>
                    <a:pt x="34" y="8"/>
                  </a:lnTo>
                  <a:lnTo>
                    <a:pt x="38" y="10"/>
                  </a:lnTo>
                  <a:lnTo>
                    <a:pt x="38" y="10"/>
                  </a:lnTo>
                  <a:lnTo>
                    <a:pt x="38" y="10"/>
                  </a:lnTo>
                  <a:lnTo>
                    <a:pt x="38" y="10"/>
                  </a:lnTo>
                  <a:lnTo>
                    <a:pt x="38" y="10"/>
                  </a:lnTo>
                  <a:lnTo>
                    <a:pt x="38" y="10"/>
                  </a:lnTo>
                  <a:lnTo>
                    <a:pt x="38" y="8"/>
                  </a:lnTo>
                  <a:lnTo>
                    <a:pt x="38" y="8"/>
                  </a:lnTo>
                  <a:lnTo>
                    <a:pt x="42" y="8"/>
                  </a:lnTo>
                  <a:lnTo>
                    <a:pt x="42" y="8"/>
                  </a:lnTo>
                  <a:lnTo>
                    <a:pt x="42" y="8"/>
                  </a:lnTo>
                  <a:lnTo>
                    <a:pt x="42" y="8"/>
                  </a:lnTo>
                  <a:lnTo>
                    <a:pt x="42" y="8"/>
                  </a:lnTo>
                  <a:lnTo>
                    <a:pt x="42" y="8"/>
                  </a:lnTo>
                  <a:lnTo>
                    <a:pt x="42" y="8"/>
                  </a:lnTo>
                  <a:lnTo>
                    <a:pt x="46" y="4"/>
                  </a:lnTo>
                  <a:lnTo>
                    <a:pt x="46" y="8"/>
                  </a:lnTo>
                  <a:lnTo>
                    <a:pt x="46" y="8"/>
                  </a:lnTo>
                  <a:lnTo>
                    <a:pt x="46" y="8"/>
                  </a:lnTo>
                  <a:lnTo>
                    <a:pt x="46" y="8"/>
                  </a:lnTo>
                  <a:lnTo>
                    <a:pt x="50" y="8"/>
                  </a:lnTo>
                  <a:lnTo>
                    <a:pt x="50" y="8"/>
                  </a:lnTo>
                  <a:lnTo>
                    <a:pt x="50" y="8"/>
                  </a:lnTo>
                  <a:lnTo>
                    <a:pt x="50" y="8"/>
                  </a:lnTo>
                  <a:lnTo>
                    <a:pt x="50" y="8"/>
                  </a:lnTo>
                  <a:lnTo>
                    <a:pt x="52" y="8"/>
                  </a:lnTo>
                  <a:lnTo>
                    <a:pt x="52" y="10"/>
                  </a:lnTo>
                  <a:lnTo>
                    <a:pt x="52" y="14"/>
                  </a:lnTo>
                  <a:lnTo>
                    <a:pt x="56" y="14"/>
                  </a:lnTo>
                  <a:lnTo>
                    <a:pt x="56" y="14"/>
                  </a:lnTo>
                  <a:lnTo>
                    <a:pt x="56" y="18"/>
                  </a:lnTo>
                  <a:lnTo>
                    <a:pt x="56" y="18"/>
                  </a:lnTo>
                  <a:lnTo>
                    <a:pt x="56" y="18"/>
                  </a:lnTo>
                  <a:lnTo>
                    <a:pt x="56" y="18"/>
                  </a:lnTo>
                  <a:lnTo>
                    <a:pt x="56" y="18"/>
                  </a:lnTo>
                  <a:lnTo>
                    <a:pt x="60" y="18"/>
                  </a:lnTo>
                  <a:lnTo>
                    <a:pt x="60" y="18"/>
                  </a:lnTo>
                  <a:lnTo>
                    <a:pt x="60" y="18"/>
                  </a:lnTo>
                  <a:lnTo>
                    <a:pt x="64" y="18"/>
                  </a:lnTo>
                  <a:lnTo>
                    <a:pt x="64" y="18"/>
                  </a:lnTo>
                  <a:lnTo>
                    <a:pt x="64" y="18"/>
                  </a:lnTo>
                  <a:lnTo>
                    <a:pt x="64" y="18"/>
                  </a:lnTo>
                  <a:lnTo>
                    <a:pt x="64" y="18"/>
                  </a:lnTo>
                  <a:lnTo>
                    <a:pt x="64" y="18"/>
                  </a:lnTo>
                  <a:lnTo>
                    <a:pt x="64" y="14"/>
                  </a:lnTo>
                  <a:lnTo>
                    <a:pt x="68" y="14"/>
                  </a:lnTo>
                  <a:lnTo>
                    <a:pt x="68" y="14"/>
                  </a:lnTo>
                  <a:lnTo>
                    <a:pt x="68" y="14"/>
                  </a:lnTo>
                  <a:lnTo>
                    <a:pt x="68" y="14"/>
                  </a:lnTo>
                  <a:lnTo>
                    <a:pt x="68" y="14"/>
                  </a:lnTo>
                  <a:lnTo>
                    <a:pt x="72" y="14"/>
                  </a:lnTo>
                  <a:lnTo>
                    <a:pt x="72" y="14"/>
                  </a:lnTo>
                  <a:lnTo>
                    <a:pt x="72" y="14"/>
                  </a:lnTo>
                  <a:lnTo>
                    <a:pt x="76" y="14"/>
                  </a:lnTo>
                  <a:lnTo>
                    <a:pt x="78" y="14"/>
                  </a:lnTo>
                  <a:lnTo>
                    <a:pt x="78" y="14"/>
                  </a:lnTo>
                  <a:lnTo>
                    <a:pt x="82" y="18"/>
                  </a:lnTo>
                  <a:lnTo>
                    <a:pt x="82" y="18"/>
                  </a:lnTo>
                  <a:lnTo>
                    <a:pt x="82" y="18"/>
                  </a:lnTo>
                  <a:lnTo>
                    <a:pt x="82" y="22"/>
                  </a:lnTo>
                  <a:lnTo>
                    <a:pt x="82" y="22"/>
                  </a:lnTo>
                  <a:lnTo>
                    <a:pt x="82" y="22"/>
                  </a:lnTo>
                  <a:lnTo>
                    <a:pt x="82" y="22"/>
                  </a:lnTo>
                  <a:lnTo>
                    <a:pt x="86" y="22"/>
                  </a:lnTo>
                  <a:lnTo>
                    <a:pt x="86" y="22"/>
                  </a:lnTo>
                  <a:lnTo>
                    <a:pt x="86" y="22"/>
                  </a:lnTo>
                  <a:lnTo>
                    <a:pt x="86" y="22"/>
                  </a:lnTo>
                  <a:lnTo>
                    <a:pt x="86" y="22"/>
                  </a:lnTo>
                  <a:lnTo>
                    <a:pt x="86" y="26"/>
                  </a:lnTo>
                  <a:lnTo>
                    <a:pt x="86" y="26"/>
                  </a:lnTo>
                  <a:lnTo>
                    <a:pt x="86" y="30"/>
                  </a:lnTo>
                  <a:lnTo>
                    <a:pt x="86" y="30"/>
                  </a:lnTo>
                  <a:lnTo>
                    <a:pt x="86" y="30"/>
                  </a:lnTo>
                  <a:lnTo>
                    <a:pt x="86" y="30"/>
                  </a:lnTo>
                  <a:lnTo>
                    <a:pt x="86" y="34"/>
                  </a:lnTo>
                  <a:lnTo>
                    <a:pt x="86" y="34"/>
                  </a:lnTo>
                  <a:lnTo>
                    <a:pt x="86" y="34"/>
                  </a:lnTo>
                  <a:lnTo>
                    <a:pt x="86" y="34"/>
                  </a:lnTo>
                  <a:lnTo>
                    <a:pt x="86" y="34"/>
                  </a:lnTo>
                  <a:lnTo>
                    <a:pt x="86" y="34"/>
                  </a:lnTo>
                  <a:lnTo>
                    <a:pt x="86" y="36"/>
                  </a:lnTo>
                  <a:lnTo>
                    <a:pt x="86" y="36"/>
                  </a:lnTo>
                  <a:lnTo>
                    <a:pt x="90" y="44"/>
                  </a:lnTo>
                  <a:lnTo>
                    <a:pt x="90" y="44"/>
                  </a:lnTo>
                  <a:lnTo>
                    <a:pt x="86" y="44"/>
                  </a:lnTo>
                  <a:lnTo>
                    <a:pt x="86" y="44"/>
                  </a:lnTo>
                  <a:lnTo>
                    <a:pt x="86" y="48"/>
                  </a:lnTo>
                  <a:lnTo>
                    <a:pt x="82" y="48"/>
                  </a:lnTo>
                  <a:lnTo>
                    <a:pt x="82" y="48"/>
                  </a:lnTo>
                  <a:lnTo>
                    <a:pt x="82" y="52"/>
                  </a:lnTo>
                  <a:lnTo>
                    <a:pt x="82" y="52"/>
                  </a:lnTo>
                  <a:lnTo>
                    <a:pt x="82" y="56"/>
                  </a:lnTo>
                  <a:lnTo>
                    <a:pt x="82" y="56"/>
                  </a:lnTo>
                  <a:lnTo>
                    <a:pt x="82" y="60"/>
                  </a:lnTo>
                  <a:lnTo>
                    <a:pt x="82" y="62"/>
                  </a:lnTo>
                  <a:lnTo>
                    <a:pt x="78" y="62"/>
                  </a:lnTo>
                  <a:lnTo>
                    <a:pt x="78" y="62"/>
                  </a:lnTo>
                  <a:lnTo>
                    <a:pt x="78" y="66"/>
                  </a:lnTo>
                  <a:lnTo>
                    <a:pt x="78" y="70"/>
                  </a:lnTo>
                  <a:lnTo>
                    <a:pt x="78" y="70"/>
                  </a:lnTo>
                  <a:lnTo>
                    <a:pt x="78" y="70"/>
                  </a:lnTo>
                  <a:lnTo>
                    <a:pt x="78" y="70"/>
                  </a:lnTo>
                  <a:lnTo>
                    <a:pt x="78" y="70"/>
                  </a:lnTo>
                  <a:lnTo>
                    <a:pt x="78" y="74"/>
                  </a:lnTo>
                  <a:lnTo>
                    <a:pt x="78" y="78"/>
                  </a:lnTo>
                  <a:lnTo>
                    <a:pt x="78" y="78"/>
                  </a:lnTo>
                  <a:lnTo>
                    <a:pt x="78" y="78"/>
                  </a:lnTo>
                  <a:lnTo>
                    <a:pt x="78" y="78"/>
                  </a:lnTo>
                  <a:lnTo>
                    <a:pt x="78" y="78"/>
                  </a:lnTo>
                  <a:lnTo>
                    <a:pt x="78" y="78"/>
                  </a:lnTo>
                  <a:lnTo>
                    <a:pt x="78" y="82"/>
                  </a:lnTo>
                  <a:lnTo>
                    <a:pt x="82" y="86"/>
                  </a:lnTo>
                  <a:lnTo>
                    <a:pt x="82" y="86"/>
                  </a:lnTo>
                  <a:lnTo>
                    <a:pt x="82" y="88"/>
                  </a:lnTo>
                  <a:lnTo>
                    <a:pt x="82" y="88"/>
                  </a:lnTo>
                  <a:lnTo>
                    <a:pt x="82" y="88"/>
                  </a:lnTo>
                  <a:lnTo>
                    <a:pt x="82" y="88"/>
                  </a:lnTo>
                  <a:lnTo>
                    <a:pt x="82" y="88"/>
                  </a:lnTo>
                  <a:lnTo>
                    <a:pt x="82" y="88"/>
                  </a:lnTo>
                  <a:lnTo>
                    <a:pt x="86" y="88"/>
                  </a:lnTo>
                  <a:lnTo>
                    <a:pt x="86" y="92"/>
                  </a:lnTo>
                  <a:lnTo>
                    <a:pt x="82" y="92"/>
                  </a:lnTo>
                  <a:lnTo>
                    <a:pt x="82" y="92"/>
                  </a:lnTo>
                  <a:lnTo>
                    <a:pt x="86" y="96"/>
                  </a:lnTo>
                  <a:lnTo>
                    <a:pt x="86" y="96"/>
                  </a:lnTo>
                  <a:lnTo>
                    <a:pt x="86" y="96"/>
                  </a:lnTo>
                  <a:lnTo>
                    <a:pt x="86" y="96"/>
                  </a:lnTo>
                  <a:lnTo>
                    <a:pt x="86" y="96"/>
                  </a:lnTo>
                  <a:lnTo>
                    <a:pt x="82" y="96"/>
                  </a:lnTo>
                  <a:lnTo>
                    <a:pt x="82" y="96"/>
                  </a:lnTo>
                  <a:lnTo>
                    <a:pt x="82" y="96"/>
                  </a:lnTo>
                  <a:lnTo>
                    <a:pt x="82" y="96"/>
                  </a:lnTo>
                  <a:lnTo>
                    <a:pt x="82" y="96"/>
                  </a:lnTo>
                  <a:lnTo>
                    <a:pt x="82" y="96"/>
                  </a:lnTo>
                  <a:lnTo>
                    <a:pt x="82" y="96"/>
                  </a:lnTo>
                  <a:lnTo>
                    <a:pt x="82" y="96"/>
                  </a:lnTo>
                  <a:lnTo>
                    <a:pt x="78" y="96"/>
                  </a:lnTo>
                  <a:lnTo>
                    <a:pt x="78" y="96"/>
                  </a:lnTo>
                  <a:lnTo>
                    <a:pt x="78" y="96"/>
                  </a:lnTo>
                  <a:lnTo>
                    <a:pt x="78" y="92"/>
                  </a:lnTo>
                  <a:lnTo>
                    <a:pt x="78" y="92"/>
                  </a:lnTo>
                  <a:lnTo>
                    <a:pt x="78" y="92"/>
                  </a:lnTo>
                  <a:lnTo>
                    <a:pt x="78" y="92"/>
                  </a:lnTo>
                  <a:lnTo>
                    <a:pt x="78" y="92"/>
                  </a:lnTo>
                  <a:lnTo>
                    <a:pt x="78" y="92"/>
                  </a:lnTo>
                  <a:lnTo>
                    <a:pt x="78" y="92"/>
                  </a:lnTo>
                  <a:lnTo>
                    <a:pt x="78" y="96"/>
                  </a:lnTo>
                  <a:lnTo>
                    <a:pt x="78" y="96"/>
                  </a:lnTo>
                  <a:lnTo>
                    <a:pt x="76" y="96"/>
                  </a:lnTo>
                  <a:lnTo>
                    <a:pt x="76" y="96"/>
                  </a:lnTo>
                  <a:lnTo>
                    <a:pt x="76" y="96"/>
                  </a:lnTo>
                  <a:lnTo>
                    <a:pt x="76" y="96"/>
                  </a:lnTo>
                  <a:lnTo>
                    <a:pt x="76" y="96"/>
                  </a:lnTo>
                  <a:lnTo>
                    <a:pt x="76" y="96"/>
                  </a:lnTo>
                  <a:lnTo>
                    <a:pt x="76" y="96"/>
                  </a:lnTo>
                  <a:lnTo>
                    <a:pt x="72" y="96"/>
                  </a:lnTo>
                  <a:lnTo>
                    <a:pt x="72" y="96"/>
                  </a:lnTo>
                  <a:lnTo>
                    <a:pt x="72" y="96"/>
                  </a:lnTo>
                  <a:lnTo>
                    <a:pt x="68" y="96"/>
                  </a:lnTo>
                  <a:lnTo>
                    <a:pt x="68" y="92"/>
                  </a:lnTo>
                  <a:lnTo>
                    <a:pt x="68" y="92"/>
                  </a:lnTo>
                  <a:lnTo>
                    <a:pt x="68" y="92"/>
                  </a:lnTo>
                  <a:lnTo>
                    <a:pt x="68" y="92"/>
                  </a:lnTo>
                  <a:lnTo>
                    <a:pt x="68" y="92"/>
                  </a:lnTo>
                  <a:lnTo>
                    <a:pt x="72" y="92"/>
                  </a:lnTo>
                  <a:lnTo>
                    <a:pt x="72" y="92"/>
                  </a:lnTo>
                  <a:lnTo>
                    <a:pt x="72" y="92"/>
                  </a:lnTo>
                  <a:lnTo>
                    <a:pt x="72" y="92"/>
                  </a:lnTo>
                  <a:lnTo>
                    <a:pt x="72" y="92"/>
                  </a:lnTo>
                  <a:lnTo>
                    <a:pt x="72" y="92"/>
                  </a:lnTo>
                  <a:lnTo>
                    <a:pt x="72" y="92"/>
                  </a:lnTo>
                  <a:lnTo>
                    <a:pt x="72" y="92"/>
                  </a:lnTo>
                  <a:lnTo>
                    <a:pt x="72" y="92"/>
                  </a:lnTo>
                  <a:lnTo>
                    <a:pt x="72" y="92"/>
                  </a:lnTo>
                  <a:lnTo>
                    <a:pt x="68" y="92"/>
                  </a:lnTo>
                  <a:lnTo>
                    <a:pt x="68" y="92"/>
                  </a:lnTo>
                  <a:lnTo>
                    <a:pt x="68" y="92"/>
                  </a:lnTo>
                  <a:lnTo>
                    <a:pt x="64" y="92"/>
                  </a:lnTo>
                  <a:lnTo>
                    <a:pt x="60" y="92"/>
                  </a:lnTo>
                  <a:lnTo>
                    <a:pt x="60" y="92"/>
                  </a:lnTo>
                  <a:lnTo>
                    <a:pt x="60" y="92"/>
                  </a:lnTo>
                  <a:lnTo>
                    <a:pt x="60" y="92"/>
                  </a:lnTo>
                  <a:lnTo>
                    <a:pt x="56" y="96"/>
                  </a:lnTo>
                  <a:lnTo>
                    <a:pt x="56" y="96"/>
                  </a:lnTo>
                  <a:lnTo>
                    <a:pt x="56" y="96"/>
                  </a:lnTo>
                  <a:lnTo>
                    <a:pt x="56" y="96"/>
                  </a:lnTo>
                  <a:lnTo>
                    <a:pt x="56" y="96"/>
                  </a:lnTo>
                  <a:lnTo>
                    <a:pt x="56" y="96"/>
                  </a:lnTo>
                  <a:lnTo>
                    <a:pt x="56" y="96"/>
                  </a:lnTo>
                  <a:lnTo>
                    <a:pt x="60" y="96"/>
                  </a:lnTo>
                  <a:lnTo>
                    <a:pt x="60" y="96"/>
                  </a:lnTo>
                  <a:lnTo>
                    <a:pt x="60" y="96"/>
                  </a:lnTo>
                  <a:lnTo>
                    <a:pt x="60" y="96"/>
                  </a:lnTo>
                  <a:lnTo>
                    <a:pt x="60" y="96"/>
                  </a:lnTo>
                  <a:lnTo>
                    <a:pt x="64" y="92"/>
                  </a:lnTo>
                  <a:lnTo>
                    <a:pt x="64" y="92"/>
                  </a:lnTo>
                  <a:lnTo>
                    <a:pt x="64" y="92"/>
                  </a:lnTo>
                  <a:lnTo>
                    <a:pt x="64" y="92"/>
                  </a:lnTo>
                  <a:lnTo>
                    <a:pt x="64" y="92"/>
                  </a:lnTo>
                  <a:lnTo>
                    <a:pt x="68" y="92"/>
                  </a:lnTo>
                  <a:lnTo>
                    <a:pt x="68" y="96"/>
                  </a:lnTo>
                  <a:lnTo>
                    <a:pt x="64" y="96"/>
                  </a:lnTo>
                  <a:lnTo>
                    <a:pt x="64" y="96"/>
                  </a:lnTo>
                  <a:lnTo>
                    <a:pt x="64" y="96"/>
                  </a:lnTo>
                  <a:lnTo>
                    <a:pt x="60" y="96"/>
                  </a:lnTo>
                  <a:lnTo>
                    <a:pt x="56" y="96"/>
                  </a:lnTo>
                  <a:lnTo>
                    <a:pt x="56" y="96"/>
                  </a:lnTo>
                  <a:lnTo>
                    <a:pt x="56" y="96"/>
                  </a:lnTo>
                  <a:lnTo>
                    <a:pt x="56" y="96"/>
                  </a:lnTo>
                  <a:lnTo>
                    <a:pt x="56" y="96"/>
                  </a:lnTo>
                  <a:lnTo>
                    <a:pt x="56" y="96"/>
                  </a:lnTo>
                  <a:lnTo>
                    <a:pt x="56" y="96"/>
                  </a:lnTo>
                  <a:lnTo>
                    <a:pt x="56" y="96"/>
                  </a:lnTo>
                  <a:lnTo>
                    <a:pt x="52" y="96"/>
                  </a:lnTo>
                  <a:lnTo>
                    <a:pt x="52" y="96"/>
                  </a:lnTo>
                  <a:lnTo>
                    <a:pt x="52" y="96"/>
                  </a:lnTo>
                  <a:lnTo>
                    <a:pt x="52" y="96"/>
                  </a:lnTo>
                  <a:lnTo>
                    <a:pt x="52" y="96"/>
                  </a:lnTo>
                  <a:lnTo>
                    <a:pt x="52" y="96"/>
                  </a:lnTo>
                  <a:lnTo>
                    <a:pt x="52" y="96"/>
                  </a:lnTo>
                  <a:lnTo>
                    <a:pt x="52" y="96"/>
                  </a:lnTo>
                  <a:lnTo>
                    <a:pt x="50" y="96"/>
                  </a:lnTo>
                  <a:lnTo>
                    <a:pt x="50" y="96"/>
                  </a:lnTo>
                  <a:lnTo>
                    <a:pt x="50" y="96"/>
                  </a:lnTo>
                  <a:lnTo>
                    <a:pt x="50" y="96"/>
                  </a:lnTo>
                  <a:lnTo>
                    <a:pt x="50" y="96"/>
                  </a:lnTo>
                  <a:lnTo>
                    <a:pt x="50" y="96"/>
                  </a:lnTo>
                  <a:lnTo>
                    <a:pt x="50" y="96"/>
                  </a:lnTo>
                  <a:lnTo>
                    <a:pt x="50" y="96"/>
                  </a:lnTo>
                  <a:lnTo>
                    <a:pt x="50" y="96"/>
                  </a:lnTo>
                  <a:lnTo>
                    <a:pt x="50" y="96"/>
                  </a:lnTo>
                  <a:close/>
                  <a:moveTo>
                    <a:pt x="78" y="96"/>
                  </a:moveTo>
                  <a:lnTo>
                    <a:pt x="78" y="96"/>
                  </a:lnTo>
                  <a:lnTo>
                    <a:pt x="78" y="96"/>
                  </a:lnTo>
                  <a:lnTo>
                    <a:pt x="78" y="96"/>
                  </a:lnTo>
                  <a:lnTo>
                    <a:pt x="78" y="96"/>
                  </a:lnTo>
                  <a:lnTo>
                    <a:pt x="78" y="96"/>
                  </a:lnTo>
                  <a:lnTo>
                    <a:pt x="78" y="9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48" name="Freeform 141"/>
            <p:cNvSpPr>
              <a:spLocks/>
            </p:cNvSpPr>
            <p:nvPr/>
          </p:nvSpPr>
          <p:spPr bwMode="auto">
            <a:xfrm>
              <a:off x="7409537" y="4017917"/>
              <a:ext cx="17583" cy="19614"/>
            </a:xfrm>
            <a:custGeom>
              <a:avLst/>
              <a:gdLst>
                <a:gd name="T0" fmla="*/ 24 w 28"/>
                <a:gd name="T1" fmla="*/ 4 h 30"/>
                <a:gd name="T2" fmla="*/ 28 w 28"/>
                <a:gd name="T3" fmla="*/ 8 h 30"/>
                <a:gd name="T4" fmla="*/ 28 w 28"/>
                <a:gd name="T5" fmla="*/ 12 h 30"/>
                <a:gd name="T6" fmla="*/ 28 w 28"/>
                <a:gd name="T7" fmla="*/ 12 h 30"/>
                <a:gd name="T8" fmla="*/ 24 w 28"/>
                <a:gd name="T9" fmla="*/ 12 h 30"/>
                <a:gd name="T10" fmla="*/ 24 w 28"/>
                <a:gd name="T11" fmla="*/ 16 h 30"/>
                <a:gd name="T12" fmla="*/ 24 w 28"/>
                <a:gd name="T13" fmla="*/ 16 h 30"/>
                <a:gd name="T14" fmla="*/ 20 w 28"/>
                <a:gd name="T15" fmla="*/ 16 h 30"/>
                <a:gd name="T16" fmla="*/ 20 w 28"/>
                <a:gd name="T17" fmla="*/ 16 h 30"/>
                <a:gd name="T18" fmla="*/ 20 w 28"/>
                <a:gd name="T19" fmla="*/ 16 h 30"/>
                <a:gd name="T20" fmla="*/ 16 w 28"/>
                <a:gd name="T21" fmla="*/ 18 h 30"/>
                <a:gd name="T22" fmla="*/ 16 w 28"/>
                <a:gd name="T23" fmla="*/ 18 h 30"/>
                <a:gd name="T24" fmla="*/ 16 w 28"/>
                <a:gd name="T25" fmla="*/ 18 h 30"/>
                <a:gd name="T26" fmla="*/ 12 w 28"/>
                <a:gd name="T27" fmla="*/ 18 h 30"/>
                <a:gd name="T28" fmla="*/ 12 w 28"/>
                <a:gd name="T29" fmla="*/ 18 h 30"/>
                <a:gd name="T30" fmla="*/ 16 w 28"/>
                <a:gd name="T31" fmla="*/ 22 h 30"/>
                <a:gd name="T32" fmla="*/ 16 w 28"/>
                <a:gd name="T33" fmla="*/ 22 h 30"/>
                <a:gd name="T34" fmla="*/ 16 w 28"/>
                <a:gd name="T35" fmla="*/ 18 h 30"/>
                <a:gd name="T36" fmla="*/ 20 w 28"/>
                <a:gd name="T37" fmla="*/ 18 h 30"/>
                <a:gd name="T38" fmla="*/ 20 w 28"/>
                <a:gd name="T39" fmla="*/ 18 h 30"/>
                <a:gd name="T40" fmla="*/ 20 w 28"/>
                <a:gd name="T41" fmla="*/ 18 h 30"/>
                <a:gd name="T42" fmla="*/ 20 w 28"/>
                <a:gd name="T43" fmla="*/ 18 h 30"/>
                <a:gd name="T44" fmla="*/ 24 w 28"/>
                <a:gd name="T45" fmla="*/ 18 h 30"/>
                <a:gd name="T46" fmla="*/ 24 w 28"/>
                <a:gd name="T47" fmla="*/ 22 h 30"/>
                <a:gd name="T48" fmla="*/ 24 w 28"/>
                <a:gd name="T49" fmla="*/ 22 h 30"/>
                <a:gd name="T50" fmla="*/ 24 w 28"/>
                <a:gd name="T51" fmla="*/ 26 h 30"/>
                <a:gd name="T52" fmla="*/ 20 w 28"/>
                <a:gd name="T53" fmla="*/ 30 h 30"/>
                <a:gd name="T54" fmla="*/ 20 w 28"/>
                <a:gd name="T55" fmla="*/ 30 h 30"/>
                <a:gd name="T56" fmla="*/ 16 w 28"/>
                <a:gd name="T57" fmla="*/ 30 h 30"/>
                <a:gd name="T58" fmla="*/ 16 w 28"/>
                <a:gd name="T59" fmla="*/ 30 h 30"/>
                <a:gd name="T60" fmla="*/ 16 w 28"/>
                <a:gd name="T61" fmla="*/ 30 h 30"/>
                <a:gd name="T62" fmla="*/ 16 w 28"/>
                <a:gd name="T63" fmla="*/ 30 h 30"/>
                <a:gd name="T64" fmla="*/ 12 w 28"/>
                <a:gd name="T65" fmla="*/ 30 h 30"/>
                <a:gd name="T66" fmla="*/ 8 w 28"/>
                <a:gd name="T67" fmla="*/ 30 h 30"/>
                <a:gd name="T68" fmla="*/ 8 w 28"/>
                <a:gd name="T69" fmla="*/ 30 h 30"/>
                <a:gd name="T70" fmla="*/ 4 w 28"/>
                <a:gd name="T71" fmla="*/ 30 h 30"/>
                <a:gd name="T72" fmla="*/ 4 w 28"/>
                <a:gd name="T73" fmla="*/ 30 h 30"/>
                <a:gd name="T74" fmla="*/ 4 w 28"/>
                <a:gd name="T75" fmla="*/ 30 h 30"/>
                <a:gd name="T76" fmla="*/ 4 w 28"/>
                <a:gd name="T77" fmla="*/ 30 h 30"/>
                <a:gd name="T78" fmla="*/ 4 w 28"/>
                <a:gd name="T79" fmla="*/ 26 h 30"/>
                <a:gd name="T80" fmla="*/ 4 w 28"/>
                <a:gd name="T81" fmla="*/ 26 h 30"/>
                <a:gd name="T82" fmla="*/ 0 w 28"/>
                <a:gd name="T83" fmla="*/ 22 h 30"/>
                <a:gd name="T84" fmla="*/ 4 w 28"/>
                <a:gd name="T85" fmla="*/ 18 h 30"/>
                <a:gd name="T86" fmla="*/ 4 w 28"/>
                <a:gd name="T87" fmla="*/ 16 h 30"/>
                <a:gd name="T88" fmla="*/ 8 w 28"/>
                <a:gd name="T89" fmla="*/ 12 h 30"/>
                <a:gd name="T90" fmla="*/ 8 w 28"/>
                <a:gd name="T91" fmla="*/ 12 h 30"/>
                <a:gd name="T92" fmla="*/ 8 w 28"/>
                <a:gd name="T93" fmla="*/ 8 h 30"/>
                <a:gd name="T94" fmla="*/ 12 w 28"/>
                <a:gd name="T95" fmla="*/ 8 h 30"/>
                <a:gd name="T96" fmla="*/ 12 w 28"/>
                <a:gd name="T97" fmla="*/ 4 h 30"/>
                <a:gd name="T98" fmla="*/ 12 w 28"/>
                <a:gd name="T99" fmla="*/ 4 h 30"/>
                <a:gd name="T100" fmla="*/ 12 w 28"/>
                <a:gd name="T101" fmla="*/ 4 h 30"/>
                <a:gd name="T102" fmla="*/ 16 w 28"/>
                <a:gd name="T103" fmla="*/ 4 h 30"/>
                <a:gd name="T104" fmla="*/ 16 w 28"/>
                <a:gd name="T105" fmla="*/ 4 h 30"/>
                <a:gd name="T106" fmla="*/ 16 w 28"/>
                <a:gd name="T107" fmla="*/ 8 h 30"/>
                <a:gd name="T108" fmla="*/ 16 w 28"/>
                <a:gd name="T109" fmla="*/ 4 h 30"/>
                <a:gd name="T110" fmla="*/ 20 w 28"/>
                <a:gd name="T111" fmla="*/ 0 h 30"/>
                <a:gd name="T112" fmla="*/ 24 w 28"/>
                <a:gd name="T113" fmla="*/ 0 h 30"/>
                <a:gd name="T114" fmla="*/ 24 w 28"/>
                <a:gd name="T115" fmla="*/ 4 h 30"/>
                <a:gd name="T116" fmla="*/ 24 w 28"/>
                <a:gd name="T117" fmla="*/ 4 h 30"/>
                <a:gd name="T118" fmla="*/ 24 w 28"/>
                <a:gd name="T119"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 h="30">
                  <a:moveTo>
                    <a:pt x="24" y="4"/>
                  </a:moveTo>
                  <a:lnTo>
                    <a:pt x="24" y="4"/>
                  </a:lnTo>
                  <a:lnTo>
                    <a:pt x="28" y="8"/>
                  </a:lnTo>
                  <a:lnTo>
                    <a:pt x="28" y="8"/>
                  </a:lnTo>
                  <a:lnTo>
                    <a:pt x="28" y="8"/>
                  </a:lnTo>
                  <a:lnTo>
                    <a:pt x="28" y="12"/>
                  </a:lnTo>
                  <a:lnTo>
                    <a:pt x="28" y="12"/>
                  </a:lnTo>
                  <a:lnTo>
                    <a:pt x="28" y="12"/>
                  </a:lnTo>
                  <a:lnTo>
                    <a:pt x="28" y="12"/>
                  </a:lnTo>
                  <a:lnTo>
                    <a:pt x="24" y="12"/>
                  </a:lnTo>
                  <a:lnTo>
                    <a:pt x="24" y="16"/>
                  </a:lnTo>
                  <a:lnTo>
                    <a:pt x="24" y="16"/>
                  </a:lnTo>
                  <a:lnTo>
                    <a:pt x="24" y="16"/>
                  </a:lnTo>
                  <a:lnTo>
                    <a:pt x="24" y="16"/>
                  </a:lnTo>
                  <a:lnTo>
                    <a:pt x="24" y="16"/>
                  </a:lnTo>
                  <a:lnTo>
                    <a:pt x="20" y="16"/>
                  </a:lnTo>
                  <a:lnTo>
                    <a:pt x="20" y="16"/>
                  </a:lnTo>
                  <a:lnTo>
                    <a:pt x="20" y="16"/>
                  </a:lnTo>
                  <a:lnTo>
                    <a:pt x="20" y="16"/>
                  </a:lnTo>
                  <a:lnTo>
                    <a:pt x="20" y="16"/>
                  </a:lnTo>
                  <a:lnTo>
                    <a:pt x="16" y="18"/>
                  </a:lnTo>
                  <a:lnTo>
                    <a:pt x="16" y="18"/>
                  </a:lnTo>
                  <a:lnTo>
                    <a:pt x="16" y="18"/>
                  </a:lnTo>
                  <a:lnTo>
                    <a:pt x="16" y="18"/>
                  </a:lnTo>
                  <a:lnTo>
                    <a:pt x="16" y="18"/>
                  </a:lnTo>
                  <a:lnTo>
                    <a:pt x="16" y="18"/>
                  </a:lnTo>
                  <a:lnTo>
                    <a:pt x="16" y="18"/>
                  </a:lnTo>
                  <a:lnTo>
                    <a:pt x="12" y="18"/>
                  </a:lnTo>
                  <a:lnTo>
                    <a:pt x="12" y="18"/>
                  </a:lnTo>
                  <a:lnTo>
                    <a:pt x="12" y="18"/>
                  </a:lnTo>
                  <a:lnTo>
                    <a:pt x="12" y="22"/>
                  </a:lnTo>
                  <a:lnTo>
                    <a:pt x="16" y="22"/>
                  </a:lnTo>
                  <a:lnTo>
                    <a:pt x="16" y="22"/>
                  </a:lnTo>
                  <a:lnTo>
                    <a:pt x="16" y="22"/>
                  </a:lnTo>
                  <a:lnTo>
                    <a:pt x="16" y="22"/>
                  </a:lnTo>
                  <a:lnTo>
                    <a:pt x="16" y="18"/>
                  </a:lnTo>
                  <a:lnTo>
                    <a:pt x="16" y="18"/>
                  </a:lnTo>
                  <a:lnTo>
                    <a:pt x="20" y="18"/>
                  </a:lnTo>
                  <a:lnTo>
                    <a:pt x="20" y="18"/>
                  </a:lnTo>
                  <a:lnTo>
                    <a:pt x="20" y="18"/>
                  </a:lnTo>
                  <a:lnTo>
                    <a:pt x="20" y="18"/>
                  </a:lnTo>
                  <a:lnTo>
                    <a:pt x="20" y="18"/>
                  </a:lnTo>
                  <a:lnTo>
                    <a:pt x="20" y="18"/>
                  </a:lnTo>
                  <a:lnTo>
                    <a:pt x="20" y="18"/>
                  </a:lnTo>
                  <a:lnTo>
                    <a:pt x="24" y="18"/>
                  </a:lnTo>
                  <a:lnTo>
                    <a:pt x="24" y="18"/>
                  </a:lnTo>
                  <a:lnTo>
                    <a:pt x="24" y="22"/>
                  </a:lnTo>
                  <a:lnTo>
                    <a:pt x="24" y="22"/>
                  </a:lnTo>
                  <a:lnTo>
                    <a:pt x="24" y="22"/>
                  </a:lnTo>
                  <a:lnTo>
                    <a:pt x="24" y="22"/>
                  </a:lnTo>
                  <a:lnTo>
                    <a:pt x="24" y="22"/>
                  </a:lnTo>
                  <a:lnTo>
                    <a:pt x="24" y="26"/>
                  </a:lnTo>
                  <a:lnTo>
                    <a:pt x="20" y="26"/>
                  </a:lnTo>
                  <a:lnTo>
                    <a:pt x="20" y="30"/>
                  </a:lnTo>
                  <a:lnTo>
                    <a:pt x="20" y="30"/>
                  </a:lnTo>
                  <a:lnTo>
                    <a:pt x="20" y="30"/>
                  </a:lnTo>
                  <a:lnTo>
                    <a:pt x="20" y="30"/>
                  </a:lnTo>
                  <a:lnTo>
                    <a:pt x="16" y="30"/>
                  </a:lnTo>
                  <a:lnTo>
                    <a:pt x="16" y="30"/>
                  </a:lnTo>
                  <a:lnTo>
                    <a:pt x="16" y="30"/>
                  </a:lnTo>
                  <a:lnTo>
                    <a:pt x="16" y="30"/>
                  </a:lnTo>
                  <a:lnTo>
                    <a:pt x="16" y="30"/>
                  </a:lnTo>
                  <a:lnTo>
                    <a:pt x="16" y="30"/>
                  </a:lnTo>
                  <a:lnTo>
                    <a:pt x="16" y="30"/>
                  </a:lnTo>
                  <a:lnTo>
                    <a:pt x="12" y="30"/>
                  </a:lnTo>
                  <a:lnTo>
                    <a:pt x="12" y="30"/>
                  </a:lnTo>
                  <a:lnTo>
                    <a:pt x="12" y="30"/>
                  </a:lnTo>
                  <a:lnTo>
                    <a:pt x="8" y="30"/>
                  </a:lnTo>
                  <a:lnTo>
                    <a:pt x="8" y="30"/>
                  </a:lnTo>
                  <a:lnTo>
                    <a:pt x="8" y="30"/>
                  </a:lnTo>
                  <a:lnTo>
                    <a:pt x="4" y="30"/>
                  </a:lnTo>
                  <a:lnTo>
                    <a:pt x="4" y="30"/>
                  </a:lnTo>
                  <a:lnTo>
                    <a:pt x="4" y="30"/>
                  </a:lnTo>
                  <a:lnTo>
                    <a:pt x="4" y="30"/>
                  </a:lnTo>
                  <a:lnTo>
                    <a:pt x="4" y="30"/>
                  </a:lnTo>
                  <a:lnTo>
                    <a:pt x="4" y="30"/>
                  </a:lnTo>
                  <a:lnTo>
                    <a:pt x="4" y="30"/>
                  </a:lnTo>
                  <a:lnTo>
                    <a:pt x="4" y="30"/>
                  </a:lnTo>
                  <a:lnTo>
                    <a:pt x="4" y="30"/>
                  </a:lnTo>
                  <a:lnTo>
                    <a:pt x="4" y="26"/>
                  </a:lnTo>
                  <a:lnTo>
                    <a:pt x="4" y="26"/>
                  </a:lnTo>
                  <a:lnTo>
                    <a:pt x="4" y="26"/>
                  </a:lnTo>
                  <a:lnTo>
                    <a:pt x="4" y="22"/>
                  </a:lnTo>
                  <a:lnTo>
                    <a:pt x="0" y="22"/>
                  </a:lnTo>
                  <a:lnTo>
                    <a:pt x="4" y="18"/>
                  </a:lnTo>
                  <a:lnTo>
                    <a:pt x="4" y="18"/>
                  </a:lnTo>
                  <a:lnTo>
                    <a:pt x="4" y="16"/>
                  </a:lnTo>
                  <a:lnTo>
                    <a:pt x="4" y="16"/>
                  </a:lnTo>
                  <a:lnTo>
                    <a:pt x="4" y="16"/>
                  </a:lnTo>
                  <a:lnTo>
                    <a:pt x="8" y="12"/>
                  </a:lnTo>
                  <a:lnTo>
                    <a:pt x="8" y="12"/>
                  </a:lnTo>
                  <a:lnTo>
                    <a:pt x="8" y="12"/>
                  </a:lnTo>
                  <a:lnTo>
                    <a:pt x="8" y="8"/>
                  </a:lnTo>
                  <a:lnTo>
                    <a:pt x="8" y="8"/>
                  </a:lnTo>
                  <a:lnTo>
                    <a:pt x="12" y="8"/>
                  </a:lnTo>
                  <a:lnTo>
                    <a:pt x="12" y="8"/>
                  </a:lnTo>
                  <a:lnTo>
                    <a:pt x="12" y="4"/>
                  </a:lnTo>
                  <a:lnTo>
                    <a:pt x="12" y="4"/>
                  </a:lnTo>
                  <a:lnTo>
                    <a:pt x="12" y="4"/>
                  </a:lnTo>
                  <a:lnTo>
                    <a:pt x="12" y="4"/>
                  </a:lnTo>
                  <a:lnTo>
                    <a:pt x="12" y="4"/>
                  </a:lnTo>
                  <a:lnTo>
                    <a:pt x="12" y="4"/>
                  </a:lnTo>
                  <a:lnTo>
                    <a:pt x="12" y="4"/>
                  </a:lnTo>
                  <a:lnTo>
                    <a:pt x="16" y="4"/>
                  </a:lnTo>
                  <a:lnTo>
                    <a:pt x="16" y="4"/>
                  </a:lnTo>
                  <a:lnTo>
                    <a:pt x="16" y="4"/>
                  </a:lnTo>
                  <a:lnTo>
                    <a:pt x="16" y="8"/>
                  </a:lnTo>
                  <a:lnTo>
                    <a:pt x="16" y="8"/>
                  </a:lnTo>
                  <a:lnTo>
                    <a:pt x="16" y="4"/>
                  </a:lnTo>
                  <a:lnTo>
                    <a:pt x="16" y="4"/>
                  </a:lnTo>
                  <a:lnTo>
                    <a:pt x="16" y="4"/>
                  </a:lnTo>
                  <a:lnTo>
                    <a:pt x="20" y="0"/>
                  </a:lnTo>
                  <a:lnTo>
                    <a:pt x="24" y="0"/>
                  </a:lnTo>
                  <a:lnTo>
                    <a:pt x="24" y="0"/>
                  </a:lnTo>
                  <a:lnTo>
                    <a:pt x="24" y="0"/>
                  </a:lnTo>
                  <a:lnTo>
                    <a:pt x="24" y="4"/>
                  </a:lnTo>
                  <a:lnTo>
                    <a:pt x="24" y="4"/>
                  </a:lnTo>
                  <a:lnTo>
                    <a:pt x="24" y="4"/>
                  </a:lnTo>
                  <a:lnTo>
                    <a:pt x="24" y="4"/>
                  </a:lnTo>
                  <a:lnTo>
                    <a:pt x="24" y="4"/>
                  </a:lnTo>
                  <a:lnTo>
                    <a:pt x="24" y="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49" name="Freeform 142"/>
            <p:cNvSpPr>
              <a:spLocks/>
            </p:cNvSpPr>
            <p:nvPr/>
          </p:nvSpPr>
          <p:spPr bwMode="auto">
            <a:xfrm>
              <a:off x="7260078" y="3798243"/>
              <a:ext cx="106757" cy="112452"/>
            </a:xfrm>
            <a:custGeom>
              <a:avLst/>
              <a:gdLst>
                <a:gd name="T0" fmla="*/ 108 w 170"/>
                <a:gd name="T1" fmla="*/ 8 h 172"/>
                <a:gd name="T2" fmla="*/ 118 w 170"/>
                <a:gd name="T3" fmla="*/ 12 h 172"/>
                <a:gd name="T4" fmla="*/ 130 w 170"/>
                <a:gd name="T5" fmla="*/ 8 h 172"/>
                <a:gd name="T6" fmla="*/ 138 w 170"/>
                <a:gd name="T7" fmla="*/ 18 h 172"/>
                <a:gd name="T8" fmla="*/ 142 w 170"/>
                <a:gd name="T9" fmla="*/ 34 h 172"/>
                <a:gd name="T10" fmla="*/ 142 w 170"/>
                <a:gd name="T11" fmla="*/ 48 h 172"/>
                <a:gd name="T12" fmla="*/ 138 w 170"/>
                <a:gd name="T13" fmla="*/ 64 h 172"/>
                <a:gd name="T14" fmla="*/ 130 w 170"/>
                <a:gd name="T15" fmla="*/ 68 h 172"/>
                <a:gd name="T16" fmla="*/ 122 w 170"/>
                <a:gd name="T17" fmla="*/ 60 h 172"/>
                <a:gd name="T18" fmla="*/ 114 w 170"/>
                <a:gd name="T19" fmla="*/ 46 h 172"/>
                <a:gd name="T20" fmla="*/ 112 w 170"/>
                <a:gd name="T21" fmla="*/ 30 h 172"/>
                <a:gd name="T22" fmla="*/ 112 w 170"/>
                <a:gd name="T23" fmla="*/ 42 h 172"/>
                <a:gd name="T24" fmla="*/ 114 w 170"/>
                <a:gd name="T25" fmla="*/ 52 h 172"/>
                <a:gd name="T26" fmla="*/ 122 w 170"/>
                <a:gd name="T27" fmla="*/ 64 h 172"/>
                <a:gd name="T28" fmla="*/ 122 w 170"/>
                <a:gd name="T29" fmla="*/ 72 h 172"/>
                <a:gd name="T30" fmla="*/ 126 w 170"/>
                <a:gd name="T31" fmla="*/ 82 h 172"/>
                <a:gd name="T32" fmla="*/ 134 w 170"/>
                <a:gd name="T33" fmla="*/ 98 h 172"/>
                <a:gd name="T34" fmla="*/ 142 w 170"/>
                <a:gd name="T35" fmla="*/ 112 h 172"/>
                <a:gd name="T36" fmla="*/ 144 w 170"/>
                <a:gd name="T37" fmla="*/ 124 h 172"/>
                <a:gd name="T38" fmla="*/ 152 w 170"/>
                <a:gd name="T39" fmla="*/ 134 h 172"/>
                <a:gd name="T40" fmla="*/ 152 w 170"/>
                <a:gd name="T41" fmla="*/ 142 h 172"/>
                <a:gd name="T42" fmla="*/ 152 w 170"/>
                <a:gd name="T43" fmla="*/ 158 h 172"/>
                <a:gd name="T44" fmla="*/ 164 w 170"/>
                <a:gd name="T45" fmla="*/ 164 h 172"/>
                <a:gd name="T46" fmla="*/ 170 w 170"/>
                <a:gd name="T47" fmla="*/ 172 h 172"/>
                <a:gd name="T48" fmla="*/ 156 w 170"/>
                <a:gd name="T49" fmla="*/ 172 h 172"/>
                <a:gd name="T50" fmla="*/ 142 w 170"/>
                <a:gd name="T51" fmla="*/ 172 h 172"/>
                <a:gd name="T52" fmla="*/ 122 w 170"/>
                <a:gd name="T53" fmla="*/ 172 h 172"/>
                <a:gd name="T54" fmla="*/ 100 w 170"/>
                <a:gd name="T55" fmla="*/ 172 h 172"/>
                <a:gd name="T56" fmla="*/ 92 w 170"/>
                <a:gd name="T57" fmla="*/ 168 h 172"/>
                <a:gd name="T58" fmla="*/ 82 w 170"/>
                <a:gd name="T59" fmla="*/ 172 h 172"/>
                <a:gd name="T60" fmla="*/ 62 w 170"/>
                <a:gd name="T61" fmla="*/ 172 h 172"/>
                <a:gd name="T62" fmla="*/ 42 w 170"/>
                <a:gd name="T63" fmla="*/ 172 h 172"/>
                <a:gd name="T64" fmla="*/ 26 w 170"/>
                <a:gd name="T65" fmla="*/ 172 h 172"/>
                <a:gd name="T66" fmla="*/ 4 w 170"/>
                <a:gd name="T67" fmla="*/ 172 h 172"/>
                <a:gd name="T68" fmla="*/ 4 w 170"/>
                <a:gd name="T69" fmla="*/ 130 h 172"/>
                <a:gd name="T70" fmla="*/ 4 w 170"/>
                <a:gd name="T71" fmla="*/ 102 h 172"/>
                <a:gd name="T72" fmla="*/ 4 w 170"/>
                <a:gd name="T73" fmla="*/ 82 h 172"/>
                <a:gd name="T74" fmla="*/ 4 w 170"/>
                <a:gd name="T75" fmla="*/ 64 h 172"/>
                <a:gd name="T76" fmla="*/ 4 w 170"/>
                <a:gd name="T77" fmla="*/ 42 h 172"/>
                <a:gd name="T78" fmla="*/ 0 w 170"/>
                <a:gd name="T79" fmla="*/ 26 h 172"/>
                <a:gd name="T80" fmla="*/ 4 w 170"/>
                <a:gd name="T81" fmla="*/ 12 h 172"/>
                <a:gd name="T82" fmla="*/ 4 w 170"/>
                <a:gd name="T83" fmla="*/ 0 h 172"/>
                <a:gd name="T84" fmla="*/ 18 w 170"/>
                <a:gd name="T85" fmla="*/ 0 h 172"/>
                <a:gd name="T86" fmla="*/ 30 w 170"/>
                <a:gd name="T87" fmla="*/ 4 h 172"/>
                <a:gd name="T88" fmla="*/ 42 w 170"/>
                <a:gd name="T89" fmla="*/ 8 h 172"/>
                <a:gd name="T90" fmla="*/ 56 w 170"/>
                <a:gd name="T91" fmla="*/ 12 h 172"/>
                <a:gd name="T92" fmla="*/ 70 w 170"/>
                <a:gd name="T93" fmla="*/ 12 h 172"/>
                <a:gd name="T94" fmla="*/ 74 w 170"/>
                <a:gd name="T95" fmla="*/ 8 h 172"/>
                <a:gd name="T96" fmla="*/ 78 w 170"/>
                <a:gd name="T97" fmla="*/ 4 h 172"/>
                <a:gd name="T98" fmla="*/ 86 w 170"/>
                <a:gd name="T99" fmla="*/ 4 h 172"/>
                <a:gd name="T100" fmla="*/ 88 w 170"/>
                <a:gd name="T101" fmla="*/ 0 h 172"/>
                <a:gd name="T102" fmla="*/ 100 w 170"/>
                <a:gd name="T103" fmla="*/ 4 h 172"/>
                <a:gd name="T104" fmla="*/ 100 w 170"/>
                <a:gd name="T105" fmla="*/ 4 h 172"/>
                <a:gd name="T106" fmla="*/ 104 w 170"/>
                <a:gd name="T107" fmla="*/ 1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0" h="172">
                  <a:moveTo>
                    <a:pt x="104" y="8"/>
                  </a:moveTo>
                  <a:lnTo>
                    <a:pt x="108" y="8"/>
                  </a:lnTo>
                  <a:lnTo>
                    <a:pt x="104" y="8"/>
                  </a:lnTo>
                  <a:lnTo>
                    <a:pt x="108" y="8"/>
                  </a:lnTo>
                  <a:lnTo>
                    <a:pt x="112" y="12"/>
                  </a:lnTo>
                  <a:lnTo>
                    <a:pt x="114" y="8"/>
                  </a:lnTo>
                  <a:lnTo>
                    <a:pt x="118" y="8"/>
                  </a:lnTo>
                  <a:lnTo>
                    <a:pt x="118" y="12"/>
                  </a:lnTo>
                  <a:lnTo>
                    <a:pt x="118" y="8"/>
                  </a:lnTo>
                  <a:lnTo>
                    <a:pt x="122" y="8"/>
                  </a:lnTo>
                  <a:lnTo>
                    <a:pt x="126" y="8"/>
                  </a:lnTo>
                  <a:lnTo>
                    <a:pt x="130" y="8"/>
                  </a:lnTo>
                  <a:lnTo>
                    <a:pt x="134" y="4"/>
                  </a:lnTo>
                  <a:lnTo>
                    <a:pt x="134" y="8"/>
                  </a:lnTo>
                  <a:lnTo>
                    <a:pt x="138" y="16"/>
                  </a:lnTo>
                  <a:lnTo>
                    <a:pt x="138" y="18"/>
                  </a:lnTo>
                  <a:lnTo>
                    <a:pt x="138" y="22"/>
                  </a:lnTo>
                  <a:lnTo>
                    <a:pt x="142" y="26"/>
                  </a:lnTo>
                  <a:lnTo>
                    <a:pt x="142" y="30"/>
                  </a:lnTo>
                  <a:lnTo>
                    <a:pt x="142" y="34"/>
                  </a:lnTo>
                  <a:lnTo>
                    <a:pt x="142" y="38"/>
                  </a:lnTo>
                  <a:lnTo>
                    <a:pt x="142" y="42"/>
                  </a:lnTo>
                  <a:lnTo>
                    <a:pt x="142" y="46"/>
                  </a:lnTo>
                  <a:lnTo>
                    <a:pt x="142" y="48"/>
                  </a:lnTo>
                  <a:lnTo>
                    <a:pt x="138" y="52"/>
                  </a:lnTo>
                  <a:lnTo>
                    <a:pt x="138" y="56"/>
                  </a:lnTo>
                  <a:lnTo>
                    <a:pt x="138" y="60"/>
                  </a:lnTo>
                  <a:lnTo>
                    <a:pt x="138" y="64"/>
                  </a:lnTo>
                  <a:lnTo>
                    <a:pt x="138" y="68"/>
                  </a:lnTo>
                  <a:lnTo>
                    <a:pt x="134" y="68"/>
                  </a:lnTo>
                  <a:lnTo>
                    <a:pt x="134" y="72"/>
                  </a:lnTo>
                  <a:lnTo>
                    <a:pt x="130" y="68"/>
                  </a:lnTo>
                  <a:lnTo>
                    <a:pt x="126" y="68"/>
                  </a:lnTo>
                  <a:lnTo>
                    <a:pt x="126" y="64"/>
                  </a:lnTo>
                  <a:lnTo>
                    <a:pt x="126" y="60"/>
                  </a:lnTo>
                  <a:lnTo>
                    <a:pt x="122" y="60"/>
                  </a:lnTo>
                  <a:lnTo>
                    <a:pt x="118" y="56"/>
                  </a:lnTo>
                  <a:lnTo>
                    <a:pt x="118" y="52"/>
                  </a:lnTo>
                  <a:lnTo>
                    <a:pt x="118" y="48"/>
                  </a:lnTo>
                  <a:lnTo>
                    <a:pt x="114" y="46"/>
                  </a:lnTo>
                  <a:lnTo>
                    <a:pt x="112" y="42"/>
                  </a:lnTo>
                  <a:lnTo>
                    <a:pt x="112" y="38"/>
                  </a:lnTo>
                  <a:lnTo>
                    <a:pt x="112" y="34"/>
                  </a:lnTo>
                  <a:lnTo>
                    <a:pt x="112" y="30"/>
                  </a:lnTo>
                  <a:lnTo>
                    <a:pt x="108" y="30"/>
                  </a:lnTo>
                  <a:lnTo>
                    <a:pt x="108" y="34"/>
                  </a:lnTo>
                  <a:lnTo>
                    <a:pt x="108" y="38"/>
                  </a:lnTo>
                  <a:lnTo>
                    <a:pt x="112" y="42"/>
                  </a:lnTo>
                  <a:lnTo>
                    <a:pt x="112" y="46"/>
                  </a:lnTo>
                  <a:lnTo>
                    <a:pt x="112" y="48"/>
                  </a:lnTo>
                  <a:lnTo>
                    <a:pt x="112" y="52"/>
                  </a:lnTo>
                  <a:lnTo>
                    <a:pt x="114" y="52"/>
                  </a:lnTo>
                  <a:lnTo>
                    <a:pt x="114" y="56"/>
                  </a:lnTo>
                  <a:lnTo>
                    <a:pt x="118" y="60"/>
                  </a:lnTo>
                  <a:lnTo>
                    <a:pt x="118" y="64"/>
                  </a:lnTo>
                  <a:lnTo>
                    <a:pt x="122" y="64"/>
                  </a:lnTo>
                  <a:lnTo>
                    <a:pt x="122" y="68"/>
                  </a:lnTo>
                  <a:lnTo>
                    <a:pt x="122" y="72"/>
                  </a:lnTo>
                  <a:lnTo>
                    <a:pt x="122" y="68"/>
                  </a:lnTo>
                  <a:lnTo>
                    <a:pt x="122" y="72"/>
                  </a:lnTo>
                  <a:lnTo>
                    <a:pt x="122" y="74"/>
                  </a:lnTo>
                  <a:lnTo>
                    <a:pt x="126" y="74"/>
                  </a:lnTo>
                  <a:lnTo>
                    <a:pt x="126" y="78"/>
                  </a:lnTo>
                  <a:lnTo>
                    <a:pt x="126" y="82"/>
                  </a:lnTo>
                  <a:lnTo>
                    <a:pt x="130" y="86"/>
                  </a:lnTo>
                  <a:lnTo>
                    <a:pt x="130" y="90"/>
                  </a:lnTo>
                  <a:lnTo>
                    <a:pt x="130" y="94"/>
                  </a:lnTo>
                  <a:lnTo>
                    <a:pt x="134" y="98"/>
                  </a:lnTo>
                  <a:lnTo>
                    <a:pt x="134" y="102"/>
                  </a:lnTo>
                  <a:lnTo>
                    <a:pt x="138" y="104"/>
                  </a:lnTo>
                  <a:lnTo>
                    <a:pt x="138" y="108"/>
                  </a:lnTo>
                  <a:lnTo>
                    <a:pt x="142" y="112"/>
                  </a:lnTo>
                  <a:lnTo>
                    <a:pt x="142" y="116"/>
                  </a:lnTo>
                  <a:lnTo>
                    <a:pt x="142" y="120"/>
                  </a:lnTo>
                  <a:lnTo>
                    <a:pt x="144" y="120"/>
                  </a:lnTo>
                  <a:lnTo>
                    <a:pt x="144" y="124"/>
                  </a:lnTo>
                  <a:lnTo>
                    <a:pt x="144" y="128"/>
                  </a:lnTo>
                  <a:lnTo>
                    <a:pt x="148" y="130"/>
                  </a:lnTo>
                  <a:lnTo>
                    <a:pt x="148" y="134"/>
                  </a:lnTo>
                  <a:lnTo>
                    <a:pt x="152" y="134"/>
                  </a:lnTo>
                  <a:lnTo>
                    <a:pt x="152" y="138"/>
                  </a:lnTo>
                  <a:lnTo>
                    <a:pt x="156" y="138"/>
                  </a:lnTo>
                  <a:lnTo>
                    <a:pt x="152" y="138"/>
                  </a:lnTo>
                  <a:lnTo>
                    <a:pt x="152" y="142"/>
                  </a:lnTo>
                  <a:lnTo>
                    <a:pt x="152" y="146"/>
                  </a:lnTo>
                  <a:lnTo>
                    <a:pt x="152" y="150"/>
                  </a:lnTo>
                  <a:lnTo>
                    <a:pt x="152" y="154"/>
                  </a:lnTo>
                  <a:lnTo>
                    <a:pt x="152" y="158"/>
                  </a:lnTo>
                  <a:lnTo>
                    <a:pt x="156" y="158"/>
                  </a:lnTo>
                  <a:lnTo>
                    <a:pt x="156" y="160"/>
                  </a:lnTo>
                  <a:lnTo>
                    <a:pt x="160" y="160"/>
                  </a:lnTo>
                  <a:lnTo>
                    <a:pt x="164" y="164"/>
                  </a:lnTo>
                  <a:lnTo>
                    <a:pt x="164" y="168"/>
                  </a:lnTo>
                  <a:lnTo>
                    <a:pt x="168" y="168"/>
                  </a:lnTo>
                  <a:lnTo>
                    <a:pt x="168" y="172"/>
                  </a:lnTo>
                  <a:lnTo>
                    <a:pt x="170" y="172"/>
                  </a:lnTo>
                  <a:lnTo>
                    <a:pt x="168" y="172"/>
                  </a:lnTo>
                  <a:lnTo>
                    <a:pt x="164" y="172"/>
                  </a:lnTo>
                  <a:lnTo>
                    <a:pt x="160" y="172"/>
                  </a:lnTo>
                  <a:lnTo>
                    <a:pt x="156" y="172"/>
                  </a:lnTo>
                  <a:lnTo>
                    <a:pt x="152" y="172"/>
                  </a:lnTo>
                  <a:lnTo>
                    <a:pt x="148" y="172"/>
                  </a:lnTo>
                  <a:lnTo>
                    <a:pt x="144" y="172"/>
                  </a:lnTo>
                  <a:lnTo>
                    <a:pt x="142" y="172"/>
                  </a:lnTo>
                  <a:lnTo>
                    <a:pt x="134" y="172"/>
                  </a:lnTo>
                  <a:lnTo>
                    <a:pt x="130" y="172"/>
                  </a:lnTo>
                  <a:lnTo>
                    <a:pt x="126" y="172"/>
                  </a:lnTo>
                  <a:lnTo>
                    <a:pt x="122" y="172"/>
                  </a:lnTo>
                  <a:lnTo>
                    <a:pt x="118" y="172"/>
                  </a:lnTo>
                  <a:lnTo>
                    <a:pt x="112" y="172"/>
                  </a:lnTo>
                  <a:lnTo>
                    <a:pt x="108" y="172"/>
                  </a:lnTo>
                  <a:lnTo>
                    <a:pt x="100" y="172"/>
                  </a:lnTo>
                  <a:lnTo>
                    <a:pt x="96" y="172"/>
                  </a:lnTo>
                  <a:lnTo>
                    <a:pt x="92" y="172"/>
                  </a:lnTo>
                  <a:lnTo>
                    <a:pt x="96" y="172"/>
                  </a:lnTo>
                  <a:lnTo>
                    <a:pt x="92" y="168"/>
                  </a:lnTo>
                  <a:lnTo>
                    <a:pt x="92" y="172"/>
                  </a:lnTo>
                  <a:lnTo>
                    <a:pt x="88" y="172"/>
                  </a:lnTo>
                  <a:lnTo>
                    <a:pt x="86" y="172"/>
                  </a:lnTo>
                  <a:lnTo>
                    <a:pt x="82" y="172"/>
                  </a:lnTo>
                  <a:lnTo>
                    <a:pt x="78" y="172"/>
                  </a:lnTo>
                  <a:lnTo>
                    <a:pt x="74" y="172"/>
                  </a:lnTo>
                  <a:lnTo>
                    <a:pt x="66" y="172"/>
                  </a:lnTo>
                  <a:lnTo>
                    <a:pt x="62" y="172"/>
                  </a:lnTo>
                  <a:lnTo>
                    <a:pt x="58" y="172"/>
                  </a:lnTo>
                  <a:lnTo>
                    <a:pt x="56" y="172"/>
                  </a:lnTo>
                  <a:lnTo>
                    <a:pt x="48" y="172"/>
                  </a:lnTo>
                  <a:lnTo>
                    <a:pt x="42" y="172"/>
                  </a:lnTo>
                  <a:lnTo>
                    <a:pt x="38" y="172"/>
                  </a:lnTo>
                  <a:lnTo>
                    <a:pt x="34" y="172"/>
                  </a:lnTo>
                  <a:lnTo>
                    <a:pt x="30" y="172"/>
                  </a:lnTo>
                  <a:lnTo>
                    <a:pt x="26" y="172"/>
                  </a:lnTo>
                  <a:lnTo>
                    <a:pt x="22" y="172"/>
                  </a:lnTo>
                  <a:lnTo>
                    <a:pt x="16" y="172"/>
                  </a:lnTo>
                  <a:lnTo>
                    <a:pt x="8" y="172"/>
                  </a:lnTo>
                  <a:lnTo>
                    <a:pt x="4" y="172"/>
                  </a:lnTo>
                  <a:lnTo>
                    <a:pt x="4" y="168"/>
                  </a:lnTo>
                  <a:lnTo>
                    <a:pt x="4" y="146"/>
                  </a:lnTo>
                  <a:lnTo>
                    <a:pt x="4" y="138"/>
                  </a:lnTo>
                  <a:lnTo>
                    <a:pt x="4" y="130"/>
                  </a:lnTo>
                  <a:lnTo>
                    <a:pt x="4" y="124"/>
                  </a:lnTo>
                  <a:lnTo>
                    <a:pt x="4" y="120"/>
                  </a:lnTo>
                  <a:lnTo>
                    <a:pt x="4" y="112"/>
                  </a:lnTo>
                  <a:lnTo>
                    <a:pt x="4" y="102"/>
                  </a:lnTo>
                  <a:lnTo>
                    <a:pt x="4" y="94"/>
                  </a:lnTo>
                  <a:lnTo>
                    <a:pt x="4" y="90"/>
                  </a:lnTo>
                  <a:lnTo>
                    <a:pt x="4" y="86"/>
                  </a:lnTo>
                  <a:lnTo>
                    <a:pt x="4" y="82"/>
                  </a:lnTo>
                  <a:lnTo>
                    <a:pt x="4" y="74"/>
                  </a:lnTo>
                  <a:lnTo>
                    <a:pt x="4" y="72"/>
                  </a:lnTo>
                  <a:lnTo>
                    <a:pt x="4" y="68"/>
                  </a:lnTo>
                  <a:lnTo>
                    <a:pt x="4" y="64"/>
                  </a:lnTo>
                  <a:lnTo>
                    <a:pt x="4" y="60"/>
                  </a:lnTo>
                  <a:lnTo>
                    <a:pt x="4" y="48"/>
                  </a:lnTo>
                  <a:lnTo>
                    <a:pt x="4" y="46"/>
                  </a:lnTo>
                  <a:lnTo>
                    <a:pt x="4" y="42"/>
                  </a:lnTo>
                  <a:lnTo>
                    <a:pt x="0" y="38"/>
                  </a:lnTo>
                  <a:lnTo>
                    <a:pt x="0" y="34"/>
                  </a:lnTo>
                  <a:lnTo>
                    <a:pt x="0" y="30"/>
                  </a:lnTo>
                  <a:lnTo>
                    <a:pt x="0" y="26"/>
                  </a:lnTo>
                  <a:lnTo>
                    <a:pt x="0" y="22"/>
                  </a:lnTo>
                  <a:lnTo>
                    <a:pt x="4" y="18"/>
                  </a:lnTo>
                  <a:lnTo>
                    <a:pt x="4" y="16"/>
                  </a:lnTo>
                  <a:lnTo>
                    <a:pt x="4" y="12"/>
                  </a:lnTo>
                  <a:lnTo>
                    <a:pt x="0" y="8"/>
                  </a:lnTo>
                  <a:lnTo>
                    <a:pt x="0" y="4"/>
                  </a:lnTo>
                  <a:lnTo>
                    <a:pt x="4" y="4"/>
                  </a:lnTo>
                  <a:lnTo>
                    <a:pt x="4" y="0"/>
                  </a:lnTo>
                  <a:lnTo>
                    <a:pt x="8" y="0"/>
                  </a:lnTo>
                  <a:lnTo>
                    <a:pt x="12" y="0"/>
                  </a:lnTo>
                  <a:lnTo>
                    <a:pt x="16" y="0"/>
                  </a:lnTo>
                  <a:lnTo>
                    <a:pt x="18" y="0"/>
                  </a:lnTo>
                  <a:lnTo>
                    <a:pt x="22" y="0"/>
                  </a:lnTo>
                  <a:lnTo>
                    <a:pt x="26" y="0"/>
                  </a:lnTo>
                  <a:lnTo>
                    <a:pt x="26" y="4"/>
                  </a:lnTo>
                  <a:lnTo>
                    <a:pt x="30" y="4"/>
                  </a:lnTo>
                  <a:lnTo>
                    <a:pt x="34" y="4"/>
                  </a:lnTo>
                  <a:lnTo>
                    <a:pt x="38" y="4"/>
                  </a:lnTo>
                  <a:lnTo>
                    <a:pt x="38" y="8"/>
                  </a:lnTo>
                  <a:lnTo>
                    <a:pt x="42" y="8"/>
                  </a:lnTo>
                  <a:lnTo>
                    <a:pt x="44" y="8"/>
                  </a:lnTo>
                  <a:lnTo>
                    <a:pt x="48" y="12"/>
                  </a:lnTo>
                  <a:lnTo>
                    <a:pt x="52" y="12"/>
                  </a:lnTo>
                  <a:lnTo>
                    <a:pt x="56" y="12"/>
                  </a:lnTo>
                  <a:lnTo>
                    <a:pt x="58" y="16"/>
                  </a:lnTo>
                  <a:lnTo>
                    <a:pt x="62" y="16"/>
                  </a:lnTo>
                  <a:lnTo>
                    <a:pt x="66" y="12"/>
                  </a:lnTo>
                  <a:lnTo>
                    <a:pt x="70" y="12"/>
                  </a:lnTo>
                  <a:lnTo>
                    <a:pt x="70" y="8"/>
                  </a:lnTo>
                  <a:lnTo>
                    <a:pt x="74" y="8"/>
                  </a:lnTo>
                  <a:lnTo>
                    <a:pt x="74" y="4"/>
                  </a:lnTo>
                  <a:lnTo>
                    <a:pt x="74" y="8"/>
                  </a:lnTo>
                  <a:lnTo>
                    <a:pt x="78" y="8"/>
                  </a:lnTo>
                  <a:lnTo>
                    <a:pt x="78" y="4"/>
                  </a:lnTo>
                  <a:lnTo>
                    <a:pt x="78" y="0"/>
                  </a:lnTo>
                  <a:lnTo>
                    <a:pt x="78" y="4"/>
                  </a:lnTo>
                  <a:lnTo>
                    <a:pt x="82" y="4"/>
                  </a:lnTo>
                  <a:lnTo>
                    <a:pt x="82" y="0"/>
                  </a:lnTo>
                  <a:lnTo>
                    <a:pt x="86" y="0"/>
                  </a:lnTo>
                  <a:lnTo>
                    <a:pt x="86" y="4"/>
                  </a:lnTo>
                  <a:lnTo>
                    <a:pt x="82" y="4"/>
                  </a:lnTo>
                  <a:lnTo>
                    <a:pt x="86" y="4"/>
                  </a:lnTo>
                  <a:lnTo>
                    <a:pt x="88" y="4"/>
                  </a:lnTo>
                  <a:lnTo>
                    <a:pt x="88" y="0"/>
                  </a:lnTo>
                  <a:lnTo>
                    <a:pt x="92" y="0"/>
                  </a:lnTo>
                  <a:lnTo>
                    <a:pt x="92" y="4"/>
                  </a:lnTo>
                  <a:lnTo>
                    <a:pt x="96" y="4"/>
                  </a:lnTo>
                  <a:lnTo>
                    <a:pt x="100" y="4"/>
                  </a:lnTo>
                  <a:lnTo>
                    <a:pt x="100" y="0"/>
                  </a:lnTo>
                  <a:lnTo>
                    <a:pt x="100" y="4"/>
                  </a:lnTo>
                  <a:lnTo>
                    <a:pt x="104" y="4"/>
                  </a:lnTo>
                  <a:lnTo>
                    <a:pt x="100" y="4"/>
                  </a:lnTo>
                  <a:lnTo>
                    <a:pt x="100" y="0"/>
                  </a:lnTo>
                  <a:lnTo>
                    <a:pt x="100" y="8"/>
                  </a:lnTo>
                  <a:lnTo>
                    <a:pt x="104" y="8"/>
                  </a:lnTo>
                  <a:lnTo>
                    <a:pt x="104" y="12"/>
                  </a:lnTo>
                  <a:lnTo>
                    <a:pt x="104" y="8"/>
                  </a:lnTo>
                  <a:lnTo>
                    <a:pt x="104" y="8"/>
                  </a:lnTo>
                  <a:lnTo>
                    <a:pt x="104" y="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50" name="Freeform 143"/>
            <p:cNvSpPr>
              <a:spLocks noEditPoints="1"/>
            </p:cNvSpPr>
            <p:nvPr/>
          </p:nvSpPr>
          <p:spPr bwMode="auto">
            <a:xfrm>
              <a:off x="7114386" y="4117293"/>
              <a:ext cx="26375" cy="32690"/>
            </a:xfrm>
            <a:custGeom>
              <a:avLst/>
              <a:gdLst>
                <a:gd name="T0" fmla="*/ 28 w 42"/>
                <a:gd name="T1" fmla="*/ 50 h 50"/>
                <a:gd name="T2" fmla="*/ 24 w 42"/>
                <a:gd name="T3" fmla="*/ 50 h 50"/>
                <a:gd name="T4" fmla="*/ 24 w 42"/>
                <a:gd name="T5" fmla="*/ 50 h 50"/>
                <a:gd name="T6" fmla="*/ 20 w 42"/>
                <a:gd name="T7" fmla="*/ 50 h 50"/>
                <a:gd name="T8" fmla="*/ 20 w 42"/>
                <a:gd name="T9" fmla="*/ 50 h 50"/>
                <a:gd name="T10" fmla="*/ 20 w 42"/>
                <a:gd name="T11" fmla="*/ 46 h 50"/>
                <a:gd name="T12" fmla="*/ 16 w 42"/>
                <a:gd name="T13" fmla="*/ 50 h 50"/>
                <a:gd name="T14" fmla="*/ 16 w 42"/>
                <a:gd name="T15" fmla="*/ 46 h 50"/>
                <a:gd name="T16" fmla="*/ 16 w 42"/>
                <a:gd name="T17" fmla="*/ 46 h 50"/>
                <a:gd name="T18" fmla="*/ 16 w 42"/>
                <a:gd name="T19" fmla="*/ 42 h 50"/>
                <a:gd name="T20" fmla="*/ 16 w 42"/>
                <a:gd name="T21" fmla="*/ 38 h 50"/>
                <a:gd name="T22" fmla="*/ 20 w 42"/>
                <a:gd name="T23" fmla="*/ 38 h 50"/>
                <a:gd name="T24" fmla="*/ 20 w 42"/>
                <a:gd name="T25" fmla="*/ 34 h 50"/>
                <a:gd name="T26" fmla="*/ 20 w 42"/>
                <a:gd name="T27" fmla="*/ 28 h 50"/>
                <a:gd name="T28" fmla="*/ 20 w 42"/>
                <a:gd name="T29" fmla="*/ 28 h 50"/>
                <a:gd name="T30" fmla="*/ 24 w 42"/>
                <a:gd name="T31" fmla="*/ 32 h 50"/>
                <a:gd name="T32" fmla="*/ 28 w 42"/>
                <a:gd name="T33" fmla="*/ 32 h 50"/>
                <a:gd name="T34" fmla="*/ 30 w 42"/>
                <a:gd name="T35" fmla="*/ 32 h 50"/>
                <a:gd name="T36" fmla="*/ 30 w 42"/>
                <a:gd name="T37" fmla="*/ 32 h 50"/>
                <a:gd name="T38" fmla="*/ 38 w 42"/>
                <a:gd name="T39" fmla="*/ 32 h 50"/>
                <a:gd name="T40" fmla="*/ 42 w 42"/>
                <a:gd name="T41" fmla="*/ 32 h 50"/>
                <a:gd name="T42" fmla="*/ 42 w 42"/>
                <a:gd name="T43" fmla="*/ 34 h 50"/>
                <a:gd name="T44" fmla="*/ 42 w 42"/>
                <a:gd name="T45" fmla="*/ 38 h 50"/>
                <a:gd name="T46" fmla="*/ 42 w 42"/>
                <a:gd name="T47" fmla="*/ 50 h 50"/>
                <a:gd name="T48" fmla="*/ 34 w 42"/>
                <a:gd name="T49" fmla="*/ 50 h 50"/>
                <a:gd name="T50" fmla="*/ 30 w 42"/>
                <a:gd name="T51" fmla="*/ 50 h 50"/>
                <a:gd name="T52" fmla="*/ 30 w 42"/>
                <a:gd name="T53" fmla="*/ 50 h 50"/>
                <a:gd name="T54" fmla="*/ 4 w 42"/>
                <a:gd name="T55" fmla="*/ 8 h 50"/>
                <a:gd name="T56" fmla="*/ 4 w 42"/>
                <a:gd name="T57" fmla="*/ 8 h 50"/>
                <a:gd name="T58" fmla="*/ 0 w 42"/>
                <a:gd name="T59" fmla="*/ 12 h 50"/>
                <a:gd name="T60" fmla="*/ 0 w 42"/>
                <a:gd name="T61" fmla="*/ 8 h 50"/>
                <a:gd name="T62" fmla="*/ 0 w 42"/>
                <a:gd name="T63" fmla="*/ 8 h 50"/>
                <a:gd name="T64" fmla="*/ 0 w 42"/>
                <a:gd name="T65" fmla="*/ 8 h 50"/>
                <a:gd name="T66" fmla="*/ 0 w 42"/>
                <a:gd name="T67" fmla="*/ 8 h 50"/>
                <a:gd name="T68" fmla="*/ 0 w 42"/>
                <a:gd name="T69" fmla="*/ 8 h 50"/>
                <a:gd name="T70" fmla="*/ 4 w 42"/>
                <a:gd name="T71" fmla="*/ 8 h 50"/>
                <a:gd name="T72" fmla="*/ 4 w 42"/>
                <a:gd name="T73" fmla="*/ 4 h 50"/>
                <a:gd name="T74" fmla="*/ 4 w 42"/>
                <a:gd name="T75" fmla="*/ 4 h 50"/>
                <a:gd name="T76" fmla="*/ 8 w 42"/>
                <a:gd name="T77" fmla="*/ 0 h 50"/>
                <a:gd name="T78" fmla="*/ 8 w 42"/>
                <a:gd name="T79" fmla="*/ 4 h 50"/>
                <a:gd name="T80" fmla="*/ 8 w 42"/>
                <a:gd name="T81" fmla="*/ 4 h 50"/>
                <a:gd name="T82" fmla="*/ 8 w 42"/>
                <a:gd name="T83" fmla="*/ 4 h 50"/>
                <a:gd name="T84" fmla="*/ 8 w 42"/>
                <a:gd name="T85" fmla="*/ 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 h="50">
                  <a:moveTo>
                    <a:pt x="30" y="50"/>
                  </a:moveTo>
                  <a:lnTo>
                    <a:pt x="28" y="50"/>
                  </a:lnTo>
                  <a:lnTo>
                    <a:pt x="28" y="50"/>
                  </a:lnTo>
                  <a:lnTo>
                    <a:pt x="28" y="50"/>
                  </a:lnTo>
                  <a:lnTo>
                    <a:pt x="28" y="50"/>
                  </a:lnTo>
                  <a:lnTo>
                    <a:pt x="24" y="50"/>
                  </a:lnTo>
                  <a:lnTo>
                    <a:pt x="24" y="50"/>
                  </a:lnTo>
                  <a:lnTo>
                    <a:pt x="24" y="50"/>
                  </a:lnTo>
                  <a:lnTo>
                    <a:pt x="24" y="50"/>
                  </a:lnTo>
                  <a:lnTo>
                    <a:pt x="24" y="50"/>
                  </a:lnTo>
                  <a:lnTo>
                    <a:pt x="24" y="50"/>
                  </a:lnTo>
                  <a:lnTo>
                    <a:pt x="20" y="50"/>
                  </a:lnTo>
                  <a:lnTo>
                    <a:pt x="20" y="50"/>
                  </a:lnTo>
                  <a:lnTo>
                    <a:pt x="20" y="50"/>
                  </a:lnTo>
                  <a:lnTo>
                    <a:pt x="20" y="50"/>
                  </a:lnTo>
                  <a:lnTo>
                    <a:pt x="20" y="50"/>
                  </a:lnTo>
                  <a:lnTo>
                    <a:pt x="20" y="46"/>
                  </a:lnTo>
                  <a:lnTo>
                    <a:pt x="20" y="46"/>
                  </a:lnTo>
                  <a:lnTo>
                    <a:pt x="20" y="46"/>
                  </a:lnTo>
                  <a:lnTo>
                    <a:pt x="20" y="50"/>
                  </a:lnTo>
                  <a:lnTo>
                    <a:pt x="16" y="50"/>
                  </a:lnTo>
                  <a:lnTo>
                    <a:pt x="16" y="46"/>
                  </a:lnTo>
                  <a:lnTo>
                    <a:pt x="16" y="46"/>
                  </a:lnTo>
                  <a:lnTo>
                    <a:pt x="16" y="46"/>
                  </a:lnTo>
                  <a:lnTo>
                    <a:pt x="16" y="46"/>
                  </a:lnTo>
                  <a:lnTo>
                    <a:pt x="16" y="46"/>
                  </a:lnTo>
                  <a:lnTo>
                    <a:pt x="16" y="46"/>
                  </a:lnTo>
                  <a:lnTo>
                    <a:pt x="16" y="46"/>
                  </a:lnTo>
                  <a:lnTo>
                    <a:pt x="16" y="42"/>
                  </a:lnTo>
                  <a:lnTo>
                    <a:pt x="16" y="42"/>
                  </a:lnTo>
                  <a:lnTo>
                    <a:pt x="16" y="42"/>
                  </a:lnTo>
                  <a:lnTo>
                    <a:pt x="20" y="38"/>
                  </a:lnTo>
                  <a:lnTo>
                    <a:pt x="16" y="38"/>
                  </a:lnTo>
                  <a:lnTo>
                    <a:pt x="16" y="38"/>
                  </a:lnTo>
                  <a:lnTo>
                    <a:pt x="20" y="38"/>
                  </a:lnTo>
                  <a:lnTo>
                    <a:pt x="20" y="38"/>
                  </a:lnTo>
                  <a:lnTo>
                    <a:pt x="20" y="34"/>
                  </a:lnTo>
                  <a:lnTo>
                    <a:pt x="20" y="34"/>
                  </a:lnTo>
                  <a:lnTo>
                    <a:pt x="20" y="34"/>
                  </a:lnTo>
                  <a:lnTo>
                    <a:pt x="20" y="32"/>
                  </a:lnTo>
                  <a:lnTo>
                    <a:pt x="20" y="32"/>
                  </a:lnTo>
                  <a:lnTo>
                    <a:pt x="20" y="28"/>
                  </a:lnTo>
                  <a:lnTo>
                    <a:pt x="20" y="28"/>
                  </a:lnTo>
                  <a:lnTo>
                    <a:pt x="20" y="28"/>
                  </a:lnTo>
                  <a:lnTo>
                    <a:pt x="20" y="28"/>
                  </a:lnTo>
                  <a:lnTo>
                    <a:pt x="24" y="28"/>
                  </a:lnTo>
                  <a:lnTo>
                    <a:pt x="24" y="28"/>
                  </a:lnTo>
                  <a:lnTo>
                    <a:pt x="24" y="32"/>
                  </a:lnTo>
                  <a:lnTo>
                    <a:pt x="24" y="32"/>
                  </a:lnTo>
                  <a:lnTo>
                    <a:pt x="24" y="32"/>
                  </a:lnTo>
                  <a:lnTo>
                    <a:pt x="28" y="32"/>
                  </a:lnTo>
                  <a:lnTo>
                    <a:pt x="28" y="32"/>
                  </a:lnTo>
                  <a:lnTo>
                    <a:pt x="28" y="32"/>
                  </a:lnTo>
                  <a:lnTo>
                    <a:pt x="30" y="32"/>
                  </a:lnTo>
                  <a:lnTo>
                    <a:pt x="30" y="32"/>
                  </a:lnTo>
                  <a:lnTo>
                    <a:pt x="30" y="32"/>
                  </a:lnTo>
                  <a:lnTo>
                    <a:pt x="30" y="32"/>
                  </a:lnTo>
                  <a:lnTo>
                    <a:pt x="30" y="32"/>
                  </a:lnTo>
                  <a:lnTo>
                    <a:pt x="30" y="32"/>
                  </a:lnTo>
                  <a:lnTo>
                    <a:pt x="38" y="32"/>
                  </a:lnTo>
                  <a:lnTo>
                    <a:pt x="42" y="32"/>
                  </a:lnTo>
                  <a:lnTo>
                    <a:pt x="42" y="32"/>
                  </a:lnTo>
                  <a:lnTo>
                    <a:pt x="42" y="32"/>
                  </a:lnTo>
                  <a:lnTo>
                    <a:pt x="42" y="32"/>
                  </a:lnTo>
                  <a:lnTo>
                    <a:pt x="42" y="32"/>
                  </a:lnTo>
                  <a:lnTo>
                    <a:pt x="42" y="34"/>
                  </a:lnTo>
                  <a:lnTo>
                    <a:pt x="42" y="34"/>
                  </a:lnTo>
                  <a:lnTo>
                    <a:pt x="42" y="38"/>
                  </a:lnTo>
                  <a:lnTo>
                    <a:pt x="42" y="38"/>
                  </a:lnTo>
                  <a:lnTo>
                    <a:pt x="42" y="38"/>
                  </a:lnTo>
                  <a:lnTo>
                    <a:pt x="42" y="42"/>
                  </a:lnTo>
                  <a:lnTo>
                    <a:pt x="42" y="50"/>
                  </a:lnTo>
                  <a:lnTo>
                    <a:pt x="42" y="50"/>
                  </a:lnTo>
                  <a:lnTo>
                    <a:pt x="38" y="50"/>
                  </a:lnTo>
                  <a:lnTo>
                    <a:pt x="34" y="50"/>
                  </a:lnTo>
                  <a:lnTo>
                    <a:pt x="34" y="50"/>
                  </a:lnTo>
                  <a:lnTo>
                    <a:pt x="30" y="50"/>
                  </a:lnTo>
                  <a:lnTo>
                    <a:pt x="30" y="50"/>
                  </a:lnTo>
                  <a:lnTo>
                    <a:pt x="30" y="50"/>
                  </a:lnTo>
                  <a:lnTo>
                    <a:pt x="30" y="50"/>
                  </a:lnTo>
                  <a:lnTo>
                    <a:pt x="30" y="50"/>
                  </a:lnTo>
                  <a:close/>
                  <a:moveTo>
                    <a:pt x="8" y="4"/>
                  </a:moveTo>
                  <a:lnTo>
                    <a:pt x="8" y="4"/>
                  </a:lnTo>
                  <a:lnTo>
                    <a:pt x="4" y="8"/>
                  </a:lnTo>
                  <a:lnTo>
                    <a:pt x="4" y="8"/>
                  </a:lnTo>
                  <a:lnTo>
                    <a:pt x="4" y="8"/>
                  </a:lnTo>
                  <a:lnTo>
                    <a:pt x="4" y="8"/>
                  </a:lnTo>
                  <a:lnTo>
                    <a:pt x="4" y="12"/>
                  </a:lnTo>
                  <a:lnTo>
                    <a:pt x="4" y="12"/>
                  </a:lnTo>
                  <a:lnTo>
                    <a:pt x="0" y="12"/>
                  </a:lnTo>
                  <a:lnTo>
                    <a:pt x="0" y="12"/>
                  </a:lnTo>
                  <a:lnTo>
                    <a:pt x="0" y="12"/>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8"/>
                  </a:lnTo>
                  <a:lnTo>
                    <a:pt x="4" y="8"/>
                  </a:lnTo>
                  <a:lnTo>
                    <a:pt x="4" y="4"/>
                  </a:lnTo>
                  <a:lnTo>
                    <a:pt x="4" y="4"/>
                  </a:lnTo>
                  <a:lnTo>
                    <a:pt x="4" y="4"/>
                  </a:lnTo>
                  <a:lnTo>
                    <a:pt x="4" y="4"/>
                  </a:lnTo>
                  <a:lnTo>
                    <a:pt x="4" y="4"/>
                  </a:lnTo>
                  <a:lnTo>
                    <a:pt x="4" y="0"/>
                  </a:lnTo>
                  <a:lnTo>
                    <a:pt x="4" y="0"/>
                  </a:lnTo>
                  <a:lnTo>
                    <a:pt x="8" y="0"/>
                  </a:lnTo>
                  <a:lnTo>
                    <a:pt x="8" y="0"/>
                  </a:lnTo>
                  <a:lnTo>
                    <a:pt x="8" y="0"/>
                  </a:lnTo>
                  <a:lnTo>
                    <a:pt x="8" y="4"/>
                  </a:lnTo>
                  <a:lnTo>
                    <a:pt x="8" y="4"/>
                  </a:lnTo>
                  <a:lnTo>
                    <a:pt x="8" y="4"/>
                  </a:lnTo>
                  <a:lnTo>
                    <a:pt x="8" y="4"/>
                  </a:lnTo>
                  <a:lnTo>
                    <a:pt x="8" y="4"/>
                  </a:lnTo>
                  <a:lnTo>
                    <a:pt x="8" y="4"/>
                  </a:lnTo>
                  <a:lnTo>
                    <a:pt x="8" y="4"/>
                  </a:lnTo>
                  <a:lnTo>
                    <a:pt x="8" y="4"/>
                  </a:lnTo>
                  <a:lnTo>
                    <a:pt x="8" y="4"/>
                  </a:lnTo>
                  <a:lnTo>
                    <a:pt x="8" y="4"/>
                  </a:lnTo>
                  <a:lnTo>
                    <a:pt x="8" y="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51" name="Freeform 144"/>
            <p:cNvSpPr>
              <a:spLocks noEditPoints="1"/>
            </p:cNvSpPr>
            <p:nvPr/>
          </p:nvSpPr>
          <p:spPr bwMode="auto">
            <a:xfrm>
              <a:off x="7363067" y="3956460"/>
              <a:ext cx="61542" cy="65379"/>
            </a:xfrm>
            <a:custGeom>
              <a:avLst/>
              <a:gdLst>
                <a:gd name="T0" fmla="*/ 42 w 98"/>
                <a:gd name="T1" fmla="*/ 34 h 100"/>
                <a:gd name="T2" fmla="*/ 46 w 98"/>
                <a:gd name="T3" fmla="*/ 44 h 100"/>
                <a:gd name="T4" fmla="*/ 46 w 98"/>
                <a:gd name="T5" fmla="*/ 44 h 100"/>
                <a:gd name="T6" fmla="*/ 48 w 98"/>
                <a:gd name="T7" fmla="*/ 52 h 100"/>
                <a:gd name="T8" fmla="*/ 48 w 98"/>
                <a:gd name="T9" fmla="*/ 48 h 100"/>
                <a:gd name="T10" fmla="*/ 48 w 98"/>
                <a:gd name="T11" fmla="*/ 44 h 100"/>
                <a:gd name="T12" fmla="*/ 52 w 98"/>
                <a:gd name="T13" fmla="*/ 52 h 100"/>
                <a:gd name="T14" fmla="*/ 56 w 98"/>
                <a:gd name="T15" fmla="*/ 52 h 100"/>
                <a:gd name="T16" fmla="*/ 64 w 98"/>
                <a:gd name="T17" fmla="*/ 60 h 100"/>
                <a:gd name="T18" fmla="*/ 72 w 98"/>
                <a:gd name="T19" fmla="*/ 68 h 100"/>
                <a:gd name="T20" fmla="*/ 74 w 98"/>
                <a:gd name="T21" fmla="*/ 72 h 100"/>
                <a:gd name="T22" fmla="*/ 82 w 98"/>
                <a:gd name="T23" fmla="*/ 74 h 100"/>
                <a:gd name="T24" fmla="*/ 82 w 98"/>
                <a:gd name="T25" fmla="*/ 78 h 100"/>
                <a:gd name="T26" fmla="*/ 86 w 98"/>
                <a:gd name="T27" fmla="*/ 82 h 100"/>
                <a:gd name="T28" fmla="*/ 90 w 98"/>
                <a:gd name="T29" fmla="*/ 86 h 100"/>
                <a:gd name="T30" fmla="*/ 94 w 98"/>
                <a:gd name="T31" fmla="*/ 94 h 100"/>
                <a:gd name="T32" fmla="*/ 98 w 98"/>
                <a:gd name="T33" fmla="*/ 94 h 100"/>
                <a:gd name="T34" fmla="*/ 90 w 98"/>
                <a:gd name="T35" fmla="*/ 100 h 100"/>
                <a:gd name="T36" fmla="*/ 86 w 98"/>
                <a:gd name="T37" fmla="*/ 98 h 100"/>
                <a:gd name="T38" fmla="*/ 86 w 98"/>
                <a:gd name="T39" fmla="*/ 98 h 100"/>
                <a:gd name="T40" fmla="*/ 82 w 98"/>
                <a:gd name="T41" fmla="*/ 94 h 100"/>
                <a:gd name="T42" fmla="*/ 78 w 98"/>
                <a:gd name="T43" fmla="*/ 90 h 100"/>
                <a:gd name="T44" fmla="*/ 78 w 98"/>
                <a:gd name="T45" fmla="*/ 86 h 100"/>
                <a:gd name="T46" fmla="*/ 74 w 98"/>
                <a:gd name="T47" fmla="*/ 82 h 100"/>
                <a:gd name="T48" fmla="*/ 68 w 98"/>
                <a:gd name="T49" fmla="*/ 78 h 100"/>
                <a:gd name="T50" fmla="*/ 68 w 98"/>
                <a:gd name="T51" fmla="*/ 74 h 100"/>
                <a:gd name="T52" fmla="*/ 64 w 98"/>
                <a:gd name="T53" fmla="*/ 68 h 100"/>
                <a:gd name="T54" fmla="*/ 60 w 98"/>
                <a:gd name="T55" fmla="*/ 68 h 100"/>
                <a:gd name="T56" fmla="*/ 56 w 98"/>
                <a:gd name="T57" fmla="*/ 64 h 100"/>
                <a:gd name="T58" fmla="*/ 52 w 98"/>
                <a:gd name="T59" fmla="*/ 64 h 100"/>
                <a:gd name="T60" fmla="*/ 48 w 98"/>
                <a:gd name="T61" fmla="*/ 64 h 100"/>
                <a:gd name="T62" fmla="*/ 42 w 98"/>
                <a:gd name="T63" fmla="*/ 64 h 100"/>
                <a:gd name="T64" fmla="*/ 38 w 98"/>
                <a:gd name="T65" fmla="*/ 60 h 100"/>
                <a:gd name="T66" fmla="*/ 34 w 98"/>
                <a:gd name="T67" fmla="*/ 64 h 100"/>
                <a:gd name="T68" fmla="*/ 26 w 98"/>
                <a:gd name="T69" fmla="*/ 60 h 100"/>
                <a:gd name="T70" fmla="*/ 22 w 98"/>
                <a:gd name="T71" fmla="*/ 56 h 100"/>
                <a:gd name="T72" fmla="*/ 18 w 98"/>
                <a:gd name="T73" fmla="*/ 72 h 100"/>
                <a:gd name="T74" fmla="*/ 12 w 98"/>
                <a:gd name="T75" fmla="*/ 64 h 100"/>
                <a:gd name="T76" fmla="*/ 12 w 98"/>
                <a:gd name="T77" fmla="*/ 68 h 100"/>
                <a:gd name="T78" fmla="*/ 4 w 98"/>
                <a:gd name="T79" fmla="*/ 68 h 100"/>
                <a:gd name="T80" fmla="*/ 0 w 98"/>
                <a:gd name="T81" fmla="*/ 52 h 100"/>
                <a:gd name="T82" fmla="*/ 4 w 98"/>
                <a:gd name="T83" fmla="*/ 42 h 100"/>
                <a:gd name="T84" fmla="*/ 8 w 98"/>
                <a:gd name="T85" fmla="*/ 34 h 100"/>
                <a:gd name="T86" fmla="*/ 8 w 98"/>
                <a:gd name="T87" fmla="*/ 26 h 100"/>
                <a:gd name="T88" fmla="*/ 8 w 98"/>
                <a:gd name="T89" fmla="*/ 18 h 100"/>
                <a:gd name="T90" fmla="*/ 16 w 98"/>
                <a:gd name="T91" fmla="*/ 18 h 100"/>
                <a:gd name="T92" fmla="*/ 16 w 98"/>
                <a:gd name="T93" fmla="*/ 16 h 100"/>
                <a:gd name="T94" fmla="*/ 22 w 98"/>
                <a:gd name="T95" fmla="*/ 12 h 100"/>
                <a:gd name="T96" fmla="*/ 30 w 98"/>
                <a:gd name="T97" fmla="*/ 8 h 100"/>
                <a:gd name="T98" fmla="*/ 34 w 98"/>
                <a:gd name="T99" fmla="*/ 4 h 100"/>
                <a:gd name="T100" fmla="*/ 38 w 98"/>
                <a:gd name="T101" fmla="*/ 16 h 100"/>
                <a:gd name="T102" fmla="*/ 42 w 98"/>
                <a:gd name="T103" fmla="*/ 26 h 100"/>
                <a:gd name="T104" fmla="*/ 42 w 98"/>
                <a:gd name="T105" fmla="*/ 30 h 100"/>
                <a:gd name="T106" fmla="*/ 52 w 98"/>
                <a:gd name="T107" fmla="*/ 42 h 100"/>
                <a:gd name="T108" fmla="*/ 52 w 98"/>
                <a:gd name="T109" fmla="*/ 42 h 100"/>
                <a:gd name="T110" fmla="*/ 56 w 98"/>
                <a:gd name="T111" fmla="*/ 42 h 100"/>
                <a:gd name="T112" fmla="*/ 56 w 98"/>
                <a:gd name="T113" fmla="*/ 42 h 100"/>
                <a:gd name="T114" fmla="*/ 56 w 98"/>
                <a:gd name="T115" fmla="*/ 44 h 100"/>
                <a:gd name="T116" fmla="*/ 52 w 98"/>
                <a:gd name="T117" fmla="*/ 42 h 100"/>
                <a:gd name="T118" fmla="*/ 52 w 98"/>
                <a:gd name="T119" fmla="*/ 42 h 100"/>
                <a:gd name="T120" fmla="*/ 52 w 98"/>
                <a:gd name="T121" fmla="*/ 42 h 100"/>
                <a:gd name="T122" fmla="*/ 52 w 98"/>
                <a:gd name="T123" fmla="*/ 3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 h="100">
                  <a:moveTo>
                    <a:pt x="42" y="30"/>
                  </a:moveTo>
                  <a:lnTo>
                    <a:pt x="42" y="30"/>
                  </a:lnTo>
                  <a:lnTo>
                    <a:pt x="42" y="30"/>
                  </a:lnTo>
                  <a:lnTo>
                    <a:pt x="42" y="34"/>
                  </a:lnTo>
                  <a:lnTo>
                    <a:pt x="42" y="34"/>
                  </a:lnTo>
                  <a:lnTo>
                    <a:pt x="42" y="34"/>
                  </a:lnTo>
                  <a:lnTo>
                    <a:pt x="42" y="38"/>
                  </a:lnTo>
                  <a:lnTo>
                    <a:pt x="42" y="38"/>
                  </a:lnTo>
                  <a:lnTo>
                    <a:pt x="42" y="38"/>
                  </a:lnTo>
                  <a:lnTo>
                    <a:pt x="46" y="42"/>
                  </a:lnTo>
                  <a:lnTo>
                    <a:pt x="46" y="42"/>
                  </a:lnTo>
                  <a:lnTo>
                    <a:pt x="46" y="44"/>
                  </a:lnTo>
                  <a:lnTo>
                    <a:pt x="46" y="44"/>
                  </a:lnTo>
                  <a:lnTo>
                    <a:pt x="46" y="44"/>
                  </a:lnTo>
                  <a:lnTo>
                    <a:pt x="46" y="44"/>
                  </a:lnTo>
                  <a:lnTo>
                    <a:pt x="46" y="44"/>
                  </a:lnTo>
                  <a:lnTo>
                    <a:pt x="46" y="44"/>
                  </a:lnTo>
                  <a:lnTo>
                    <a:pt x="46" y="44"/>
                  </a:lnTo>
                  <a:lnTo>
                    <a:pt x="46" y="44"/>
                  </a:lnTo>
                  <a:lnTo>
                    <a:pt x="48" y="48"/>
                  </a:lnTo>
                  <a:lnTo>
                    <a:pt x="48" y="48"/>
                  </a:lnTo>
                  <a:lnTo>
                    <a:pt x="48" y="48"/>
                  </a:lnTo>
                  <a:lnTo>
                    <a:pt x="48" y="52"/>
                  </a:lnTo>
                  <a:lnTo>
                    <a:pt x="48" y="52"/>
                  </a:lnTo>
                  <a:lnTo>
                    <a:pt x="48" y="52"/>
                  </a:lnTo>
                  <a:lnTo>
                    <a:pt x="48" y="52"/>
                  </a:lnTo>
                  <a:lnTo>
                    <a:pt x="48" y="52"/>
                  </a:lnTo>
                  <a:lnTo>
                    <a:pt x="48" y="52"/>
                  </a:lnTo>
                  <a:lnTo>
                    <a:pt x="48" y="52"/>
                  </a:lnTo>
                  <a:lnTo>
                    <a:pt x="48" y="48"/>
                  </a:lnTo>
                  <a:lnTo>
                    <a:pt x="48" y="48"/>
                  </a:lnTo>
                  <a:lnTo>
                    <a:pt x="48" y="48"/>
                  </a:lnTo>
                  <a:lnTo>
                    <a:pt x="48" y="48"/>
                  </a:lnTo>
                  <a:lnTo>
                    <a:pt x="48" y="44"/>
                  </a:lnTo>
                  <a:lnTo>
                    <a:pt x="48" y="44"/>
                  </a:lnTo>
                  <a:lnTo>
                    <a:pt x="48" y="44"/>
                  </a:lnTo>
                  <a:lnTo>
                    <a:pt x="52" y="48"/>
                  </a:lnTo>
                  <a:lnTo>
                    <a:pt x="52" y="48"/>
                  </a:lnTo>
                  <a:lnTo>
                    <a:pt x="52" y="48"/>
                  </a:lnTo>
                  <a:lnTo>
                    <a:pt x="52" y="48"/>
                  </a:lnTo>
                  <a:lnTo>
                    <a:pt x="52" y="52"/>
                  </a:lnTo>
                  <a:lnTo>
                    <a:pt x="52" y="52"/>
                  </a:lnTo>
                  <a:lnTo>
                    <a:pt x="52" y="52"/>
                  </a:lnTo>
                  <a:lnTo>
                    <a:pt x="52" y="56"/>
                  </a:lnTo>
                  <a:lnTo>
                    <a:pt x="56" y="56"/>
                  </a:lnTo>
                  <a:lnTo>
                    <a:pt x="56" y="56"/>
                  </a:lnTo>
                  <a:lnTo>
                    <a:pt x="56" y="56"/>
                  </a:lnTo>
                  <a:lnTo>
                    <a:pt x="56" y="52"/>
                  </a:lnTo>
                  <a:lnTo>
                    <a:pt x="60" y="52"/>
                  </a:lnTo>
                  <a:lnTo>
                    <a:pt x="60" y="56"/>
                  </a:lnTo>
                  <a:lnTo>
                    <a:pt x="60" y="56"/>
                  </a:lnTo>
                  <a:lnTo>
                    <a:pt x="64" y="56"/>
                  </a:lnTo>
                  <a:lnTo>
                    <a:pt x="64" y="56"/>
                  </a:lnTo>
                  <a:lnTo>
                    <a:pt x="64" y="60"/>
                  </a:lnTo>
                  <a:lnTo>
                    <a:pt x="64" y="60"/>
                  </a:lnTo>
                  <a:lnTo>
                    <a:pt x="64" y="60"/>
                  </a:lnTo>
                  <a:lnTo>
                    <a:pt x="68" y="60"/>
                  </a:lnTo>
                  <a:lnTo>
                    <a:pt x="72" y="64"/>
                  </a:lnTo>
                  <a:lnTo>
                    <a:pt x="72" y="64"/>
                  </a:lnTo>
                  <a:lnTo>
                    <a:pt x="72" y="68"/>
                  </a:lnTo>
                  <a:lnTo>
                    <a:pt x="74" y="68"/>
                  </a:lnTo>
                  <a:lnTo>
                    <a:pt x="74" y="72"/>
                  </a:lnTo>
                  <a:lnTo>
                    <a:pt x="74" y="72"/>
                  </a:lnTo>
                  <a:lnTo>
                    <a:pt x="74" y="72"/>
                  </a:lnTo>
                  <a:lnTo>
                    <a:pt x="74" y="72"/>
                  </a:lnTo>
                  <a:lnTo>
                    <a:pt x="74" y="72"/>
                  </a:lnTo>
                  <a:lnTo>
                    <a:pt x="78" y="74"/>
                  </a:lnTo>
                  <a:lnTo>
                    <a:pt x="78" y="74"/>
                  </a:lnTo>
                  <a:lnTo>
                    <a:pt x="78" y="74"/>
                  </a:lnTo>
                  <a:lnTo>
                    <a:pt x="78" y="74"/>
                  </a:lnTo>
                  <a:lnTo>
                    <a:pt x="82" y="74"/>
                  </a:lnTo>
                  <a:lnTo>
                    <a:pt x="82" y="74"/>
                  </a:lnTo>
                  <a:lnTo>
                    <a:pt x="82" y="78"/>
                  </a:lnTo>
                  <a:lnTo>
                    <a:pt x="82" y="78"/>
                  </a:lnTo>
                  <a:lnTo>
                    <a:pt x="82" y="78"/>
                  </a:lnTo>
                  <a:lnTo>
                    <a:pt x="82" y="78"/>
                  </a:lnTo>
                  <a:lnTo>
                    <a:pt x="82" y="78"/>
                  </a:lnTo>
                  <a:lnTo>
                    <a:pt x="82" y="78"/>
                  </a:lnTo>
                  <a:lnTo>
                    <a:pt x="82" y="78"/>
                  </a:lnTo>
                  <a:lnTo>
                    <a:pt x="82" y="78"/>
                  </a:lnTo>
                  <a:lnTo>
                    <a:pt x="82" y="78"/>
                  </a:lnTo>
                  <a:lnTo>
                    <a:pt x="86" y="78"/>
                  </a:lnTo>
                  <a:lnTo>
                    <a:pt x="86" y="82"/>
                  </a:lnTo>
                  <a:lnTo>
                    <a:pt x="86" y="82"/>
                  </a:lnTo>
                  <a:lnTo>
                    <a:pt x="86" y="82"/>
                  </a:lnTo>
                  <a:lnTo>
                    <a:pt x="86" y="86"/>
                  </a:lnTo>
                  <a:lnTo>
                    <a:pt x="86" y="86"/>
                  </a:lnTo>
                  <a:lnTo>
                    <a:pt x="86" y="86"/>
                  </a:lnTo>
                  <a:lnTo>
                    <a:pt x="90" y="86"/>
                  </a:lnTo>
                  <a:lnTo>
                    <a:pt x="90" y="86"/>
                  </a:lnTo>
                  <a:lnTo>
                    <a:pt x="90" y="90"/>
                  </a:lnTo>
                  <a:lnTo>
                    <a:pt x="90" y="90"/>
                  </a:lnTo>
                  <a:lnTo>
                    <a:pt x="90" y="90"/>
                  </a:lnTo>
                  <a:lnTo>
                    <a:pt x="90" y="90"/>
                  </a:lnTo>
                  <a:lnTo>
                    <a:pt x="94" y="94"/>
                  </a:lnTo>
                  <a:lnTo>
                    <a:pt x="94" y="94"/>
                  </a:lnTo>
                  <a:lnTo>
                    <a:pt x="94" y="94"/>
                  </a:lnTo>
                  <a:lnTo>
                    <a:pt x="94" y="90"/>
                  </a:lnTo>
                  <a:lnTo>
                    <a:pt x="94" y="90"/>
                  </a:lnTo>
                  <a:lnTo>
                    <a:pt x="94" y="90"/>
                  </a:lnTo>
                  <a:lnTo>
                    <a:pt x="98" y="94"/>
                  </a:lnTo>
                  <a:lnTo>
                    <a:pt x="98" y="94"/>
                  </a:lnTo>
                  <a:lnTo>
                    <a:pt x="98" y="94"/>
                  </a:lnTo>
                  <a:lnTo>
                    <a:pt x="94" y="94"/>
                  </a:lnTo>
                  <a:lnTo>
                    <a:pt x="90" y="98"/>
                  </a:lnTo>
                  <a:lnTo>
                    <a:pt x="90" y="98"/>
                  </a:lnTo>
                  <a:lnTo>
                    <a:pt x="90" y="98"/>
                  </a:lnTo>
                  <a:lnTo>
                    <a:pt x="90" y="100"/>
                  </a:lnTo>
                  <a:lnTo>
                    <a:pt x="90" y="100"/>
                  </a:lnTo>
                  <a:lnTo>
                    <a:pt x="90" y="98"/>
                  </a:lnTo>
                  <a:lnTo>
                    <a:pt x="90" y="98"/>
                  </a:lnTo>
                  <a:lnTo>
                    <a:pt x="90" y="98"/>
                  </a:lnTo>
                  <a:lnTo>
                    <a:pt x="86" y="98"/>
                  </a:lnTo>
                  <a:lnTo>
                    <a:pt x="86" y="98"/>
                  </a:lnTo>
                  <a:lnTo>
                    <a:pt x="86" y="98"/>
                  </a:lnTo>
                  <a:lnTo>
                    <a:pt x="86" y="98"/>
                  </a:lnTo>
                  <a:lnTo>
                    <a:pt x="86" y="98"/>
                  </a:lnTo>
                  <a:lnTo>
                    <a:pt x="86" y="98"/>
                  </a:lnTo>
                  <a:lnTo>
                    <a:pt x="86" y="98"/>
                  </a:lnTo>
                  <a:lnTo>
                    <a:pt x="86" y="98"/>
                  </a:lnTo>
                  <a:lnTo>
                    <a:pt x="86" y="98"/>
                  </a:lnTo>
                  <a:lnTo>
                    <a:pt x="82" y="98"/>
                  </a:lnTo>
                  <a:lnTo>
                    <a:pt x="82" y="94"/>
                  </a:lnTo>
                  <a:lnTo>
                    <a:pt x="82" y="94"/>
                  </a:lnTo>
                  <a:lnTo>
                    <a:pt x="82" y="94"/>
                  </a:lnTo>
                  <a:lnTo>
                    <a:pt x="82" y="94"/>
                  </a:lnTo>
                  <a:lnTo>
                    <a:pt x="82" y="94"/>
                  </a:lnTo>
                  <a:lnTo>
                    <a:pt x="82" y="94"/>
                  </a:lnTo>
                  <a:lnTo>
                    <a:pt x="82" y="94"/>
                  </a:lnTo>
                  <a:lnTo>
                    <a:pt x="82" y="90"/>
                  </a:lnTo>
                  <a:lnTo>
                    <a:pt x="78" y="90"/>
                  </a:lnTo>
                  <a:lnTo>
                    <a:pt x="78" y="90"/>
                  </a:lnTo>
                  <a:lnTo>
                    <a:pt x="78" y="90"/>
                  </a:lnTo>
                  <a:lnTo>
                    <a:pt x="78" y="90"/>
                  </a:lnTo>
                  <a:lnTo>
                    <a:pt x="78" y="90"/>
                  </a:lnTo>
                  <a:lnTo>
                    <a:pt x="78" y="90"/>
                  </a:lnTo>
                  <a:lnTo>
                    <a:pt x="78" y="86"/>
                  </a:lnTo>
                  <a:lnTo>
                    <a:pt x="78" y="86"/>
                  </a:lnTo>
                  <a:lnTo>
                    <a:pt x="78" y="86"/>
                  </a:lnTo>
                  <a:lnTo>
                    <a:pt x="78" y="86"/>
                  </a:lnTo>
                  <a:lnTo>
                    <a:pt x="78" y="86"/>
                  </a:lnTo>
                  <a:lnTo>
                    <a:pt x="74" y="86"/>
                  </a:lnTo>
                  <a:lnTo>
                    <a:pt x="74" y="82"/>
                  </a:lnTo>
                  <a:lnTo>
                    <a:pt x="74" y="82"/>
                  </a:lnTo>
                  <a:lnTo>
                    <a:pt x="74" y="82"/>
                  </a:lnTo>
                  <a:lnTo>
                    <a:pt x="74" y="82"/>
                  </a:lnTo>
                  <a:lnTo>
                    <a:pt x="74" y="82"/>
                  </a:lnTo>
                  <a:lnTo>
                    <a:pt x="72" y="82"/>
                  </a:lnTo>
                  <a:lnTo>
                    <a:pt x="68" y="78"/>
                  </a:lnTo>
                  <a:lnTo>
                    <a:pt x="68" y="78"/>
                  </a:lnTo>
                  <a:lnTo>
                    <a:pt x="68" y="78"/>
                  </a:lnTo>
                  <a:lnTo>
                    <a:pt x="68" y="74"/>
                  </a:lnTo>
                  <a:lnTo>
                    <a:pt x="68" y="74"/>
                  </a:lnTo>
                  <a:lnTo>
                    <a:pt x="68" y="74"/>
                  </a:lnTo>
                  <a:lnTo>
                    <a:pt x="68" y="74"/>
                  </a:lnTo>
                  <a:lnTo>
                    <a:pt x="68" y="74"/>
                  </a:lnTo>
                  <a:lnTo>
                    <a:pt x="68" y="72"/>
                  </a:lnTo>
                  <a:lnTo>
                    <a:pt x="64" y="72"/>
                  </a:lnTo>
                  <a:lnTo>
                    <a:pt x="64" y="72"/>
                  </a:lnTo>
                  <a:lnTo>
                    <a:pt x="64" y="68"/>
                  </a:lnTo>
                  <a:lnTo>
                    <a:pt x="64" y="68"/>
                  </a:lnTo>
                  <a:lnTo>
                    <a:pt x="64" y="68"/>
                  </a:lnTo>
                  <a:lnTo>
                    <a:pt x="60" y="68"/>
                  </a:lnTo>
                  <a:lnTo>
                    <a:pt x="60" y="68"/>
                  </a:lnTo>
                  <a:lnTo>
                    <a:pt x="60" y="68"/>
                  </a:lnTo>
                  <a:lnTo>
                    <a:pt x="60" y="68"/>
                  </a:lnTo>
                  <a:lnTo>
                    <a:pt x="60" y="68"/>
                  </a:lnTo>
                  <a:lnTo>
                    <a:pt x="60" y="68"/>
                  </a:lnTo>
                  <a:lnTo>
                    <a:pt x="56" y="68"/>
                  </a:lnTo>
                  <a:lnTo>
                    <a:pt x="56" y="68"/>
                  </a:lnTo>
                  <a:lnTo>
                    <a:pt x="56" y="64"/>
                  </a:lnTo>
                  <a:lnTo>
                    <a:pt x="56" y="64"/>
                  </a:lnTo>
                  <a:lnTo>
                    <a:pt x="56" y="64"/>
                  </a:lnTo>
                  <a:lnTo>
                    <a:pt x="56" y="64"/>
                  </a:lnTo>
                  <a:lnTo>
                    <a:pt x="56" y="64"/>
                  </a:lnTo>
                  <a:lnTo>
                    <a:pt x="52" y="64"/>
                  </a:lnTo>
                  <a:lnTo>
                    <a:pt x="52" y="64"/>
                  </a:lnTo>
                  <a:lnTo>
                    <a:pt x="52" y="64"/>
                  </a:lnTo>
                  <a:lnTo>
                    <a:pt x="52" y="64"/>
                  </a:lnTo>
                  <a:lnTo>
                    <a:pt x="52" y="64"/>
                  </a:lnTo>
                  <a:lnTo>
                    <a:pt x="48" y="64"/>
                  </a:lnTo>
                  <a:lnTo>
                    <a:pt x="48" y="64"/>
                  </a:lnTo>
                  <a:lnTo>
                    <a:pt x="48" y="64"/>
                  </a:lnTo>
                  <a:lnTo>
                    <a:pt x="48" y="64"/>
                  </a:lnTo>
                  <a:lnTo>
                    <a:pt x="48" y="64"/>
                  </a:lnTo>
                  <a:lnTo>
                    <a:pt x="48" y="64"/>
                  </a:lnTo>
                  <a:lnTo>
                    <a:pt x="48" y="64"/>
                  </a:lnTo>
                  <a:lnTo>
                    <a:pt x="46" y="64"/>
                  </a:lnTo>
                  <a:lnTo>
                    <a:pt x="46" y="60"/>
                  </a:lnTo>
                  <a:lnTo>
                    <a:pt x="46" y="64"/>
                  </a:lnTo>
                  <a:lnTo>
                    <a:pt x="42" y="64"/>
                  </a:lnTo>
                  <a:lnTo>
                    <a:pt x="42" y="64"/>
                  </a:lnTo>
                  <a:lnTo>
                    <a:pt x="42" y="64"/>
                  </a:lnTo>
                  <a:lnTo>
                    <a:pt x="42" y="64"/>
                  </a:lnTo>
                  <a:lnTo>
                    <a:pt x="42" y="60"/>
                  </a:lnTo>
                  <a:lnTo>
                    <a:pt x="42" y="60"/>
                  </a:lnTo>
                  <a:lnTo>
                    <a:pt x="42" y="60"/>
                  </a:lnTo>
                  <a:lnTo>
                    <a:pt x="38" y="60"/>
                  </a:lnTo>
                  <a:lnTo>
                    <a:pt x="38" y="60"/>
                  </a:lnTo>
                  <a:lnTo>
                    <a:pt x="38" y="60"/>
                  </a:lnTo>
                  <a:lnTo>
                    <a:pt x="38" y="60"/>
                  </a:lnTo>
                  <a:lnTo>
                    <a:pt x="38" y="64"/>
                  </a:lnTo>
                  <a:lnTo>
                    <a:pt x="38" y="64"/>
                  </a:lnTo>
                  <a:lnTo>
                    <a:pt x="34" y="64"/>
                  </a:lnTo>
                  <a:lnTo>
                    <a:pt x="30" y="64"/>
                  </a:lnTo>
                  <a:lnTo>
                    <a:pt x="30" y="64"/>
                  </a:lnTo>
                  <a:lnTo>
                    <a:pt x="26" y="64"/>
                  </a:lnTo>
                  <a:lnTo>
                    <a:pt x="26" y="60"/>
                  </a:lnTo>
                  <a:lnTo>
                    <a:pt x="26" y="60"/>
                  </a:lnTo>
                  <a:lnTo>
                    <a:pt x="26" y="60"/>
                  </a:lnTo>
                  <a:lnTo>
                    <a:pt x="26" y="60"/>
                  </a:lnTo>
                  <a:lnTo>
                    <a:pt x="26" y="60"/>
                  </a:lnTo>
                  <a:lnTo>
                    <a:pt x="22" y="60"/>
                  </a:lnTo>
                  <a:lnTo>
                    <a:pt x="22" y="60"/>
                  </a:lnTo>
                  <a:lnTo>
                    <a:pt x="22" y="56"/>
                  </a:lnTo>
                  <a:lnTo>
                    <a:pt x="22" y="56"/>
                  </a:lnTo>
                  <a:lnTo>
                    <a:pt x="22" y="56"/>
                  </a:lnTo>
                  <a:lnTo>
                    <a:pt x="22" y="56"/>
                  </a:lnTo>
                  <a:lnTo>
                    <a:pt x="22" y="56"/>
                  </a:lnTo>
                  <a:lnTo>
                    <a:pt x="22" y="60"/>
                  </a:lnTo>
                  <a:lnTo>
                    <a:pt x="18" y="64"/>
                  </a:lnTo>
                  <a:lnTo>
                    <a:pt x="18" y="72"/>
                  </a:lnTo>
                  <a:lnTo>
                    <a:pt x="16" y="72"/>
                  </a:lnTo>
                  <a:lnTo>
                    <a:pt x="16" y="68"/>
                  </a:lnTo>
                  <a:lnTo>
                    <a:pt x="16" y="64"/>
                  </a:lnTo>
                  <a:lnTo>
                    <a:pt x="16" y="64"/>
                  </a:lnTo>
                  <a:lnTo>
                    <a:pt x="16" y="64"/>
                  </a:lnTo>
                  <a:lnTo>
                    <a:pt x="12" y="64"/>
                  </a:lnTo>
                  <a:lnTo>
                    <a:pt x="12" y="64"/>
                  </a:lnTo>
                  <a:lnTo>
                    <a:pt x="12" y="64"/>
                  </a:lnTo>
                  <a:lnTo>
                    <a:pt x="12" y="64"/>
                  </a:lnTo>
                  <a:lnTo>
                    <a:pt x="12" y="64"/>
                  </a:lnTo>
                  <a:lnTo>
                    <a:pt x="12" y="68"/>
                  </a:lnTo>
                  <a:lnTo>
                    <a:pt x="12" y="68"/>
                  </a:lnTo>
                  <a:lnTo>
                    <a:pt x="8" y="68"/>
                  </a:lnTo>
                  <a:lnTo>
                    <a:pt x="8" y="68"/>
                  </a:lnTo>
                  <a:lnTo>
                    <a:pt x="8" y="68"/>
                  </a:lnTo>
                  <a:lnTo>
                    <a:pt x="8" y="68"/>
                  </a:lnTo>
                  <a:lnTo>
                    <a:pt x="4" y="68"/>
                  </a:lnTo>
                  <a:lnTo>
                    <a:pt x="4" y="68"/>
                  </a:lnTo>
                  <a:lnTo>
                    <a:pt x="4" y="68"/>
                  </a:lnTo>
                  <a:lnTo>
                    <a:pt x="4" y="68"/>
                  </a:lnTo>
                  <a:lnTo>
                    <a:pt x="4" y="68"/>
                  </a:lnTo>
                  <a:lnTo>
                    <a:pt x="4" y="64"/>
                  </a:lnTo>
                  <a:lnTo>
                    <a:pt x="0" y="52"/>
                  </a:lnTo>
                  <a:lnTo>
                    <a:pt x="0" y="52"/>
                  </a:lnTo>
                  <a:lnTo>
                    <a:pt x="0" y="52"/>
                  </a:lnTo>
                  <a:lnTo>
                    <a:pt x="4" y="48"/>
                  </a:lnTo>
                  <a:lnTo>
                    <a:pt x="4" y="48"/>
                  </a:lnTo>
                  <a:lnTo>
                    <a:pt x="4" y="44"/>
                  </a:lnTo>
                  <a:lnTo>
                    <a:pt x="4" y="44"/>
                  </a:lnTo>
                  <a:lnTo>
                    <a:pt x="4" y="42"/>
                  </a:lnTo>
                  <a:lnTo>
                    <a:pt x="4" y="42"/>
                  </a:lnTo>
                  <a:lnTo>
                    <a:pt x="8" y="42"/>
                  </a:lnTo>
                  <a:lnTo>
                    <a:pt x="8" y="38"/>
                  </a:lnTo>
                  <a:lnTo>
                    <a:pt x="8" y="34"/>
                  </a:lnTo>
                  <a:lnTo>
                    <a:pt x="8" y="34"/>
                  </a:lnTo>
                  <a:lnTo>
                    <a:pt x="8" y="34"/>
                  </a:lnTo>
                  <a:lnTo>
                    <a:pt x="8" y="30"/>
                  </a:lnTo>
                  <a:lnTo>
                    <a:pt x="8" y="30"/>
                  </a:lnTo>
                  <a:lnTo>
                    <a:pt x="8" y="30"/>
                  </a:lnTo>
                  <a:lnTo>
                    <a:pt x="8" y="26"/>
                  </a:lnTo>
                  <a:lnTo>
                    <a:pt x="8" y="26"/>
                  </a:lnTo>
                  <a:lnTo>
                    <a:pt x="8" y="26"/>
                  </a:lnTo>
                  <a:lnTo>
                    <a:pt x="8" y="26"/>
                  </a:lnTo>
                  <a:lnTo>
                    <a:pt x="8" y="26"/>
                  </a:lnTo>
                  <a:lnTo>
                    <a:pt x="8" y="22"/>
                  </a:lnTo>
                  <a:lnTo>
                    <a:pt x="8" y="22"/>
                  </a:lnTo>
                  <a:lnTo>
                    <a:pt x="8" y="22"/>
                  </a:lnTo>
                  <a:lnTo>
                    <a:pt x="8" y="18"/>
                  </a:lnTo>
                  <a:lnTo>
                    <a:pt x="8" y="18"/>
                  </a:lnTo>
                  <a:lnTo>
                    <a:pt x="12" y="18"/>
                  </a:lnTo>
                  <a:lnTo>
                    <a:pt x="12" y="18"/>
                  </a:lnTo>
                  <a:lnTo>
                    <a:pt x="12" y="18"/>
                  </a:lnTo>
                  <a:lnTo>
                    <a:pt x="12" y="18"/>
                  </a:lnTo>
                  <a:lnTo>
                    <a:pt x="16" y="18"/>
                  </a:lnTo>
                  <a:lnTo>
                    <a:pt x="16" y="18"/>
                  </a:lnTo>
                  <a:lnTo>
                    <a:pt x="16" y="18"/>
                  </a:lnTo>
                  <a:lnTo>
                    <a:pt x="16" y="16"/>
                  </a:lnTo>
                  <a:lnTo>
                    <a:pt x="16" y="16"/>
                  </a:lnTo>
                  <a:lnTo>
                    <a:pt x="16" y="16"/>
                  </a:lnTo>
                  <a:lnTo>
                    <a:pt x="16" y="16"/>
                  </a:lnTo>
                  <a:lnTo>
                    <a:pt x="18" y="12"/>
                  </a:lnTo>
                  <a:lnTo>
                    <a:pt x="18" y="12"/>
                  </a:lnTo>
                  <a:lnTo>
                    <a:pt x="18" y="12"/>
                  </a:lnTo>
                  <a:lnTo>
                    <a:pt x="22" y="12"/>
                  </a:lnTo>
                  <a:lnTo>
                    <a:pt x="22" y="12"/>
                  </a:lnTo>
                  <a:lnTo>
                    <a:pt x="22" y="12"/>
                  </a:lnTo>
                  <a:lnTo>
                    <a:pt x="22" y="12"/>
                  </a:lnTo>
                  <a:lnTo>
                    <a:pt x="22" y="8"/>
                  </a:lnTo>
                  <a:lnTo>
                    <a:pt x="26" y="12"/>
                  </a:lnTo>
                  <a:lnTo>
                    <a:pt x="26" y="12"/>
                  </a:lnTo>
                  <a:lnTo>
                    <a:pt x="26" y="12"/>
                  </a:lnTo>
                  <a:lnTo>
                    <a:pt x="30" y="8"/>
                  </a:lnTo>
                  <a:lnTo>
                    <a:pt x="30" y="4"/>
                  </a:lnTo>
                  <a:lnTo>
                    <a:pt x="30" y="4"/>
                  </a:lnTo>
                  <a:lnTo>
                    <a:pt x="30" y="4"/>
                  </a:lnTo>
                  <a:lnTo>
                    <a:pt x="30" y="0"/>
                  </a:lnTo>
                  <a:lnTo>
                    <a:pt x="34" y="4"/>
                  </a:lnTo>
                  <a:lnTo>
                    <a:pt x="34" y="4"/>
                  </a:lnTo>
                  <a:lnTo>
                    <a:pt x="34" y="4"/>
                  </a:lnTo>
                  <a:lnTo>
                    <a:pt x="34" y="8"/>
                  </a:lnTo>
                  <a:lnTo>
                    <a:pt x="34" y="8"/>
                  </a:lnTo>
                  <a:lnTo>
                    <a:pt x="38" y="12"/>
                  </a:lnTo>
                  <a:lnTo>
                    <a:pt x="38" y="12"/>
                  </a:lnTo>
                  <a:lnTo>
                    <a:pt x="38" y="16"/>
                  </a:lnTo>
                  <a:lnTo>
                    <a:pt x="38" y="18"/>
                  </a:lnTo>
                  <a:lnTo>
                    <a:pt x="38" y="22"/>
                  </a:lnTo>
                  <a:lnTo>
                    <a:pt x="38" y="22"/>
                  </a:lnTo>
                  <a:lnTo>
                    <a:pt x="42" y="22"/>
                  </a:lnTo>
                  <a:lnTo>
                    <a:pt x="42" y="26"/>
                  </a:lnTo>
                  <a:lnTo>
                    <a:pt x="42" y="26"/>
                  </a:lnTo>
                  <a:lnTo>
                    <a:pt x="42" y="26"/>
                  </a:lnTo>
                  <a:lnTo>
                    <a:pt x="42" y="26"/>
                  </a:lnTo>
                  <a:lnTo>
                    <a:pt x="42" y="26"/>
                  </a:lnTo>
                  <a:lnTo>
                    <a:pt x="42" y="30"/>
                  </a:lnTo>
                  <a:lnTo>
                    <a:pt x="42" y="30"/>
                  </a:lnTo>
                  <a:lnTo>
                    <a:pt x="42" y="30"/>
                  </a:lnTo>
                  <a:lnTo>
                    <a:pt x="42" y="30"/>
                  </a:lnTo>
                  <a:lnTo>
                    <a:pt x="42" y="30"/>
                  </a:lnTo>
                  <a:close/>
                  <a:moveTo>
                    <a:pt x="52" y="38"/>
                  </a:moveTo>
                  <a:lnTo>
                    <a:pt x="52" y="38"/>
                  </a:lnTo>
                  <a:lnTo>
                    <a:pt x="52" y="38"/>
                  </a:lnTo>
                  <a:lnTo>
                    <a:pt x="52" y="42"/>
                  </a:lnTo>
                  <a:lnTo>
                    <a:pt x="52" y="42"/>
                  </a:lnTo>
                  <a:lnTo>
                    <a:pt x="52" y="42"/>
                  </a:lnTo>
                  <a:lnTo>
                    <a:pt x="52" y="42"/>
                  </a:lnTo>
                  <a:lnTo>
                    <a:pt x="52" y="42"/>
                  </a:lnTo>
                  <a:lnTo>
                    <a:pt x="52" y="42"/>
                  </a:lnTo>
                  <a:lnTo>
                    <a:pt x="52" y="42"/>
                  </a:lnTo>
                  <a:lnTo>
                    <a:pt x="52"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2"/>
                  </a:lnTo>
                  <a:lnTo>
                    <a:pt x="56" y="44"/>
                  </a:lnTo>
                  <a:lnTo>
                    <a:pt x="56" y="44"/>
                  </a:lnTo>
                  <a:lnTo>
                    <a:pt x="56" y="44"/>
                  </a:lnTo>
                  <a:lnTo>
                    <a:pt x="56" y="44"/>
                  </a:lnTo>
                  <a:lnTo>
                    <a:pt x="56" y="44"/>
                  </a:lnTo>
                  <a:lnTo>
                    <a:pt x="52" y="44"/>
                  </a:lnTo>
                  <a:lnTo>
                    <a:pt x="52" y="44"/>
                  </a:lnTo>
                  <a:lnTo>
                    <a:pt x="52" y="44"/>
                  </a:lnTo>
                  <a:lnTo>
                    <a:pt x="52" y="44"/>
                  </a:lnTo>
                  <a:lnTo>
                    <a:pt x="52" y="44"/>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42"/>
                  </a:lnTo>
                  <a:lnTo>
                    <a:pt x="52" y="38"/>
                  </a:lnTo>
                  <a:lnTo>
                    <a:pt x="52" y="38"/>
                  </a:lnTo>
                  <a:lnTo>
                    <a:pt x="52" y="38"/>
                  </a:lnTo>
                  <a:lnTo>
                    <a:pt x="52" y="3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52" name="Freeform 145"/>
            <p:cNvSpPr>
              <a:spLocks/>
            </p:cNvSpPr>
            <p:nvPr/>
          </p:nvSpPr>
          <p:spPr bwMode="auto">
            <a:xfrm>
              <a:off x="7332924" y="3993073"/>
              <a:ext cx="133132" cy="129451"/>
            </a:xfrm>
            <a:custGeom>
              <a:avLst/>
              <a:gdLst>
                <a:gd name="T0" fmla="*/ 172 w 212"/>
                <a:gd name="T1" fmla="*/ 172 h 198"/>
                <a:gd name="T2" fmla="*/ 152 w 212"/>
                <a:gd name="T3" fmla="*/ 172 h 198"/>
                <a:gd name="T4" fmla="*/ 142 w 212"/>
                <a:gd name="T5" fmla="*/ 176 h 198"/>
                <a:gd name="T6" fmla="*/ 134 w 212"/>
                <a:gd name="T7" fmla="*/ 184 h 198"/>
                <a:gd name="T8" fmla="*/ 122 w 212"/>
                <a:gd name="T9" fmla="*/ 188 h 198"/>
                <a:gd name="T10" fmla="*/ 108 w 212"/>
                <a:gd name="T11" fmla="*/ 184 h 198"/>
                <a:gd name="T12" fmla="*/ 96 w 212"/>
                <a:gd name="T13" fmla="*/ 194 h 198"/>
                <a:gd name="T14" fmla="*/ 90 w 212"/>
                <a:gd name="T15" fmla="*/ 194 h 198"/>
                <a:gd name="T16" fmla="*/ 78 w 212"/>
                <a:gd name="T17" fmla="*/ 194 h 198"/>
                <a:gd name="T18" fmla="*/ 60 w 212"/>
                <a:gd name="T19" fmla="*/ 184 h 198"/>
                <a:gd name="T20" fmla="*/ 48 w 212"/>
                <a:gd name="T21" fmla="*/ 180 h 198"/>
                <a:gd name="T22" fmla="*/ 40 w 212"/>
                <a:gd name="T23" fmla="*/ 168 h 198"/>
                <a:gd name="T24" fmla="*/ 32 w 212"/>
                <a:gd name="T25" fmla="*/ 162 h 198"/>
                <a:gd name="T26" fmla="*/ 30 w 212"/>
                <a:gd name="T27" fmla="*/ 150 h 198"/>
                <a:gd name="T28" fmla="*/ 22 w 212"/>
                <a:gd name="T29" fmla="*/ 142 h 198"/>
                <a:gd name="T30" fmla="*/ 14 w 212"/>
                <a:gd name="T31" fmla="*/ 132 h 198"/>
                <a:gd name="T32" fmla="*/ 4 w 212"/>
                <a:gd name="T33" fmla="*/ 124 h 198"/>
                <a:gd name="T34" fmla="*/ 4 w 212"/>
                <a:gd name="T35" fmla="*/ 112 h 198"/>
                <a:gd name="T36" fmla="*/ 14 w 212"/>
                <a:gd name="T37" fmla="*/ 110 h 198"/>
                <a:gd name="T38" fmla="*/ 18 w 212"/>
                <a:gd name="T39" fmla="*/ 90 h 198"/>
                <a:gd name="T40" fmla="*/ 18 w 212"/>
                <a:gd name="T41" fmla="*/ 76 h 198"/>
                <a:gd name="T42" fmla="*/ 30 w 212"/>
                <a:gd name="T43" fmla="*/ 72 h 198"/>
                <a:gd name="T44" fmla="*/ 30 w 212"/>
                <a:gd name="T45" fmla="*/ 56 h 198"/>
                <a:gd name="T46" fmla="*/ 36 w 212"/>
                <a:gd name="T47" fmla="*/ 42 h 198"/>
                <a:gd name="T48" fmla="*/ 44 w 212"/>
                <a:gd name="T49" fmla="*/ 34 h 198"/>
                <a:gd name="T50" fmla="*/ 48 w 212"/>
                <a:gd name="T51" fmla="*/ 16 h 198"/>
                <a:gd name="T52" fmla="*/ 60 w 212"/>
                <a:gd name="T53" fmla="*/ 8 h 198"/>
                <a:gd name="T54" fmla="*/ 66 w 212"/>
                <a:gd name="T55" fmla="*/ 16 h 198"/>
                <a:gd name="T56" fmla="*/ 70 w 212"/>
                <a:gd name="T57" fmla="*/ 4 h 198"/>
                <a:gd name="T58" fmla="*/ 82 w 212"/>
                <a:gd name="T59" fmla="*/ 8 h 198"/>
                <a:gd name="T60" fmla="*/ 90 w 212"/>
                <a:gd name="T61" fmla="*/ 8 h 198"/>
                <a:gd name="T62" fmla="*/ 96 w 212"/>
                <a:gd name="T63" fmla="*/ 8 h 198"/>
                <a:gd name="T64" fmla="*/ 108 w 212"/>
                <a:gd name="T65" fmla="*/ 12 h 198"/>
                <a:gd name="T66" fmla="*/ 116 w 212"/>
                <a:gd name="T67" fmla="*/ 20 h 198"/>
                <a:gd name="T68" fmla="*/ 122 w 212"/>
                <a:gd name="T69" fmla="*/ 30 h 198"/>
                <a:gd name="T70" fmla="*/ 130 w 212"/>
                <a:gd name="T71" fmla="*/ 38 h 198"/>
                <a:gd name="T72" fmla="*/ 130 w 212"/>
                <a:gd name="T73" fmla="*/ 46 h 198"/>
                <a:gd name="T74" fmla="*/ 122 w 212"/>
                <a:gd name="T75" fmla="*/ 60 h 198"/>
                <a:gd name="T76" fmla="*/ 130 w 212"/>
                <a:gd name="T77" fmla="*/ 68 h 198"/>
                <a:gd name="T78" fmla="*/ 142 w 212"/>
                <a:gd name="T79" fmla="*/ 72 h 198"/>
                <a:gd name="T80" fmla="*/ 142 w 212"/>
                <a:gd name="T81" fmla="*/ 82 h 198"/>
                <a:gd name="T82" fmla="*/ 148 w 212"/>
                <a:gd name="T83" fmla="*/ 94 h 198"/>
                <a:gd name="T84" fmla="*/ 164 w 212"/>
                <a:gd name="T85" fmla="*/ 106 h 198"/>
                <a:gd name="T86" fmla="*/ 186 w 212"/>
                <a:gd name="T87" fmla="*/ 112 h 198"/>
                <a:gd name="T88" fmla="*/ 198 w 212"/>
                <a:gd name="T89" fmla="*/ 120 h 198"/>
                <a:gd name="T90" fmla="*/ 208 w 212"/>
                <a:gd name="T91" fmla="*/ 124 h 198"/>
                <a:gd name="T92" fmla="*/ 186 w 212"/>
                <a:gd name="T93" fmla="*/ 150 h 198"/>
                <a:gd name="T94" fmla="*/ 178 w 212"/>
                <a:gd name="T95" fmla="*/ 16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2" h="198">
                  <a:moveTo>
                    <a:pt x="178" y="162"/>
                  </a:moveTo>
                  <a:lnTo>
                    <a:pt x="176" y="164"/>
                  </a:lnTo>
                  <a:lnTo>
                    <a:pt x="172" y="168"/>
                  </a:lnTo>
                  <a:lnTo>
                    <a:pt x="172" y="172"/>
                  </a:lnTo>
                  <a:lnTo>
                    <a:pt x="164" y="172"/>
                  </a:lnTo>
                  <a:lnTo>
                    <a:pt x="160" y="172"/>
                  </a:lnTo>
                  <a:lnTo>
                    <a:pt x="156" y="172"/>
                  </a:lnTo>
                  <a:lnTo>
                    <a:pt x="152" y="172"/>
                  </a:lnTo>
                  <a:lnTo>
                    <a:pt x="148" y="172"/>
                  </a:lnTo>
                  <a:lnTo>
                    <a:pt x="148" y="176"/>
                  </a:lnTo>
                  <a:lnTo>
                    <a:pt x="146" y="176"/>
                  </a:lnTo>
                  <a:lnTo>
                    <a:pt x="142" y="176"/>
                  </a:lnTo>
                  <a:lnTo>
                    <a:pt x="142" y="180"/>
                  </a:lnTo>
                  <a:lnTo>
                    <a:pt x="142" y="184"/>
                  </a:lnTo>
                  <a:lnTo>
                    <a:pt x="138" y="184"/>
                  </a:lnTo>
                  <a:lnTo>
                    <a:pt x="134" y="184"/>
                  </a:lnTo>
                  <a:lnTo>
                    <a:pt x="130" y="184"/>
                  </a:lnTo>
                  <a:lnTo>
                    <a:pt x="130" y="188"/>
                  </a:lnTo>
                  <a:lnTo>
                    <a:pt x="126" y="188"/>
                  </a:lnTo>
                  <a:lnTo>
                    <a:pt x="122" y="188"/>
                  </a:lnTo>
                  <a:lnTo>
                    <a:pt x="118" y="188"/>
                  </a:lnTo>
                  <a:lnTo>
                    <a:pt x="116" y="188"/>
                  </a:lnTo>
                  <a:lnTo>
                    <a:pt x="112" y="184"/>
                  </a:lnTo>
                  <a:lnTo>
                    <a:pt x="108" y="184"/>
                  </a:lnTo>
                  <a:lnTo>
                    <a:pt x="104" y="188"/>
                  </a:lnTo>
                  <a:lnTo>
                    <a:pt x="100" y="188"/>
                  </a:lnTo>
                  <a:lnTo>
                    <a:pt x="96" y="192"/>
                  </a:lnTo>
                  <a:lnTo>
                    <a:pt x="96" y="194"/>
                  </a:lnTo>
                  <a:lnTo>
                    <a:pt x="92" y="194"/>
                  </a:lnTo>
                  <a:lnTo>
                    <a:pt x="92" y="198"/>
                  </a:lnTo>
                  <a:lnTo>
                    <a:pt x="90" y="198"/>
                  </a:lnTo>
                  <a:lnTo>
                    <a:pt x="90" y="194"/>
                  </a:lnTo>
                  <a:lnTo>
                    <a:pt x="90" y="198"/>
                  </a:lnTo>
                  <a:lnTo>
                    <a:pt x="86" y="194"/>
                  </a:lnTo>
                  <a:lnTo>
                    <a:pt x="82" y="194"/>
                  </a:lnTo>
                  <a:lnTo>
                    <a:pt x="78" y="194"/>
                  </a:lnTo>
                  <a:lnTo>
                    <a:pt x="74" y="194"/>
                  </a:lnTo>
                  <a:lnTo>
                    <a:pt x="70" y="194"/>
                  </a:lnTo>
                  <a:lnTo>
                    <a:pt x="70" y="192"/>
                  </a:lnTo>
                  <a:lnTo>
                    <a:pt x="60" y="184"/>
                  </a:lnTo>
                  <a:lnTo>
                    <a:pt x="60" y="180"/>
                  </a:lnTo>
                  <a:lnTo>
                    <a:pt x="56" y="180"/>
                  </a:lnTo>
                  <a:lnTo>
                    <a:pt x="52" y="180"/>
                  </a:lnTo>
                  <a:lnTo>
                    <a:pt x="48" y="180"/>
                  </a:lnTo>
                  <a:lnTo>
                    <a:pt x="44" y="180"/>
                  </a:lnTo>
                  <a:lnTo>
                    <a:pt x="40" y="180"/>
                  </a:lnTo>
                  <a:lnTo>
                    <a:pt x="40" y="176"/>
                  </a:lnTo>
                  <a:lnTo>
                    <a:pt x="40" y="168"/>
                  </a:lnTo>
                  <a:lnTo>
                    <a:pt x="40" y="164"/>
                  </a:lnTo>
                  <a:lnTo>
                    <a:pt x="36" y="164"/>
                  </a:lnTo>
                  <a:lnTo>
                    <a:pt x="32" y="164"/>
                  </a:lnTo>
                  <a:lnTo>
                    <a:pt x="32" y="162"/>
                  </a:lnTo>
                  <a:lnTo>
                    <a:pt x="30" y="162"/>
                  </a:lnTo>
                  <a:lnTo>
                    <a:pt x="30" y="158"/>
                  </a:lnTo>
                  <a:lnTo>
                    <a:pt x="30" y="154"/>
                  </a:lnTo>
                  <a:lnTo>
                    <a:pt x="30" y="150"/>
                  </a:lnTo>
                  <a:lnTo>
                    <a:pt x="26" y="150"/>
                  </a:lnTo>
                  <a:lnTo>
                    <a:pt x="26" y="146"/>
                  </a:lnTo>
                  <a:lnTo>
                    <a:pt x="26" y="142"/>
                  </a:lnTo>
                  <a:lnTo>
                    <a:pt x="22" y="142"/>
                  </a:lnTo>
                  <a:lnTo>
                    <a:pt x="22" y="138"/>
                  </a:lnTo>
                  <a:lnTo>
                    <a:pt x="18" y="138"/>
                  </a:lnTo>
                  <a:lnTo>
                    <a:pt x="18" y="136"/>
                  </a:lnTo>
                  <a:lnTo>
                    <a:pt x="14" y="132"/>
                  </a:lnTo>
                  <a:lnTo>
                    <a:pt x="14" y="128"/>
                  </a:lnTo>
                  <a:lnTo>
                    <a:pt x="10" y="124"/>
                  </a:lnTo>
                  <a:lnTo>
                    <a:pt x="6" y="124"/>
                  </a:lnTo>
                  <a:lnTo>
                    <a:pt x="4" y="124"/>
                  </a:lnTo>
                  <a:lnTo>
                    <a:pt x="0" y="124"/>
                  </a:lnTo>
                  <a:lnTo>
                    <a:pt x="0" y="120"/>
                  </a:lnTo>
                  <a:lnTo>
                    <a:pt x="4" y="116"/>
                  </a:lnTo>
                  <a:lnTo>
                    <a:pt x="4" y="112"/>
                  </a:lnTo>
                  <a:lnTo>
                    <a:pt x="6" y="112"/>
                  </a:lnTo>
                  <a:lnTo>
                    <a:pt x="10" y="112"/>
                  </a:lnTo>
                  <a:lnTo>
                    <a:pt x="14" y="112"/>
                  </a:lnTo>
                  <a:lnTo>
                    <a:pt x="14" y="110"/>
                  </a:lnTo>
                  <a:lnTo>
                    <a:pt x="18" y="106"/>
                  </a:lnTo>
                  <a:lnTo>
                    <a:pt x="18" y="102"/>
                  </a:lnTo>
                  <a:lnTo>
                    <a:pt x="14" y="94"/>
                  </a:lnTo>
                  <a:lnTo>
                    <a:pt x="18" y="90"/>
                  </a:lnTo>
                  <a:lnTo>
                    <a:pt x="18" y="86"/>
                  </a:lnTo>
                  <a:lnTo>
                    <a:pt x="18" y="82"/>
                  </a:lnTo>
                  <a:lnTo>
                    <a:pt x="18" y="80"/>
                  </a:lnTo>
                  <a:lnTo>
                    <a:pt x="18" y="76"/>
                  </a:lnTo>
                  <a:lnTo>
                    <a:pt x="22" y="72"/>
                  </a:lnTo>
                  <a:lnTo>
                    <a:pt x="22" y="68"/>
                  </a:lnTo>
                  <a:lnTo>
                    <a:pt x="26" y="72"/>
                  </a:lnTo>
                  <a:lnTo>
                    <a:pt x="30" y="72"/>
                  </a:lnTo>
                  <a:lnTo>
                    <a:pt x="30" y="68"/>
                  </a:lnTo>
                  <a:lnTo>
                    <a:pt x="30" y="64"/>
                  </a:lnTo>
                  <a:lnTo>
                    <a:pt x="30" y="60"/>
                  </a:lnTo>
                  <a:lnTo>
                    <a:pt x="30" y="56"/>
                  </a:lnTo>
                  <a:lnTo>
                    <a:pt x="30" y="54"/>
                  </a:lnTo>
                  <a:lnTo>
                    <a:pt x="32" y="54"/>
                  </a:lnTo>
                  <a:lnTo>
                    <a:pt x="32" y="50"/>
                  </a:lnTo>
                  <a:lnTo>
                    <a:pt x="36" y="42"/>
                  </a:lnTo>
                  <a:lnTo>
                    <a:pt x="36" y="38"/>
                  </a:lnTo>
                  <a:lnTo>
                    <a:pt x="40" y="38"/>
                  </a:lnTo>
                  <a:lnTo>
                    <a:pt x="44" y="38"/>
                  </a:lnTo>
                  <a:lnTo>
                    <a:pt x="44" y="34"/>
                  </a:lnTo>
                  <a:lnTo>
                    <a:pt x="48" y="26"/>
                  </a:lnTo>
                  <a:lnTo>
                    <a:pt x="48" y="24"/>
                  </a:lnTo>
                  <a:lnTo>
                    <a:pt x="48" y="20"/>
                  </a:lnTo>
                  <a:lnTo>
                    <a:pt x="48" y="16"/>
                  </a:lnTo>
                  <a:lnTo>
                    <a:pt x="52" y="12"/>
                  </a:lnTo>
                  <a:lnTo>
                    <a:pt x="56" y="12"/>
                  </a:lnTo>
                  <a:lnTo>
                    <a:pt x="60" y="12"/>
                  </a:lnTo>
                  <a:lnTo>
                    <a:pt x="60" y="8"/>
                  </a:lnTo>
                  <a:lnTo>
                    <a:pt x="62" y="8"/>
                  </a:lnTo>
                  <a:lnTo>
                    <a:pt x="62" y="12"/>
                  </a:lnTo>
                  <a:lnTo>
                    <a:pt x="62" y="16"/>
                  </a:lnTo>
                  <a:lnTo>
                    <a:pt x="66" y="16"/>
                  </a:lnTo>
                  <a:lnTo>
                    <a:pt x="66" y="8"/>
                  </a:lnTo>
                  <a:lnTo>
                    <a:pt x="70" y="4"/>
                  </a:lnTo>
                  <a:lnTo>
                    <a:pt x="70" y="0"/>
                  </a:lnTo>
                  <a:lnTo>
                    <a:pt x="70" y="4"/>
                  </a:lnTo>
                  <a:lnTo>
                    <a:pt x="74" y="4"/>
                  </a:lnTo>
                  <a:lnTo>
                    <a:pt x="74" y="8"/>
                  </a:lnTo>
                  <a:lnTo>
                    <a:pt x="78" y="8"/>
                  </a:lnTo>
                  <a:lnTo>
                    <a:pt x="82" y="8"/>
                  </a:lnTo>
                  <a:lnTo>
                    <a:pt x="86" y="8"/>
                  </a:lnTo>
                  <a:lnTo>
                    <a:pt x="86" y="4"/>
                  </a:lnTo>
                  <a:lnTo>
                    <a:pt x="90" y="4"/>
                  </a:lnTo>
                  <a:lnTo>
                    <a:pt x="90" y="8"/>
                  </a:lnTo>
                  <a:lnTo>
                    <a:pt x="92" y="8"/>
                  </a:lnTo>
                  <a:lnTo>
                    <a:pt x="92" y="4"/>
                  </a:lnTo>
                  <a:lnTo>
                    <a:pt x="92" y="8"/>
                  </a:lnTo>
                  <a:lnTo>
                    <a:pt x="96" y="8"/>
                  </a:lnTo>
                  <a:lnTo>
                    <a:pt x="100" y="8"/>
                  </a:lnTo>
                  <a:lnTo>
                    <a:pt x="104" y="8"/>
                  </a:lnTo>
                  <a:lnTo>
                    <a:pt x="104" y="12"/>
                  </a:lnTo>
                  <a:lnTo>
                    <a:pt x="108" y="12"/>
                  </a:lnTo>
                  <a:lnTo>
                    <a:pt x="112" y="12"/>
                  </a:lnTo>
                  <a:lnTo>
                    <a:pt x="112" y="16"/>
                  </a:lnTo>
                  <a:lnTo>
                    <a:pt x="116" y="16"/>
                  </a:lnTo>
                  <a:lnTo>
                    <a:pt x="116" y="20"/>
                  </a:lnTo>
                  <a:lnTo>
                    <a:pt x="116" y="24"/>
                  </a:lnTo>
                  <a:lnTo>
                    <a:pt x="118" y="26"/>
                  </a:lnTo>
                  <a:lnTo>
                    <a:pt x="122" y="26"/>
                  </a:lnTo>
                  <a:lnTo>
                    <a:pt x="122" y="30"/>
                  </a:lnTo>
                  <a:lnTo>
                    <a:pt x="126" y="30"/>
                  </a:lnTo>
                  <a:lnTo>
                    <a:pt x="126" y="34"/>
                  </a:lnTo>
                  <a:lnTo>
                    <a:pt x="130" y="34"/>
                  </a:lnTo>
                  <a:lnTo>
                    <a:pt x="130" y="38"/>
                  </a:lnTo>
                  <a:lnTo>
                    <a:pt x="130" y="42"/>
                  </a:lnTo>
                  <a:lnTo>
                    <a:pt x="134" y="42"/>
                  </a:lnTo>
                  <a:lnTo>
                    <a:pt x="134" y="46"/>
                  </a:lnTo>
                  <a:lnTo>
                    <a:pt x="130" y="46"/>
                  </a:lnTo>
                  <a:lnTo>
                    <a:pt x="130" y="50"/>
                  </a:lnTo>
                  <a:lnTo>
                    <a:pt x="126" y="54"/>
                  </a:lnTo>
                  <a:lnTo>
                    <a:pt x="126" y="56"/>
                  </a:lnTo>
                  <a:lnTo>
                    <a:pt x="122" y="60"/>
                  </a:lnTo>
                  <a:lnTo>
                    <a:pt x="126" y="60"/>
                  </a:lnTo>
                  <a:lnTo>
                    <a:pt x="126" y="64"/>
                  </a:lnTo>
                  <a:lnTo>
                    <a:pt x="126" y="68"/>
                  </a:lnTo>
                  <a:lnTo>
                    <a:pt x="130" y="68"/>
                  </a:lnTo>
                  <a:lnTo>
                    <a:pt x="134" y="68"/>
                  </a:lnTo>
                  <a:lnTo>
                    <a:pt x="138" y="68"/>
                  </a:lnTo>
                  <a:lnTo>
                    <a:pt x="142" y="68"/>
                  </a:lnTo>
                  <a:lnTo>
                    <a:pt x="142" y="72"/>
                  </a:lnTo>
                  <a:lnTo>
                    <a:pt x="138" y="72"/>
                  </a:lnTo>
                  <a:lnTo>
                    <a:pt x="138" y="76"/>
                  </a:lnTo>
                  <a:lnTo>
                    <a:pt x="138" y="80"/>
                  </a:lnTo>
                  <a:lnTo>
                    <a:pt x="142" y="82"/>
                  </a:lnTo>
                  <a:lnTo>
                    <a:pt x="142" y="86"/>
                  </a:lnTo>
                  <a:lnTo>
                    <a:pt x="146" y="86"/>
                  </a:lnTo>
                  <a:lnTo>
                    <a:pt x="146" y="90"/>
                  </a:lnTo>
                  <a:lnTo>
                    <a:pt x="148" y="94"/>
                  </a:lnTo>
                  <a:lnTo>
                    <a:pt x="148" y="98"/>
                  </a:lnTo>
                  <a:lnTo>
                    <a:pt x="152" y="98"/>
                  </a:lnTo>
                  <a:lnTo>
                    <a:pt x="156" y="102"/>
                  </a:lnTo>
                  <a:lnTo>
                    <a:pt x="164" y="106"/>
                  </a:lnTo>
                  <a:lnTo>
                    <a:pt x="172" y="110"/>
                  </a:lnTo>
                  <a:lnTo>
                    <a:pt x="176" y="110"/>
                  </a:lnTo>
                  <a:lnTo>
                    <a:pt x="178" y="112"/>
                  </a:lnTo>
                  <a:lnTo>
                    <a:pt x="186" y="112"/>
                  </a:lnTo>
                  <a:lnTo>
                    <a:pt x="190" y="116"/>
                  </a:lnTo>
                  <a:lnTo>
                    <a:pt x="194" y="116"/>
                  </a:lnTo>
                  <a:lnTo>
                    <a:pt x="198" y="116"/>
                  </a:lnTo>
                  <a:lnTo>
                    <a:pt x="198" y="120"/>
                  </a:lnTo>
                  <a:lnTo>
                    <a:pt x="202" y="120"/>
                  </a:lnTo>
                  <a:lnTo>
                    <a:pt x="208" y="120"/>
                  </a:lnTo>
                  <a:lnTo>
                    <a:pt x="212" y="120"/>
                  </a:lnTo>
                  <a:lnTo>
                    <a:pt x="208" y="124"/>
                  </a:lnTo>
                  <a:lnTo>
                    <a:pt x="204" y="128"/>
                  </a:lnTo>
                  <a:lnTo>
                    <a:pt x="198" y="136"/>
                  </a:lnTo>
                  <a:lnTo>
                    <a:pt x="194" y="142"/>
                  </a:lnTo>
                  <a:lnTo>
                    <a:pt x="186" y="150"/>
                  </a:lnTo>
                  <a:lnTo>
                    <a:pt x="186" y="154"/>
                  </a:lnTo>
                  <a:lnTo>
                    <a:pt x="182" y="154"/>
                  </a:lnTo>
                  <a:lnTo>
                    <a:pt x="178" y="158"/>
                  </a:lnTo>
                  <a:lnTo>
                    <a:pt x="178" y="162"/>
                  </a:lnTo>
                  <a:lnTo>
                    <a:pt x="178" y="162"/>
                  </a:lnTo>
                  <a:lnTo>
                    <a:pt x="178" y="16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53" name="Freeform 146"/>
            <p:cNvSpPr>
              <a:spLocks noEditPoints="1"/>
            </p:cNvSpPr>
            <p:nvPr/>
          </p:nvSpPr>
          <p:spPr bwMode="auto">
            <a:xfrm>
              <a:off x="7116898" y="4135599"/>
              <a:ext cx="52750" cy="67994"/>
            </a:xfrm>
            <a:custGeom>
              <a:avLst/>
              <a:gdLst>
                <a:gd name="T0" fmla="*/ 46 w 84"/>
                <a:gd name="T1" fmla="*/ 90 h 104"/>
                <a:gd name="T2" fmla="*/ 46 w 84"/>
                <a:gd name="T3" fmla="*/ 96 h 104"/>
                <a:gd name="T4" fmla="*/ 46 w 84"/>
                <a:gd name="T5" fmla="*/ 100 h 104"/>
                <a:gd name="T6" fmla="*/ 42 w 84"/>
                <a:gd name="T7" fmla="*/ 100 h 104"/>
                <a:gd name="T8" fmla="*/ 34 w 84"/>
                <a:gd name="T9" fmla="*/ 104 h 104"/>
                <a:gd name="T10" fmla="*/ 30 w 84"/>
                <a:gd name="T11" fmla="*/ 100 h 104"/>
                <a:gd name="T12" fmla="*/ 26 w 84"/>
                <a:gd name="T13" fmla="*/ 92 h 104"/>
                <a:gd name="T14" fmla="*/ 20 w 84"/>
                <a:gd name="T15" fmla="*/ 86 h 104"/>
                <a:gd name="T16" fmla="*/ 16 w 84"/>
                <a:gd name="T17" fmla="*/ 82 h 104"/>
                <a:gd name="T18" fmla="*/ 20 w 84"/>
                <a:gd name="T19" fmla="*/ 82 h 104"/>
                <a:gd name="T20" fmla="*/ 16 w 84"/>
                <a:gd name="T21" fmla="*/ 82 h 104"/>
                <a:gd name="T22" fmla="*/ 12 w 84"/>
                <a:gd name="T23" fmla="*/ 74 h 104"/>
                <a:gd name="T24" fmla="*/ 12 w 84"/>
                <a:gd name="T25" fmla="*/ 74 h 104"/>
                <a:gd name="T26" fmla="*/ 8 w 84"/>
                <a:gd name="T27" fmla="*/ 70 h 104"/>
                <a:gd name="T28" fmla="*/ 8 w 84"/>
                <a:gd name="T29" fmla="*/ 68 h 104"/>
                <a:gd name="T30" fmla="*/ 4 w 84"/>
                <a:gd name="T31" fmla="*/ 60 h 104"/>
                <a:gd name="T32" fmla="*/ 12 w 84"/>
                <a:gd name="T33" fmla="*/ 68 h 104"/>
                <a:gd name="T34" fmla="*/ 12 w 84"/>
                <a:gd name="T35" fmla="*/ 68 h 104"/>
                <a:gd name="T36" fmla="*/ 8 w 84"/>
                <a:gd name="T37" fmla="*/ 64 h 104"/>
                <a:gd name="T38" fmla="*/ 4 w 84"/>
                <a:gd name="T39" fmla="*/ 64 h 104"/>
                <a:gd name="T40" fmla="*/ 0 w 84"/>
                <a:gd name="T41" fmla="*/ 48 h 104"/>
                <a:gd name="T42" fmla="*/ 4 w 84"/>
                <a:gd name="T43" fmla="*/ 52 h 104"/>
                <a:gd name="T44" fmla="*/ 8 w 84"/>
                <a:gd name="T45" fmla="*/ 44 h 104"/>
                <a:gd name="T46" fmla="*/ 8 w 84"/>
                <a:gd name="T47" fmla="*/ 40 h 104"/>
                <a:gd name="T48" fmla="*/ 8 w 84"/>
                <a:gd name="T49" fmla="*/ 38 h 104"/>
                <a:gd name="T50" fmla="*/ 12 w 84"/>
                <a:gd name="T51" fmla="*/ 38 h 104"/>
                <a:gd name="T52" fmla="*/ 16 w 84"/>
                <a:gd name="T53" fmla="*/ 38 h 104"/>
                <a:gd name="T54" fmla="*/ 12 w 84"/>
                <a:gd name="T55" fmla="*/ 30 h 104"/>
                <a:gd name="T56" fmla="*/ 12 w 84"/>
                <a:gd name="T57" fmla="*/ 30 h 104"/>
                <a:gd name="T58" fmla="*/ 16 w 84"/>
                <a:gd name="T59" fmla="*/ 26 h 104"/>
                <a:gd name="T60" fmla="*/ 16 w 84"/>
                <a:gd name="T61" fmla="*/ 22 h 104"/>
                <a:gd name="T62" fmla="*/ 20 w 84"/>
                <a:gd name="T63" fmla="*/ 22 h 104"/>
                <a:gd name="T64" fmla="*/ 26 w 84"/>
                <a:gd name="T65" fmla="*/ 22 h 104"/>
                <a:gd name="T66" fmla="*/ 38 w 84"/>
                <a:gd name="T67" fmla="*/ 10 h 104"/>
                <a:gd name="T68" fmla="*/ 38 w 84"/>
                <a:gd name="T69" fmla="*/ 0 h 104"/>
                <a:gd name="T70" fmla="*/ 54 w 84"/>
                <a:gd name="T71" fmla="*/ 0 h 104"/>
                <a:gd name="T72" fmla="*/ 64 w 84"/>
                <a:gd name="T73" fmla="*/ 0 h 104"/>
                <a:gd name="T74" fmla="*/ 64 w 84"/>
                <a:gd name="T75" fmla="*/ 4 h 104"/>
                <a:gd name="T76" fmla="*/ 64 w 84"/>
                <a:gd name="T77" fmla="*/ 10 h 104"/>
                <a:gd name="T78" fmla="*/ 64 w 84"/>
                <a:gd name="T79" fmla="*/ 18 h 104"/>
                <a:gd name="T80" fmla="*/ 72 w 84"/>
                <a:gd name="T81" fmla="*/ 14 h 104"/>
                <a:gd name="T82" fmla="*/ 80 w 84"/>
                <a:gd name="T83" fmla="*/ 14 h 104"/>
                <a:gd name="T84" fmla="*/ 84 w 84"/>
                <a:gd name="T85" fmla="*/ 22 h 104"/>
                <a:gd name="T86" fmla="*/ 76 w 84"/>
                <a:gd name="T87" fmla="*/ 30 h 104"/>
                <a:gd name="T88" fmla="*/ 76 w 84"/>
                <a:gd name="T89" fmla="*/ 40 h 104"/>
                <a:gd name="T90" fmla="*/ 80 w 84"/>
                <a:gd name="T91" fmla="*/ 44 h 104"/>
                <a:gd name="T92" fmla="*/ 84 w 84"/>
                <a:gd name="T93" fmla="*/ 48 h 104"/>
                <a:gd name="T94" fmla="*/ 84 w 84"/>
                <a:gd name="T95" fmla="*/ 60 h 104"/>
                <a:gd name="T96" fmla="*/ 84 w 84"/>
                <a:gd name="T97" fmla="*/ 70 h 104"/>
                <a:gd name="T98" fmla="*/ 80 w 84"/>
                <a:gd name="T99" fmla="*/ 74 h 104"/>
                <a:gd name="T100" fmla="*/ 76 w 84"/>
                <a:gd name="T101" fmla="*/ 82 h 104"/>
                <a:gd name="T102" fmla="*/ 72 w 84"/>
                <a:gd name="T103" fmla="*/ 78 h 104"/>
                <a:gd name="T104" fmla="*/ 64 w 84"/>
                <a:gd name="T105" fmla="*/ 78 h 104"/>
                <a:gd name="T106" fmla="*/ 60 w 84"/>
                <a:gd name="T107" fmla="*/ 78 h 104"/>
                <a:gd name="T108" fmla="*/ 56 w 84"/>
                <a:gd name="T109" fmla="*/ 70 h 104"/>
                <a:gd name="T110" fmla="*/ 54 w 84"/>
                <a:gd name="T111" fmla="*/ 74 h 104"/>
                <a:gd name="T112" fmla="*/ 50 w 84"/>
                <a:gd name="T113" fmla="*/ 78 h 104"/>
                <a:gd name="T114" fmla="*/ 42 w 84"/>
                <a:gd name="T115" fmla="*/ 78 h 104"/>
                <a:gd name="T116" fmla="*/ 42 w 84"/>
                <a:gd name="T117" fmla="*/ 86 h 104"/>
                <a:gd name="T118" fmla="*/ 4 w 84"/>
                <a:gd name="T119" fmla="*/ 52 h 104"/>
                <a:gd name="T120" fmla="*/ 4 w 84"/>
                <a:gd name="T121"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 h="104">
                  <a:moveTo>
                    <a:pt x="42" y="86"/>
                  </a:moveTo>
                  <a:lnTo>
                    <a:pt x="42" y="86"/>
                  </a:lnTo>
                  <a:lnTo>
                    <a:pt x="42" y="90"/>
                  </a:lnTo>
                  <a:lnTo>
                    <a:pt x="42" y="90"/>
                  </a:lnTo>
                  <a:lnTo>
                    <a:pt x="42" y="86"/>
                  </a:lnTo>
                  <a:lnTo>
                    <a:pt x="46" y="90"/>
                  </a:lnTo>
                  <a:lnTo>
                    <a:pt x="46" y="90"/>
                  </a:lnTo>
                  <a:lnTo>
                    <a:pt x="46" y="90"/>
                  </a:lnTo>
                  <a:lnTo>
                    <a:pt x="46" y="90"/>
                  </a:lnTo>
                  <a:lnTo>
                    <a:pt x="42" y="92"/>
                  </a:lnTo>
                  <a:lnTo>
                    <a:pt x="42" y="92"/>
                  </a:lnTo>
                  <a:lnTo>
                    <a:pt x="42" y="92"/>
                  </a:lnTo>
                  <a:lnTo>
                    <a:pt x="46" y="92"/>
                  </a:lnTo>
                  <a:lnTo>
                    <a:pt x="46" y="92"/>
                  </a:lnTo>
                  <a:lnTo>
                    <a:pt x="46" y="92"/>
                  </a:lnTo>
                  <a:lnTo>
                    <a:pt x="46" y="96"/>
                  </a:lnTo>
                  <a:lnTo>
                    <a:pt x="46" y="96"/>
                  </a:lnTo>
                  <a:lnTo>
                    <a:pt x="46" y="96"/>
                  </a:lnTo>
                  <a:lnTo>
                    <a:pt x="46" y="96"/>
                  </a:lnTo>
                  <a:lnTo>
                    <a:pt x="46" y="96"/>
                  </a:lnTo>
                  <a:lnTo>
                    <a:pt x="46" y="96"/>
                  </a:lnTo>
                  <a:lnTo>
                    <a:pt x="46" y="100"/>
                  </a:lnTo>
                  <a:lnTo>
                    <a:pt x="46" y="100"/>
                  </a:lnTo>
                  <a:lnTo>
                    <a:pt x="46" y="100"/>
                  </a:lnTo>
                  <a:lnTo>
                    <a:pt x="46" y="100"/>
                  </a:lnTo>
                  <a:lnTo>
                    <a:pt x="46" y="100"/>
                  </a:lnTo>
                  <a:lnTo>
                    <a:pt x="46" y="100"/>
                  </a:lnTo>
                  <a:lnTo>
                    <a:pt x="46" y="100"/>
                  </a:lnTo>
                  <a:lnTo>
                    <a:pt x="46" y="100"/>
                  </a:lnTo>
                  <a:lnTo>
                    <a:pt x="46" y="100"/>
                  </a:lnTo>
                  <a:lnTo>
                    <a:pt x="42" y="100"/>
                  </a:lnTo>
                  <a:lnTo>
                    <a:pt x="42" y="100"/>
                  </a:lnTo>
                  <a:lnTo>
                    <a:pt x="42" y="100"/>
                  </a:lnTo>
                  <a:lnTo>
                    <a:pt x="42" y="100"/>
                  </a:lnTo>
                  <a:lnTo>
                    <a:pt x="42" y="100"/>
                  </a:lnTo>
                  <a:lnTo>
                    <a:pt x="42" y="100"/>
                  </a:lnTo>
                  <a:lnTo>
                    <a:pt x="38" y="100"/>
                  </a:lnTo>
                  <a:lnTo>
                    <a:pt x="38" y="100"/>
                  </a:lnTo>
                  <a:lnTo>
                    <a:pt x="34" y="104"/>
                  </a:lnTo>
                  <a:lnTo>
                    <a:pt x="34" y="104"/>
                  </a:lnTo>
                  <a:lnTo>
                    <a:pt x="34" y="104"/>
                  </a:lnTo>
                  <a:lnTo>
                    <a:pt x="34" y="104"/>
                  </a:lnTo>
                  <a:lnTo>
                    <a:pt x="34" y="104"/>
                  </a:lnTo>
                  <a:lnTo>
                    <a:pt x="34" y="104"/>
                  </a:lnTo>
                  <a:lnTo>
                    <a:pt x="34" y="104"/>
                  </a:lnTo>
                  <a:lnTo>
                    <a:pt x="34" y="100"/>
                  </a:lnTo>
                  <a:lnTo>
                    <a:pt x="34" y="100"/>
                  </a:lnTo>
                  <a:lnTo>
                    <a:pt x="30" y="100"/>
                  </a:lnTo>
                  <a:lnTo>
                    <a:pt x="30" y="100"/>
                  </a:lnTo>
                  <a:lnTo>
                    <a:pt x="30" y="100"/>
                  </a:lnTo>
                  <a:lnTo>
                    <a:pt x="30" y="100"/>
                  </a:lnTo>
                  <a:lnTo>
                    <a:pt x="30" y="96"/>
                  </a:lnTo>
                  <a:lnTo>
                    <a:pt x="26" y="96"/>
                  </a:lnTo>
                  <a:lnTo>
                    <a:pt x="26" y="96"/>
                  </a:lnTo>
                  <a:lnTo>
                    <a:pt x="26" y="96"/>
                  </a:lnTo>
                  <a:lnTo>
                    <a:pt x="26" y="92"/>
                  </a:lnTo>
                  <a:lnTo>
                    <a:pt x="26" y="92"/>
                  </a:lnTo>
                  <a:lnTo>
                    <a:pt x="24" y="90"/>
                  </a:lnTo>
                  <a:lnTo>
                    <a:pt x="24" y="90"/>
                  </a:lnTo>
                  <a:lnTo>
                    <a:pt x="24" y="90"/>
                  </a:lnTo>
                  <a:lnTo>
                    <a:pt x="20" y="86"/>
                  </a:lnTo>
                  <a:lnTo>
                    <a:pt x="20" y="86"/>
                  </a:lnTo>
                  <a:lnTo>
                    <a:pt x="20" y="86"/>
                  </a:lnTo>
                  <a:lnTo>
                    <a:pt x="20" y="86"/>
                  </a:lnTo>
                  <a:lnTo>
                    <a:pt x="20" y="86"/>
                  </a:lnTo>
                  <a:lnTo>
                    <a:pt x="20" y="86"/>
                  </a:lnTo>
                  <a:lnTo>
                    <a:pt x="16" y="82"/>
                  </a:lnTo>
                  <a:lnTo>
                    <a:pt x="16" y="82"/>
                  </a:lnTo>
                  <a:lnTo>
                    <a:pt x="16" y="82"/>
                  </a:lnTo>
                  <a:lnTo>
                    <a:pt x="16" y="82"/>
                  </a:lnTo>
                  <a:lnTo>
                    <a:pt x="16" y="82"/>
                  </a:lnTo>
                  <a:lnTo>
                    <a:pt x="16" y="82"/>
                  </a:lnTo>
                  <a:lnTo>
                    <a:pt x="20" y="82"/>
                  </a:lnTo>
                  <a:lnTo>
                    <a:pt x="20" y="82"/>
                  </a:lnTo>
                  <a:lnTo>
                    <a:pt x="20" y="86"/>
                  </a:lnTo>
                  <a:lnTo>
                    <a:pt x="24" y="82"/>
                  </a:lnTo>
                  <a:lnTo>
                    <a:pt x="20" y="82"/>
                  </a:lnTo>
                  <a:lnTo>
                    <a:pt x="20" y="82"/>
                  </a:lnTo>
                  <a:lnTo>
                    <a:pt x="20" y="82"/>
                  </a:lnTo>
                  <a:lnTo>
                    <a:pt x="20" y="82"/>
                  </a:lnTo>
                  <a:lnTo>
                    <a:pt x="20" y="82"/>
                  </a:lnTo>
                  <a:lnTo>
                    <a:pt x="20" y="82"/>
                  </a:lnTo>
                  <a:lnTo>
                    <a:pt x="16" y="82"/>
                  </a:lnTo>
                  <a:lnTo>
                    <a:pt x="16" y="82"/>
                  </a:lnTo>
                  <a:lnTo>
                    <a:pt x="16" y="82"/>
                  </a:lnTo>
                  <a:lnTo>
                    <a:pt x="16" y="82"/>
                  </a:lnTo>
                  <a:lnTo>
                    <a:pt x="16" y="82"/>
                  </a:lnTo>
                  <a:lnTo>
                    <a:pt x="16" y="82"/>
                  </a:lnTo>
                  <a:lnTo>
                    <a:pt x="16" y="78"/>
                  </a:lnTo>
                  <a:lnTo>
                    <a:pt x="12" y="78"/>
                  </a:lnTo>
                  <a:lnTo>
                    <a:pt x="12" y="78"/>
                  </a:lnTo>
                  <a:lnTo>
                    <a:pt x="12" y="78"/>
                  </a:lnTo>
                  <a:lnTo>
                    <a:pt x="12" y="78"/>
                  </a:lnTo>
                  <a:lnTo>
                    <a:pt x="12" y="78"/>
                  </a:lnTo>
                  <a:lnTo>
                    <a:pt x="12" y="78"/>
                  </a:lnTo>
                  <a:lnTo>
                    <a:pt x="12" y="74"/>
                  </a:lnTo>
                  <a:lnTo>
                    <a:pt x="12" y="74"/>
                  </a:lnTo>
                  <a:lnTo>
                    <a:pt x="12" y="74"/>
                  </a:lnTo>
                  <a:lnTo>
                    <a:pt x="12" y="74"/>
                  </a:lnTo>
                  <a:lnTo>
                    <a:pt x="12" y="74"/>
                  </a:lnTo>
                  <a:lnTo>
                    <a:pt x="8" y="70"/>
                  </a:lnTo>
                  <a:lnTo>
                    <a:pt x="8" y="70"/>
                  </a:lnTo>
                  <a:lnTo>
                    <a:pt x="12" y="70"/>
                  </a:lnTo>
                  <a:lnTo>
                    <a:pt x="12" y="74"/>
                  </a:lnTo>
                  <a:lnTo>
                    <a:pt x="12" y="74"/>
                  </a:lnTo>
                  <a:lnTo>
                    <a:pt x="12" y="74"/>
                  </a:lnTo>
                  <a:lnTo>
                    <a:pt x="12" y="74"/>
                  </a:lnTo>
                  <a:lnTo>
                    <a:pt x="12" y="74"/>
                  </a:lnTo>
                  <a:lnTo>
                    <a:pt x="12" y="70"/>
                  </a:lnTo>
                  <a:lnTo>
                    <a:pt x="12" y="70"/>
                  </a:lnTo>
                  <a:lnTo>
                    <a:pt x="12" y="70"/>
                  </a:lnTo>
                  <a:lnTo>
                    <a:pt x="8" y="70"/>
                  </a:lnTo>
                  <a:lnTo>
                    <a:pt x="8" y="70"/>
                  </a:lnTo>
                  <a:lnTo>
                    <a:pt x="8" y="70"/>
                  </a:lnTo>
                  <a:lnTo>
                    <a:pt x="8" y="70"/>
                  </a:lnTo>
                  <a:lnTo>
                    <a:pt x="8" y="70"/>
                  </a:lnTo>
                  <a:lnTo>
                    <a:pt x="8" y="68"/>
                  </a:lnTo>
                  <a:lnTo>
                    <a:pt x="8" y="68"/>
                  </a:lnTo>
                  <a:lnTo>
                    <a:pt x="8" y="68"/>
                  </a:lnTo>
                  <a:lnTo>
                    <a:pt x="8" y="68"/>
                  </a:lnTo>
                  <a:lnTo>
                    <a:pt x="8" y="68"/>
                  </a:lnTo>
                  <a:lnTo>
                    <a:pt x="8" y="64"/>
                  </a:lnTo>
                  <a:lnTo>
                    <a:pt x="4" y="64"/>
                  </a:lnTo>
                  <a:lnTo>
                    <a:pt x="4" y="64"/>
                  </a:lnTo>
                  <a:lnTo>
                    <a:pt x="4" y="64"/>
                  </a:lnTo>
                  <a:lnTo>
                    <a:pt x="4" y="60"/>
                  </a:lnTo>
                  <a:lnTo>
                    <a:pt x="4" y="60"/>
                  </a:lnTo>
                  <a:lnTo>
                    <a:pt x="4" y="60"/>
                  </a:lnTo>
                  <a:lnTo>
                    <a:pt x="4" y="60"/>
                  </a:lnTo>
                  <a:lnTo>
                    <a:pt x="4" y="64"/>
                  </a:lnTo>
                  <a:lnTo>
                    <a:pt x="4" y="64"/>
                  </a:lnTo>
                  <a:lnTo>
                    <a:pt x="8" y="64"/>
                  </a:lnTo>
                  <a:lnTo>
                    <a:pt x="8" y="68"/>
                  </a:lnTo>
                  <a:lnTo>
                    <a:pt x="8" y="68"/>
                  </a:lnTo>
                  <a:lnTo>
                    <a:pt x="12" y="68"/>
                  </a:lnTo>
                  <a:lnTo>
                    <a:pt x="12" y="68"/>
                  </a:lnTo>
                  <a:lnTo>
                    <a:pt x="12" y="68"/>
                  </a:lnTo>
                  <a:lnTo>
                    <a:pt x="12" y="68"/>
                  </a:lnTo>
                  <a:lnTo>
                    <a:pt x="12" y="68"/>
                  </a:lnTo>
                  <a:lnTo>
                    <a:pt x="12" y="68"/>
                  </a:lnTo>
                  <a:lnTo>
                    <a:pt x="12" y="68"/>
                  </a:lnTo>
                  <a:lnTo>
                    <a:pt x="12" y="68"/>
                  </a:lnTo>
                  <a:lnTo>
                    <a:pt x="12" y="64"/>
                  </a:lnTo>
                  <a:lnTo>
                    <a:pt x="12" y="68"/>
                  </a:lnTo>
                  <a:lnTo>
                    <a:pt x="8" y="68"/>
                  </a:lnTo>
                  <a:lnTo>
                    <a:pt x="8" y="68"/>
                  </a:lnTo>
                  <a:lnTo>
                    <a:pt x="8" y="68"/>
                  </a:lnTo>
                  <a:lnTo>
                    <a:pt x="8" y="64"/>
                  </a:lnTo>
                  <a:lnTo>
                    <a:pt x="8" y="64"/>
                  </a:lnTo>
                  <a:lnTo>
                    <a:pt x="8" y="64"/>
                  </a:lnTo>
                  <a:lnTo>
                    <a:pt x="8" y="64"/>
                  </a:lnTo>
                  <a:lnTo>
                    <a:pt x="8" y="64"/>
                  </a:lnTo>
                  <a:lnTo>
                    <a:pt x="8" y="60"/>
                  </a:lnTo>
                  <a:lnTo>
                    <a:pt x="8" y="60"/>
                  </a:lnTo>
                  <a:lnTo>
                    <a:pt x="8" y="64"/>
                  </a:lnTo>
                  <a:lnTo>
                    <a:pt x="8" y="64"/>
                  </a:lnTo>
                  <a:lnTo>
                    <a:pt x="8" y="64"/>
                  </a:lnTo>
                  <a:lnTo>
                    <a:pt x="8" y="64"/>
                  </a:lnTo>
                  <a:lnTo>
                    <a:pt x="8" y="64"/>
                  </a:lnTo>
                  <a:lnTo>
                    <a:pt x="4" y="64"/>
                  </a:lnTo>
                  <a:lnTo>
                    <a:pt x="4" y="60"/>
                  </a:lnTo>
                  <a:lnTo>
                    <a:pt x="4" y="60"/>
                  </a:lnTo>
                  <a:lnTo>
                    <a:pt x="4" y="60"/>
                  </a:lnTo>
                  <a:lnTo>
                    <a:pt x="4" y="60"/>
                  </a:lnTo>
                  <a:lnTo>
                    <a:pt x="4" y="56"/>
                  </a:lnTo>
                  <a:lnTo>
                    <a:pt x="0" y="52"/>
                  </a:lnTo>
                  <a:lnTo>
                    <a:pt x="0" y="52"/>
                  </a:lnTo>
                  <a:lnTo>
                    <a:pt x="0" y="48"/>
                  </a:lnTo>
                  <a:lnTo>
                    <a:pt x="0" y="48"/>
                  </a:lnTo>
                  <a:lnTo>
                    <a:pt x="0" y="48"/>
                  </a:lnTo>
                  <a:lnTo>
                    <a:pt x="0" y="48"/>
                  </a:lnTo>
                  <a:lnTo>
                    <a:pt x="0" y="48"/>
                  </a:lnTo>
                  <a:lnTo>
                    <a:pt x="0" y="52"/>
                  </a:lnTo>
                  <a:lnTo>
                    <a:pt x="4" y="52"/>
                  </a:lnTo>
                  <a:lnTo>
                    <a:pt x="4" y="52"/>
                  </a:lnTo>
                  <a:lnTo>
                    <a:pt x="4" y="52"/>
                  </a:lnTo>
                  <a:lnTo>
                    <a:pt x="4" y="52"/>
                  </a:lnTo>
                  <a:lnTo>
                    <a:pt x="4" y="48"/>
                  </a:lnTo>
                  <a:lnTo>
                    <a:pt x="8" y="48"/>
                  </a:lnTo>
                  <a:lnTo>
                    <a:pt x="8" y="48"/>
                  </a:lnTo>
                  <a:lnTo>
                    <a:pt x="8" y="48"/>
                  </a:lnTo>
                  <a:lnTo>
                    <a:pt x="8" y="48"/>
                  </a:lnTo>
                  <a:lnTo>
                    <a:pt x="8" y="48"/>
                  </a:lnTo>
                  <a:lnTo>
                    <a:pt x="8" y="44"/>
                  </a:lnTo>
                  <a:lnTo>
                    <a:pt x="8" y="44"/>
                  </a:lnTo>
                  <a:lnTo>
                    <a:pt x="8" y="44"/>
                  </a:lnTo>
                  <a:lnTo>
                    <a:pt x="8" y="44"/>
                  </a:lnTo>
                  <a:lnTo>
                    <a:pt x="8" y="44"/>
                  </a:lnTo>
                  <a:lnTo>
                    <a:pt x="8" y="44"/>
                  </a:lnTo>
                  <a:lnTo>
                    <a:pt x="8" y="40"/>
                  </a:lnTo>
                  <a:lnTo>
                    <a:pt x="8" y="40"/>
                  </a:lnTo>
                  <a:lnTo>
                    <a:pt x="8" y="40"/>
                  </a:lnTo>
                  <a:lnTo>
                    <a:pt x="8" y="40"/>
                  </a:lnTo>
                  <a:lnTo>
                    <a:pt x="8" y="40"/>
                  </a:lnTo>
                  <a:lnTo>
                    <a:pt x="8" y="40"/>
                  </a:lnTo>
                  <a:lnTo>
                    <a:pt x="8" y="40"/>
                  </a:lnTo>
                  <a:lnTo>
                    <a:pt x="8" y="38"/>
                  </a:lnTo>
                  <a:lnTo>
                    <a:pt x="8" y="38"/>
                  </a:lnTo>
                  <a:lnTo>
                    <a:pt x="8" y="38"/>
                  </a:lnTo>
                  <a:lnTo>
                    <a:pt x="8" y="38"/>
                  </a:lnTo>
                  <a:lnTo>
                    <a:pt x="8" y="34"/>
                  </a:lnTo>
                  <a:lnTo>
                    <a:pt x="8" y="34"/>
                  </a:lnTo>
                  <a:lnTo>
                    <a:pt x="8" y="34"/>
                  </a:lnTo>
                  <a:lnTo>
                    <a:pt x="12" y="34"/>
                  </a:lnTo>
                  <a:lnTo>
                    <a:pt x="12" y="38"/>
                  </a:lnTo>
                  <a:lnTo>
                    <a:pt x="12" y="38"/>
                  </a:lnTo>
                  <a:lnTo>
                    <a:pt x="12" y="38"/>
                  </a:lnTo>
                  <a:lnTo>
                    <a:pt x="12" y="38"/>
                  </a:lnTo>
                  <a:lnTo>
                    <a:pt x="16" y="38"/>
                  </a:lnTo>
                  <a:lnTo>
                    <a:pt x="16" y="38"/>
                  </a:lnTo>
                  <a:lnTo>
                    <a:pt x="16" y="38"/>
                  </a:lnTo>
                  <a:lnTo>
                    <a:pt x="20" y="38"/>
                  </a:lnTo>
                  <a:lnTo>
                    <a:pt x="16" y="38"/>
                  </a:lnTo>
                  <a:lnTo>
                    <a:pt x="16" y="38"/>
                  </a:lnTo>
                  <a:lnTo>
                    <a:pt x="16" y="38"/>
                  </a:lnTo>
                  <a:lnTo>
                    <a:pt x="16" y="38"/>
                  </a:lnTo>
                  <a:lnTo>
                    <a:pt x="16" y="34"/>
                  </a:lnTo>
                  <a:lnTo>
                    <a:pt x="12" y="34"/>
                  </a:lnTo>
                  <a:lnTo>
                    <a:pt x="12" y="34"/>
                  </a:lnTo>
                  <a:lnTo>
                    <a:pt x="12" y="34"/>
                  </a:lnTo>
                  <a:lnTo>
                    <a:pt x="12" y="34"/>
                  </a:lnTo>
                  <a:lnTo>
                    <a:pt x="12" y="34"/>
                  </a:lnTo>
                  <a:lnTo>
                    <a:pt x="12" y="30"/>
                  </a:lnTo>
                  <a:lnTo>
                    <a:pt x="12" y="30"/>
                  </a:lnTo>
                  <a:lnTo>
                    <a:pt x="8" y="30"/>
                  </a:lnTo>
                  <a:lnTo>
                    <a:pt x="8" y="30"/>
                  </a:lnTo>
                  <a:lnTo>
                    <a:pt x="8" y="30"/>
                  </a:lnTo>
                  <a:lnTo>
                    <a:pt x="8" y="30"/>
                  </a:lnTo>
                  <a:lnTo>
                    <a:pt x="8" y="30"/>
                  </a:lnTo>
                  <a:lnTo>
                    <a:pt x="12" y="26"/>
                  </a:lnTo>
                  <a:lnTo>
                    <a:pt x="12" y="26"/>
                  </a:lnTo>
                  <a:lnTo>
                    <a:pt x="12" y="30"/>
                  </a:lnTo>
                  <a:lnTo>
                    <a:pt x="12" y="30"/>
                  </a:lnTo>
                  <a:lnTo>
                    <a:pt x="12" y="30"/>
                  </a:lnTo>
                  <a:lnTo>
                    <a:pt x="12" y="30"/>
                  </a:lnTo>
                  <a:lnTo>
                    <a:pt x="12" y="30"/>
                  </a:lnTo>
                  <a:lnTo>
                    <a:pt x="12" y="30"/>
                  </a:lnTo>
                  <a:lnTo>
                    <a:pt x="16" y="30"/>
                  </a:lnTo>
                  <a:lnTo>
                    <a:pt x="16" y="30"/>
                  </a:lnTo>
                  <a:lnTo>
                    <a:pt x="16" y="26"/>
                  </a:lnTo>
                  <a:lnTo>
                    <a:pt x="12" y="26"/>
                  </a:lnTo>
                  <a:lnTo>
                    <a:pt x="12" y="26"/>
                  </a:lnTo>
                  <a:lnTo>
                    <a:pt x="12" y="22"/>
                  </a:lnTo>
                  <a:lnTo>
                    <a:pt x="12" y="22"/>
                  </a:lnTo>
                  <a:lnTo>
                    <a:pt x="12" y="22"/>
                  </a:lnTo>
                  <a:lnTo>
                    <a:pt x="16" y="22"/>
                  </a:lnTo>
                  <a:lnTo>
                    <a:pt x="16" y="22"/>
                  </a:lnTo>
                  <a:lnTo>
                    <a:pt x="16" y="22"/>
                  </a:lnTo>
                  <a:lnTo>
                    <a:pt x="16" y="22"/>
                  </a:lnTo>
                  <a:lnTo>
                    <a:pt x="16" y="22"/>
                  </a:lnTo>
                  <a:lnTo>
                    <a:pt x="16" y="22"/>
                  </a:lnTo>
                  <a:lnTo>
                    <a:pt x="20" y="22"/>
                  </a:lnTo>
                  <a:lnTo>
                    <a:pt x="20" y="22"/>
                  </a:lnTo>
                  <a:lnTo>
                    <a:pt x="20" y="22"/>
                  </a:lnTo>
                  <a:lnTo>
                    <a:pt x="20" y="22"/>
                  </a:lnTo>
                  <a:lnTo>
                    <a:pt x="20" y="22"/>
                  </a:lnTo>
                  <a:lnTo>
                    <a:pt x="20" y="22"/>
                  </a:lnTo>
                  <a:lnTo>
                    <a:pt x="24" y="22"/>
                  </a:lnTo>
                  <a:lnTo>
                    <a:pt x="24" y="22"/>
                  </a:lnTo>
                  <a:lnTo>
                    <a:pt x="24" y="22"/>
                  </a:lnTo>
                  <a:lnTo>
                    <a:pt x="24" y="22"/>
                  </a:lnTo>
                  <a:lnTo>
                    <a:pt x="26" y="22"/>
                  </a:lnTo>
                  <a:lnTo>
                    <a:pt x="26" y="22"/>
                  </a:lnTo>
                  <a:lnTo>
                    <a:pt x="26" y="22"/>
                  </a:lnTo>
                  <a:lnTo>
                    <a:pt x="30" y="22"/>
                  </a:lnTo>
                  <a:lnTo>
                    <a:pt x="30" y="22"/>
                  </a:lnTo>
                  <a:lnTo>
                    <a:pt x="34" y="22"/>
                  </a:lnTo>
                  <a:lnTo>
                    <a:pt x="38" y="22"/>
                  </a:lnTo>
                  <a:lnTo>
                    <a:pt x="38" y="22"/>
                  </a:lnTo>
                  <a:lnTo>
                    <a:pt x="38" y="14"/>
                  </a:lnTo>
                  <a:lnTo>
                    <a:pt x="38" y="10"/>
                  </a:lnTo>
                  <a:lnTo>
                    <a:pt x="38" y="10"/>
                  </a:lnTo>
                  <a:lnTo>
                    <a:pt x="38" y="10"/>
                  </a:lnTo>
                  <a:lnTo>
                    <a:pt x="38" y="8"/>
                  </a:lnTo>
                  <a:lnTo>
                    <a:pt x="38" y="8"/>
                  </a:lnTo>
                  <a:lnTo>
                    <a:pt x="38" y="4"/>
                  </a:lnTo>
                  <a:lnTo>
                    <a:pt x="38" y="4"/>
                  </a:lnTo>
                  <a:lnTo>
                    <a:pt x="38" y="4"/>
                  </a:lnTo>
                  <a:lnTo>
                    <a:pt x="38" y="4"/>
                  </a:lnTo>
                  <a:lnTo>
                    <a:pt x="38" y="0"/>
                  </a:lnTo>
                  <a:lnTo>
                    <a:pt x="38" y="0"/>
                  </a:lnTo>
                  <a:lnTo>
                    <a:pt x="42" y="0"/>
                  </a:lnTo>
                  <a:lnTo>
                    <a:pt x="42" y="0"/>
                  </a:lnTo>
                  <a:lnTo>
                    <a:pt x="46" y="0"/>
                  </a:lnTo>
                  <a:lnTo>
                    <a:pt x="50" y="0"/>
                  </a:lnTo>
                  <a:lnTo>
                    <a:pt x="54" y="0"/>
                  </a:lnTo>
                  <a:lnTo>
                    <a:pt x="54" y="0"/>
                  </a:lnTo>
                  <a:lnTo>
                    <a:pt x="54" y="0"/>
                  </a:lnTo>
                  <a:lnTo>
                    <a:pt x="54" y="0"/>
                  </a:lnTo>
                  <a:lnTo>
                    <a:pt x="56" y="0"/>
                  </a:lnTo>
                  <a:lnTo>
                    <a:pt x="56" y="0"/>
                  </a:lnTo>
                  <a:lnTo>
                    <a:pt x="56" y="0"/>
                  </a:lnTo>
                  <a:lnTo>
                    <a:pt x="56" y="0"/>
                  </a:lnTo>
                  <a:lnTo>
                    <a:pt x="60" y="0"/>
                  </a:lnTo>
                  <a:lnTo>
                    <a:pt x="60" y="0"/>
                  </a:lnTo>
                  <a:lnTo>
                    <a:pt x="64" y="0"/>
                  </a:lnTo>
                  <a:lnTo>
                    <a:pt x="64" y="0"/>
                  </a:lnTo>
                  <a:lnTo>
                    <a:pt x="64" y="0"/>
                  </a:lnTo>
                  <a:lnTo>
                    <a:pt x="64" y="0"/>
                  </a:lnTo>
                  <a:lnTo>
                    <a:pt x="64" y="4"/>
                  </a:lnTo>
                  <a:lnTo>
                    <a:pt x="64" y="4"/>
                  </a:lnTo>
                  <a:lnTo>
                    <a:pt x="64" y="4"/>
                  </a:lnTo>
                  <a:lnTo>
                    <a:pt x="64" y="4"/>
                  </a:lnTo>
                  <a:lnTo>
                    <a:pt x="64" y="4"/>
                  </a:lnTo>
                  <a:lnTo>
                    <a:pt x="64" y="8"/>
                  </a:lnTo>
                  <a:lnTo>
                    <a:pt x="64" y="8"/>
                  </a:lnTo>
                  <a:lnTo>
                    <a:pt x="64" y="8"/>
                  </a:lnTo>
                  <a:lnTo>
                    <a:pt x="64" y="8"/>
                  </a:lnTo>
                  <a:lnTo>
                    <a:pt x="64" y="8"/>
                  </a:lnTo>
                  <a:lnTo>
                    <a:pt x="64" y="10"/>
                  </a:lnTo>
                  <a:lnTo>
                    <a:pt x="64" y="10"/>
                  </a:lnTo>
                  <a:lnTo>
                    <a:pt x="64" y="10"/>
                  </a:lnTo>
                  <a:lnTo>
                    <a:pt x="64" y="14"/>
                  </a:lnTo>
                  <a:lnTo>
                    <a:pt x="64" y="14"/>
                  </a:lnTo>
                  <a:lnTo>
                    <a:pt x="64" y="14"/>
                  </a:lnTo>
                  <a:lnTo>
                    <a:pt x="64" y="14"/>
                  </a:lnTo>
                  <a:lnTo>
                    <a:pt x="64" y="14"/>
                  </a:lnTo>
                  <a:lnTo>
                    <a:pt x="64" y="18"/>
                  </a:lnTo>
                  <a:lnTo>
                    <a:pt x="64" y="18"/>
                  </a:lnTo>
                  <a:lnTo>
                    <a:pt x="64" y="18"/>
                  </a:lnTo>
                  <a:lnTo>
                    <a:pt x="64" y="18"/>
                  </a:lnTo>
                  <a:lnTo>
                    <a:pt x="64" y="18"/>
                  </a:lnTo>
                  <a:lnTo>
                    <a:pt x="64" y="18"/>
                  </a:lnTo>
                  <a:lnTo>
                    <a:pt x="64" y="18"/>
                  </a:lnTo>
                  <a:lnTo>
                    <a:pt x="68" y="18"/>
                  </a:lnTo>
                  <a:lnTo>
                    <a:pt x="68" y="18"/>
                  </a:lnTo>
                  <a:lnTo>
                    <a:pt x="72" y="18"/>
                  </a:lnTo>
                  <a:lnTo>
                    <a:pt x="72" y="14"/>
                  </a:lnTo>
                  <a:lnTo>
                    <a:pt x="72" y="14"/>
                  </a:lnTo>
                  <a:lnTo>
                    <a:pt x="76" y="14"/>
                  </a:lnTo>
                  <a:lnTo>
                    <a:pt x="76" y="14"/>
                  </a:lnTo>
                  <a:lnTo>
                    <a:pt x="76" y="14"/>
                  </a:lnTo>
                  <a:lnTo>
                    <a:pt x="80" y="14"/>
                  </a:lnTo>
                  <a:lnTo>
                    <a:pt x="80" y="14"/>
                  </a:lnTo>
                  <a:lnTo>
                    <a:pt x="80" y="14"/>
                  </a:lnTo>
                  <a:lnTo>
                    <a:pt x="80" y="14"/>
                  </a:lnTo>
                  <a:lnTo>
                    <a:pt x="80" y="14"/>
                  </a:lnTo>
                  <a:lnTo>
                    <a:pt x="80" y="14"/>
                  </a:lnTo>
                  <a:lnTo>
                    <a:pt x="80" y="18"/>
                  </a:lnTo>
                  <a:lnTo>
                    <a:pt x="80" y="18"/>
                  </a:lnTo>
                  <a:lnTo>
                    <a:pt x="80" y="18"/>
                  </a:lnTo>
                  <a:lnTo>
                    <a:pt x="84" y="22"/>
                  </a:lnTo>
                  <a:lnTo>
                    <a:pt x="84" y="22"/>
                  </a:lnTo>
                  <a:lnTo>
                    <a:pt x="84" y="22"/>
                  </a:lnTo>
                  <a:lnTo>
                    <a:pt x="84" y="26"/>
                  </a:lnTo>
                  <a:lnTo>
                    <a:pt x="80" y="30"/>
                  </a:lnTo>
                  <a:lnTo>
                    <a:pt x="80" y="30"/>
                  </a:lnTo>
                  <a:lnTo>
                    <a:pt x="80" y="30"/>
                  </a:lnTo>
                  <a:lnTo>
                    <a:pt x="80" y="30"/>
                  </a:lnTo>
                  <a:lnTo>
                    <a:pt x="80" y="30"/>
                  </a:lnTo>
                  <a:lnTo>
                    <a:pt x="80" y="30"/>
                  </a:lnTo>
                  <a:lnTo>
                    <a:pt x="76" y="30"/>
                  </a:lnTo>
                  <a:lnTo>
                    <a:pt x="76" y="34"/>
                  </a:lnTo>
                  <a:lnTo>
                    <a:pt x="76" y="34"/>
                  </a:lnTo>
                  <a:lnTo>
                    <a:pt x="76" y="38"/>
                  </a:lnTo>
                  <a:lnTo>
                    <a:pt x="76" y="38"/>
                  </a:lnTo>
                  <a:lnTo>
                    <a:pt x="76" y="38"/>
                  </a:lnTo>
                  <a:lnTo>
                    <a:pt x="76" y="40"/>
                  </a:lnTo>
                  <a:lnTo>
                    <a:pt x="76" y="40"/>
                  </a:lnTo>
                  <a:lnTo>
                    <a:pt x="76" y="40"/>
                  </a:lnTo>
                  <a:lnTo>
                    <a:pt x="76" y="40"/>
                  </a:lnTo>
                  <a:lnTo>
                    <a:pt x="76" y="40"/>
                  </a:lnTo>
                  <a:lnTo>
                    <a:pt x="76" y="44"/>
                  </a:lnTo>
                  <a:lnTo>
                    <a:pt x="76" y="44"/>
                  </a:lnTo>
                  <a:lnTo>
                    <a:pt x="76" y="44"/>
                  </a:lnTo>
                  <a:lnTo>
                    <a:pt x="76" y="44"/>
                  </a:lnTo>
                  <a:lnTo>
                    <a:pt x="80" y="44"/>
                  </a:lnTo>
                  <a:lnTo>
                    <a:pt x="80" y="44"/>
                  </a:lnTo>
                  <a:lnTo>
                    <a:pt x="80" y="44"/>
                  </a:lnTo>
                  <a:lnTo>
                    <a:pt x="80" y="44"/>
                  </a:lnTo>
                  <a:lnTo>
                    <a:pt x="80" y="48"/>
                  </a:lnTo>
                  <a:lnTo>
                    <a:pt x="80" y="48"/>
                  </a:lnTo>
                  <a:lnTo>
                    <a:pt x="80" y="48"/>
                  </a:lnTo>
                  <a:lnTo>
                    <a:pt x="84" y="48"/>
                  </a:lnTo>
                  <a:lnTo>
                    <a:pt x="84" y="48"/>
                  </a:lnTo>
                  <a:lnTo>
                    <a:pt x="84" y="48"/>
                  </a:lnTo>
                  <a:lnTo>
                    <a:pt x="84" y="48"/>
                  </a:lnTo>
                  <a:lnTo>
                    <a:pt x="84" y="52"/>
                  </a:lnTo>
                  <a:lnTo>
                    <a:pt x="84" y="52"/>
                  </a:lnTo>
                  <a:lnTo>
                    <a:pt x="84" y="52"/>
                  </a:lnTo>
                  <a:lnTo>
                    <a:pt x="84" y="56"/>
                  </a:lnTo>
                  <a:lnTo>
                    <a:pt x="84" y="56"/>
                  </a:lnTo>
                  <a:lnTo>
                    <a:pt x="84" y="56"/>
                  </a:lnTo>
                  <a:lnTo>
                    <a:pt x="84" y="60"/>
                  </a:lnTo>
                  <a:lnTo>
                    <a:pt x="84" y="60"/>
                  </a:lnTo>
                  <a:lnTo>
                    <a:pt x="84" y="60"/>
                  </a:lnTo>
                  <a:lnTo>
                    <a:pt x="84" y="64"/>
                  </a:lnTo>
                  <a:lnTo>
                    <a:pt x="84" y="68"/>
                  </a:lnTo>
                  <a:lnTo>
                    <a:pt x="84" y="68"/>
                  </a:lnTo>
                  <a:lnTo>
                    <a:pt x="84" y="68"/>
                  </a:lnTo>
                  <a:lnTo>
                    <a:pt x="84" y="70"/>
                  </a:lnTo>
                  <a:lnTo>
                    <a:pt x="84" y="70"/>
                  </a:lnTo>
                  <a:lnTo>
                    <a:pt x="84" y="70"/>
                  </a:lnTo>
                  <a:lnTo>
                    <a:pt x="84" y="70"/>
                  </a:lnTo>
                  <a:lnTo>
                    <a:pt x="84" y="70"/>
                  </a:lnTo>
                  <a:lnTo>
                    <a:pt x="80" y="70"/>
                  </a:lnTo>
                  <a:lnTo>
                    <a:pt x="80" y="70"/>
                  </a:lnTo>
                  <a:lnTo>
                    <a:pt x="80" y="74"/>
                  </a:lnTo>
                  <a:lnTo>
                    <a:pt x="80" y="74"/>
                  </a:lnTo>
                  <a:lnTo>
                    <a:pt x="80" y="74"/>
                  </a:lnTo>
                  <a:lnTo>
                    <a:pt x="80" y="74"/>
                  </a:lnTo>
                  <a:lnTo>
                    <a:pt x="80" y="78"/>
                  </a:lnTo>
                  <a:lnTo>
                    <a:pt x="80" y="78"/>
                  </a:lnTo>
                  <a:lnTo>
                    <a:pt x="80" y="78"/>
                  </a:lnTo>
                  <a:lnTo>
                    <a:pt x="80" y="78"/>
                  </a:lnTo>
                  <a:lnTo>
                    <a:pt x="80" y="82"/>
                  </a:lnTo>
                  <a:lnTo>
                    <a:pt x="80" y="82"/>
                  </a:lnTo>
                  <a:lnTo>
                    <a:pt x="76" y="82"/>
                  </a:lnTo>
                  <a:lnTo>
                    <a:pt x="76" y="82"/>
                  </a:lnTo>
                  <a:lnTo>
                    <a:pt x="76" y="82"/>
                  </a:lnTo>
                  <a:lnTo>
                    <a:pt x="76" y="82"/>
                  </a:lnTo>
                  <a:lnTo>
                    <a:pt x="76" y="78"/>
                  </a:lnTo>
                  <a:lnTo>
                    <a:pt x="72" y="74"/>
                  </a:lnTo>
                  <a:lnTo>
                    <a:pt x="72" y="74"/>
                  </a:lnTo>
                  <a:lnTo>
                    <a:pt x="72" y="74"/>
                  </a:lnTo>
                  <a:lnTo>
                    <a:pt x="72" y="78"/>
                  </a:lnTo>
                  <a:lnTo>
                    <a:pt x="72" y="78"/>
                  </a:lnTo>
                  <a:lnTo>
                    <a:pt x="72" y="78"/>
                  </a:lnTo>
                  <a:lnTo>
                    <a:pt x="68" y="78"/>
                  </a:lnTo>
                  <a:lnTo>
                    <a:pt x="68" y="78"/>
                  </a:lnTo>
                  <a:lnTo>
                    <a:pt x="68" y="82"/>
                  </a:lnTo>
                  <a:lnTo>
                    <a:pt x="68" y="82"/>
                  </a:lnTo>
                  <a:lnTo>
                    <a:pt x="68" y="82"/>
                  </a:lnTo>
                  <a:lnTo>
                    <a:pt x="64" y="78"/>
                  </a:lnTo>
                  <a:lnTo>
                    <a:pt x="64" y="78"/>
                  </a:lnTo>
                  <a:lnTo>
                    <a:pt x="60" y="78"/>
                  </a:lnTo>
                  <a:lnTo>
                    <a:pt x="60" y="78"/>
                  </a:lnTo>
                  <a:lnTo>
                    <a:pt x="60" y="78"/>
                  </a:lnTo>
                  <a:lnTo>
                    <a:pt x="60" y="78"/>
                  </a:lnTo>
                  <a:lnTo>
                    <a:pt x="60" y="78"/>
                  </a:lnTo>
                  <a:lnTo>
                    <a:pt x="60" y="78"/>
                  </a:lnTo>
                  <a:lnTo>
                    <a:pt x="60" y="78"/>
                  </a:lnTo>
                  <a:lnTo>
                    <a:pt x="60" y="74"/>
                  </a:lnTo>
                  <a:lnTo>
                    <a:pt x="60" y="74"/>
                  </a:lnTo>
                  <a:lnTo>
                    <a:pt x="60" y="70"/>
                  </a:lnTo>
                  <a:lnTo>
                    <a:pt x="60" y="70"/>
                  </a:lnTo>
                  <a:lnTo>
                    <a:pt x="60" y="70"/>
                  </a:lnTo>
                  <a:lnTo>
                    <a:pt x="56" y="70"/>
                  </a:lnTo>
                  <a:lnTo>
                    <a:pt x="56" y="70"/>
                  </a:lnTo>
                  <a:lnTo>
                    <a:pt x="56" y="70"/>
                  </a:lnTo>
                  <a:lnTo>
                    <a:pt x="56" y="70"/>
                  </a:lnTo>
                  <a:lnTo>
                    <a:pt x="56" y="70"/>
                  </a:lnTo>
                  <a:lnTo>
                    <a:pt x="54" y="70"/>
                  </a:lnTo>
                  <a:lnTo>
                    <a:pt x="54" y="70"/>
                  </a:lnTo>
                  <a:lnTo>
                    <a:pt x="54" y="70"/>
                  </a:lnTo>
                  <a:lnTo>
                    <a:pt x="54" y="70"/>
                  </a:lnTo>
                  <a:lnTo>
                    <a:pt x="54" y="70"/>
                  </a:lnTo>
                  <a:lnTo>
                    <a:pt x="54" y="74"/>
                  </a:lnTo>
                  <a:lnTo>
                    <a:pt x="54" y="74"/>
                  </a:lnTo>
                  <a:lnTo>
                    <a:pt x="54" y="74"/>
                  </a:lnTo>
                  <a:lnTo>
                    <a:pt x="54" y="78"/>
                  </a:lnTo>
                  <a:lnTo>
                    <a:pt x="54" y="78"/>
                  </a:lnTo>
                  <a:lnTo>
                    <a:pt x="50" y="82"/>
                  </a:lnTo>
                  <a:lnTo>
                    <a:pt x="50" y="82"/>
                  </a:lnTo>
                  <a:lnTo>
                    <a:pt x="50" y="78"/>
                  </a:lnTo>
                  <a:lnTo>
                    <a:pt x="50" y="78"/>
                  </a:lnTo>
                  <a:lnTo>
                    <a:pt x="46" y="78"/>
                  </a:lnTo>
                  <a:lnTo>
                    <a:pt x="46" y="78"/>
                  </a:lnTo>
                  <a:lnTo>
                    <a:pt x="46" y="78"/>
                  </a:lnTo>
                  <a:lnTo>
                    <a:pt x="46" y="82"/>
                  </a:lnTo>
                  <a:lnTo>
                    <a:pt x="46" y="82"/>
                  </a:lnTo>
                  <a:lnTo>
                    <a:pt x="42" y="78"/>
                  </a:lnTo>
                  <a:lnTo>
                    <a:pt x="42" y="78"/>
                  </a:lnTo>
                  <a:lnTo>
                    <a:pt x="42" y="78"/>
                  </a:lnTo>
                  <a:lnTo>
                    <a:pt x="42" y="78"/>
                  </a:lnTo>
                  <a:lnTo>
                    <a:pt x="42" y="82"/>
                  </a:lnTo>
                  <a:lnTo>
                    <a:pt x="42" y="82"/>
                  </a:lnTo>
                  <a:lnTo>
                    <a:pt x="42" y="82"/>
                  </a:lnTo>
                  <a:lnTo>
                    <a:pt x="42" y="86"/>
                  </a:lnTo>
                  <a:lnTo>
                    <a:pt x="42" y="86"/>
                  </a:lnTo>
                  <a:lnTo>
                    <a:pt x="42" y="86"/>
                  </a:lnTo>
                  <a:lnTo>
                    <a:pt x="42" y="86"/>
                  </a:lnTo>
                  <a:lnTo>
                    <a:pt x="42" y="86"/>
                  </a:lnTo>
                  <a:lnTo>
                    <a:pt x="42" y="86"/>
                  </a:lnTo>
                  <a:lnTo>
                    <a:pt x="42" y="86"/>
                  </a:lnTo>
                  <a:lnTo>
                    <a:pt x="42" y="86"/>
                  </a:lnTo>
                  <a:close/>
                  <a:moveTo>
                    <a:pt x="4" y="52"/>
                  </a:moveTo>
                  <a:lnTo>
                    <a:pt x="4" y="52"/>
                  </a:lnTo>
                  <a:lnTo>
                    <a:pt x="4" y="52"/>
                  </a:lnTo>
                  <a:lnTo>
                    <a:pt x="4" y="52"/>
                  </a:lnTo>
                  <a:lnTo>
                    <a:pt x="4" y="52"/>
                  </a:lnTo>
                  <a:lnTo>
                    <a:pt x="4" y="52"/>
                  </a:lnTo>
                  <a:lnTo>
                    <a:pt x="4" y="52"/>
                  </a:lnTo>
                  <a:lnTo>
                    <a:pt x="4" y="48"/>
                  </a:lnTo>
                  <a:lnTo>
                    <a:pt x="4" y="48"/>
                  </a:lnTo>
                  <a:lnTo>
                    <a:pt x="4" y="48"/>
                  </a:lnTo>
                  <a:lnTo>
                    <a:pt x="4" y="52"/>
                  </a:lnTo>
                  <a:lnTo>
                    <a:pt x="4" y="52"/>
                  </a:lnTo>
                  <a:lnTo>
                    <a:pt x="4" y="52"/>
                  </a:lnTo>
                  <a:lnTo>
                    <a:pt x="4" y="52"/>
                  </a:lnTo>
                  <a:lnTo>
                    <a:pt x="4" y="52"/>
                  </a:lnTo>
                  <a:lnTo>
                    <a:pt x="4" y="52"/>
                  </a:lnTo>
                  <a:lnTo>
                    <a:pt x="4" y="52"/>
                  </a:lnTo>
                  <a:lnTo>
                    <a:pt x="4" y="5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54" name="Freeform 147"/>
            <p:cNvSpPr>
              <a:spLocks/>
            </p:cNvSpPr>
            <p:nvPr/>
          </p:nvSpPr>
          <p:spPr bwMode="auto">
            <a:xfrm>
              <a:off x="7012654" y="4034915"/>
              <a:ext cx="38935" cy="73225"/>
            </a:xfrm>
            <a:custGeom>
              <a:avLst/>
              <a:gdLst>
                <a:gd name="T0" fmla="*/ 0 w 62"/>
                <a:gd name="T1" fmla="*/ 78 h 112"/>
                <a:gd name="T2" fmla="*/ 0 w 62"/>
                <a:gd name="T3" fmla="*/ 72 h 112"/>
                <a:gd name="T4" fmla="*/ 4 w 62"/>
                <a:gd name="T5" fmla="*/ 60 h 112"/>
                <a:gd name="T6" fmla="*/ 10 w 62"/>
                <a:gd name="T7" fmla="*/ 52 h 112"/>
                <a:gd name="T8" fmla="*/ 6 w 62"/>
                <a:gd name="T9" fmla="*/ 42 h 112"/>
                <a:gd name="T10" fmla="*/ 6 w 62"/>
                <a:gd name="T11" fmla="*/ 38 h 112"/>
                <a:gd name="T12" fmla="*/ 6 w 62"/>
                <a:gd name="T13" fmla="*/ 30 h 112"/>
                <a:gd name="T14" fmla="*/ 6 w 62"/>
                <a:gd name="T15" fmla="*/ 26 h 112"/>
                <a:gd name="T16" fmla="*/ 4 w 62"/>
                <a:gd name="T17" fmla="*/ 22 h 112"/>
                <a:gd name="T18" fmla="*/ 4 w 62"/>
                <a:gd name="T19" fmla="*/ 12 h 112"/>
                <a:gd name="T20" fmla="*/ 4 w 62"/>
                <a:gd name="T21" fmla="*/ 4 h 112"/>
                <a:gd name="T22" fmla="*/ 22 w 62"/>
                <a:gd name="T23" fmla="*/ 4 h 112"/>
                <a:gd name="T24" fmla="*/ 34 w 62"/>
                <a:gd name="T25" fmla="*/ 4 h 112"/>
                <a:gd name="T26" fmla="*/ 40 w 62"/>
                <a:gd name="T27" fmla="*/ 4 h 112"/>
                <a:gd name="T28" fmla="*/ 44 w 62"/>
                <a:gd name="T29" fmla="*/ 4 h 112"/>
                <a:gd name="T30" fmla="*/ 44 w 62"/>
                <a:gd name="T31" fmla="*/ 8 h 112"/>
                <a:gd name="T32" fmla="*/ 44 w 62"/>
                <a:gd name="T33" fmla="*/ 12 h 112"/>
                <a:gd name="T34" fmla="*/ 48 w 62"/>
                <a:gd name="T35" fmla="*/ 16 h 112"/>
                <a:gd name="T36" fmla="*/ 52 w 62"/>
                <a:gd name="T37" fmla="*/ 18 h 112"/>
                <a:gd name="T38" fmla="*/ 48 w 62"/>
                <a:gd name="T39" fmla="*/ 30 h 112"/>
                <a:gd name="T40" fmla="*/ 52 w 62"/>
                <a:gd name="T41" fmla="*/ 30 h 112"/>
                <a:gd name="T42" fmla="*/ 52 w 62"/>
                <a:gd name="T43" fmla="*/ 34 h 112"/>
                <a:gd name="T44" fmla="*/ 52 w 62"/>
                <a:gd name="T45" fmla="*/ 42 h 112"/>
                <a:gd name="T46" fmla="*/ 52 w 62"/>
                <a:gd name="T47" fmla="*/ 46 h 112"/>
                <a:gd name="T48" fmla="*/ 56 w 62"/>
                <a:gd name="T49" fmla="*/ 52 h 112"/>
                <a:gd name="T50" fmla="*/ 52 w 62"/>
                <a:gd name="T51" fmla="*/ 60 h 112"/>
                <a:gd name="T52" fmla="*/ 52 w 62"/>
                <a:gd name="T53" fmla="*/ 68 h 112"/>
                <a:gd name="T54" fmla="*/ 52 w 62"/>
                <a:gd name="T55" fmla="*/ 72 h 112"/>
                <a:gd name="T56" fmla="*/ 52 w 62"/>
                <a:gd name="T57" fmla="*/ 78 h 112"/>
                <a:gd name="T58" fmla="*/ 56 w 62"/>
                <a:gd name="T59" fmla="*/ 82 h 112"/>
                <a:gd name="T60" fmla="*/ 60 w 62"/>
                <a:gd name="T61" fmla="*/ 82 h 112"/>
                <a:gd name="T62" fmla="*/ 62 w 62"/>
                <a:gd name="T63" fmla="*/ 90 h 112"/>
                <a:gd name="T64" fmla="*/ 60 w 62"/>
                <a:gd name="T65" fmla="*/ 90 h 112"/>
                <a:gd name="T66" fmla="*/ 56 w 62"/>
                <a:gd name="T67" fmla="*/ 94 h 112"/>
                <a:gd name="T68" fmla="*/ 52 w 62"/>
                <a:gd name="T69" fmla="*/ 94 h 112"/>
                <a:gd name="T70" fmla="*/ 52 w 62"/>
                <a:gd name="T71" fmla="*/ 90 h 112"/>
                <a:gd name="T72" fmla="*/ 48 w 62"/>
                <a:gd name="T73" fmla="*/ 90 h 112"/>
                <a:gd name="T74" fmla="*/ 48 w 62"/>
                <a:gd name="T75" fmla="*/ 90 h 112"/>
                <a:gd name="T76" fmla="*/ 52 w 62"/>
                <a:gd name="T77" fmla="*/ 90 h 112"/>
                <a:gd name="T78" fmla="*/ 52 w 62"/>
                <a:gd name="T79" fmla="*/ 94 h 112"/>
                <a:gd name="T80" fmla="*/ 48 w 62"/>
                <a:gd name="T81" fmla="*/ 94 h 112"/>
                <a:gd name="T82" fmla="*/ 40 w 62"/>
                <a:gd name="T83" fmla="*/ 98 h 112"/>
                <a:gd name="T84" fmla="*/ 36 w 62"/>
                <a:gd name="T85" fmla="*/ 102 h 112"/>
                <a:gd name="T86" fmla="*/ 34 w 62"/>
                <a:gd name="T87" fmla="*/ 104 h 112"/>
                <a:gd name="T88" fmla="*/ 30 w 62"/>
                <a:gd name="T89" fmla="*/ 104 h 112"/>
                <a:gd name="T90" fmla="*/ 22 w 62"/>
                <a:gd name="T91" fmla="*/ 104 h 112"/>
                <a:gd name="T92" fmla="*/ 18 w 62"/>
                <a:gd name="T93" fmla="*/ 112 h 112"/>
                <a:gd name="T94" fmla="*/ 10 w 62"/>
                <a:gd name="T95" fmla="*/ 108 h 112"/>
                <a:gd name="T96" fmla="*/ 6 w 62"/>
                <a:gd name="T97" fmla="*/ 108 h 112"/>
                <a:gd name="T98" fmla="*/ 0 w 62"/>
                <a:gd name="T99" fmla="*/ 104 h 112"/>
                <a:gd name="T100" fmla="*/ 6 w 62"/>
                <a:gd name="T101" fmla="*/ 104 h 112"/>
                <a:gd name="T102" fmla="*/ 4 w 62"/>
                <a:gd name="T103" fmla="*/ 102 h 112"/>
                <a:gd name="T104" fmla="*/ 4 w 62"/>
                <a:gd name="T105" fmla="*/ 98 h 112"/>
                <a:gd name="T106" fmla="*/ 0 w 62"/>
                <a:gd name="T107" fmla="*/ 8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112">
                  <a:moveTo>
                    <a:pt x="0" y="86"/>
                  </a:moveTo>
                  <a:lnTo>
                    <a:pt x="0" y="86"/>
                  </a:lnTo>
                  <a:lnTo>
                    <a:pt x="0" y="86"/>
                  </a:lnTo>
                  <a:lnTo>
                    <a:pt x="0" y="82"/>
                  </a:lnTo>
                  <a:lnTo>
                    <a:pt x="0" y="78"/>
                  </a:lnTo>
                  <a:lnTo>
                    <a:pt x="0" y="78"/>
                  </a:lnTo>
                  <a:lnTo>
                    <a:pt x="0" y="78"/>
                  </a:lnTo>
                  <a:lnTo>
                    <a:pt x="0" y="78"/>
                  </a:lnTo>
                  <a:lnTo>
                    <a:pt x="0" y="78"/>
                  </a:lnTo>
                  <a:lnTo>
                    <a:pt x="0" y="76"/>
                  </a:lnTo>
                  <a:lnTo>
                    <a:pt x="0" y="72"/>
                  </a:lnTo>
                  <a:lnTo>
                    <a:pt x="0" y="72"/>
                  </a:lnTo>
                  <a:lnTo>
                    <a:pt x="4" y="72"/>
                  </a:lnTo>
                  <a:lnTo>
                    <a:pt x="4" y="68"/>
                  </a:lnTo>
                  <a:lnTo>
                    <a:pt x="4" y="64"/>
                  </a:lnTo>
                  <a:lnTo>
                    <a:pt x="4" y="64"/>
                  </a:lnTo>
                  <a:lnTo>
                    <a:pt x="4" y="60"/>
                  </a:lnTo>
                  <a:lnTo>
                    <a:pt x="4" y="60"/>
                  </a:lnTo>
                  <a:lnTo>
                    <a:pt x="4" y="56"/>
                  </a:lnTo>
                  <a:lnTo>
                    <a:pt x="4" y="56"/>
                  </a:lnTo>
                  <a:lnTo>
                    <a:pt x="6" y="56"/>
                  </a:lnTo>
                  <a:lnTo>
                    <a:pt x="6" y="52"/>
                  </a:lnTo>
                  <a:lnTo>
                    <a:pt x="6" y="52"/>
                  </a:lnTo>
                  <a:lnTo>
                    <a:pt x="10" y="52"/>
                  </a:lnTo>
                  <a:lnTo>
                    <a:pt x="10" y="52"/>
                  </a:lnTo>
                  <a:lnTo>
                    <a:pt x="6" y="46"/>
                  </a:lnTo>
                  <a:lnTo>
                    <a:pt x="6" y="46"/>
                  </a:lnTo>
                  <a:lnTo>
                    <a:pt x="6" y="42"/>
                  </a:lnTo>
                  <a:lnTo>
                    <a:pt x="6" y="42"/>
                  </a:lnTo>
                  <a:lnTo>
                    <a:pt x="6" y="42"/>
                  </a:lnTo>
                  <a:lnTo>
                    <a:pt x="6" y="42"/>
                  </a:lnTo>
                  <a:lnTo>
                    <a:pt x="6" y="42"/>
                  </a:lnTo>
                  <a:lnTo>
                    <a:pt x="6" y="42"/>
                  </a:lnTo>
                  <a:lnTo>
                    <a:pt x="6" y="38"/>
                  </a:lnTo>
                  <a:lnTo>
                    <a:pt x="6" y="38"/>
                  </a:lnTo>
                  <a:lnTo>
                    <a:pt x="6" y="38"/>
                  </a:lnTo>
                  <a:lnTo>
                    <a:pt x="6" y="38"/>
                  </a:lnTo>
                  <a:lnTo>
                    <a:pt x="6" y="34"/>
                  </a:lnTo>
                  <a:lnTo>
                    <a:pt x="6" y="34"/>
                  </a:lnTo>
                  <a:lnTo>
                    <a:pt x="6" y="30"/>
                  </a:lnTo>
                  <a:lnTo>
                    <a:pt x="6" y="30"/>
                  </a:lnTo>
                  <a:lnTo>
                    <a:pt x="6" y="30"/>
                  </a:lnTo>
                  <a:lnTo>
                    <a:pt x="6" y="30"/>
                  </a:lnTo>
                  <a:lnTo>
                    <a:pt x="6" y="30"/>
                  </a:lnTo>
                  <a:lnTo>
                    <a:pt x="6" y="30"/>
                  </a:lnTo>
                  <a:lnTo>
                    <a:pt x="4" y="30"/>
                  </a:lnTo>
                  <a:lnTo>
                    <a:pt x="4" y="26"/>
                  </a:lnTo>
                  <a:lnTo>
                    <a:pt x="6" y="26"/>
                  </a:lnTo>
                  <a:lnTo>
                    <a:pt x="6" y="26"/>
                  </a:lnTo>
                  <a:lnTo>
                    <a:pt x="6" y="26"/>
                  </a:lnTo>
                  <a:lnTo>
                    <a:pt x="4" y="26"/>
                  </a:lnTo>
                  <a:lnTo>
                    <a:pt x="4" y="26"/>
                  </a:lnTo>
                  <a:lnTo>
                    <a:pt x="6" y="22"/>
                  </a:lnTo>
                  <a:lnTo>
                    <a:pt x="4" y="22"/>
                  </a:lnTo>
                  <a:lnTo>
                    <a:pt x="4" y="18"/>
                  </a:lnTo>
                  <a:lnTo>
                    <a:pt x="4" y="18"/>
                  </a:lnTo>
                  <a:lnTo>
                    <a:pt x="4" y="18"/>
                  </a:lnTo>
                  <a:lnTo>
                    <a:pt x="4" y="16"/>
                  </a:lnTo>
                  <a:lnTo>
                    <a:pt x="4" y="16"/>
                  </a:lnTo>
                  <a:lnTo>
                    <a:pt x="4" y="12"/>
                  </a:lnTo>
                  <a:lnTo>
                    <a:pt x="4" y="12"/>
                  </a:lnTo>
                  <a:lnTo>
                    <a:pt x="4" y="12"/>
                  </a:lnTo>
                  <a:lnTo>
                    <a:pt x="4" y="8"/>
                  </a:lnTo>
                  <a:lnTo>
                    <a:pt x="4" y="8"/>
                  </a:lnTo>
                  <a:lnTo>
                    <a:pt x="4" y="4"/>
                  </a:lnTo>
                  <a:lnTo>
                    <a:pt x="4" y="4"/>
                  </a:lnTo>
                  <a:lnTo>
                    <a:pt x="4" y="4"/>
                  </a:lnTo>
                  <a:lnTo>
                    <a:pt x="6" y="4"/>
                  </a:lnTo>
                  <a:lnTo>
                    <a:pt x="10" y="4"/>
                  </a:lnTo>
                  <a:lnTo>
                    <a:pt x="14" y="4"/>
                  </a:lnTo>
                  <a:lnTo>
                    <a:pt x="18" y="4"/>
                  </a:lnTo>
                  <a:lnTo>
                    <a:pt x="22" y="4"/>
                  </a:lnTo>
                  <a:lnTo>
                    <a:pt x="22" y="4"/>
                  </a:lnTo>
                  <a:lnTo>
                    <a:pt x="26" y="4"/>
                  </a:lnTo>
                  <a:lnTo>
                    <a:pt x="26" y="4"/>
                  </a:lnTo>
                  <a:lnTo>
                    <a:pt x="30" y="4"/>
                  </a:lnTo>
                  <a:lnTo>
                    <a:pt x="30" y="4"/>
                  </a:lnTo>
                  <a:lnTo>
                    <a:pt x="34" y="4"/>
                  </a:lnTo>
                  <a:lnTo>
                    <a:pt x="34" y="4"/>
                  </a:lnTo>
                  <a:lnTo>
                    <a:pt x="34" y="4"/>
                  </a:lnTo>
                  <a:lnTo>
                    <a:pt x="34" y="4"/>
                  </a:lnTo>
                  <a:lnTo>
                    <a:pt x="34" y="4"/>
                  </a:lnTo>
                  <a:lnTo>
                    <a:pt x="36" y="4"/>
                  </a:lnTo>
                  <a:lnTo>
                    <a:pt x="40" y="4"/>
                  </a:lnTo>
                  <a:lnTo>
                    <a:pt x="40" y="0"/>
                  </a:lnTo>
                  <a:lnTo>
                    <a:pt x="40" y="0"/>
                  </a:lnTo>
                  <a:lnTo>
                    <a:pt x="40" y="0"/>
                  </a:lnTo>
                  <a:lnTo>
                    <a:pt x="40" y="0"/>
                  </a:lnTo>
                  <a:lnTo>
                    <a:pt x="44" y="4"/>
                  </a:lnTo>
                  <a:lnTo>
                    <a:pt x="44" y="4"/>
                  </a:lnTo>
                  <a:lnTo>
                    <a:pt x="44" y="0"/>
                  </a:lnTo>
                  <a:lnTo>
                    <a:pt x="44" y="0"/>
                  </a:lnTo>
                  <a:lnTo>
                    <a:pt x="44" y="4"/>
                  </a:lnTo>
                  <a:lnTo>
                    <a:pt x="44" y="4"/>
                  </a:lnTo>
                  <a:lnTo>
                    <a:pt x="44" y="4"/>
                  </a:lnTo>
                  <a:lnTo>
                    <a:pt x="44" y="8"/>
                  </a:lnTo>
                  <a:lnTo>
                    <a:pt x="44" y="8"/>
                  </a:lnTo>
                  <a:lnTo>
                    <a:pt x="44" y="8"/>
                  </a:lnTo>
                  <a:lnTo>
                    <a:pt x="44" y="8"/>
                  </a:lnTo>
                  <a:lnTo>
                    <a:pt x="44" y="12"/>
                  </a:lnTo>
                  <a:lnTo>
                    <a:pt x="44" y="12"/>
                  </a:lnTo>
                  <a:lnTo>
                    <a:pt x="44" y="12"/>
                  </a:lnTo>
                  <a:lnTo>
                    <a:pt x="44" y="12"/>
                  </a:lnTo>
                  <a:lnTo>
                    <a:pt x="44" y="12"/>
                  </a:lnTo>
                  <a:lnTo>
                    <a:pt x="48" y="16"/>
                  </a:lnTo>
                  <a:lnTo>
                    <a:pt x="48" y="16"/>
                  </a:lnTo>
                  <a:lnTo>
                    <a:pt x="48" y="16"/>
                  </a:lnTo>
                  <a:lnTo>
                    <a:pt x="48" y="16"/>
                  </a:lnTo>
                  <a:lnTo>
                    <a:pt x="48" y="18"/>
                  </a:lnTo>
                  <a:lnTo>
                    <a:pt x="48" y="18"/>
                  </a:lnTo>
                  <a:lnTo>
                    <a:pt x="48" y="18"/>
                  </a:lnTo>
                  <a:lnTo>
                    <a:pt x="48" y="18"/>
                  </a:lnTo>
                  <a:lnTo>
                    <a:pt x="52" y="18"/>
                  </a:lnTo>
                  <a:lnTo>
                    <a:pt x="52" y="18"/>
                  </a:lnTo>
                  <a:lnTo>
                    <a:pt x="48" y="18"/>
                  </a:lnTo>
                  <a:lnTo>
                    <a:pt x="48" y="26"/>
                  </a:lnTo>
                  <a:lnTo>
                    <a:pt x="48" y="26"/>
                  </a:lnTo>
                  <a:lnTo>
                    <a:pt x="48" y="30"/>
                  </a:lnTo>
                  <a:lnTo>
                    <a:pt x="48" y="30"/>
                  </a:lnTo>
                  <a:lnTo>
                    <a:pt x="48" y="30"/>
                  </a:lnTo>
                  <a:lnTo>
                    <a:pt x="48" y="30"/>
                  </a:lnTo>
                  <a:lnTo>
                    <a:pt x="48" y="30"/>
                  </a:lnTo>
                  <a:lnTo>
                    <a:pt x="48" y="30"/>
                  </a:lnTo>
                  <a:lnTo>
                    <a:pt x="48" y="30"/>
                  </a:lnTo>
                  <a:lnTo>
                    <a:pt x="52" y="30"/>
                  </a:lnTo>
                  <a:lnTo>
                    <a:pt x="52" y="30"/>
                  </a:lnTo>
                  <a:lnTo>
                    <a:pt x="52" y="30"/>
                  </a:lnTo>
                  <a:lnTo>
                    <a:pt x="52" y="30"/>
                  </a:lnTo>
                  <a:lnTo>
                    <a:pt x="52" y="30"/>
                  </a:lnTo>
                  <a:lnTo>
                    <a:pt x="52" y="34"/>
                  </a:lnTo>
                  <a:lnTo>
                    <a:pt x="52" y="34"/>
                  </a:lnTo>
                  <a:lnTo>
                    <a:pt x="52" y="34"/>
                  </a:lnTo>
                  <a:lnTo>
                    <a:pt x="52" y="38"/>
                  </a:lnTo>
                  <a:lnTo>
                    <a:pt x="52" y="38"/>
                  </a:lnTo>
                  <a:lnTo>
                    <a:pt x="52" y="42"/>
                  </a:lnTo>
                  <a:lnTo>
                    <a:pt x="52" y="42"/>
                  </a:lnTo>
                  <a:lnTo>
                    <a:pt x="52" y="42"/>
                  </a:lnTo>
                  <a:lnTo>
                    <a:pt x="52" y="42"/>
                  </a:lnTo>
                  <a:lnTo>
                    <a:pt x="52" y="42"/>
                  </a:lnTo>
                  <a:lnTo>
                    <a:pt x="48" y="42"/>
                  </a:lnTo>
                  <a:lnTo>
                    <a:pt x="48" y="42"/>
                  </a:lnTo>
                  <a:lnTo>
                    <a:pt x="52" y="46"/>
                  </a:lnTo>
                  <a:lnTo>
                    <a:pt x="52" y="46"/>
                  </a:lnTo>
                  <a:lnTo>
                    <a:pt x="52" y="46"/>
                  </a:lnTo>
                  <a:lnTo>
                    <a:pt x="52" y="48"/>
                  </a:lnTo>
                  <a:lnTo>
                    <a:pt x="52" y="48"/>
                  </a:lnTo>
                  <a:lnTo>
                    <a:pt x="56" y="48"/>
                  </a:lnTo>
                  <a:lnTo>
                    <a:pt x="56" y="48"/>
                  </a:lnTo>
                  <a:lnTo>
                    <a:pt x="56" y="48"/>
                  </a:lnTo>
                  <a:lnTo>
                    <a:pt x="56" y="52"/>
                  </a:lnTo>
                  <a:lnTo>
                    <a:pt x="56" y="52"/>
                  </a:lnTo>
                  <a:lnTo>
                    <a:pt x="52" y="52"/>
                  </a:lnTo>
                  <a:lnTo>
                    <a:pt x="52" y="52"/>
                  </a:lnTo>
                  <a:lnTo>
                    <a:pt x="52" y="52"/>
                  </a:lnTo>
                  <a:lnTo>
                    <a:pt x="52" y="56"/>
                  </a:lnTo>
                  <a:lnTo>
                    <a:pt x="52" y="60"/>
                  </a:lnTo>
                  <a:lnTo>
                    <a:pt x="52" y="64"/>
                  </a:lnTo>
                  <a:lnTo>
                    <a:pt x="52" y="64"/>
                  </a:lnTo>
                  <a:lnTo>
                    <a:pt x="52" y="64"/>
                  </a:lnTo>
                  <a:lnTo>
                    <a:pt x="52" y="64"/>
                  </a:lnTo>
                  <a:lnTo>
                    <a:pt x="52" y="64"/>
                  </a:lnTo>
                  <a:lnTo>
                    <a:pt x="52" y="68"/>
                  </a:lnTo>
                  <a:lnTo>
                    <a:pt x="52" y="68"/>
                  </a:lnTo>
                  <a:lnTo>
                    <a:pt x="52" y="68"/>
                  </a:lnTo>
                  <a:lnTo>
                    <a:pt x="52" y="68"/>
                  </a:lnTo>
                  <a:lnTo>
                    <a:pt x="52" y="68"/>
                  </a:lnTo>
                  <a:lnTo>
                    <a:pt x="52" y="68"/>
                  </a:lnTo>
                  <a:lnTo>
                    <a:pt x="52" y="72"/>
                  </a:lnTo>
                  <a:lnTo>
                    <a:pt x="52" y="72"/>
                  </a:lnTo>
                  <a:lnTo>
                    <a:pt x="52" y="76"/>
                  </a:lnTo>
                  <a:lnTo>
                    <a:pt x="52" y="76"/>
                  </a:lnTo>
                  <a:lnTo>
                    <a:pt x="52" y="78"/>
                  </a:lnTo>
                  <a:lnTo>
                    <a:pt x="52" y="78"/>
                  </a:lnTo>
                  <a:lnTo>
                    <a:pt x="52" y="78"/>
                  </a:lnTo>
                  <a:lnTo>
                    <a:pt x="52" y="78"/>
                  </a:lnTo>
                  <a:lnTo>
                    <a:pt x="56" y="78"/>
                  </a:lnTo>
                  <a:lnTo>
                    <a:pt x="56" y="78"/>
                  </a:lnTo>
                  <a:lnTo>
                    <a:pt x="56" y="78"/>
                  </a:lnTo>
                  <a:lnTo>
                    <a:pt x="56" y="78"/>
                  </a:lnTo>
                  <a:lnTo>
                    <a:pt x="56" y="82"/>
                  </a:lnTo>
                  <a:lnTo>
                    <a:pt x="56" y="82"/>
                  </a:lnTo>
                  <a:lnTo>
                    <a:pt x="56" y="82"/>
                  </a:lnTo>
                  <a:lnTo>
                    <a:pt x="56" y="82"/>
                  </a:lnTo>
                  <a:lnTo>
                    <a:pt x="56" y="82"/>
                  </a:lnTo>
                  <a:lnTo>
                    <a:pt x="56" y="82"/>
                  </a:lnTo>
                  <a:lnTo>
                    <a:pt x="60" y="82"/>
                  </a:lnTo>
                  <a:lnTo>
                    <a:pt x="60" y="86"/>
                  </a:lnTo>
                  <a:lnTo>
                    <a:pt x="60" y="86"/>
                  </a:lnTo>
                  <a:lnTo>
                    <a:pt x="60" y="86"/>
                  </a:lnTo>
                  <a:lnTo>
                    <a:pt x="62" y="86"/>
                  </a:lnTo>
                  <a:lnTo>
                    <a:pt x="62" y="86"/>
                  </a:lnTo>
                  <a:lnTo>
                    <a:pt x="62"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6" y="94"/>
                  </a:lnTo>
                  <a:lnTo>
                    <a:pt x="56" y="94"/>
                  </a:lnTo>
                  <a:lnTo>
                    <a:pt x="56" y="94"/>
                  </a:lnTo>
                  <a:lnTo>
                    <a:pt x="52" y="94"/>
                  </a:lnTo>
                  <a:lnTo>
                    <a:pt x="52" y="94"/>
                  </a:lnTo>
                  <a:lnTo>
                    <a:pt x="52" y="94"/>
                  </a:lnTo>
                  <a:lnTo>
                    <a:pt x="52" y="90"/>
                  </a:lnTo>
                  <a:lnTo>
                    <a:pt x="52" y="90"/>
                  </a:lnTo>
                  <a:lnTo>
                    <a:pt x="52" y="90"/>
                  </a:lnTo>
                  <a:lnTo>
                    <a:pt x="52" y="90"/>
                  </a:lnTo>
                  <a:lnTo>
                    <a:pt x="52" y="90"/>
                  </a:lnTo>
                  <a:lnTo>
                    <a:pt x="52"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48" y="90"/>
                  </a:lnTo>
                  <a:lnTo>
                    <a:pt x="52" y="90"/>
                  </a:lnTo>
                  <a:lnTo>
                    <a:pt x="52" y="90"/>
                  </a:lnTo>
                  <a:lnTo>
                    <a:pt x="52" y="90"/>
                  </a:lnTo>
                  <a:lnTo>
                    <a:pt x="52" y="90"/>
                  </a:lnTo>
                  <a:lnTo>
                    <a:pt x="52" y="90"/>
                  </a:lnTo>
                  <a:lnTo>
                    <a:pt x="52" y="90"/>
                  </a:lnTo>
                  <a:lnTo>
                    <a:pt x="52" y="90"/>
                  </a:lnTo>
                  <a:lnTo>
                    <a:pt x="52" y="94"/>
                  </a:lnTo>
                  <a:lnTo>
                    <a:pt x="52" y="94"/>
                  </a:lnTo>
                  <a:lnTo>
                    <a:pt x="56" y="94"/>
                  </a:lnTo>
                  <a:lnTo>
                    <a:pt x="52" y="94"/>
                  </a:lnTo>
                  <a:lnTo>
                    <a:pt x="52" y="94"/>
                  </a:lnTo>
                  <a:lnTo>
                    <a:pt x="48" y="94"/>
                  </a:lnTo>
                  <a:lnTo>
                    <a:pt x="48" y="94"/>
                  </a:lnTo>
                  <a:lnTo>
                    <a:pt x="48" y="94"/>
                  </a:lnTo>
                  <a:lnTo>
                    <a:pt x="48" y="94"/>
                  </a:lnTo>
                  <a:lnTo>
                    <a:pt x="48" y="94"/>
                  </a:lnTo>
                  <a:lnTo>
                    <a:pt x="44" y="98"/>
                  </a:lnTo>
                  <a:lnTo>
                    <a:pt x="44" y="98"/>
                  </a:lnTo>
                  <a:lnTo>
                    <a:pt x="44" y="98"/>
                  </a:lnTo>
                  <a:lnTo>
                    <a:pt x="40" y="98"/>
                  </a:lnTo>
                  <a:lnTo>
                    <a:pt x="40" y="98"/>
                  </a:lnTo>
                  <a:lnTo>
                    <a:pt x="40" y="98"/>
                  </a:lnTo>
                  <a:lnTo>
                    <a:pt x="40" y="98"/>
                  </a:lnTo>
                  <a:lnTo>
                    <a:pt x="36" y="102"/>
                  </a:lnTo>
                  <a:lnTo>
                    <a:pt x="36" y="102"/>
                  </a:lnTo>
                  <a:lnTo>
                    <a:pt x="36" y="102"/>
                  </a:lnTo>
                  <a:lnTo>
                    <a:pt x="36" y="102"/>
                  </a:lnTo>
                  <a:lnTo>
                    <a:pt x="36" y="102"/>
                  </a:lnTo>
                  <a:lnTo>
                    <a:pt x="34" y="102"/>
                  </a:lnTo>
                  <a:lnTo>
                    <a:pt x="34" y="102"/>
                  </a:lnTo>
                  <a:lnTo>
                    <a:pt x="34" y="102"/>
                  </a:lnTo>
                  <a:lnTo>
                    <a:pt x="34" y="104"/>
                  </a:lnTo>
                  <a:lnTo>
                    <a:pt x="34" y="104"/>
                  </a:lnTo>
                  <a:lnTo>
                    <a:pt x="30" y="104"/>
                  </a:lnTo>
                  <a:lnTo>
                    <a:pt x="30" y="104"/>
                  </a:lnTo>
                  <a:lnTo>
                    <a:pt x="30" y="104"/>
                  </a:lnTo>
                  <a:lnTo>
                    <a:pt x="30" y="104"/>
                  </a:lnTo>
                  <a:lnTo>
                    <a:pt x="30" y="104"/>
                  </a:lnTo>
                  <a:lnTo>
                    <a:pt x="30" y="104"/>
                  </a:lnTo>
                  <a:lnTo>
                    <a:pt x="26" y="104"/>
                  </a:lnTo>
                  <a:lnTo>
                    <a:pt x="26" y="104"/>
                  </a:lnTo>
                  <a:lnTo>
                    <a:pt x="26" y="104"/>
                  </a:lnTo>
                  <a:lnTo>
                    <a:pt x="26" y="104"/>
                  </a:lnTo>
                  <a:lnTo>
                    <a:pt x="22" y="104"/>
                  </a:lnTo>
                  <a:lnTo>
                    <a:pt x="22" y="104"/>
                  </a:lnTo>
                  <a:lnTo>
                    <a:pt x="22" y="104"/>
                  </a:lnTo>
                  <a:lnTo>
                    <a:pt x="22" y="108"/>
                  </a:lnTo>
                  <a:lnTo>
                    <a:pt x="22" y="108"/>
                  </a:lnTo>
                  <a:lnTo>
                    <a:pt x="18" y="108"/>
                  </a:lnTo>
                  <a:lnTo>
                    <a:pt x="18" y="112"/>
                  </a:lnTo>
                  <a:lnTo>
                    <a:pt x="14" y="112"/>
                  </a:lnTo>
                  <a:lnTo>
                    <a:pt x="14" y="112"/>
                  </a:lnTo>
                  <a:lnTo>
                    <a:pt x="14" y="112"/>
                  </a:lnTo>
                  <a:lnTo>
                    <a:pt x="10" y="108"/>
                  </a:lnTo>
                  <a:lnTo>
                    <a:pt x="10" y="108"/>
                  </a:lnTo>
                  <a:lnTo>
                    <a:pt x="10" y="108"/>
                  </a:lnTo>
                  <a:lnTo>
                    <a:pt x="10" y="108"/>
                  </a:lnTo>
                  <a:lnTo>
                    <a:pt x="10" y="108"/>
                  </a:lnTo>
                  <a:lnTo>
                    <a:pt x="10" y="108"/>
                  </a:lnTo>
                  <a:lnTo>
                    <a:pt x="10" y="108"/>
                  </a:lnTo>
                  <a:lnTo>
                    <a:pt x="6" y="108"/>
                  </a:lnTo>
                  <a:lnTo>
                    <a:pt x="6" y="108"/>
                  </a:lnTo>
                  <a:lnTo>
                    <a:pt x="6" y="108"/>
                  </a:lnTo>
                  <a:lnTo>
                    <a:pt x="4" y="104"/>
                  </a:lnTo>
                  <a:lnTo>
                    <a:pt x="4" y="104"/>
                  </a:lnTo>
                  <a:lnTo>
                    <a:pt x="4" y="104"/>
                  </a:lnTo>
                  <a:lnTo>
                    <a:pt x="0" y="104"/>
                  </a:lnTo>
                  <a:lnTo>
                    <a:pt x="0" y="104"/>
                  </a:lnTo>
                  <a:lnTo>
                    <a:pt x="0" y="104"/>
                  </a:lnTo>
                  <a:lnTo>
                    <a:pt x="0" y="104"/>
                  </a:lnTo>
                  <a:lnTo>
                    <a:pt x="0" y="104"/>
                  </a:lnTo>
                  <a:lnTo>
                    <a:pt x="4" y="104"/>
                  </a:lnTo>
                  <a:lnTo>
                    <a:pt x="4" y="104"/>
                  </a:lnTo>
                  <a:lnTo>
                    <a:pt x="6" y="104"/>
                  </a:lnTo>
                  <a:lnTo>
                    <a:pt x="6" y="104"/>
                  </a:lnTo>
                  <a:lnTo>
                    <a:pt x="6" y="104"/>
                  </a:lnTo>
                  <a:lnTo>
                    <a:pt x="6" y="104"/>
                  </a:lnTo>
                  <a:lnTo>
                    <a:pt x="6" y="104"/>
                  </a:lnTo>
                  <a:lnTo>
                    <a:pt x="4" y="102"/>
                  </a:lnTo>
                  <a:lnTo>
                    <a:pt x="4" y="102"/>
                  </a:lnTo>
                  <a:lnTo>
                    <a:pt x="6" y="102"/>
                  </a:lnTo>
                  <a:lnTo>
                    <a:pt x="6" y="98"/>
                  </a:lnTo>
                  <a:lnTo>
                    <a:pt x="4" y="98"/>
                  </a:lnTo>
                  <a:lnTo>
                    <a:pt x="4" y="98"/>
                  </a:lnTo>
                  <a:lnTo>
                    <a:pt x="4" y="98"/>
                  </a:lnTo>
                  <a:lnTo>
                    <a:pt x="4" y="98"/>
                  </a:lnTo>
                  <a:lnTo>
                    <a:pt x="4" y="98"/>
                  </a:lnTo>
                  <a:lnTo>
                    <a:pt x="4" y="98"/>
                  </a:lnTo>
                  <a:lnTo>
                    <a:pt x="4" y="94"/>
                  </a:lnTo>
                  <a:lnTo>
                    <a:pt x="4" y="94"/>
                  </a:lnTo>
                  <a:lnTo>
                    <a:pt x="0" y="90"/>
                  </a:lnTo>
                  <a:lnTo>
                    <a:pt x="0" y="86"/>
                  </a:lnTo>
                  <a:lnTo>
                    <a:pt x="0" y="86"/>
                  </a:lnTo>
                  <a:lnTo>
                    <a:pt x="0" y="86"/>
                  </a:lnTo>
                  <a:lnTo>
                    <a:pt x="0" y="86"/>
                  </a:lnTo>
                  <a:lnTo>
                    <a:pt x="0" y="86"/>
                  </a:lnTo>
                  <a:lnTo>
                    <a:pt x="0" y="8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55" name="Freeform 148"/>
            <p:cNvSpPr>
              <a:spLocks/>
            </p:cNvSpPr>
            <p:nvPr/>
          </p:nvSpPr>
          <p:spPr bwMode="auto">
            <a:xfrm>
              <a:off x="6907153" y="4017917"/>
              <a:ext cx="65310" cy="64072"/>
            </a:xfrm>
            <a:custGeom>
              <a:avLst/>
              <a:gdLst>
                <a:gd name="T0" fmla="*/ 96 w 104"/>
                <a:gd name="T1" fmla="*/ 86 h 98"/>
                <a:gd name="T2" fmla="*/ 92 w 104"/>
                <a:gd name="T3" fmla="*/ 90 h 98"/>
                <a:gd name="T4" fmla="*/ 90 w 104"/>
                <a:gd name="T5" fmla="*/ 86 h 98"/>
                <a:gd name="T6" fmla="*/ 86 w 104"/>
                <a:gd name="T7" fmla="*/ 94 h 98"/>
                <a:gd name="T8" fmla="*/ 82 w 104"/>
                <a:gd name="T9" fmla="*/ 94 h 98"/>
                <a:gd name="T10" fmla="*/ 78 w 104"/>
                <a:gd name="T11" fmla="*/ 90 h 98"/>
                <a:gd name="T12" fmla="*/ 78 w 104"/>
                <a:gd name="T13" fmla="*/ 86 h 98"/>
                <a:gd name="T14" fmla="*/ 74 w 104"/>
                <a:gd name="T15" fmla="*/ 74 h 98"/>
                <a:gd name="T16" fmla="*/ 66 w 104"/>
                <a:gd name="T17" fmla="*/ 74 h 98"/>
                <a:gd name="T18" fmla="*/ 60 w 104"/>
                <a:gd name="T19" fmla="*/ 74 h 98"/>
                <a:gd name="T20" fmla="*/ 64 w 104"/>
                <a:gd name="T21" fmla="*/ 64 h 98"/>
                <a:gd name="T22" fmla="*/ 60 w 104"/>
                <a:gd name="T23" fmla="*/ 60 h 98"/>
                <a:gd name="T24" fmla="*/ 56 w 104"/>
                <a:gd name="T25" fmla="*/ 52 h 98"/>
                <a:gd name="T26" fmla="*/ 48 w 104"/>
                <a:gd name="T27" fmla="*/ 48 h 98"/>
                <a:gd name="T28" fmla="*/ 40 w 104"/>
                <a:gd name="T29" fmla="*/ 48 h 98"/>
                <a:gd name="T30" fmla="*/ 34 w 104"/>
                <a:gd name="T31" fmla="*/ 52 h 98"/>
                <a:gd name="T32" fmla="*/ 30 w 104"/>
                <a:gd name="T33" fmla="*/ 60 h 98"/>
                <a:gd name="T34" fmla="*/ 26 w 104"/>
                <a:gd name="T35" fmla="*/ 64 h 98"/>
                <a:gd name="T36" fmla="*/ 22 w 104"/>
                <a:gd name="T37" fmla="*/ 60 h 98"/>
                <a:gd name="T38" fmla="*/ 18 w 104"/>
                <a:gd name="T39" fmla="*/ 56 h 98"/>
                <a:gd name="T40" fmla="*/ 18 w 104"/>
                <a:gd name="T41" fmla="*/ 52 h 98"/>
                <a:gd name="T42" fmla="*/ 18 w 104"/>
                <a:gd name="T43" fmla="*/ 48 h 98"/>
                <a:gd name="T44" fmla="*/ 14 w 104"/>
                <a:gd name="T45" fmla="*/ 44 h 98"/>
                <a:gd name="T46" fmla="*/ 8 w 104"/>
                <a:gd name="T47" fmla="*/ 38 h 98"/>
                <a:gd name="T48" fmla="*/ 8 w 104"/>
                <a:gd name="T49" fmla="*/ 34 h 98"/>
                <a:gd name="T50" fmla="*/ 4 w 104"/>
                <a:gd name="T51" fmla="*/ 30 h 98"/>
                <a:gd name="T52" fmla="*/ 0 w 104"/>
                <a:gd name="T53" fmla="*/ 30 h 98"/>
                <a:gd name="T54" fmla="*/ 0 w 104"/>
                <a:gd name="T55" fmla="*/ 30 h 98"/>
                <a:gd name="T56" fmla="*/ 4 w 104"/>
                <a:gd name="T57" fmla="*/ 22 h 98"/>
                <a:gd name="T58" fmla="*/ 8 w 104"/>
                <a:gd name="T59" fmla="*/ 22 h 98"/>
                <a:gd name="T60" fmla="*/ 14 w 104"/>
                <a:gd name="T61" fmla="*/ 18 h 98"/>
                <a:gd name="T62" fmla="*/ 14 w 104"/>
                <a:gd name="T63" fmla="*/ 12 h 98"/>
                <a:gd name="T64" fmla="*/ 18 w 104"/>
                <a:gd name="T65" fmla="*/ 8 h 98"/>
                <a:gd name="T66" fmla="*/ 18 w 104"/>
                <a:gd name="T67" fmla="*/ 4 h 98"/>
                <a:gd name="T68" fmla="*/ 26 w 104"/>
                <a:gd name="T69" fmla="*/ 0 h 98"/>
                <a:gd name="T70" fmla="*/ 30 w 104"/>
                <a:gd name="T71" fmla="*/ 4 h 98"/>
                <a:gd name="T72" fmla="*/ 36 w 104"/>
                <a:gd name="T73" fmla="*/ 4 h 98"/>
                <a:gd name="T74" fmla="*/ 40 w 104"/>
                <a:gd name="T75" fmla="*/ 8 h 98"/>
                <a:gd name="T76" fmla="*/ 48 w 104"/>
                <a:gd name="T77" fmla="*/ 4 h 98"/>
                <a:gd name="T78" fmla="*/ 48 w 104"/>
                <a:gd name="T79" fmla="*/ 8 h 98"/>
                <a:gd name="T80" fmla="*/ 52 w 104"/>
                <a:gd name="T81" fmla="*/ 12 h 98"/>
                <a:gd name="T82" fmla="*/ 60 w 104"/>
                <a:gd name="T83" fmla="*/ 8 h 98"/>
                <a:gd name="T84" fmla="*/ 64 w 104"/>
                <a:gd name="T85" fmla="*/ 12 h 98"/>
                <a:gd name="T86" fmla="*/ 74 w 104"/>
                <a:gd name="T87" fmla="*/ 12 h 98"/>
                <a:gd name="T88" fmla="*/ 78 w 104"/>
                <a:gd name="T89" fmla="*/ 8 h 98"/>
                <a:gd name="T90" fmla="*/ 82 w 104"/>
                <a:gd name="T91" fmla="*/ 4 h 98"/>
                <a:gd name="T92" fmla="*/ 86 w 104"/>
                <a:gd name="T93" fmla="*/ 8 h 98"/>
                <a:gd name="T94" fmla="*/ 86 w 104"/>
                <a:gd name="T95" fmla="*/ 18 h 98"/>
                <a:gd name="T96" fmla="*/ 90 w 104"/>
                <a:gd name="T97" fmla="*/ 22 h 98"/>
                <a:gd name="T98" fmla="*/ 92 w 104"/>
                <a:gd name="T99" fmla="*/ 22 h 98"/>
                <a:gd name="T100" fmla="*/ 90 w 104"/>
                <a:gd name="T101" fmla="*/ 26 h 98"/>
                <a:gd name="T102" fmla="*/ 96 w 104"/>
                <a:gd name="T103" fmla="*/ 34 h 98"/>
                <a:gd name="T104" fmla="*/ 100 w 104"/>
                <a:gd name="T105" fmla="*/ 42 h 98"/>
                <a:gd name="T106" fmla="*/ 96 w 104"/>
                <a:gd name="T107" fmla="*/ 48 h 98"/>
                <a:gd name="T108" fmla="*/ 96 w 104"/>
                <a:gd name="T109" fmla="*/ 56 h 98"/>
                <a:gd name="T110" fmla="*/ 100 w 104"/>
                <a:gd name="T111" fmla="*/ 60 h 98"/>
                <a:gd name="T112" fmla="*/ 100 w 104"/>
                <a:gd name="T113" fmla="*/ 64 h 98"/>
                <a:gd name="T114" fmla="*/ 100 w 104"/>
                <a:gd name="T115" fmla="*/ 68 h 98"/>
                <a:gd name="T116" fmla="*/ 104 w 104"/>
                <a:gd name="T117" fmla="*/ 74 h 98"/>
                <a:gd name="T118" fmla="*/ 96 w 104"/>
                <a:gd name="T119" fmla="*/ 78 h 98"/>
                <a:gd name="T120" fmla="*/ 100 w 104"/>
                <a:gd name="T121"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4" h="98">
                  <a:moveTo>
                    <a:pt x="100" y="82"/>
                  </a:moveTo>
                  <a:lnTo>
                    <a:pt x="100" y="82"/>
                  </a:lnTo>
                  <a:lnTo>
                    <a:pt x="96" y="82"/>
                  </a:lnTo>
                  <a:lnTo>
                    <a:pt x="96" y="82"/>
                  </a:lnTo>
                  <a:lnTo>
                    <a:pt x="96" y="82"/>
                  </a:lnTo>
                  <a:lnTo>
                    <a:pt x="96" y="82"/>
                  </a:lnTo>
                  <a:lnTo>
                    <a:pt x="96" y="82"/>
                  </a:lnTo>
                  <a:lnTo>
                    <a:pt x="96" y="86"/>
                  </a:lnTo>
                  <a:lnTo>
                    <a:pt x="96" y="86"/>
                  </a:lnTo>
                  <a:lnTo>
                    <a:pt x="96" y="86"/>
                  </a:lnTo>
                  <a:lnTo>
                    <a:pt x="96" y="90"/>
                  </a:lnTo>
                  <a:lnTo>
                    <a:pt x="96" y="90"/>
                  </a:lnTo>
                  <a:lnTo>
                    <a:pt x="96" y="90"/>
                  </a:lnTo>
                  <a:lnTo>
                    <a:pt x="96" y="90"/>
                  </a:lnTo>
                  <a:lnTo>
                    <a:pt x="96" y="90"/>
                  </a:lnTo>
                  <a:lnTo>
                    <a:pt x="92" y="90"/>
                  </a:lnTo>
                  <a:lnTo>
                    <a:pt x="92" y="90"/>
                  </a:lnTo>
                  <a:lnTo>
                    <a:pt x="92" y="90"/>
                  </a:lnTo>
                  <a:lnTo>
                    <a:pt x="92" y="90"/>
                  </a:lnTo>
                  <a:lnTo>
                    <a:pt x="92" y="90"/>
                  </a:lnTo>
                  <a:lnTo>
                    <a:pt x="92" y="86"/>
                  </a:lnTo>
                  <a:lnTo>
                    <a:pt x="92" y="86"/>
                  </a:lnTo>
                  <a:lnTo>
                    <a:pt x="90" y="86"/>
                  </a:lnTo>
                  <a:lnTo>
                    <a:pt x="90" y="86"/>
                  </a:lnTo>
                  <a:lnTo>
                    <a:pt x="90" y="86"/>
                  </a:lnTo>
                  <a:lnTo>
                    <a:pt x="90" y="86"/>
                  </a:lnTo>
                  <a:lnTo>
                    <a:pt x="90" y="90"/>
                  </a:lnTo>
                  <a:lnTo>
                    <a:pt x="90" y="90"/>
                  </a:lnTo>
                  <a:lnTo>
                    <a:pt x="90" y="90"/>
                  </a:lnTo>
                  <a:lnTo>
                    <a:pt x="90" y="90"/>
                  </a:lnTo>
                  <a:lnTo>
                    <a:pt x="90" y="94"/>
                  </a:lnTo>
                  <a:lnTo>
                    <a:pt x="86" y="94"/>
                  </a:lnTo>
                  <a:lnTo>
                    <a:pt x="86" y="94"/>
                  </a:lnTo>
                  <a:lnTo>
                    <a:pt x="86" y="94"/>
                  </a:lnTo>
                  <a:lnTo>
                    <a:pt x="86" y="94"/>
                  </a:lnTo>
                  <a:lnTo>
                    <a:pt x="86" y="94"/>
                  </a:lnTo>
                  <a:lnTo>
                    <a:pt x="82" y="94"/>
                  </a:lnTo>
                  <a:lnTo>
                    <a:pt x="82" y="98"/>
                  </a:lnTo>
                  <a:lnTo>
                    <a:pt x="82" y="94"/>
                  </a:lnTo>
                  <a:lnTo>
                    <a:pt x="82" y="94"/>
                  </a:lnTo>
                  <a:lnTo>
                    <a:pt x="82" y="94"/>
                  </a:lnTo>
                  <a:lnTo>
                    <a:pt x="82" y="90"/>
                  </a:lnTo>
                  <a:lnTo>
                    <a:pt x="78" y="90"/>
                  </a:lnTo>
                  <a:lnTo>
                    <a:pt x="78" y="94"/>
                  </a:lnTo>
                  <a:lnTo>
                    <a:pt x="78" y="94"/>
                  </a:lnTo>
                  <a:lnTo>
                    <a:pt x="78" y="94"/>
                  </a:lnTo>
                  <a:lnTo>
                    <a:pt x="78" y="90"/>
                  </a:lnTo>
                  <a:lnTo>
                    <a:pt x="78" y="90"/>
                  </a:lnTo>
                  <a:lnTo>
                    <a:pt x="78" y="90"/>
                  </a:lnTo>
                  <a:lnTo>
                    <a:pt x="78" y="90"/>
                  </a:lnTo>
                  <a:lnTo>
                    <a:pt x="78" y="86"/>
                  </a:lnTo>
                  <a:lnTo>
                    <a:pt x="78" y="86"/>
                  </a:lnTo>
                  <a:lnTo>
                    <a:pt x="78" y="86"/>
                  </a:lnTo>
                  <a:lnTo>
                    <a:pt x="82" y="86"/>
                  </a:lnTo>
                  <a:lnTo>
                    <a:pt x="78" y="86"/>
                  </a:lnTo>
                  <a:lnTo>
                    <a:pt x="78" y="86"/>
                  </a:lnTo>
                  <a:lnTo>
                    <a:pt x="78" y="82"/>
                  </a:lnTo>
                  <a:lnTo>
                    <a:pt x="78" y="82"/>
                  </a:lnTo>
                  <a:lnTo>
                    <a:pt x="78" y="82"/>
                  </a:lnTo>
                  <a:lnTo>
                    <a:pt x="78" y="82"/>
                  </a:lnTo>
                  <a:lnTo>
                    <a:pt x="78" y="78"/>
                  </a:lnTo>
                  <a:lnTo>
                    <a:pt x="78" y="74"/>
                  </a:lnTo>
                  <a:lnTo>
                    <a:pt x="74" y="74"/>
                  </a:lnTo>
                  <a:lnTo>
                    <a:pt x="74" y="74"/>
                  </a:lnTo>
                  <a:lnTo>
                    <a:pt x="74" y="72"/>
                  </a:lnTo>
                  <a:lnTo>
                    <a:pt x="74" y="74"/>
                  </a:lnTo>
                  <a:lnTo>
                    <a:pt x="74" y="72"/>
                  </a:lnTo>
                  <a:lnTo>
                    <a:pt x="70" y="72"/>
                  </a:lnTo>
                  <a:lnTo>
                    <a:pt x="70" y="74"/>
                  </a:lnTo>
                  <a:lnTo>
                    <a:pt x="66" y="72"/>
                  </a:lnTo>
                  <a:lnTo>
                    <a:pt x="66" y="74"/>
                  </a:lnTo>
                  <a:lnTo>
                    <a:pt x="66" y="74"/>
                  </a:lnTo>
                  <a:lnTo>
                    <a:pt x="66" y="72"/>
                  </a:lnTo>
                  <a:lnTo>
                    <a:pt x="66" y="74"/>
                  </a:lnTo>
                  <a:lnTo>
                    <a:pt x="64" y="74"/>
                  </a:lnTo>
                  <a:lnTo>
                    <a:pt x="64" y="74"/>
                  </a:lnTo>
                  <a:lnTo>
                    <a:pt x="64" y="74"/>
                  </a:lnTo>
                  <a:lnTo>
                    <a:pt x="64" y="74"/>
                  </a:lnTo>
                  <a:lnTo>
                    <a:pt x="64" y="74"/>
                  </a:lnTo>
                  <a:lnTo>
                    <a:pt x="60" y="74"/>
                  </a:lnTo>
                  <a:lnTo>
                    <a:pt x="60" y="74"/>
                  </a:lnTo>
                  <a:lnTo>
                    <a:pt x="64" y="72"/>
                  </a:lnTo>
                  <a:lnTo>
                    <a:pt x="64" y="72"/>
                  </a:lnTo>
                  <a:lnTo>
                    <a:pt x="64" y="72"/>
                  </a:lnTo>
                  <a:lnTo>
                    <a:pt x="64" y="68"/>
                  </a:lnTo>
                  <a:lnTo>
                    <a:pt x="64" y="68"/>
                  </a:lnTo>
                  <a:lnTo>
                    <a:pt x="64" y="68"/>
                  </a:lnTo>
                  <a:lnTo>
                    <a:pt x="64" y="64"/>
                  </a:lnTo>
                  <a:lnTo>
                    <a:pt x="64" y="64"/>
                  </a:lnTo>
                  <a:lnTo>
                    <a:pt x="64" y="64"/>
                  </a:lnTo>
                  <a:lnTo>
                    <a:pt x="64" y="64"/>
                  </a:lnTo>
                  <a:lnTo>
                    <a:pt x="64" y="64"/>
                  </a:lnTo>
                  <a:lnTo>
                    <a:pt x="60" y="64"/>
                  </a:lnTo>
                  <a:lnTo>
                    <a:pt x="60" y="64"/>
                  </a:lnTo>
                  <a:lnTo>
                    <a:pt x="60" y="64"/>
                  </a:lnTo>
                  <a:lnTo>
                    <a:pt x="60" y="60"/>
                  </a:lnTo>
                  <a:lnTo>
                    <a:pt x="60" y="60"/>
                  </a:lnTo>
                  <a:lnTo>
                    <a:pt x="64" y="60"/>
                  </a:lnTo>
                  <a:lnTo>
                    <a:pt x="64" y="60"/>
                  </a:lnTo>
                  <a:lnTo>
                    <a:pt x="60" y="60"/>
                  </a:lnTo>
                  <a:lnTo>
                    <a:pt x="60" y="56"/>
                  </a:lnTo>
                  <a:lnTo>
                    <a:pt x="60" y="56"/>
                  </a:lnTo>
                  <a:lnTo>
                    <a:pt x="60" y="52"/>
                  </a:lnTo>
                  <a:lnTo>
                    <a:pt x="56" y="52"/>
                  </a:lnTo>
                  <a:lnTo>
                    <a:pt x="56" y="52"/>
                  </a:lnTo>
                  <a:lnTo>
                    <a:pt x="56" y="52"/>
                  </a:lnTo>
                  <a:lnTo>
                    <a:pt x="56" y="48"/>
                  </a:lnTo>
                  <a:lnTo>
                    <a:pt x="56" y="48"/>
                  </a:lnTo>
                  <a:lnTo>
                    <a:pt x="56" y="48"/>
                  </a:lnTo>
                  <a:lnTo>
                    <a:pt x="52" y="48"/>
                  </a:lnTo>
                  <a:lnTo>
                    <a:pt x="52" y="48"/>
                  </a:lnTo>
                  <a:lnTo>
                    <a:pt x="48" y="48"/>
                  </a:lnTo>
                  <a:lnTo>
                    <a:pt x="48" y="48"/>
                  </a:lnTo>
                  <a:lnTo>
                    <a:pt x="48" y="48"/>
                  </a:lnTo>
                  <a:lnTo>
                    <a:pt x="44" y="48"/>
                  </a:lnTo>
                  <a:lnTo>
                    <a:pt x="44" y="48"/>
                  </a:lnTo>
                  <a:lnTo>
                    <a:pt x="44" y="48"/>
                  </a:lnTo>
                  <a:lnTo>
                    <a:pt x="40" y="48"/>
                  </a:lnTo>
                  <a:lnTo>
                    <a:pt x="40" y="48"/>
                  </a:lnTo>
                  <a:lnTo>
                    <a:pt x="40" y="48"/>
                  </a:lnTo>
                  <a:lnTo>
                    <a:pt x="40" y="48"/>
                  </a:lnTo>
                  <a:lnTo>
                    <a:pt x="40" y="48"/>
                  </a:lnTo>
                  <a:lnTo>
                    <a:pt x="40" y="48"/>
                  </a:lnTo>
                  <a:lnTo>
                    <a:pt x="36" y="48"/>
                  </a:lnTo>
                  <a:lnTo>
                    <a:pt x="36" y="48"/>
                  </a:lnTo>
                  <a:lnTo>
                    <a:pt x="34" y="52"/>
                  </a:lnTo>
                  <a:lnTo>
                    <a:pt x="34" y="52"/>
                  </a:lnTo>
                  <a:lnTo>
                    <a:pt x="34" y="52"/>
                  </a:lnTo>
                  <a:lnTo>
                    <a:pt x="34" y="56"/>
                  </a:lnTo>
                  <a:lnTo>
                    <a:pt x="34" y="56"/>
                  </a:lnTo>
                  <a:lnTo>
                    <a:pt x="34" y="56"/>
                  </a:lnTo>
                  <a:lnTo>
                    <a:pt x="30" y="60"/>
                  </a:lnTo>
                  <a:lnTo>
                    <a:pt x="30" y="60"/>
                  </a:lnTo>
                  <a:lnTo>
                    <a:pt x="30" y="60"/>
                  </a:lnTo>
                  <a:lnTo>
                    <a:pt x="30" y="60"/>
                  </a:lnTo>
                  <a:lnTo>
                    <a:pt x="30" y="60"/>
                  </a:lnTo>
                  <a:lnTo>
                    <a:pt x="30" y="60"/>
                  </a:lnTo>
                  <a:lnTo>
                    <a:pt x="30" y="60"/>
                  </a:lnTo>
                  <a:lnTo>
                    <a:pt x="30" y="64"/>
                  </a:lnTo>
                  <a:lnTo>
                    <a:pt x="30" y="64"/>
                  </a:lnTo>
                  <a:lnTo>
                    <a:pt x="26" y="64"/>
                  </a:lnTo>
                  <a:lnTo>
                    <a:pt x="26" y="64"/>
                  </a:lnTo>
                  <a:lnTo>
                    <a:pt x="26" y="64"/>
                  </a:lnTo>
                  <a:lnTo>
                    <a:pt x="26" y="64"/>
                  </a:lnTo>
                  <a:lnTo>
                    <a:pt x="26" y="64"/>
                  </a:lnTo>
                  <a:lnTo>
                    <a:pt x="26" y="64"/>
                  </a:lnTo>
                  <a:lnTo>
                    <a:pt x="26" y="64"/>
                  </a:lnTo>
                  <a:lnTo>
                    <a:pt x="22" y="64"/>
                  </a:lnTo>
                  <a:lnTo>
                    <a:pt x="22" y="64"/>
                  </a:lnTo>
                  <a:lnTo>
                    <a:pt x="26" y="64"/>
                  </a:lnTo>
                  <a:lnTo>
                    <a:pt x="26" y="60"/>
                  </a:lnTo>
                  <a:lnTo>
                    <a:pt x="22" y="60"/>
                  </a:lnTo>
                  <a:lnTo>
                    <a:pt x="22" y="60"/>
                  </a:lnTo>
                  <a:lnTo>
                    <a:pt x="22" y="56"/>
                  </a:lnTo>
                  <a:lnTo>
                    <a:pt x="22" y="56"/>
                  </a:lnTo>
                  <a:lnTo>
                    <a:pt x="22" y="56"/>
                  </a:lnTo>
                  <a:lnTo>
                    <a:pt x="22" y="56"/>
                  </a:lnTo>
                  <a:lnTo>
                    <a:pt x="22" y="56"/>
                  </a:lnTo>
                  <a:lnTo>
                    <a:pt x="22" y="56"/>
                  </a:lnTo>
                  <a:lnTo>
                    <a:pt x="18" y="56"/>
                  </a:lnTo>
                  <a:lnTo>
                    <a:pt x="18" y="56"/>
                  </a:lnTo>
                  <a:lnTo>
                    <a:pt x="18" y="52"/>
                  </a:lnTo>
                  <a:lnTo>
                    <a:pt x="18" y="52"/>
                  </a:lnTo>
                  <a:lnTo>
                    <a:pt x="18" y="48"/>
                  </a:lnTo>
                  <a:lnTo>
                    <a:pt x="18" y="48"/>
                  </a:lnTo>
                  <a:lnTo>
                    <a:pt x="18" y="52"/>
                  </a:lnTo>
                  <a:lnTo>
                    <a:pt x="18" y="52"/>
                  </a:lnTo>
                  <a:lnTo>
                    <a:pt x="18" y="52"/>
                  </a:lnTo>
                  <a:lnTo>
                    <a:pt x="18" y="52"/>
                  </a:lnTo>
                  <a:lnTo>
                    <a:pt x="18" y="52"/>
                  </a:lnTo>
                  <a:lnTo>
                    <a:pt x="18" y="52"/>
                  </a:lnTo>
                  <a:lnTo>
                    <a:pt x="18" y="48"/>
                  </a:lnTo>
                  <a:lnTo>
                    <a:pt x="18" y="48"/>
                  </a:lnTo>
                  <a:lnTo>
                    <a:pt x="18" y="48"/>
                  </a:lnTo>
                  <a:lnTo>
                    <a:pt x="18" y="48"/>
                  </a:lnTo>
                  <a:lnTo>
                    <a:pt x="18" y="48"/>
                  </a:lnTo>
                  <a:lnTo>
                    <a:pt x="18" y="48"/>
                  </a:lnTo>
                  <a:lnTo>
                    <a:pt x="18" y="48"/>
                  </a:lnTo>
                  <a:lnTo>
                    <a:pt x="18" y="48"/>
                  </a:lnTo>
                  <a:lnTo>
                    <a:pt x="18" y="48"/>
                  </a:lnTo>
                  <a:lnTo>
                    <a:pt x="14" y="48"/>
                  </a:lnTo>
                  <a:lnTo>
                    <a:pt x="14" y="48"/>
                  </a:lnTo>
                  <a:lnTo>
                    <a:pt x="14" y="48"/>
                  </a:lnTo>
                  <a:lnTo>
                    <a:pt x="14" y="44"/>
                  </a:lnTo>
                  <a:lnTo>
                    <a:pt x="10" y="44"/>
                  </a:lnTo>
                  <a:lnTo>
                    <a:pt x="10" y="44"/>
                  </a:lnTo>
                  <a:lnTo>
                    <a:pt x="8" y="42"/>
                  </a:lnTo>
                  <a:lnTo>
                    <a:pt x="8" y="42"/>
                  </a:lnTo>
                  <a:lnTo>
                    <a:pt x="8" y="38"/>
                  </a:lnTo>
                  <a:lnTo>
                    <a:pt x="8" y="38"/>
                  </a:lnTo>
                  <a:lnTo>
                    <a:pt x="8" y="38"/>
                  </a:lnTo>
                  <a:lnTo>
                    <a:pt x="8" y="38"/>
                  </a:lnTo>
                  <a:lnTo>
                    <a:pt x="4" y="38"/>
                  </a:lnTo>
                  <a:lnTo>
                    <a:pt x="4" y="38"/>
                  </a:lnTo>
                  <a:lnTo>
                    <a:pt x="8" y="34"/>
                  </a:lnTo>
                  <a:lnTo>
                    <a:pt x="8" y="34"/>
                  </a:lnTo>
                  <a:lnTo>
                    <a:pt x="8" y="34"/>
                  </a:lnTo>
                  <a:lnTo>
                    <a:pt x="8" y="34"/>
                  </a:lnTo>
                  <a:lnTo>
                    <a:pt x="8" y="34"/>
                  </a:lnTo>
                  <a:lnTo>
                    <a:pt x="8" y="34"/>
                  </a:lnTo>
                  <a:lnTo>
                    <a:pt x="4" y="34"/>
                  </a:lnTo>
                  <a:lnTo>
                    <a:pt x="4" y="38"/>
                  </a:lnTo>
                  <a:lnTo>
                    <a:pt x="4" y="34"/>
                  </a:lnTo>
                  <a:lnTo>
                    <a:pt x="4" y="34"/>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34"/>
                  </a:lnTo>
                  <a:lnTo>
                    <a:pt x="0" y="34"/>
                  </a:lnTo>
                  <a:lnTo>
                    <a:pt x="0" y="34"/>
                  </a:lnTo>
                  <a:lnTo>
                    <a:pt x="0" y="34"/>
                  </a:lnTo>
                  <a:lnTo>
                    <a:pt x="0" y="34"/>
                  </a:lnTo>
                  <a:lnTo>
                    <a:pt x="0" y="34"/>
                  </a:lnTo>
                  <a:lnTo>
                    <a:pt x="0" y="30"/>
                  </a:lnTo>
                  <a:lnTo>
                    <a:pt x="0" y="30"/>
                  </a:lnTo>
                  <a:lnTo>
                    <a:pt x="0" y="30"/>
                  </a:lnTo>
                  <a:lnTo>
                    <a:pt x="0" y="30"/>
                  </a:lnTo>
                  <a:lnTo>
                    <a:pt x="0" y="30"/>
                  </a:lnTo>
                  <a:lnTo>
                    <a:pt x="4" y="26"/>
                  </a:lnTo>
                  <a:lnTo>
                    <a:pt x="4" y="26"/>
                  </a:lnTo>
                  <a:lnTo>
                    <a:pt x="4" y="26"/>
                  </a:lnTo>
                  <a:lnTo>
                    <a:pt x="4" y="26"/>
                  </a:lnTo>
                  <a:lnTo>
                    <a:pt x="4" y="22"/>
                  </a:lnTo>
                  <a:lnTo>
                    <a:pt x="4" y="22"/>
                  </a:lnTo>
                  <a:lnTo>
                    <a:pt x="4" y="22"/>
                  </a:lnTo>
                  <a:lnTo>
                    <a:pt x="4" y="22"/>
                  </a:lnTo>
                  <a:lnTo>
                    <a:pt x="4" y="22"/>
                  </a:lnTo>
                  <a:lnTo>
                    <a:pt x="8" y="22"/>
                  </a:lnTo>
                  <a:lnTo>
                    <a:pt x="8" y="22"/>
                  </a:lnTo>
                  <a:lnTo>
                    <a:pt x="8" y="22"/>
                  </a:lnTo>
                  <a:lnTo>
                    <a:pt x="8" y="22"/>
                  </a:lnTo>
                  <a:lnTo>
                    <a:pt x="8" y="18"/>
                  </a:lnTo>
                  <a:lnTo>
                    <a:pt x="8" y="18"/>
                  </a:lnTo>
                  <a:lnTo>
                    <a:pt x="10" y="18"/>
                  </a:lnTo>
                  <a:lnTo>
                    <a:pt x="10" y="18"/>
                  </a:lnTo>
                  <a:lnTo>
                    <a:pt x="10" y="18"/>
                  </a:lnTo>
                  <a:lnTo>
                    <a:pt x="10" y="18"/>
                  </a:lnTo>
                  <a:lnTo>
                    <a:pt x="14" y="18"/>
                  </a:lnTo>
                  <a:lnTo>
                    <a:pt x="14" y="18"/>
                  </a:lnTo>
                  <a:lnTo>
                    <a:pt x="14" y="18"/>
                  </a:lnTo>
                  <a:lnTo>
                    <a:pt x="18" y="18"/>
                  </a:lnTo>
                  <a:lnTo>
                    <a:pt x="18" y="18"/>
                  </a:lnTo>
                  <a:lnTo>
                    <a:pt x="18" y="16"/>
                  </a:lnTo>
                  <a:lnTo>
                    <a:pt x="18" y="12"/>
                  </a:lnTo>
                  <a:lnTo>
                    <a:pt x="18" y="12"/>
                  </a:lnTo>
                  <a:lnTo>
                    <a:pt x="18" y="12"/>
                  </a:lnTo>
                  <a:lnTo>
                    <a:pt x="14" y="12"/>
                  </a:lnTo>
                  <a:lnTo>
                    <a:pt x="14" y="12"/>
                  </a:lnTo>
                  <a:lnTo>
                    <a:pt x="14" y="12"/>
                  </a:lnTo>
                  <a:lnTo>
                    <a:pt x="14" y="8"/>
                  </a:lnTo>
                  <a:lnTo>
                    <a:pt x="14" y="8"/>
                  </a:lnTo>
                  <a:lnTo>
                    <a:pt x="18" y="8"/>
                  </a:lnTo>
                  <a:lnTo>
                    <a:pt x="18" y="8"/>
                  </a:lnTo>
                  <a:lnTo>
                    <a:pt x="18" y="8"/>
                  </a:lnTo>
                  <a:lnTo>
                    <a:pt x="18" y="8"/>
                  </a:lnTo>
                  <a:lnTo>
                    <a:pt x="18" y="8"/>
                  </a:lnTo>
                  <a:lnTo>
                    <a:pt x="18" y="8"/>
                  </a:lnTo>
                  <a:lnTo>
                    <a:pt x="18" y="4"/>
                  </a:lnTo>
                  <a:lnTo>
                    <a:pt x="18" y="4"/>
                  </a:lnTo>
                  <a:lnTo>
                    <a:pt x="18" y="4"/>
                  </a:lnTo>
                  <a:lnTo>
                    <a:pt x="18" y="4"/>
                  </a:lnTo>
                  <a:lnTo>
                    <a:pt x="18" y="4"/>
                  </a:lnTo>
                  <a:lnTo>
                    <a:pt x="18" y="4"/>
                  </a:lnTo>
                  <a:lnTo>
                    <a:pt x="18" y="0"/>
                  </a:lnTo>
                  <a:lnTo>
                    <a:pt x="18" y="0"/>
                  </a:lnTo>
                  <a:lnTo>
                    <a:pt x="18" y="0"/>
                  </a:lnTo>
                  <a:lnTo>
                    <a:pt x="18" y="0"/>
                  </a:lnTo>
                  <a:lnTo>
                    <a:pt x="22" y="0"/>
                  </a:lnTo>
                  <a:lnTo>
                    <a:pt x="22" y="0"/>
                  </a:lnTo>
                  <a:lnTo>
                    <a:pt x="26" y="0"/>
                  </a:lnTo>
                  <a:lnTo>
                    <a:pt x="26" y="0"/>
                  </a:lnTo>
                  <a:lnTo>
                    <a:pt x="30" y="4"/>
                  </a:lnTo>
                  <a:lnTo>
                    <a:pt x="26" y="4"/>
                  </a:lnTo>
                  <a:lnTo>
                    <a:pt x="26" y="4"/>
                  </a:lnTo>
                  <a:lnTo>
                    <a:pt x="26" y="4"/>
                  </a:lnTo>
                  <a:lnTo>
                    <a:pt x="26" y="4"/>
                  </a:lnTo>
                  <a:lnTo>
                    <a:pt x="30" y="4"/>
                  </a:lnTo>
                  <a:lnTo>
                    <a:pt x="30" y="4"/>
                  </a:lnTo>
                  <a:lnTo>
                    <a:pt x="30" y="4"/>
                  </a:lnTo>
                  <a:lnTo>
                    <a:pt x="30" y="4"/>
                  </a:lnTo>
                  <a:lnTo>
                    <a:pt x="30" y="4"/>
                  </a:lnTo>
                  <a:lnTo>
                    <a:pt x="30" y="4"/>
                  </a:lnTo>
                  <a:lnTo>
                    <a:pt x="34" y="4"/>
                  </a:lnTo>
                  <a:lnTo>
                    <a:pt x="34" y="8"/>
                  </a:lnTo>
                  <a:lnTo>
                    <a:pt x="34" y="8"/>
                  </a:lnTo>
                  <a:lnTo>
                    <a:pt x="36" y="4"/>
                  </a:lnTo>
                  <a:lnTo>
                    <a:pt x="36" y="4"/>
                  </a:lnTo>
                  <a:lnTo>
                    <a:pt x="36" y="8"/>
                  </a:lnTo>
                  <a:lnTo>
                    <a:pt x="36" y="8"/>
                  </a:lnTo>
                  <a:lnTo>
                    <a:pt x="36" y="8"/>
                  </a:lnTo>
                  <a:lnTo>
                    <a:pt x="36" y="8"/>
                  </a:lnTo>
                  <a:lnTo>
                    <a:pt x="40" y="8"/>
                  </a:lnTo>
                  <a:lnTo>
                    <a:pt x="40" y="8"/>
                  </a:lnTo>
                  <a:lnTo>
                    <a:pt x="40" y="8"/>
                  </a:lnTo>
                  <a:lnTo>
                    <a:pt x="40" y="8"/>
                  </a:lnTo>
                  <a:lnTo>
                    <a:pt x="40" y="4"/>
                  </a:lnTo>
                  <a:lnTo>
                    <a:pt x="44" y="4"/>
                  </a:lnTo>
                  <a:lnTo>
                    <a:pt x="44" y="8"/>
                  </a:lnTo>
                  <a:lnTo>
                    <a:pt x="44" y="8"/>
                  </a:lnTo>
                  <a:lnTo>
                    <a:pt x="44" y="8"/>
                  </a:lnTo>
                  <a:lnTo>
                    <a:pt x="48" y="8"/>
                  </a:lnTo>
                  <a:lnTo>
                    <a:pt x="48" y="4"/>
                  </a:lnTo>
                  <a:lnTo>
                    <a:pt x="48" y="4"/>
                  </a:lnTo>
                  <a:lnTo>
                    <a:pt x="48" y="4"/>
                  </a:lnTo>
                  <a:lnTo>
                    <a:pt x="48" y="4"/>
                  </a:lnTo>
                  <a:lnTo>
                    <a:pt x="52" y="4"/>
                  </a:lnTo>
                  <a:lnTo>
                    <a:pt x="52" y="4"/>
                  </a:lnTo>
                  <a:lnTo>
                    <a:pt x="52" y="8"/>
                  </a:lnTo>
                  <a:lnTo>
                    <a:pt x="52" y="8"/>
                  </a:lnTo>
                  <a:lnTo>
                    <a:pt x="48" y="8"/>
                  </a:lnTo>
                  <a:lnTo>
                    <a:pt x="48" y="8"/>
                  </a:lnTo>
                  <a:lnTo>
                    <a:pt x="48" y="12"/>
                  </a:lnTo>
                  <a:lnTo>
                    <a:pt x="52" y="12"/>
                  </a:lnTo>
                  <a:lnTo>
                    <a:pt x="52" y="12"/>
                  </a:lnTo>
                  <a:lnTo>
                    <a:pt x="52" y="12"/>
                  </a:lnTo>
                  <a:lnTo>
                    <a:pt x="52" y="12"/>
                  </a:lnTo>
                  <a:lnTo>
                    <a:pt x="52" y="12"/>
                  </a:lnTo>
                  <a:lnTo>
                    <a:pt x="52" y="12"/>
                  </a:lnTo>
                  <a:lnTo>
                    <a:pt x="52" y="12"/>
                  </a:lnTo>
                  <a:lnTo>
                    <a:pt x="56" y="12"/>
                  </a:lnTo>
                  <a:lnTo>
                    <a:pt x="56" y="12"/>
                  </a:lnTo>
                  <a:lnTo>
                    <a:pt x="56" y="12"/>
                  </a:lnTo>
                  <a:lnTo>
                    <a:pt x="56" y="12"/>
                  </a:lnTo>
                  <a:lnTo>
                    <a:pt x="56" y="8"/>
                  </a:lnTo>
                  <a:lnTo>
                    <a:pt x="56" y="8"/>
                  </a:lnTo>
                  <a:lnTo>
                    <a:pt x="60" y="8"/>
                  </a:lnTo>
                  <a:lnTo>
                    <a:pt x="60" y="8"/>
                  </a:lnTo>
                  <a:lnTo>
                    <a:pt x="60" y="8"/>
                  </a:lnTo>
                  <a:lnTo>
                    <a:pt x="60" y="12"/>
                  </a:lnTo>
                  <a:lnTo>
                    <a:pt x="60" y="12"/>
                  </a:lnTo>
                  <a:lnTo>
                    <a:pt x="60" y="16"/>
                  </a:lnTo>
                  <a:lnTo>
                    <a:pt x="60" y="16"/>
                  </a:lnTo>
                  <a:lnTo>
                    <a:pt x="64" y="16"/>
                  </a:lnTo>
                  <a:lnTo>
                    <a:pt x="64" y="12"/>
                  </a:lnTo>
                  <a:lnTo>
                    <a:pt x="64" y="12"/>
                  </a:lnTo>
                  <a:lnTo>
                    <a:pt x="66" y="12"/>
                  </a:lnTo>
                  <a:lnTo>
                    <a:pt x="66" y="8"/>
                  </a:lnTo>
                  <a:lnTo>
                    <a:pt x="66" y="8"/>
                  </a:lnTo>
                  <a:lnTo>
                    <a:pt x="70" y="8"/>
                  </a:lnTo>
                  <a:lnTo>
                    <a:pt x="70" y="12"/>
                  </a:lnTo>
                  <a:lnTo>
                    <a:pt x="74" y="12"/>
                  </a:lnTo>
                  <a:lnTo>
                    <a:pt x="74" y="12"/>
                  </a:lnTo>
                  <a:lnTo>
                    <a:pt x="74" y="12"/>
                  </a:lnTo>
                  <a:lnTo>
                    <a:pt x="74" y="12"/>
                  </a:lnTo>
                  <a:lnTo>
                    <a:pt x="74" y="12"/>
                  </a:lnTo>
                  <a:lnTo>
                    <a:pt x="74" y="12"/>
                  </a:lnTo>
                  <a:lnTo>
                    <a:pt x="74" y="12"/>
                  </a:lnTo>
                  <a:lnTo>
                    <a:pt x="74" y="12"/>
                  </a:lnTo>
                  <a:lnTo>
                    <a:pt x="78" y="8"/>
                  </a:lnTo>
                  <a:lnTo>
                    <a:pt x="78" y="8"/>
                  </a:lnTo>
                  <a:lnTo>
                    <a:pt x="78" y="8"/>
                  </a:lnTo>
                  <a:lnTo>
                    <a:pt x="82" y="8"/>
                  </a:lnTo>
                  <a:lnTo>
                    <a:pt x="82" y="8"/>
                  </a:lnTo>
                  <a:lnTo>
                    <a:pt x="82" y="8"/>
                  </a:lnTo>
                  <a:lnTo>
                    <a:pt x="82" y="8"/>
                  </a:lnTo>
                  <a:lnTo>
                    <a:pt x="82" y="4"/>
                  </a:lnTo>
                  <a:lnTo>
                    <a:pt x="78" y="4"/>
                  </a:lnTo>
                  <a:lnTo>
                    <a:pt x="78" y="4"/>
                  </a:lnTo>
                  <a:lnTo>
                    <a:pt x="82" y="4"/>
                  </a:lnTo>
                  <a:lnTo>
                    <a:pt x="82" y="4"/>
                  </a:lnTo>
                  <a:lnTo>
                    <a:pt x="82" y="4"/>
                  </a:lnTo>
                  <a:lnTo>
                    <a:pt x="86" y="4"/>
                  </a:lnTo>
                  <a:lnTo>
                    <a:pt x="86" y="4"/>
                  </a:lnTo>
                  <a:lnTo>
                    <a:pt x="86" y="8"/>
                  </a:lnTo>
                  <a:lnTo>
                    <a:pt x="86" y="8"/>
                  </a:lnTo>
                  <a:lnTo>
                    <a:pt x="86" y="8"/>
                  </a:lnTo>
                  <a:lnTo>
                    <a:pt x="86" y="8"/>
                  </a:lnTo>
                  <a:lnTo>
                    <a:pt x="86" y="8"/>
                  </a:lnTo>
                  <a:lnTo>
                    <a:pt x="86" y="8"/>
                  </a:lnTo>
                  <a:lnTo>
                    <a:pt x="86" y="8"/>
                  </a:lnTo>
                  <a:lnTo>
                    <a:pt x="86" y="8"/>
                  </a:lnTo>
                  <a:lnTo>
                    <a:pt x="90" y="12"/>
                  </a:lnTo>
                  <a:lnTo>
                    <a:pt x="90" y="16"/>
                  </a:lnTo>
                  <a:lnTo>
                    <a:pt x="90" y="16"/>
                  </a:lnTo>
                  <a:lnTo>
                    <a:pt x="86" y="18"/>
                  </a:lnTo>
                  <a:lnTo>
                    <a:pt x="90" y="18"/>
                  </a:lnTo>
                  <a:lnTo>
                    <a:pt x="90" y="18"/>
                  </a:lnTo>
                  <a:lnTo>
                    <a:pt x="90" y="18"/>
                  </a:lnTo>
                  <a:lnTo>
                    <a:pt x="90" y="18"/>
                  </a:lnTo>
                  <a:lnTo>
                    <a:pt x="90" y="18"/>
                  </a:lnTo>
                  <a:lnTo>
                    <a:pt x="90" y="18"/>
                  </a:lnTo>
                  <a:lnTo>
                    <a:pt x="90" y="22"/>
                  </a:lnTo>
                  <a:lnTo>
                    <a:pt x="90" y="22"/>
                  </a:lnTo>
                  <a:lnTo>
                    <a:pt x="90" y="22"/>
                  </a:lnTo>
                  <a:lnTo>
                    <a:pt x="90" y="22"/>
                  </a:lnTo>
                  <a:lnTo>
                    <a:pt x="92" y="22"/>
                  </a:lnTo>
                  <a:lnTo>
                    <a:pt x="92" y="22"/>
                  </a:lnTo>
                  <a:lnTo>
                    <a:pt x="92" y="22"/>
                  </a:lnTo>
                  <a:lnTo>
                    <a:pt x="92" y="22"/>
                  </a:lnTo>
                  <a:lnTo>
                    <a:pt x="92" y="22"/>
                  </a:lnTo>
                  <a:lnTo>
                    <a:pt x="92" y="22"/>
                  </a:lnTo>
                  <a:lnTo>
                    <a:pt x="92" y="22"/>
                  </a:lnTo>
                  <a:lnTo>
                    <a:pt x="92" y="26"/>
                  </a:lnTo>
                  <a:lnTo>
                    <a:pt x="92" y="26"/>
                  </a:lnTo>
                  <a:lnTo>
                    <a:pt x="92" y="26"/>
                  </a:lnTo>
                  <a:lnTo>
                    <a:pt x="92" y="26"/>
                  </a:lnTo>
                  <a:lnTo>
                    <a:pt x="92" y="26"/>
                  </a:lnTo>
                  <a:lnTo>
                    <a:pt x="92" y="26"/>
                  </a:lnTo>
                  <a:lnTo>
                    <a:pt x="90" y="26"/>
                  </a:lnTo>
                  <a:lnTo>
                    <a:pt x="90" y="30"/>
                  </a:lnTo>
                  <a:lnTo>
                    <a:pt x="90" y="30"/>
                  </a:lnTo>
                  <a:lnTo>
                    <a:pt x="90" y="30"/>
                  </a:lnTo>
                  <a:lnTo>
                    <a:pt x="92" y="30"/>
                  </a:lnTo>
                  <a:lnTo>
                    <a:pt x="92" y="30"/>
                  </a:lnTo>
                  <a:lnTo>
                    <a:pt x="92" y="30"/>
                  </a:lnTo>
                  <a:lnTo>
                    <a:pt x="96" y="30"/>
                  </a:lnTo>
                  <a:lnTo>
                    <a:pt x="96" y="34"/>
                  </a:lnTo>
                  <a:lnTo>
                    <a:pt x="92" y="34"/>
                  </a:lnTo>
                  <a:lnTo>
                    <a:pt x="96" y="38"/>
                  </a:lnTo>
                  <a:lnTo>
                    <a:pt x="96" y="38"/>
                  </a:lnTo>
                  <a:lnTo>
                    <a:pt x="96" y="42"/>
                  </a:lnTo>
                  <a:lnTo>
                    <a:pt x="96" y="42"/>
                  </a:lnTo>
                  <a:lnTo>
                    <a:pt x="96" y="42"/>
                  </a:lnTo>
                  <a:lnTo>
                    <a:pt x="100" y="42"/>
                  </a:lnTo>
                  <a:lnTo>
                    <a:pt x="100" y="42"/>
                  </a:lnTo>
                  <a:lnTo>
                    <a:pt x="100" y="44"/>
                  </a:lnTo>
                  <a:lnTo>
                    <a:pt x="100" y="44"/>
                  </a:lnTo>
                  <a:lnTo>
                    <a:pt x="100" y="44"/>
                  </a:lnTo>
                  <a:lnTo>
                    <a:pt x="96" y="44"/>
                  </a:lnTo>
                  <a:lnTo>
                    <a:pt x="96" y="44"/>
                  </a:lnTo>
                  <a:lnTo>
                    <a:pt x="96" y="44"/>
                  </a:lnTo>
                  <a:lnTo>
                    <a:pt x="96" y="48"/>
                  </a:lnTo>
                  <a:lnTo>
                    <a:pt x="96" y="48"/>
                  </a:lnTo>
                  <a:lnTo>
                    <a:pt x="96" y="48"/>
                  </a:lnTo>
                  <a:lnTo>
                    <a:pt x="96" y="48"/>
                  </a:lnTo>
                  <a:lnTo>
                    <a:pt x="96" y="48"/>
                  </a:lnTo>
                  <a:lnTo>
                    <a:pt x="96" y="48"/>
                  </a:lnTo>
                  <a:lnTo>
                    <a:pt x="96" y="48"/>
                  </a:lnTo>
                  <a:lnTo>
                    <a:pt x="96" y="52"/>
                  </a:lnTo>
                  <a:lnTo>
                    <a:pt x="96" y="56"/>
                  </a:lnTo>
                  <a:lnTo>
                    <a:pt x="96" y="56"/>
                  </a:lnTo>
                  <a:lnTo>
                    <a:pt x="96" y="56"/>
                  </a:lnTo>
                  <a:lnTo>
                    <a:pt x="96" y="56"/>
                  </a:lnTo>
                  <a:lnTo>
                    <a:pt x="96" y="56"/>
                  </a:lnTo>
                  <a:lnTo>
                    <a:pt x="96" y="56"/>
                  </a:lnTo>
                  <a:lnTo>
                    <a:pt x="100" y="56"/>
                  </a:lnTo>
                  <a:lnTo>
                    <a:pt x="100" y="56"/>
                  </a:lnTo>
                  <a:lnTo>
                    <a:pt x="100" y="60"/>
                  </a:lnTo>
                  <a:lnTo>
                    <a:pt x="100" y="60"/>
                  </a:lnTo>
                  <a:lnTo>
                    <a:pt x="100" y="60"/>
                  </a:lnTo>
                  <a:lnTo>
                    <a:pt x="100" y="60"/>
                  </a:lnTo>
                  <a:lnTo>
                    <a:pt x="100" y="64"/>
                  </a:lnTo>
                  <a:lnTo>
                    <a:pt x="104" y="64"/>
                  </a:lnTo>
                  <a:lnTo>
                    <a:pt x="104" y="64"/>
                  </a:lnTo>
                  <a:lnTo>
                    <a:pt x="100" y="64"/>
                  </a:lnTo>
                  <a:lnTo>
                    <a:pt x="100" y="64"/>
                  </a:lnTo>
                  <a:lnTo>
                    <a:pt x="100" y="64"/>
                  </a:lnTo>
                  <a:lnTo>
                    <a:pt x="100" y="64"/>
                  </a:lnTo>
                  <a:lnTo>
                    <a:pt x="100" y="64"/>
                  </a:lnTo>
                  <a:lnTo>
                    <a:pt x="100" y="68"/>
                  </a:lnTo>
                  <a:lnTo>
                    <a:pt x="100" y="68"/>
                  </a:lnTo>
                  <a:lnTo>
                    <a:pt x="100" y="68"/>
                  </a:lnTo>
                  <a:lnTo>
                    <a:pt x="100" y="68"/>
                  </a:lnTo>
                  <a:lnTo>
                    <a:pt x="100" y="68"/>
                  </a:lnTo>
                  <a:lnTo>
                    <a:pt x="100" y="68"/>
                  </a:lnTo>
                  <a:lnTo>
                    <a:pt x="104" y="68"/>
                  </a:lnTo>
                  <a:lnTo>
                    <a:pt x="104" y="72"/>
                  </a:lnTo>
                  <a:lnTo>
                    <a:pt x="104" y="72"/>
                  </a:lnTo>
                  <a:lnTo>
                    <a:pt x="104" y="74"/>
                  </a:lnTo>
                  <a:lnTo>
                    <a:pt x="104" y="74"/>
                  </a:lnTo>
                  <a:lnTo>
                    <a:pt x="104" y="74"/>
                  </a:lnTo>
                  <a:lnTo>
                    <a:pt x="104" y="74"/>
                  </a:lnTo>
                  <a:lnTo>
                    <a:pt x="104" y="74"/>
                  </a:lnTo>
                  <a:lnTo>
                    <a:pt x="104" y="74"/>
                  </a:lnTo>
                  <a:lnTo>
                    <a:pt x="100" y="74"/>
                  </a:lnTo>
                  <a:lnTo>
                    <a:pt x="100" y="74"/>
                  </a:lnTo>
                  <a:lnTo>
                    <a:pt x="100" y="72"/>
                  </a:lnTo>
                  <a:lnTo>
                    <a:pt x="96" y="72"/>
                  </a:lnTo>
                  <a:lnTo>
                    <a:pt x="96" y="74"/>
                  </a:lnTo>
                  <a:lnTo>
                    <a:pt x="96" y="74"/>
                  </a:lnTo>
                  <a:lnTo>
                    <a:pt x="96" y="78"/>
                  </a:lnTo>
                  <a:lnTo>
                    <a:pt x="96" y="78"/>
                  </a:lnTo>
                  <a:lnTo>
                    <a:pt x="96" y="78"/>
                  </a:lnTo>
                  <a:lnTo>
                    <a:pt x="96" y="78"/>
                  </a:lnTo>
                  <a:lnTo>
                    <a:pt x="96" y="78"/>
                  </a:lnTo>
                  <a:lnTo>
                    <a:pt x="100" y="78"/>
                  </a:lnTo>
                  <a:lnTo>
                    <a:pt x="100" y="78"/>
                  </a:lnTo>
                  <a:lnTo>
                    <a:pt x="100" y="82"/>
                  </a:lnTo>
                  <a:lnTo>
                    <a:pt x="100" y="82"/>
                  </a:lnTo>
                  <a:lnTo>
                    <a:pt x="100" y="82"/>
                  </a:lnTo>
                  <a:lnTo>
                    <a:pt x="100" y="8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56" name="Freeform 149"/>
            <p:cNvSpPr>
              <a:spLocks noEditPoints="1"/>
            </p:cNvSpPr>
            <p:nvPr/>
          </p:nvSpPr>
          <p:spPr bwMode="auto">
            <a:xfrm>
              <a:off x="6892081" y="4017917"/>
              <a:ext cx="26375" cy="19614"/>
            </a:xfrm>
            <a:custGeom>
              <a:avLst/>
              <a:gdLst>
                <a:gd name="T0" fmla="*/ 12 w 42"/>
                <a:gd name="T1" fmla="*/ 16 h 30"/>
                <a:gd name="T2" fmla="*/ 12 w 42"/>
                <a:gd name="T3" fmla="*/ 12 h 30"/>
                <a:gd name="T4" fmla="*/ 12 w 42"/>
                <a:gd name="T5" fmla="*/ 12 h 30"/>
                <a:gd name="T6" fmla="*/ 8 w 42"/>
                <a:gd name="T7" fmla="*/ 16 h 30"/>
                <a:gd name="T8" fmla="*/ 4 w 42"/>
                <a:gd name="T9" fmla="*/ 12 h 30"/>
                <a:gd name="T10" fmla="*/ 4 w 42"/>
                <a:gd name="T11" fmla="*/ 8 h 30"/>
                <a:gd name="T12" fmla="*/ 0 w 42"/>
                <a:gd name="T13" fmla="*/ 8 h 30"/>
                <a:gd name="T14" fmla="*/ 0 w 42"/>
                <a:gd name="T15" fmla="*/ 8 h 30"/>
                <a:gd name="T16" fmla="*/ 8 w 42"/>
                <a:gd name="T17" fmla="*/ 4 h 30"/>
                <a:gd name="T18" fmla="*/ 12 w 42"/>
                <a:gd name="T19" fmla="*/ 4 h 30"/>
                <a:gd name="T20" fmla="*/ 20 w 42"/>
                <a:gd name="T21" fmla="*/ 0 h 30"/>
                <a:gd name="T22" fmla="*/ 34 w 42"/>
                <a:gd name="T23" fmla="*/ 0 h 30"/>
                <a:gd name="T24" fmla="*/ 42 w 42"/>
                <a:gd name="T25" fmla="*/ 0 h 30"/>
                <a:gd name="T26" fmla="*/ 42 w 42"/>
                <a:gd name="T27" fmla="*/ 4 h 30"/>
                <a:gd name="T28" fmla="*/ 42 w 42"/>
                <a:gd name="T29" fmla="*/ 8 h 30"/>
                <a:gd name="T30" fmla="*/ 42 w 42"/>
                <a:gd name="T31" fmla="*/ 12 h 30"/>
                <a:gd name="T32" fmla="*/ 38 w 42"/>
                <a:gd name="T33" fmla="*/ 18 h 30"/>
                <a:gd name="T34" fmla="*/ 34 w 42"/>
                <a:gd name="T35" fmla="*/ 18 h 30"/>
                <a:gd name="T36" fmla="*/ 30 w 42"/>
                <a:gd name="T37" fmla="*/ 22 h 30"/>
                <a:gd name="T38" fmla="*/ 26 w 42"/>
                <a:gd name="T39" fmla="*/ 26 h 30"/>
                <a:gd name="T40" fmla="*/ 24 w 42"/>
                <a:gd name="T41" fmla="*/ 30 h 30"/>
                <a:gd name="T42" fmla="*/ 24 w 42"/>
                <a:gd name="T43" fmla="*/ 26 h 30"/>
                <a:gd name="T44" fmla="*/ 20 w 42"/>
                <a:gd name="T45" fmla="*/ 30 h 30"/>
                <a:gd name="T46" fmla="*/ 20 w 42"/>
                <a:gd name="T47" fmla="*/ 26 h 30"/>
                <a:gd name="T48" fmla="*/ 20 w 42"/>
                <a:gd name="T49" fmla="*/ 26 h 30"/>
                <a:gd name="T50" fmla="*/ 20 w 42"/>
                <a:gd name="T51" fmla="*/ 22 h 30"/>
                <a:gd name="T52" fmla="*/ 20 w 42"/>
                <a:gd name="T53" fmla="*/ 22 h 30"/>
                <a:gd name="T54" fmla="*/ 16 w 42"/>
                <a:gd name="T55" fmla="*/ 22 h 30"/>
                <a:gd name="T56" fmla="*/ 24 w 42"/>
                <a:gd name="T57" fmla="*/ 18 h 30"/>
                <a:gd name="T58" fmla="*/ 20 w 42"/>
                <a:gd name="T59" fmla="*/ 18 h 30"/>
                <a:gd name="T60" fmla="*/ 16 w 42"/>
                <a:gd name="T61" fmla="*/ 18 h 30"/>
                <a:gd name="T62" fmla="*/ 16 w 42"/>
                <a:gd name="T63" fmla="*/ 18 h 30"/>
                <a:gd name="T64" fmla="*/ 16 w 42"/>
                <a:gd name="T65" fmla="*/ 16 h 30"/>
                <a:gd name="T66" fmla="*/ 20 w 42"/>
                <a:gd name="T67" fmla="*/ 16 h 30"/>
                <a:gd name="T68" fmla="*/ 24 w 42"/>
                <a:gd name="T69" fmla="*/ 16 h 30"/>
                <a:gd name="T70" fmla="*/ 24 w 42"/>
                <a:gd name="T71" fmla="*/ 16 h 30"/>
                <a:gd name="T72" fmla="*/ 20 w 42"/>
                <a:gd name="T73" fmla="*/ 16 h 30"/>
                <a:gd name="T74" fmla="*/ 20 w 42"/>
                <a:gd name="T75" fmla="*/ 12 h 30"/>
                <a:gd name="T76" fmla="*/ 12 w 42"/>
                <a:gd name="T77" fmla="*/ 16 h 30"/>
                <a:gd name="T78" fmla="*/ 12 w 42"/>
                <a:gd name="T79" fmla="*/ 26 h 30"/>
                <a:gd name="T80" fmla="*/ 16 w 42"/>
                <a:gd name="T81" fmla="*/ 26 h 30"/>
                <a:gd name="T82" fmla="*/ 8 w 42"/>
                <a:gd name="T83" fmla="*/ 16 h 30"/>
                <a:gd name="T84" fmla="*/ 8 w 42"/>
                <a:gd name="T85" fmla="*/ 16 h 30"/>
                <a:gd name="T86" fmla="*/ 16 w 42"/>
                <a:gd name="T87" fmla="*/ 18 h 30"/>
                <a:gd name="T88" fmla="*/ 16 w 42"/>
                <a:gd name="T89" fmla="*/ 18 h 30"/>
                <a:gd name="T90" fmla="*/ 8 w 42"/>
                <a:gd name="T91" fmla="*/ 18 h 30"/>
                <a:gd name="T92" fmla="*/ 12 w 42"/>
                <a:gd name="T93" fmla="*/ 22 h 30"/>
                <a:gd name="T94" fmla="*/ 4 w 42"/>
                <a:gd name="T95" fmla="*/ 22 h 30"/>
                <a:gd name="T96" fmla="*/ 4 w 42"/>
                <a:gd name="T97" fmla="*/ 18 h 30"/>
                <a:gd name="T98" fmla="*/ 4 w 42"/>
                <a:gd name="T99" fmla="*/ 18 h 30"/>
                <a:gd name="T100" fmla="*/ 8 w 42"/>
                <a:gd name="T101" fmla="*/ 30 h 30"/>
                <a:gd name="T102" fmla="*/ 4 w 42"/>
                <a:gd name="T103" fmla="*/ 26 h 30"/>
                <a:gd name="T104" fmla="*/ 8 w 42"/>
                <a:gd name="T105" fmla="*/ 26 h 30"/>
                <a:gd name="T106" fmla="*/ 8 w 42"/>
                <a:gd name="T10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30">
                  <a:moveTo>
                    <a:pt x="12" y="16"/>
                  </a:moveTo>
                  <a:lnTo>
                    <a:pt x="12" y="16"/>
                  </a:lnTo>
                  <a:lnTo>
                    <a:pt x="12" y="16"/>
                  </a:lnTo>
                  <a:lnTo>
                    <a:pt x="8" y="18"/>
                  </a:lnTo>
                  <a:lnTo>
                    <a:pt x="8" y="16"/>
                  </a:lnTo>
                  <a:lnTo>
                    <a:pt x="12" y="16"/>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2"/>
                  </a:lnTo>
                  <a:lnTo>
                    <a:pt x="12" y="16"/>
                  </a:lnTo>
                  <a:lnTo>
                    <a:pt x="8" y="16"/>
                  </a:lnTo>
                  <a:lnTo>
                    <a:pt x="8" y="16"/>
                  </a:lnTo>
                  <a:lnTo>
                    <a:pt x="8" y="16"/>
                  </a:lnTo>
                  <a:lnTo>
                    <a:pt x="8" y="16"/>
                  </a:lnTo>
                  <a:lnTo>
                    <a:pt x="4" y="16"/>
                  </a:lnTo>
                  <a:lnTo>
                    <a:pt x="4" y="12"/>
                  </a:lnTo>
                  <a:lnTo>
                    <a:pt x="4" y="12"/>
                  </a:lnTo>
                  <a:lnTo>
                    <a:pt x="4" y="12"/>
                  </a:lnTo>
                  <a:lnTo>
                    <a:pt x="4" y="12"/>
                  </a:lnTo>
                  <a:lnTo>
                    <a:pt x="4" y="12"/>
                  </a:lnTo>
                  <a:lnTo>
                    <a:pt x="4" y="8"/>
                  </a:lnTo>
                  <a:lnTo>
                    <a:pt x="4" y="8"/>
                  </a:lnTo>
                  <a:lnTo>
                    <a:pt x="8" y="8"/>
                  </a:lnTo>
                  <a:lnTo>
                    <a:pt x="8" y="8"/>
                  </a:lnTo>
                  <a:lnTo>
                    <a:pt x="8" y="8"/>
                  </a:lnTo>
                  <a:lnTo>
                    <a:pt x="4" y="8"/>
                  </a:lnTo>
                  <a:lnTo>
                    <a:pt x="4" y="8"/>
                  </a:lnTo>
                  <a:lnTo>
                    <a:pt x="4" y="8"/>
                  </a:lnTo>
                  <a:lnTo>
                    <a:pt x="4" y="12"/>
                  </a:lnTo>
                  <a:lnTo>
                    <a:pt x="0" y="8"/>
                  </a:lnTo>
                  <a:lnTo>
                    <a:pt x="0" y="8"/>
                  </a:lnTo>
                  <a:lnTo>
                    <a:pt x="0" y="8"/>
                  </a:lnTo>
                  <a:lnTo>
                    <a:pt x="0" y="8"/>
                  </a:lnTo>
                  <a:lnTo>
                    <a:pt x="0" y="8"/>
                  </a:lnTo>
                  <a:lnTo>
                    <a:pt x="0" y="8"/>
                  </a:lnTo>
                  <a:lnTo>
                    <a:pt x="0" y="8"/>
                  </a:lnTo>
                  <a:lnTo>
                    <a:pt x="0" y="8"/>
                  </a:lnTo>
                  <a:lnTo>
                    <a:pt x="0" y="8"/>
                  </a:lnTo>
                  <a:lnTo>
                    <a:pt x="0" y="8"/>
                  </a:lnTo>
                  <a:lnTo>
                    <a:pt x="0" y="8"/>
                  </a:lnTo>
                  <a:lnTo>
                    <a:pt x="4" y="8"/>
                  </a:lnTo>
                  <a:lnTo>
                    <a:pt x="4" y="4"/>
                  </a:lnTo>
                  <a:lnTo>
                    <a:pt x="8" y="4"/>
                  </a:lnTo>
                  <a:lnTo>
                    <a:pt x="8" y="4"/>
                  </a:lnTo>
                  <a:lnTo>
                    <a:pt x="8" y="4"/>
                  </a:lnTo>
                  <a:lnTo>
                    <a:pt x="8" y="4"/>
                  </a:lnTo>
                  <a:lnTo>
                    <a:pt x="8" y="4"/>
                  </a:lnTo>
                  <a:lnTo>
                    <a:pt x="8" y="4"/>
                  </a:lnTo>
                  <a:lnTo>
                    <a:pt x="12" y="4"/>
                  </a:lnTo>
                  <a:lnTo>
                    <a:pt x="12" y="4"/>
                  </a:lnTo>
                  <a:lnTo>
                    <a:pt x="12" y="4"/>
                  </a:lnTo>
                  <a:lnTo>
                    <a:pt x="16" y="4"/>
                  </a:lnTo>
                  <a:lnTo>
                    <a:pt x="16" y="4"/>
                  </a:lnTo>
                  <a:lnTo>
                    <a:pt x="20" y="4"/>
                  </a:lnTo>
                  <a:lnTo>
                    <a:pt x="20" y="0"/>
                  </a:lnTo>
                  <a:lnTo>
                    <a:pt x="20" y="0"/>
                  </a:lnTo>
                  <a:lnTo>
                    <a:pt x="24" y="0"/>
                  </a:lnTo>
                  <a:lnTo>
                    <a:pt x="26" y="0"/>
                  </a:lnTo>
                  <a:lnTo>
                    <a:pt x="26" y="0"/>
                  </a:lnTo>
                  <a:lnTo>
                    <a:pt x="30" y="0"/>
                  </a:lnTo>
                  <a:lnTo>
                    <a:pt x="30" y="0"/>
                  </a:lnTo>
                  <a:lnTo>
                    <a:pt x="34" y="0"/>
                  </a:lnTo>
                  <a:lnTo>
                    <a:pt x="34" y="0"/>
                  </a:lnTo>
                  <a:lnTo>
                    <a:pt x="38" y="0"/>
                  </a:lnTo>
                  <a:lnTo>
                    <a:pt x="38" y="0"/>
                  </a:lnTo>
                  <a:lnTo>
                    <a:pt x="42" y="0"/>
                  </a:lnTo>
                  <a:lnTo>
                    <a:pt x="42" y="0"/>
                  </a:lnTo>
                  <a:lnTo>
                    <a:pt x="42" y="0"/>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38" y="8"/>
                  </a:lnTo>
                  <a:lnTo>
                    <a:pt x="38" y="8"/>
                  </a:lnTo>
                  <a:lnTo>
                    <a:pt x="38" y="12"/>
                  </a:lnTo>
                  <a:lnTo>
                    <a:pt x="38" y="12"/>
                  </a:lnTo>
                  <a:lnTo>
                    <a:pt x="38" y="12"/>
                  </a:lnTo>
                  <a:lnTo>
                    <a:pt x="42" y="12"/>
                  </a:lnTo>
                  <a:lnTo>
                    <a:pt x="42" y="12"/>
                  </a:lnTo>
                  <a:lnTo>
                    <a:pt x="42" y="12"/>
                  </a:lnTo>
                  <a:lnTo>
                    <a:pt x="42" y="16"/>
                  </a:lnTo>
                  <a:lnTo>
                    <a:pt x="42" y="18"/>
                  </a:lnTo>
                  <a:lnTo>
                    <a:pt x="42" y="18"/>
                  </a:lnTo>
                  <a:lnTo>
                    <a:pt x="38" y="18"/>
                  </a:lnTo>
                  <a:lnTo>
                    <a:pt x="38" y="18"/>
                  </a:lnTo>
                  <a:lnTo>
                    <a:pt x="38" y="18"/>
                  </a:lnTo>
                  <a:lnTo>
                    <a:pt x="34" y="18"/>
                  </a:lnTo>
                  <a:lnTo>
                    <a:pt x="34" y="18"/>
                  </a:lnTo>
                  <a:lnTo>
                    <a:pt x="34" y="18"/>
                  </a:lnTo>
                  <a:lnTo>
                    <a:pt x="34" y="18"/>
                  </a:lnTo>
                  <a:lnTo>
                    <a:pt x="30" y="18"/>
                  </a:lnTo>
                  <a:lnTo>
                    <a:pt x="30" y="18"/>
                  </a:lnTo>
                  <a:lnTo>
                    <a:pt x="30" y="22"/>
                  </a:lnTo>
                  <a:lnTo>
                    <a:pt x="30" y="22"/>
                  </a:lnTo>
                  <a:lnTo>
                    <a:pt x="30" y="22"/>
                  </a:lnTo>
                  <a:lnTo>
                    <a:pt x="30" y="22"/>
                  </a:lnTo>
                  <a:lnTo>
                    <a:pt x="26" y="22"/>
                  </a:lnTo>
                  <a:lnTo>
                    <a:pt x="26" y="22"/>
                  </a:lnTo>
                  <a:lnTo>
                    <a:pt x="26" y="22"/>
                  </a:lnTo>
                  <a:lnTo>
                    <a:pt x="26" y="22"/>
                  </a:lnTo>
                  <a:lnTo>
                    <a:pt x="26" y="22"/>
                  </a:lnTo>
                  <a:lnTo>
                    <a:pt x="26" y="26"/>
                  </a:lnTo>
                  <a:lnTo>
                    <a:pt x="26" y="26"/>
                  </a:lnTo>
                  <a:lnTo>
                    <a:pt x="26" y="26"/>
                  </a:lnTo>
                  <a:lnTo>
                    <a:pt x="26" y="26"/>
                  </a:lnTo>
                  <a:lnTo>
                    <a:pt x="24" y="30"/>
                  </a:lnTo>
                  <a:lnTo>
                    <a:pt x="24" y="30"/>
                  </a:lnTo>
                  <a:lnTo>
                    <a:pt x="24" y="30"/>
                  </a:lnTo>
                  <a:lnTo>
                    <a:pt x="24" y="30"/>
                  </a:lnTo>
                  <a:lnTo>
                    <a:pt x="24" y="30"/>
                  </a:lnTo>
                  <a:lnTo>
                    <a:pt x="24" y="30"/>
                  </a:lnTo>
                  <a:lnTo>
                    <a:pt x="24" y="30"/>
                  </a:lnTo>
                  <a:lnTo>
                    <a:pt x="24" y="30"/>
                  </a:lnTo>
                  <a:lnTo>
                    <a:pt x="24" y="26"/>
                  </a:lnTo>
                  <a:lnTo>
                    <a:pt x="24" y="26"/>
                  </a:lnTo>
                  <a:lnTo>
                    <a:pt x="24" y="26"/>
                  </a:lnTo>
                  <a:lnTo>
                    <a:pt x="24" y="26"/>
                  </a:lnTo>
                  <a:lnTo>
                    <a:pt x="24" y="30"/>
                  </a:lnTo>
                  <a:lnTo>
                    <a:pt x="20" y="30"/>
                  </a:lnTo>
                  <a:lnTo>
                    <a:pt x="20" y="30"/>
                  </a:lnTo>
                  <a:lnTo>
                    <a:pt x="20" y="30"/>
                  </a:lnTo>
                  <a:lnTo>
                    <a:pt x="20" y="30"/>
                  </a:lnTo>
                  <a:lnTo>
                    <a:pt x="20" y="30"/>
                  </a:lnTo>
                  <a:lnTo>
                    <a:pt x="20" y="30"/>
                  </a:lnTo>
                  <a:lnTo>
                    <a:pt x="20" y="30"/>
                  </a:lnTo>
                  <a:lnTo>
                    <a:pt x="20" y="26"/>
                  </a:lnTo>
                  <a:lnTo>
                    <a:pt x="20" y="26"/>
                  </a:lnTo>
                  <a:lnTo>
                    <a:pt x="20" y="26"/>
                  </a:lnTo>
                  <a:lnTo>
                    <a:pt x="20" y="26"/>
                  </a:lnTo>
                  <a:lnTo>
                    <a:pt x="20" y="26"/>
                  </a:lnTo>
                  <a:lnTo>
                    <a:pt x="20" y="26"/>
                  </a:lnTo>
                  <a:lnTo>
                    <a:pt x="20" y="26"/>
                  </a:lnTo>
                  <a:lnTo>
                    <a:pt x="20" y="26"/>
                  </a:lnTo>
                  <a:lnTo>
                    <a:pt x="20" y="26"/>
                  </a:lnTo>
                  <a:lnTo>
                    <a:pt x="20" y="26"/>
                  </a:lnTo>
                  <a:lnTo>
                    <a:pt x="16" y="26"/>
                  </a:lnTo>
                  <a:lnTo>
                    <a:pt x="20" y="22"/>
                  </a:lnTo>
                  <a:lnTo>
                    <a:pt x="20" y="22"/>
                  </a:lnTo>
                  <a:lnTo>
                    <a:pt x="20" y="22"/>
                  </a:lnTo>
                  <a:lnTo>
                    <a:pt x="20" y="22"/>
                  </a:lnTo>
                  <a:lnTo>
                    <a:pt x="20" y="22"/>
                  </a:lnTo>
                  <a:lnTo>
                    <a:pt x="20" y="22"/>
                  </a:lnTo>
                  <a:lnTo>
                    <a:pt x="20" y="22"/>
                  </a:lnTo>
                  <a:lnTo>
                    <a:pt x="20" y="22"/>
                  </a:lnTo>
                  <a:lnTo>
                    <a:pt x="20" y="22"/>
                  </a:lnTo>
                  <a:lnTo>
                    <a:pt x="20" y="22"/>
                  </a:lnTo>
                  <a:lnTo>
                    <a:pt x="20" y="22"/>
                  </a:lnTo>
                  <a:lnTo>
                    <a:pt x="16" y="22"/>
                  </a:lnTo>
                  <a:lnTo>
                    <a:pt x="16" y="22"/>
                  </a:lnTo>
                  <a:lnTo>
                    <a:pt x="16" y="22"/>
                  </a:lnTo>
                  <a:lnTo>
                    <a:pt x="16" y="22"/>
                  </a:lnTo>
                  <a:lnTo>
                    <a:pt x="20" y="18"/>
                  </a:lnTo>
                  <a:lnTo>
                    <a:pt x="20" y="18"/>
                  </a:lnTo>
                  <a:lnTo>
                    <a:pt x="20" y="18"/>
                  </a:lnTo>
                  <a:lnTo>
                    <a:pt x="24" y="18"/>
                  </a:lnTo>
                  <a:lnTo>
                    <a:pt x="24" y="18"/>
                  </a:lnTo>
                  <a:lnTo>
                    <a:pt x="24" y="18"/>
                  </a:lnTo>
                  <a:lnTo>
                    <a:pt x="24" y="18"/>
                  </a:lnTo>
                  <a:lnTo>
                    <a:pt x="24" y="18"/>
                  </a:lnTo>
                  <a:lnTo>
                    <a:pt x="20" y="18"/>
                  </a:lnTo>
                  <a:lnTo>
                    <a:pt x="20" y="18"/>
                  </a:lnTo>
                  <a:lnTo>
                    <a:pt x="20" y="18"/>
                  </a:lnTo>
                  <a:lnTo>
                    <a:pt x="20" y="18"/>
                  </a:lnTo>
                  <a:lnTo>
                    <a:pt x="20" y="18"/>
                  </a:lnTo>
                  <a:lnTo>
                    <a:pt x="20" y="18"/>
                  </a:lnTo>
                  <a:lnTo>
                    <a:pt x="20" y="18"/>
                  </a:lnTo>
                  <a:lnTo>
                    <a:pt x="20" y="18"/>
                  </a:lnTo>
                  <a:lnTo>
                    <a:pt x="16" y="18"/>
                  </a:lnTo>
                  <a:lnTo>
                    <a:pt x="16" y="18"/>
                  </a:lnTo>
                  <a:lnTo>
                    <a:pt x="16" y="18"/>
                  </a:lnTo>
                  <a:lnTo>
                    <a:pt x="16" y="18"/>
                  </a:lnTo>
                  <a:lnTo>
                    <a:pt x="16" y="18"/>
                  </a:lnTo>
                  <a:lnTo>
                    <a:pt x="16" y="18"/>
                  </a:lnTo>
                  <a:lnTo>
                    <a:pt x="16" y="18"/>
                  </a:lnTo>
                  <a:lnTo>
                    <a:pt x="16" y="18"/>
                  </a:lnTo>
                  <a:lnTo>
                    <a:pt x="16" y="18"/>
                  </a:lnTo>
                  <a:lnTo>
                    <a:pt x="16" y="18"/>
                  </a:lnTo>
                  <a:lnTo>
                    <a:pt x="16" y="16"/>
                  </a:lnTo>
                  <a:lnTo>
                    <a:pt x="16" y="16"/>
                  </a:lnTo>
                  <a:lnTo>
                    <a:pt x="16" y="16"/>
                  </a:lnTo>
                  <a:lnTo>
                    <a:pt x="20" y="16"/>
                  </a:lnTo>
                  <a:lnTo>
                    <a:pt x="20" y="16"/>
                  </a:lnTo>
                  <a:lnTo>
                    <a:pt x="20" y="16"/>
                  </a:lnTo>
                  <a:lnTo>
                    <a:pt x="20" y="16"/>
                  </a:lnTo>
                  <a:lnTo>
                    <a:pt x="20" y="16"/>
                  </a:lnTo>
                  <a:lnTo>
                    <a:pt x="20" y="16"/>
                  </a:lnTo>
                  <a:lnTo>
                    <a:pt x="24" y="16"/>
                  </a:lnTo>
                  <a:lnTo>
                    <a:pt x="24" y="16"/>
                  </a:lnTo>
                  <a:lnTo>
                    <a:pt x="24" y="16"/>
                  </a:lnTo>
                  <a:lnTo>
                    <a:pt x="24" y="16"/>
                  </a:lnTo>
                  <a:lnTo>
                    <a:pt x="24" y="18"/>
                  </a:lnTo>
                  <a:lnTo>
                    <a:pt x="24" y="16"/>
                  </a:lnTo>
                  <a:lnTo>
                    <a:pt x="24" y="16"/>
                  </a:lnTo>
                  <a:lnTo>
                    <a:pt x="24" y="16"/>
                  </a:lnTo>
                  <a:lnTo>
                    <a:pt x="24" y="16"/>
                  </a:lnTo>
                  <a:lnTo>
                    <a:pt x="24" y="16"/>
                  </a:lnTo>
                  <a:lnTo>
                    <a:pt x="24" y="16"/>
                  </a:lnTo>
                  <a:lnTo>
                    <a:pt x="24" y="16"/>
                  </a:lnTo>
                  <a:lnTo>
                    <a:pt x="24" y="16"/>
                  </a:lnTo>
                  <a:lnTo>
                    <a:pt x="24" y="16"/>
                  </a:lnTo>
                  <a:lnTo>
                    <a:pt x="24" y="12"/>
                  </a:lnTo>
                  <a:lnTo>
                    <a:pt x="24" y="12"/>
                  </a:lnTo>
                  <a:lnTo>
                    <a:pt x="24" y="16"/>
                  </a:lnTo>
                  <a:lnTo>
                    <a:pt x="20" y="16"/>
                  </a:lnTo>
                  <a:lnTo>
                    <a:pt x="20" y="16"/>
                  </a:lnTo>
                  <a:lnTo>
                    <a:pt x="20" y="16"/>
                  </a:lnTo>
                  <a:lnTo>
                    <a:pt x="20" y="16"/>
                  </a:lnTo>
                  <a:lnTo>
                    <a:pt x="20" y="16"/>
                  </a:lnTo>
                  <a:lnTo>
                    <a:pt x="20" y="12"/>
                  </a:lnTo>
                  <a:lnTo>
                    <a:pt x="20" y="12"/>
                  </a:lnTo>
                  <a:lnTo>
                    <a:pt x="16" y="16"/>
                  </a:lnTo>
                  <a:lnTo>
                    <a:pt x="16" y="16"/>
                  </a:lnTo>
                  <a:lnTo>
                    <a:pt x="16" y="16"/>
                  </a:lnTo>
                  <a:lnTo>
                    <a:pt x="16" y="16"/>
                  </a:lnTo>
                  <a:lnTo>
                    <a:pt x="16" y="16"/>
                  </a:lnTo>
                  <a:lnTo>
                    <a:pt x="12" y="16"/>
                  </a:lnTo>
                  <a:lnTo>
                    <a:pt x="12" y="16"/>
                  </a:lnTo>
                  <a:lnTo>
                    <a:pt x="12" y="16"/>
                  </a:lnTo>
                  <a:close/>
                  <a:moveTo>
                    <a:pt x="12" y="26"/>
                  </a:moveTo>
                  <a:lnTo>
                    <a:pt x="12" y="26"/>
                  </a:lnTo>
                  <a:lnTo>
                    <a:pt x="12" y="26"/>
                  </a:lnTo>
                  <a:lnTo>
                    <a:pt x="12" y="26"/>
                  </a:lnTo>
                  <a:lnTo>
                    <a:pt x="12" y="26"/>
                  </a:lnTo>
                  <a:lnTo>
                    <a:pt x="12" y="26"/>
                  </a:lnTo>
                  <a:lnTo>
                    <a:pt x="12" y="26"/>
                  </a:lnTo>
                  <a:lnTo>
                    <a:pt x="16" y="26"/>
                  </a:lnTo>
                  <a:lnTo>
                    <a:pt x="16" y="26"/>
                  </a:lnTo>
                  <a:lnTo>
                    <a:pt x="16" y="26"/>
                  </a:lnTo>
                  <a:lnTo>
                    <a:pt x="12" y="26"/>
                  </a:lnTo>
                  <a:lnTo>
                    <a:pt x="12" y="26"/>
                  </a:lnTo>
                  <a:lnTo>
                    <a:pt x="12" y="26"/>
                  </a:lnTo>
                  <a:lnTo>
                    <a:pt x="12" y="26"/>
                  </a:lnTo>
                  <a:close/>
                  <a:moveTo>
                    <a:pt x="8" y="16"/>
                  </a:moveTo>
                  <a:lnTo>
                    <a:pt x="8" y="16"/>
                  </a:lnTo>
                  <a:lnTo>
                    <a:pt x="8" y="16"/>
                  </a:lnTo>
                  <a:lnTo>
                    <a:pt x="8" y="16"/>
                  </a:lnTo>
                  <a:lnTo>
                    <a:pt x="8" y="16"/>
                  </a:lnTo>
                  <a:lnTo>
                    <a:pt x="8" y="16"/>
                  </a:lnTo>
                  <a:lnTo>
                    <a:pt x="8" y="16"/>
                  </a:lnTo>
                  <a:lnTo>
                    <a:pt x="8" y="16"/>
                  </a:lnTo>
                  <a:lnTo>
                    <a:pt x="8" y="16"/>
                  </a:lnTo>
                  <a:lnTo>
                    <a:pt x="8" y="16"/>
                  </a:lnTo>
                  <a:lnTo>
                    <a:pt x="8" y="16"/>
                  </a:lnTo>
                  <a:lnTo>
                    <a:pt x="8" y="16"/>
                  </a:lnTo>
                  <a:close/>
                  <a:moveTo>
                    <a:pt x="16" y="18"/>
                  </a:moveTo>
                  <a:lnTo>
                    <a:pt x="16" y="18"/>
                  </a:lnTo>
                  <a:lnTo>
                    <a:pt x="16" y="22"/>
                  </a:lnTo>
                  <a:lnTo>
                    <a:pt x="16" y="22"/>
                  </a:lnTo>
                  <a:lnTo>
                    <a:pt x="16" y="18"/>
                  </a:lnTo>
                  <a:lnTo>
                    <a:pt x="16" y="18"/>
                  </a:lnTo>
                  <a:lnTo>
                    <a:pt x="16" y="18"/>
                  </a:lnTo>
                  <a:lnTo>
                    <a:pt x="16" y="18"/>
                  </a:lnTo>
                  <a:lnTo>
                    <a:pt x="16" y="18"/>
                  </a:lnTo>
                  <a:lnTo>
                    <a:pt x="16" y="18"/>
                  </a:lnTo>
                  <a:close/>
                  <a:moveTo>
                    <a:pt x="8" y="22"/>
                  </a:moveTo>
                  <a:lnTo>
                    <a:pt x="8" y="22"/>
                  </a:lnTo>
                  <a:lnTo>
                    <a:pt x="8" y="18"/>
                  </a:lnTo>
                  <a:lnTo>
                    <a:pt x="8" y="18"/>
                  </a:lnTo>
                  <a:lnTo>
                    <a:pt x="8" y="18"/>
                  </a:lnTo>
                  <a:lnTo>
                    <a:pt x="12" y="18"/>
                  </a:lnTo>
                  <a:lnTo>
                    <a:pt x="12" y="18"/>
                  </a:lnTo>
                  <a:lnTo>
                    <a:pt x="12" y="18"/>
                  </a:lnTo>
                  <a:lnTo>
                    <a:pt x="12" y="22"/>
                  </a:lnTo>
                  <a:lnTo>
                    <a:pt x="12" y="22"/>
                  </a:lnTo>
                  <a:lnTo>
                    <a:pt x="8" y="22"/>
                  </a:lnTo>
                  <a:lnTo>
                    <a:pt x="8" y="22"/>
                  </a:lnTo>
                  <a:lnTo>
                    <a:pt x="8" y="22"/>
                  </a:lnTo>
                  <a:lnTo>
                    <a:pt x="8" y="22"/>
                  </a:lnTo>
                  <a:close/>
                  <a:moveTo>
                    <a:pt x="4" y="22"/>
                  </a:moveTo>
                  <a:lnTo>
                    <a:pt x="4" y="22"/>
                  </a:lnTo>
                  <a:lnTo>
                    <a:pt x="4" y="22"/>
                  </a:lnTo>
                  <a:lnTo>
                    <a:pt x="4" y="22"/>
                  </a:lnTo>
                  <a:lnTo>
                    <a:pt x="4" y="22"/>
                  </a:lnTo>
                  <a:lnTo>
                    <a:pt x="4" y="22"/>
                  </a:lnTo>
                  <a:lnTo>
                    <a:pt x="4" y="22"/>
                  </a:lnTo>
                  <a:lnTo>
                    <a:pt x="4" y="18"/>
                  </a:lnTo>
                  <a:lnTo>
                    <a:pt x="4" y="18"/>
                  </a:lnTo>
                  <a:lnTo>
                    <a:pt x="4" y="18"/>
                  </a:lnTo>
                  <a:lnTo>
                    <a:pt x="4" y="18"/>
                  </a:lnTo>
                  <a:lnTo>
                    <a:pt x="4" y="18"/>
                  </a:lnTo>
                  <a:lnTo>
                    <a:pt x="4" y="18"/>
                  </a:lnTo>
                  <a:lnTo>
                    <a:pt x="4" y="18"/>
                  </a:lnTo>
                  <a:lnTo>
                    <a:pt x="4" y="22"/>
                  </a:lnTo>
                  <a:lnTo>
                    <a:pt x="4" y="22"/>
                  </a:lnTo>
                  <a:lnTo>
                    <a:pt x="4" y="22"/>
                  </a:lnTo>
                  <a:lnTo>
                    <a:pt x="4" y="22"/>
                  </a:lnTo>
                  <a:lnTo>
                    <a:pt x="4" y="22"/>
                  </a:lnTo>
                  <a:close/>
                  <a:moveTo>
                    <a:pt x="8" y="30"/>
                  </a:moveTo>
                  <a:lnTo>
                    <a:pt x="8" y="30"/>
                  </a:lnTo>
                  <a:lnTo>
                    <a:pt x="8" y="30"/>
                  </a:lnTo>
                  <a:lnTo>
                    <a:pt x="4" y="30"/>
                  </a:lnTo>
                  <a:lnTo>
                    <a:pt x="4" y="30"/>
                  </a:lnTo>
                  <a:lnTo>
                    <a:pt x="4" y="30"/>
                  </a:lnTo>
                  <a:lnTo>
                    <a:pt x="4" y="26"/>
                  </a:lnTo>
                  <a:lnTo>
                    <a:pt x="4" y="26"/>
                  </a:lnTo>
                  <a:lnTo>
                    <a:pt x="8" y="26"/>
                  </a:lnTo>
                  <a:lnTo>
                    <a:pt x="8" y="26"/>
                  </a:lnTo>
                  <a:lnTo>
                    <a:pt x="8" y="26"/>
                  </a:lnTo>
                  <a:lnTo>
                    <a:pt x="8" y="26"/>
                  </a:lnTo>
                  <a:lnTo>
                    <a:pt x="8" y="26"/>
                  </a:lnTo>
                  <a:lnTo>
                    <a:pt x="8" y="26"/>
                  </a:lnTo>
                  <a:lnTo>
                    <a:pt x="8" y="26"/>
                  </a:lnTo>
                  <a:lnTo>
                    <a:pt x="8" y="26"/>
                  </a:lnTo>
                  <a:lnTo>
                    <a:pt x="8" y="26"/>
                  </a:lnTo>
                  <a:lnTo>
                    <a:pt x="8" y="30"/>
                  </a:lnTo>
                  <a:lnTo>
                    <a:pt x="8" y="30"/>
                  </a:lnTo>
                  <a:lnTo>
                    <a:pt x="8" y="30"/>
                  </a:lnTo>
                  <a:lnTo>
                    <a:pt x="8" y="30"/>
                  </a:lnTo>
                  <a:lnTo>
                    <a:pt x="8" y="30"/>
                  </a:lnTo>
                  <a:lnTo>
                    <a:pt x="8" y="3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57" name="Freeform 150"/>
            <p:cNvSpPr>
              <a:spLocks noEditPoints="1"/>
            </p:cNvSpPr>
            <p:nvPr/>
          </p:nvSpPr>
          <p:spPr bwMode="auto">
            <a:xfrm>
              <a:off x="7341715" y="4108140"/>
              <a:ext cx="70334" cy="104607"/>
            </a:xfrm>
            <a:custGeom>
              <a:avLst/>
              <a:gdLst>
                <a:gd name="T0" fmla="*/ 0 w 112"/>
                <a:gd name="T1" fmla="*/ 82 h 160"/>
                <a:gd name="T2" fmla="*/ 0 w 112"/>
                <a:gd name="T3" fmla="*/ 78 h 160"/>
                <a:gd name="T4" fmla="*/ 4 w 112"/>
                <a:gd name="T5" fmla="*/ 72 h 160"/>
                <a:gd name="T6" fmla="*/ 8 w 112"/>
                <a:gd name="T7" fmla="*/ 64 h 160"/>
                <a:gd name="T8" fmla="*/ 12 w 112"/>
                <a:gd name="T9" fmla="*/ 60 h 160"/>
                <a:gd name="T10" fmla="*/ 12 w 112"/>
                <a:gd name="T11" fmla="*/ 56 h 160"/>
                <a:gd name="T12" fmla="*/ 12 w 112"/>
                <a:gd name="T13" fmla="*/ 56 h 160"/>
                <a:gd name="T14" fmla="*/ 16 w 112"/>
                <a:gd name="T15" fmla="*/ 52 h 160"/>
                <a:gd name="T16" fmla="*/ 12 w 112"/>
                <a:gd name="T17" fmla="*/ 42 h 160"/>
                <a:gd name="T18" fmla="*/ 12 w 112"/>
                <a:gd name="T19" fmla="*/ 34 h 160"/>
                <a:gd name="T20" fmla="*/ 8 w 112"/>
                <a:gd name="T21" fmla="*/ 30 h 160"/>
                <a:gd name="T22" fmla="*/ 8 w 112"/>
                <a:gd name="T23" fmla="*/ 22 h 160"/>
                <a:gd name="T24" fmla="*/ 4 w 112"/>
                <a:gd name="T25" fmla="*/ 16 h 160"/>
                <a:gd name="T26" fmla="*/ 0 w 112"/>
                <a:gd name="T27" fmla="*/ 8 h 160"/>
                <a:gd name="T28" fmla="*/ 8 w 112"/>
                <a:gd name="T29" fmla="*/ 0 h 160"/>
                <a:gd name="T30" fmla="*/ 16 w 112"/>
                <a:gd name="T31" fmla="*/ 0 h 160"/>
                <a:gd name="T32" fmla="*/ 22 w 112"/>
                <a:gd name="T33" fmla="*/ 0 h 160"/>
                <a:gd name="T34" fmla="*/ 26 w 112"/>
                <a:gd name="T35" fmla="*/ 0 h 160"/>
                <a:gd name="T36" fmla="*/ 38 w 112"/>
                <a:gd name="T37" fmla="*/ 4 h 160"/>
                <a:gd name="T38" fmla="*/ 46 w 112"/>
                <a:gd name="T39" fmla="*/ 8 h 160"/>
                <a:gd name="T40" fmla="*/ 60 w 112"/>
                <a:gd name="T41" fmla="*/ 20 h 160"/>
                <a:gd name="T42" fmla="*/ 72 w 112"/>
                <a:gd name="T43" fmla="*/ 20 h 160"/>
                <a:gd name="T44" fmla="*/ 74 w 112"/>
                <a:gd name="T45" fmla="*/ 22 h 160"/>
                <a:gd name="T46" fmla="*/ 78 w 112"/>
                <a:gd name="T47" fmla="*/ 22 h 160"/>
                <a:gd name="T48" fmla="*/ 82 w 112"/>
                <a:gd name="T49" fmla="*/ 20 h 160"/>
                <a:gd name="T50" fmla="*/ 94 w 112"/>
                <a:gd name="T51" fmla="*/ 8 h 160"/>
                <a:gd name="T52" fmla="*/ 100 w 112"/>
                <a:gd name="T53" fmla="*/ 12 h 160"/>
                <a:gd name="T54" fmla="*/ 104 w 112"/>
                <a:gd name="T55" fmla="*/ 12 h 160"/>
                <a:gd name="T56" fmla="*/ 112 w 112"/>
                <a:gd name="T57" fmla="*/ 12 h 160"/>
                <a:gd name="T58" fmla="*/ 112 w 112"/>
                <a:gd name="T59" fmla="*/ 16 h 160"/>
                <a:gd name="T60" fmla="*/ 100 w 112"/>
                <a:gd name="T61" fmla="*/ 56 h 160"/>
                <a:gd name="T62" fmla="*/ 108 w 112"/>
                <a:gd name="T63" fmla="*/ 108 h 160"/>
                <a:gd name="T64" fmla="*/ 104 w 112"/>
                <a:gd name="T65" fmla="*/ 112 h 160"/>
                <a:gd name="T66" fmla="*/ 98 w 112"/>
                <a:gd name="T67" fmla="*/ 116 h 160"/>
                <a:gd name="T68" fmla="*/ 98 w 112"/>
                <a:gd name="T69" fmla="*/ 120 h 160"/>
                <a:gd name="T70" fmla="*/ 98 w 112"/>
                <a:gd name="T71" fmla="*/ 120 h 160"/>
                <a:gd name="T72" fmla="*/ 94 w 112"/>
                <a:gd name="T73" fmla="*/ 124 h 160"/>
                <a:gd name="T74" fmla="*/ 90 w 112"/>
                <a:gd name="T75" fmla="*/ 124 h 160"/>
                <a:gd name="T76" fmla="*/ 86 w 112"/>
                <a:gd name="T77" fmla="*/ 130 h 160"/>
                <a:gd name="T78" fmla="*/ 86 w 112"/>
                <a:gd name="T79" fmla="*/ 138 h 160"/>
                <a:gd name="T80" fmla="*/ 82 w 112"/>
                <a:gd name="T81" fmla="*/ 142 h 160"/>
                <a:gd name="T82" fmla="*/ 82 w 112"/>
                <a:gd name="T83" fmla="*/ 144 h 160"/>
                <a:gd name="T84" fmla="*/ 74 w 112"/>
                <a:gd name="T85" fmla="*/ 160 h 160"/>
                <a:gd name="T86" fmla="*/ 68 w 112"/>
                <a:gd name="T87" fmla="*/ 152 h 160"/>
                <a:gd name="T88" fmla="*/ 52 w 112"/>
                <a:gd name="T89" fmla="*/ 142 h 160"/>
                <a:gd name="T90" fmla="*/ 52 w 112"/>
                <a:gd name="T91" fmla="*/ 138 h 160"/>
                <a:gd name="T92" fmla="*/ 52 w 112"/>
                <a:gd name="T93" fmla="*/ 134 h 160"/>
                <a:gd name="T94" fmla="*/ 46 w 112"/>
                <a:gd name="T95" fmla="*/ 128 h 160"/>
                <a:gd name="T96" fmla="*/ 30 w 112"/>
                <a:gd name="T97" fmla="*/ 116 h 160"/>
                <a:gd name="T98" fmla="*/ 8 w 112"/>
                <a:gd name="T99" fmla="*/ 102 h 160"/>
                <a:gd name="T100" fmla="*/ 0 w 112"/>
                <a:gd name="T101" fmla="*/ 98 h 160"/>
                <a:gd name="T102" fmla="*/ 100 w 112"/>
                <a:gd name="T103" fmla="*/ 116 h 160"/>
                <a:gd name="T104" fmla="*/ 100 w 112"/>
                <a:gd name="T105" fmla="*/ 116 h 160"/>
                <a:gd name="T106" fmla="*/ 100 w 112"/>
                <a:gd name="T107" fmla="*/ 12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160">
                  <a:moveTo>
                    <a:pt x="0" y="98"/>
                  </a:moveTo>
                  <a:lnTo>
                    <a:pt x="0" y="98"/>
                  </a:lnTo>
                  <a:lnTo>
                    <a:pt x="0" y="90"/>
                  </a:lnTo>
                  <a:lnTo>
                    <a:pt x="0" y="86"/>
                  </a:lnTo>
                  <a:lnTo>
                    <a:pt x="0" y="82"/>
                  </a:lnTo>
                  <a:lnTo>
                    <a:pt x="0" y="82"/>
                  </a:lnTo>
                  <a:lnTo>
                    <a:pt x="0" y="82"/>
                  </a:lnTo>
                  <a:lnTo>
                    <a:pt x="0" y="78"/>
                  </a:lnTo>
                  <a:lnTo>
                    <a:pt x="0" y="78"/>
                  </a:lnTo>
                  <a:lnTo>
                    <a:pt x="0" y="78"/>
                  </a:lnTo>
                  <a:lnTo>
                    <a:pt x="0" y="78"/>
                  </a:lnTo>
                  <a:lnTo>
                    <a:pt x="0" y="78"/>
                  </a:lnTo>
                  <a:lnTo>
                    <a:pt x="0" y="76"/>
                  </a:lnTo>
                  <a:lnTo>
                    <a:pt x="0" y="76"/>
                  </a:lnTo>
                  <a:lnTo>
                    <a:pt x="4" y="72"/>
                  </a:lnTo>
                  <a:lnTo>
                    <a:pt x="4" y="72"/>
                  </a:lnTo>
                  <a:lnTo>
                    <a:pt x="4" y="72"/>
                  </a:lnTo>
                  <a:lnTo>
                    <a:pt x="4" y="72"/>
                  </a:lnTo>
                  <a:lnTo>
                    <a:pt x="8" y="68"/>
                  </a:lnTo>
                  <a:lnTo>
                    <a:pt x="8" y="68"/>
                  </a:lnTo>
                  <a:lnTo>
                    <a:pt x="8" y="64"/>
                  </a:lnTo>
                  <a:lnTo>
                    <a:pt x="8" y="64"/>
                  </a:lnTo>
                  <a:lnTo>
                    <a:pt x="8" y="64"/>
                  </a:lnTo>
                  <a:lnTo>
                    <a:pt x="8" y="64"/>
                  </a:lnTo>
                  <a:lnTo>
                    <a:pt x="8" y="64"/>
                  </a:lnTo>
                  <a:lnTo>
                    <a:pt x="8" y="60"/>
                  </a:lnTo>
                  <a:lnTo>
                    <a:pt x="8" y="60"/>
                  </a:lnTo>
                  <a:lnTo>
                    <a:pt x="8" y="60"/>
                  </a:lnTo>
                  <a:lnTo>
                    <a:pt x="12" y="60"/>
                  </a:lnTo>
                  <a:lnTo>
                    <a:pt x="12" y="60"/>
                  </a:lnTo>
                  <a:lnTo>
                    <a:pt x="12" y="60"/>
                  </a:lnTo>
                  <a:lnTo>
                    <a:pt x="12" y="60"/>
                  </a:lnTo>
                  <a:lnTo>
                    <a:pt x="12" y="60"/>
                  </a:lnTo>
                  <a:lnTo>
                    <a:pt x="12" y="60"/>
                  </a:lnTo>
                  <a:lnTo>
                    <a:pt x="12" y="60"/>
                  </a:lnTo>
                  <a:lnTo>
                    <a:pt x="12" y="56"/>
                  </a:lnTo>
                  <a:lnTo>
                    <a:pt x="12" y="56"/>
                  </a:lnTo>
                  <a:lnTo>
                    <a:pt x="12" y="56"/>
                  </a:lnTo>
                  <a:lnTo>
                    <a:pt x="12" y="56"/>
                  </a:lnTo>
                  <a:lnTo>
                    <a:pt x="12" y="56"/>
                  </a:lnTo>
                  <a:lnTo>
                    <a:pt x="12" y="56"/>
                  </a:lnTo>
                  <a:lnTo>
                    <a:pt x="12" y="56"/>
                  </a:lnTo>
                  <a:lnTo>
                    <a:pt x="12" y="52"/>
                  </a:lnTo>
                  <a:lnTo>
                    <a:pt x="12" y="52"/>
                  </a:lnTo>
                  <a:lnTo>
                    <a:pt x="16" y="52"/>
                  </a:lnTo>
                  <a:lnTo>
                    <a:pt x="16" y="52"/>
                  </a:lnTo>
                  <a:lnTo>
                    <a:pt x="16" y="52"/>
                  </a:lnTo>
                  <a:lnTo>
                    <a:pt x="16" y="52"/>
                  </a:lnTo>
                  <a:lnTo>
                    <a:pt x="16" y="48"/>
                  </a:lnTo>
                  <a:lnTo>
                    <a:pt x="16" y="46"/>
                  </a:lnTo>
                  <a:lnTo>
                    <a:pt x="16" y="42"/>
                  </a:lnTo>
                  <a:lnTo>
                    <a:pt x="16" y="42"/>
                  </a:lnTo>
                  <a:lnTo>
                    <a:pt x="12" y="42"/>
                  </a:lnTo>
                  <a:lnTo>
                    <a:pt x="12" y="42"/>
                  </a:lnTo>
                  <a:lnTo>
                    <a:pt x="12" y="38"/>
                  </a:lnTo>
                  <a:lnTo>
                    <a:pt x="12" y="38"/>
                  </a:lnTo>
                  <a:lnTo>
                    <a:pt x="12" y="38"/>
                  </a:lnTo>
                  <a:lnTo>
                    <a:pt x="12" y="34"/>
                  </a:lnTo>
                  <a:lnTo>
                    <a:pt x="12" y="34"/>
                  </a:lnTo>
                  <a:lnTo>
                    <a:pt x="12" y="34"/>
                  </a:lnTo>
                  <a:lnTo>
                    <a:pt x="12" y="30"/>
                  </a:lnTo>
                  <a:lnTo>
                    <a:pt x="12" y="30"/>
                  </a:lnTo>
                  <a:lnTo>
                    <a:pt x="12" y="30"/>
                  </a:lnTo>
                  <a:lnTo>
                    <a:pt x="12" y="30"/>
                  </a:lnTo>
                  <a:lnTo>
                    <a:pt x="8" y="30"/>
                  </a:lnTo>
                  <a:lnTo>
                    <a:pt x="8" y="30"/>
                  </a:lnTo>
                  <a:lnTo>
                    <a:pt x="8" y="26"/>
                  </a:lnTo>
                  <a:lnTo>
                    <a:pt x="8" y="26"/>
                  </a:lnTo>
                  <a:lnTo>
                    <a:pt x="8" y="26"/>
                  </a:lnTo>
                  <a:lnTo>
                    <a:pt x="8" y="26"/>
                  </a:lnTo>
                  <a:lnTo>
                    <a:pt x="8" y="26"/>
                  </a:lnTo>
                  <a:lnTo>
                    <a:pt x="8" y="22"/>
                  </a:lnTo>
                  <a:lnTo>
                    <a:pt x="8" y="22"/>
                  </a:lnTo>
                  <a:lnTo>
                    <a:pt x="8" y="20"/>
                  </a:lnTo>
                  <a:lnTo>
                    <a:pt x="8" y="20"/>
                  </a:lnTo>
                  <a:lnTo>
                    <a:pt x="8" y="20"/>
                  </a:lnTo>
                  <a:lnTo>
                    <a:pt x="8" y="20"/>
                  </a:lnTo>
                  <a:lnTo>
                    <a:pt x="4" y="16"/>
                  </a:lnTo>
                  <a:lnTo>
                    <a:pt x="4" y="16"/>
                  </a:lnTo>
                  <a:lnTo>
                    <a:pt x="4" y="16"/>
                  </a:lnTo>
                  <a:lnTo>
                    <a:pt x="4" y="16"/>
                  </a:lnTo>
                  <a:lnTo>
                    <a:pt x="4" y="12"/>
                  </a:lnTo>
                  <a:lnTo>
                    <a:pt x="0" y="12"/>
                  </a:lnTo>
                  <a:lnTo>
                    <a:pt x="0" y="8"/>
                  </a:lnTo>
                  <a:lnTo>
                    <a:pt x="0" y="8"/>
                  </a:lnTo>
                  <a:lnTo>
                    <a:pt x="0" y="8"/>
                  </a:lnTo>
                  <a:lnTo>
                    <a:pt x="0" y="8"/>
                  </a:lnTo>
                  <a:lnTo>
                    <a:pt x="0" y="8"/>
                  </a:lnTo>
                  <a:lnTo>
                    <a:pt x="4" y="0"/>
                  </a:lnTo>
                  <a:lnTo>
                    <a:pt x="8" y="0"/>
                  </a:lnTo>
                  <a:lnTo>
                    <a:pt x="8" y="0"/>
                  </a:lnTo>
                  <a:lnTo>
                    <a:pt x="8" y="0"/>
                  </a:lnTo>
                  <a:lnTo>
                    <a:pt x="12" y="0"/>
                  </a:lnTo>
                  <a:lnTo>
                    <a:pt x="12" y="0"/>
                  </a:lnTo>
                  <a:lnTo>
                    <a:pt x="12" y="0"/>
                  </a:lnTo>
                  <a:lnTo>
                    <a:pt x="16" y="0"/>
                  </a:lnTo>
                  <a:lnTo>
                    <a:pt x="16" y="0"/>
                  </a:lnTo>
                  <a:lnTo>
                    <a:pt x="22" y="0"/>
                  </a:lnTo>
                  <a:lnTo>
                    <a:pt x="22" y="0"/>
                  </a:lnTo>
                  <a:lnTo>
                    <a:pt x="22" y="0"/>
                  </a:lnTo>
                  <a:lnTo>
                    <a:pt x="22" y="0"/>
                  </a:lnTo>
                  <a:lnTo>
                    <a:pt x="22" y="0"/>
                  </a:lnTo>
                  <a:lnTo>
                    <a:pt x="22" y="0"/>
                  </a:lnTo>
                  <a:lnTo>
                    <a:pt x="22" y="0"/>
                  </a:lnTo>
                  <a:lnTo>
                    <a:pt x="22" y="0"/>
                  </a:lnTo>
                  <a:lnTo>
                    <a:pt x="26" y="0"/>
                  </a:lnTo>
                  <a:lnTo>
                    <a:pt x="26" y="0"/>
                  </a:lnTo>
                  <a:lnTo>
                    <a:pt x="26" y="0"/>
                  </a:lnTo>
                  <a:lnTo>
                    <a:pt x="26" y="4"/>
                  </a:lnTo>
                  <a:lnTo>
                    <a:pt x="30" y="4"/>
                  </a:lnTo>
                  <a:lnTo>
                    <a:pt x="30" y="4"/>
                  </a:lnTo>
                  <a:lnTo>
                    <a:pt x="34" y="4"/>
                  </a:lnTo>
                  <a:lnTo>
                    <a:pt x="34" y="4"/>
                  </a:lnTo>
                  <a:lnTo>
                    <a:pt x="38" y="4"/>
                  </a:lnTo>
                  <a:lnTo>
                    <a:pt x="38" y="4"/>
                  </a:lnTo>
                  <a:lnTo>
                    <a:pt x="38" y="4"/>
                  </a:lnTo>
                  <a:lnTo>
                    <a:pt x="42" y="4"/>
                  </a:lnTo>
                  <a:lnTo>
                    <a:pt x="46" y="4"/>
                  </a:lnTo>
                  <a:lnTo>
                    <a:pt x="46" y="8"/>
                  </a:lnTo>
                  <a:lnTo>
                    <a:pt x="46" y="8"/>
                  </a:lnTo>
                  <a:lnTo>
                    <a:pt x="46" y="8"/>
                  </a:lnTo>
                  <a:lnTo>
                    <a:pt x="56" y="16"/>
                  </a:lnTo>
                  <a:lnTo>
                    <a:pt x="56" y="20"/>
                  </a:lnTo>
                  <a:lnTo>
                    <a:pt x="56" y="20"/>
                  </a:lnTo>
                  <a:lnTo>
                    <a:pt x="60" y="20"/>
                  </a:lnTo>
                  <a:lnTo>
                    <a:pt x="60" y="20"/>
                  </a:lnTo>
                  <a:lnTo>
                    <a:pt x="64" y="20"/>
                  </a:lnTo>
                  <a:lnTo>
                    <a:pt x="64" y="20"/>
                  </a:lnTo>
                  <a:lnTo>
                    <a:pt x="68" y="20"/>
                  </a:lnTo>
                  <a:lnTo>
                    <a:pt x="68" y="20"/>
                  </a:lnTo>
                  <a:lnTo>
                    <a:pt x="68" y="20"/>
                  </a:lnTo>
                  <a:lnTo>
                    <a:pt x="72" y="20"/>
                  </a:lnTo>
                  <a:lnTo>
                    <a:pt x="72" y="20"/>
                  </a:lnTo>
                  <a:lnTo>
                    <a:pt x="72" y="20"/>
                  </a:lnTo>
                  <a:lnTo>
                    <a:pt x="72" y="20"/>
                  </a:lnTo>
                  <a:lnTo>
                    <a:pt x="72" y="20"/>
                  </a:lnTo>
                  <a:lnTo>
                    <a:pt x="74" y="22"/>
                  </a:lnTo>
                  <a:lnTo>
                    <a:pt x="74" y="22"/>
                  </a:lnTo>
                  <a:lnTo>
                    <a:pt x="74" y="22"/>
                  </a:lnTo>
                  <a:lnTo>
                    <a:pt x="74" y="22"/>
                  </a:lnTo>
                  <a:lnTo>
                    <a:pt x="74" y="20"/>
                  </a:lnTo>
                  <a:lnTo>
                    <a:pt x="74" y="22"/>
                  </a:lnTo>
                  <a:lnTo>
                    <a:pt x="78" y="22"/>
                  </a:lnTo>
                  <a:lnTo>
                    <a:pt x="78" y="22"/>
                  </a:lnTo>
                  <a:lnTo>
                    <a:pt x="78" y="22"/>
                  </a:lnTo>
                  <a:lnTo>
                    <a:pt x="78" y="22"/>
                  </a:lnTo>
                  <a:lnTo>
                    <a:pt x="78" y="22"/>
                  </a:lnTo>
                  <a:lnTo>
                    <a:pt x="78" y="22"/>
                  </a:lnTo>
                  <a:lnTo>
                    <a:pt x="78" y="20"/>
                  </a:lnTo>
                  <a:lnTo>
                    <a:pt x="82" y="20"/>
                  </a:lnTo>
                  <a:lnTo>
                    <a:pt x="82" y="16"/>
                  </a:lnTo>
                  <a:lnTo>
                    <a:pt x="86" y="12"/>
                  </a:lnTo>
                  <a:lnTo>
                    <a:pt x="86" y="12"/>
                  </a:lnTo>
                  <a:lnTo>
                    <a:pt x="90" y="12"/>
                  </a:lnTo>
                  <a:lnTo>
                    <a:pt x="90" y="12"/>
                  </a:lnTo>
                  <a:lnTo>
                    <a:pt x="94" y="8"/>
                  </a:lnTo>
                  <a:lnTo>
                    <a:pt x="98" y="8"/>
                  </a:lnTo>
                  <a:lnTo>
                    <a:pt x="98" y="8"/>
                  </a:lnTo>
                  <a:lnTo>
                    <a:pt x="98" y="8"/>
                  </a:lnTo>
                  <a:lnTo>
                    <a:pt x="100" y="12"/>
                  </a:lnTo>
                  <a:lnTo>
                    <a:pt x="100" y="12"/>
                  </a:lnTo>
                  <a:lnTo>
                    <a:pt x="100" y="12"/>
                  </a:lnTo>
                  <a:lnTo>
                    <a:pt x="100" y="12"/>
                  </a:lnTo>
                  <a:lnTo>
                    <a:pt x="100" y="12"/>
                  </a:lnTo>
                  <a:lnTo>
                    <a:pt x="100" y="12"/>
                  </a:lnTo>
                  <a:lnTo>
                    <a:pt x="100" y="12"/>
                  </a:lnTo>
                  <a:lnTo>
                    <a:pt x="100" y="12"/>
                  </a:lnTo>
                  <a:lnTo>
                    <a:pt x="104" y="12"/>
                  </a:lnTo>
                  <a:lnTo>
                    <a:pt x="104" y="12"/>
                  </a:lnTo>
                  <a:lnTo>
                    <a:pt x="104" y="12"/>
                  </a:lnTo>
                  <a:lnTo>
                    <a:pt x="108" y="12"/>
                  </a:lnTo>
                  <a:lnTo>
                    <a:pt x="108" y="12"/>
                  </a:lnTo>
                  <a:lnTo>
                    <a:pt x="108" y="12"/>
                  </a:lnTo>
                  <a:lnTo>
                    <a:pt x="112" y="12"/>
                  </a:lnTo>
                  <a:lnTo>
                    <a:pt x="112" y="12"/>
                  </a:lnTo>
                  <a:lnTo>
                    <a:pt x="112" y="12"/>
                  </a:lnTo>
                  <a:lnTo>
                    <a:pt x="112" y="12"/>
                  </a:lnTo>
                  <a:lnTo>
                    <a:pt x="112" y="12"/>
                  </a:lnTo>
                  <a:lnTo>
                    <a:pt x="112" y="12"/>
                  </a:lnTo>
                  <a:lnTo>
                    <a:pt x="112" y="16"/>
                  </a:lnTo>
                  <a:lnTo>
                    <a:pt x="104" y="26"/>
                  </a:lnTo>
                  <a:lnTo>
                    <a:pt x="104" y="26"/>
                  </a:lnTo>
                  <a:lnTo>
                    <a:pt x="100" y="34"/>
                  </a:lnTo>
                  <a:lnTo>
                    <a:pt x="100" y="34"/>
                  </a:lnTo>
                  <a:lnTo>
                    <a:pt x="100" y="42"/>
                  </a:lnTo>
                  <a:lnTo>
                    <a:pt x="100" y="56"/>
                  </a:lnTo>
                  <a:lnTo>
                    <a:pt x="100" y="78"/>
                  </a:lnTo>
                  <a:lnTo>
                    <a:pt x="100" y="94"/>
                  </a:lnTo>
                  <a:lnTo>
                    <a:pt x="100" y="98"/>
                  </a:lnTo>
                  <a:lnTo>
                    <a:pt x="104" y="104"/>
                  </a:lnTo>
                  <a:lnTo>
                    <a:pt x="108" y="108"/>
                  </a:lnTo>
                  <a:lnTo>
                    <a:pt x="108" y="108"/>
                  </a:lnTo>
                  <a:lnTo>
                    <a:pt x="108" y="108"/>
                  </a:lnTo>
                  <a:lnTo>
                    <a:pt x="104" y="112"/>
                  </a:lnTo>
                  <a:lnTo>
                    <a:pt x="104" y="112"/>
                  </a:lnTo>
                  <a:lnTo>
                    <a:pt x="104" y="112"/>
                  </a:lnTo>
                  <a:lnTo>
                    <a:pt x="104" y="112"/>
                  </a:lnTo>
                  <a:lnTo>
                    <a:pt x="104" y="112"/>
                  </a:lnTo>
                  <a:lnTo>
                    <a:pt x="104" y="112"/>
                  </a:lnTo>
                  <a:lnTo>
                    <a:pt x="104" y="116"/>
                  </a:lnTo>
                  <a:lnTo>
                    <a:pt x="100" y="116"/>
                  </a:lnTo>
                  <a:lnTo>
                    <a:pt x="100" y="116"/>
                  </a:lnTo>
                  <a:lnTo>
                    <a:pt x="100" y="116"/>
                  </a:lnTo>
                  <a:lnTo>
                    <a:pt x="98" y="116"/>
                  </a:lnTo>
                  <a:lnTo>
                    <a:pt x="98" y="116"/>
                  </a:lnTo>
                  <a:lnTo>
                    <a:pt x="98" y="120"/>
                  </a:lnTo>
                  <a:lnTo>
                    <a:pt x="98" y="120"/>
                  </a:lnTo>
                  <a:lnTo>
                    <a:pt x="100" y="120"/>
                  </a:lnTo>
                  <a:lnTo>
                    <a:pt x="98" y="120"/>
                  </a:lnTo>
                  <a:lnTo>
                    <a:pt x="98" y="120"/>
                  </a:lnTo>
                  <a:lnTo>
                    <a:pt x="98" y="120"/>
                  </a:lnTo>
                  <a:lnTo>
                    <a:pt x="98" y="120"/>
                  </a:lnTo>
                  <a:lnTo>
                    <a:pt x="98" y="120"/>
                  </a:lnTo>
                  <a:lnTo>
                    <a:pt x="98" y="120"/>
                  </a:lnTo>
                  <a:lnTo>
                    <a:pt x="98" y="120"/>
                  </a:lnTo>
                  <a:lnTo>
                    <a:pt x="98" y="120"/>
                  </a:lnTo>
                  <a:lnTo>
                    <a:pt x="98" y="120"/>
                  </a:lnTo>
                  <a:lnTo>
                    <a:pt x="98" y="120"/>
                  </a:lnTo>
                  <a:lnTo>
                    <a:pt x="98" y="120"/>
                  </a:lnTo>
                  <a:lnTo>
                    <a:pt x="94" y="124"/>
                  </a:lnTo>
                  <a:lnTo>
                    <a:pt x="94" y="124"/>
                  </a:lnTo>
                  <a:lnTo>
                    <a:pt x="94" y="124"/>
                  </a:lnTo>
                  <a:lnTo>
                    <a:pt x="94" y="124"/>
                  </a:lnTo>
                  <a:lnTo>
                    <a:pt x="94" y="124"/>
                  </a:lnTo>
                  <a:lnTo>
                    <a:pt x="90" y="124"/>
                  </a:lnTo>
                  <a:lnTo>
                    <a:pt x="90" y="124"/>
                  </a:lnTo>
                  <a:lnTo>
                    <a:pt x="90" y="124"/>
                  </a:lnTo>
                  <a:lnTo>
                    <a:pt x="90" y="124"/>
                  </a:lnTo>
                  <a:lnTo>
                    <a:pt x="90" y="128"/>
                  </a:lnTo>
                  <a:lnTo>
                    <a:pt x="90" y="128"/>
                  </a:lnTo>
                  <a:lnTo>
                    <a:pt x="90" y="128"/>
                  </a:lnTo>
                  <a:lnTo>
                    <a:pt x="86" y="128"/>
                  </a:lnTo>
                  <a:lnTo>
                    <a:pt x="86" y="130"/>
                  </a:lnTo>
                  <a:lnTo>
                    <a:pt x="86" y="130"/>
                  </a:lnTo>
                  <a:lnTo>
                    <a:pt x="86" y="130"/>
                  </a:lnTo>
                  <a:lnTo>
                    <a:pt x="86" y="134"/>
                  </a:lnTo>
                  <a:lnTo>
                    <a:pt x="86" y="134"/>
                  </a:lnTo>
                  <a:lnTo>
                    <a:pt x="86" y="134"/>
                  </a:lnTo>
                  <a:lnTo>
                    <a:pt x="86" y="134"/>
                  </a:lnTo>
                  <a:lnTo>
                    <a:pt x="86" y="138"/>
                  </a:lnTo>
                  <a:lnTo>
                    <a:pt x="86" y="138"/>
                  </a:lnTo>
                  <a:lnTo>
                    <a:pt x="86" y="138"/>
                  </a:lnTo>
                  <a:lnTo>
                    <a:pt x="86" y="138"/>
                  </a:lnTo>
                  <a:lnTo>
                    <a:pt x="86" y="138"/>
                  </a:lnTo>
                  <a:lnTo>
                    <a:pt x="82" y="142"/>
                  </a:lnTo>
                  <a:lnTo>
                    <a:pt x="82" y="142"/>
                  </a:lnTo>
                  <a:lnTo>
                    <a:pt x="82" y="142"/>
                  </a:lnTo>
                  <a:lnTo>
                    <a:pt x="82" y="142"/>
                  </a:lnTo>
                  <a:lnTo>
                    <a:pt x="82" y="144"/>
                  </a:lnTo>
                  <a:lnTo>
                    <a:pt x="82" y="144"/>
                  </a:lnTo>
                  <a:lnTo>
                    <a:pt x="82" y="144"/>
                  </a:lnTo>
                  <a:lnTo>
                    <a:pt x="82" y="144"/>
                  </a:lnTo>
                  <a:lnTo>
                    <a:pt x="82" y="148"/>
                  </a:lnTo>
                  <a:lnTo>
                    <a:pt x="82" y="148"/>
                  </a:lnTo>
                  <a:lnTo>
                    <a:pt x="82" y="148"/>
                  </a:lnTo>
                  <a:lnTo>
                    <a:pt x="78" y="156"/>
                  </a:lnTo>
                  <a:lnTo>
                    <a:pt x="78" y="160"/>
                  </a:lnTo>
                  <a:lnTo>
                    <a:pt x="74" y="160"/>
                  </a:lnTo>
                  <a:lnTo>
                    <a:pt x="74" y="160"/>
                  </a:lnTo>
                  <a:lnTo>
                    <a:pt x="74" y="160"/>
                  </a:lnTo>
                  <a:lnTo>
                    <a:pt x="74" y="160"/>
                  </a:lnTo>
                  <a:lnTo>
                    <a:pt x="74" y="160"/>
                  </a:lnTo>
                  <a:lnTo>
                    <a:pt x="72" y="156"/>
                  </a:lnTo>
                  <a:lnTo>
                    <a:pt x="68" y="152"/>
                  </a:lnTo>
                  <a:lnTo>
                    <a:pt x="68" y="152"/>
                  </a:lnTo>
                  <a:lnTo>
                    <a:pt x="64" y="152"/>
                  </a:lnTo>
                  <a:lnTo>
                    <a:pt x="64" y="148"/>
                  </a:lnTo>
                  <a:lnTo>
                    <a:pt x="56" y="142"/>
                  </a:lnTo>
                  <a:lnTo>
                    <a:pt x="52" y="142"/>
                  </a:lnTo>
                  <a:lnTo>
                    <a:pt x="52" y="142"/>
                  </a:lnTo>
                  <a:lnTo>
                    <a:pt x="52" y="142"/>
                  </a:lnTo>
                  <a:lnTo>
                    <a:pt x="52" y="142"/>
                  </a:lnTo>
                  <a:lnTo>
                    <a:pt x="52" y="142"/>
                  </a:lnTo>
                  <a:lnTo>
                    <a:pt x="52" y="142"/>
                  </a:lnTo>
                  <a:lnTo>
                    <a:pt x="52" y="142"/>
                  </a:lnTo>
                  <a:lnTo>
                    <a:pt x="52" y="138"/>
                  </a:lnTo>
                  <a:lnTo>
                    <a:pt x="52" y="138"/>
                  </a:lnTo>
                  <a:lnTo>
                    <a:pt x="52" y="138"/>
                  </a:lnTo>
                  <a:lnTo>
                    <a:pt x="52" y="138"/>
                  </a:lnTo>
                  <a:lnTo>
                    <a:pt x="52" y="138"/>
                  </a:lnTo>
                  <a:lnTo>
                    <a:pt x="52" y="134"/>
                  </a:lnTo>
                  <a:lnTo>
                    <a:pt x="52" y="134"/>
                  </a:lnTo>
                  <a:lnTo>
                    <a:pt x="52" y="130"/>
                  </a:lnTo>
                  <a:lnTo>
                    <a:pt x="52" y="130"/>
                  </a:lnTo>
                  <a:lnTo>
                    <a:pt x="48" y="130"/>
                  </a:lnTo>
                  <a:lnTo>
                    <a:pt x="48" y="130"/>
                  </a:lnTo>
                  <a:lnTo>
                    <a:pt x="48" y="130"/>
                  </a:lnTo>
                  <a:lnTo>
                    <a:pt x="46" y="128"/>
                  </a:lnTo>
                  <a:lnTo>
                    <a:pt x="46" y="128"/>
                  </a:lnTo>
                  <a:lnTo>
                    <a:pt x="46" y="128"/>
                  </a:lnTo>
                  <a:lnTo>
                    <a:pt x="38" y="124"/>
                  </a:lnTo>
                  <a:lnTo>
                    <a:pt x="34" y="120"/>
                  </a:lnTo>
                  <a:lnTo>
                    <a:pt x="30" y="120"/>
                  </a:lnTo>
                  <a:lnTo>
                    <a:pt x="30" y="116"/>
                  </a:lnTo>
                  <a:lnTo>
                    <a:pt x="26" y="116"/>
                  </a:lnTo>
                  <a:lnTo>
                    <a:pt x="22" y="112"/>
                  </a:lnTo>
                  <a:lnTo>
                    <a:pt x="20" y="108"/>
                  </a:lnTo>
                  <a:lnTo>
                    <a:pt x="12" y="104"/>
                  </a:lnTo>
                  <a:lnTo>
                    <a:pt x="8" y="102"/>
                  </a:lnTo>
                  <a:lnTo>
                    <a:pt x="8" y="102"/>
                  </a:lnTo>
                  <a:lnTo>
                    <a:pt x="0" y="98"/>
                  </a:lnTo>
                  <a:lnTo>
                    <a:pt x="0" y="98"/>
                  </a:lnTo>
                  <a:lnTo>
                    <a:pt x="0" y="98"/>
                  </a:lnTo>
                  <a:lnTo>
                    <a:pt x="0" y="98"/>
                  </a:lnTo>
                  <a:lnTo>
                    <a:pt x="0" y="98"/>
                  </a:lnTo>
                  <a:lnTo>
                    <a:pt x="0" y="98"/>
                  </a:lnTo>
                  <a:close/>
                  <a:moveTo>
                    <a:pt x="100" y="120"/>
                  </a:moveTo>
                  <a:lnTo>
                    <a:pt x="100" y="120"/>
                  </a:lnTo>
                  <a:lnTo>
                    <a:pt x="98" y="116"/>
                  </a:lnTo>
                  <a:lnTo>
                    <a:pt x="98"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16"/>
                  </a:lnTo>
                  <a:lnTo>
                    <a:pt x="100" y="120"/>
                  </a:lnTo>
                  <a:lnTo>
                    <a:pt x="100" y="120"/>
                  </a:lnTo>
                  <a:lnTo>
                    <a:pt x="100" y="12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58" name="Freeform 151"/>
            <p:cNvSpPr>
              <a:spLocks/>
            </p:cNvSpPr>
            <p:nvPr/>
          </p:nvSpPr>
          <p:spPr bwMode="auto">
            <a:xfrm>
              <a:off x="7281429" y="4486032"/>
              <a:ext cx="20095" cy="23536"/>
            </a:xfrm>
            <a:custGeom>
              <a:avLst/>
              <a:gdLst>
                <a:gd name="T0" fmla="*/ 24 w 32"/>
                <a:gd name="T1" fmla="*/ 26 h 36"/>
                <a:gd name="T2" fmla="*/ 22 w 32"/>
                <a:gd name="T3" fmla="*/ 30 h 36"/>
                <a:gd name="T4" fmla="*/ 22 w 32"/>
                <a:gd name="T5" fmla="*/ 30 h 36"/>
                <a:gd name="T6" fmla="*/ 18 w 32"/>
                <a:gd name="T7" fmla="*/ 30 h 36"/>
                <a:gd name="T8" fmla="*/ 18 w 32"/>
                <a:gd name="T9" fmla="*/ 30 h 36"/>
                <a:gd name="T10" fmla="*/ 14 w 32"/>
                <a:gd name="T11" fmla="*/ 34 h 36"/>
                <a:gd name="T12" fmla="*/ 14 w 32"/>
                <a:gd name="T13" fmla="*/ 36 h 36"/>
                <a:gd name="T14" fmla="*/ 10 w 32"/>
                <a:gd name="T15" fmla="*/ 36 h 36"/>
                <a:gd name="T16" fmla="*/ 10 w 32"/>
                <a:gd name="T17" fmla="*/ 36 h 36"/>
                <a:gd name="T18" fmla="*/ 8 w 32"/>
                <a:gd name="T19" fmla="*/ 36 h 36"/>
                <a:gd name="T20" fmla="*/ 8 w 32"/>
                <a:gd name="T21" fmla="*/ 34 h 36"/>
                <a:gd name="T22" fmla="*/ 4 w 32"/>
                <a:gd name="T23" fmla="*/ 34 h 36"/>
                <a:gd name="T24" fmla="*/ 4 w 32"/>
                <a:gd name="T25" fmla="*/ 30 h 36"/>
                <a:gd name="T26" fmla="*/ 0 w 32"/>
                <a:gd name="T27" fmla="*/ 26 h 36"/>
                <a:gd name="T28" fmla="*/ 0 w 32"/>
                <a:gd name="T29" fmla="*/ 26 h 36"/>
                <a:gd name="T30" fmla="*/ 0 w 32"/>
                <a:gd name="T31" fmla="*/ 22 h 36"/>
                <a:gd name="T32" fmla="*/ 0 w 32"/>
                <a:gd name="T33" fmla="*/ 22 h 36"/>
                <a:gd name="T34" fmla="*/ 0 w 32"/>
                <a:gd name="T35" fmla="*/ 18 h 36"/>
                <a:gd name="T36" fmla="*/ 0 w 32"/>
                <a:gd name="T37" fmla="*/ 18 h 36"/>
                <a:gd name="T38" fmla="*/ 4 w 32"/>
                <a:gd name="T39" fmla="*/ 18 h 36"/>
                <a:gd name="T40" fmla="*/ 4 w 32"/>
                <a:gd name="T41" fmla="*/ 14 h 36"/>
                <a:gd name="T42" fmla="*/ 4 w 32"/>
                <a:gd name="T43" fmla="*/ 14 h 36"/>
                <a:gd name="T44" fmla="*/ 8 w 32"/>
                <a:gd name="T45" fmla="*/ 10 h 36"/>
                <a:gd name="T46" fmla="*/ 8 w 32"/>
                <a:gd name="T47" fmla="*/ 10 h 36"/>
                <a:gd name="T48" fmla="*/ 8 w 32"/>
                <a:gd name="T49" fmla="*/ 6 h 36"/>
                <a:gd name="T50" fmla="*/ 10 w 32"/>
                <a:gd name="T51" fmla="*/ 6 h 36"/>
                <a:gd name="T52" fmla="*/ 14 w 32"/>
                <a:gd name="T53" fmla="*/ 4 h 36"/>
                <a:gd name="T54" fmla="*/ 14 w 32"/>
                <a:gd name="T55" fmla="*/ 4 h 36"/>
                <a:gd name="T56" fmla="*/ 18 w 32"/>
                <a:gd name="T57" fmla="*/ 4 h 36"/>
                <a:gd name="T58" fmla="*/ 18 w 32"/>
                <a:gd name="T59" fmla="*/ 0 h 36"/>
                <a:gd name="T60" fmla="*/ 18 w 32"/>
                <a:gd name="T61" fmla="*/ 0 h 36"/>
                <a:gd name="T62" fmla="*/ 18 w 32"/>
                <a:gd name="T63" fmla="*/ 0 h 36"/>
                <a:gd name="T64" fmla="*/ 22 w 32"/>
                <a:gd name="T65" fmla="*/ 0 h 36"/>
                <a:gd name="T66" fmla="*/ 22 w 32"/>
                <a:gd name="T67" fmla="*/ 4 h 36"/>
                <a:gd name="T68" fmla="*/ 24 w 32"/>
                <a:gd name="T69" fmla="*/ 4 h 36"/>
                <a:gd name="T70" fmla="*/ 24 w 32"/>
                <a:gd name="T71" fmla="*/ 4 h 36"/>
                <a:gd name="T72" fmla="*/ 24 w 32"/>
                <a:gd name="T73" fmla="*/ 6 h 36"/>
                <a:gd name="T74" fmla="*/ 28 w 32"/>
                <a:gd name="T75" fmla="*/ 6 h 36"/>
                <a:gd name="T76" fmla="*/ 28 w 32"/>
                <a:gd name="T77" fmla="*/ 10 h 36"/>
                <a:gd name="T78" fmla="*/ 32 w 32"/>
                <a:gd name="T79" fmla="*/ 14 h 36"/>
                <a:gd name="T80" fmla="*/ 32 w 32"/>
                <a:gd name="T81" fmla="*/ 14 h 36"/>
                <a:gd name="T82" fmla="*/ 28 w 32"/>
                <a:gd name="T83" fmla="*/ 14 h 36"/>
                <a:gd name="T84" fmla="*/ 28 w 32"/>
                <a:gd name="T85" fmla="*/ 18 h 36"/>
                <a:gd name="T86" fmla="*/ 28 w 32"/>
                <a:gd name="T87" fmla="*/ 18 h 36"/>
                <a:gd name="T88" fmla="*/ 28 w 32"/>
                <a:gd name="T89" fmla="*/ 18 h 36"/>
                <a:gd name="T90" fmla="*/ 28 w 32"/>
                <a:gd name="T91" fmla="*/ 22 h 36"/>
                <a:gd name="T92" fmla="*/ 28 w 32"/>
                <a:gd name="T93" fmla="*/ 22 h 36"/>
                <a:gd name="T94" fmla="*/ 28 w 32"/>
                <a:gd name="T95" fmla="*/ 22 h 36"/>
                <a:gd name="T96" fmla="*/ 28 w 32"/>
                <a:gd name="T97" fmla="*/ 22 h 36"/>
                <a:gd name="T98" fmla="*/ 24 w 32"/>
                <a:gd name="T99" fmla="*/ 26 h 36"/>
                <a:gd name="T100" fmla="*/ 24 w 32"/>
                <a:gd name="T101" fmla="*/ 26 h 36"/>
                <a:gd name="T102" fmla="*/ 24 w 32"/>
                <a:gd name="T103" fmla="*/ 2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36">
                  <a:moveTo>
                    <a:pt x="24" y="26"/>
                  </a:moveTo>
                  <a:lnTo>
                    <a:pt x="24" y="26"/>
                  </a:lnTo>
                  <a:lnTo>
                    <a:pt x="24" y="26"/>
                  </a:lnTo>
                  <a:lnTo>
                    <a:pt x="22" y="30"/>
                  </a:lnTo>
                  <a:lnTo>
                    <a:pt x="22" y="30"/>
                  </a:lnTo>
                  <a:lnTo>
                    <a:pt x="22" y="30"/>
                  </a:lnTo>
                  <a:lnTo>
                    <a:pt x="18" y="30"/>
                  </a:lnTo>
                  <a:lnTo>
                    <a:pt x="18" y="30"/>
                  </a:lnTo>
                  <a:lnTo>
                    <a:pt x="18" y="30"/>
                  </a:lnTo>
                  <a:lnTo>
                    <a:pt x="18" y="30"/>
                  </a:lnTo>
                  <a:lnTo>
                    <a:pt x="14" y="30"/>
                  </a:lnTo>
                  <a:lnTo>
                    <a:pt x="14" y="34"/>
                  </a:lnTo>
                  <a:lnTo>
                    <a:pt x="14" y="36"/>
                  </a:lnTo>
                  <a:lnTo>
                    <a:pt x="14" y="36"/>
                  </a:lnTo>
                  <a:lnTo>
                    <a:pt x="14" y="36"/>
                  </a:lnTo>
                  <a:lnTo>
                    <a:pt x="10" y="36"/>
                  </a:lnTo>
                  <a:lnTo>
                    <a:pt x="10" y="36"/>
                  </a:lnTo>
                  <a:lnTo>
                    <a:pt x="10" y="36"/>
                  </a:lnTo>
                  <a:lnTo>
                    <a:pt x="8" y="36"/>
                  </a:lnTo>
                  <a:lnTo>
                    <a:pt x="8" y="36"/>
                  </a:lnTo>
                  <a:lnTo>
                    <a:pt x="8" y="34"/>
                  </a:lnTo>
                  <a:lnTo>
                    <a:pt x="8" y="34"/>
                  </a:lnTo>
                  <a:lnTo>
                    <a:pt x="4" y="34"/>
                  </a:lnTo>
                  <a:lnTo>
                    <a:pt x="4" y="34"/>
                  </a:lnTo>
                  <a:lnTo>
                    <a:pt x="4" y="34"/>
                  </a:lnTo>
                  <a:lnTo>
                    <a:pt x="4" y="30"/>
                  </a:lnTo>
                  <a:lnTo>
                    <a:pt x="4" y="26"/>
                  </a:lnTo>
                  <a:lnTo>
                    <a:pt x="0" y="26"/>
                  </a:lnTo>
                  <a:lnTo>
                    <a:pt x="0" y="26"/>
                  </a:lnTo>
                  <a:lnTo>
                    <a:pt x="0" y="26"/>
                  </a:lnTo>
                  <a:lnTo>
                    <a:pt x="0" y="22"/>
                  </a:lnTo>
                  <a:lnTo>
                    <a:pt x="0" y="22"/>
                  </a:lnTo>
                  <a:lnTo>
                    <a:pt x="0" y="22"/>
                  </a:lnTo>
                  <a:lnTo>
                    <a:pt x="0" y="22"/>
                  </a:lnTo>
                  <a:lnTo>
                    <a:pt x="0" y="18"/>
                  </a:lnTo>
                  <a:lnTo>
                    <a:pt x="0" y="18"/>
                  </a:lnTo>
                  <a:lnTo>
                    <a:pt x="0" y="18"/>
                  </a:lnTo>
                  <a:lnTo>
                    <a:pt x="0" y="18"/>
                  </a:lnTo>
                  <a:lnTo>
                    <a:pt x="4" y="18"/>
                  </a:lnTo>
                  <a:lnTo>
                    <a:pt x="4" y="18"/>
                  </a:lnTo>
                  <a:lnTo>
                    <a:pt x="4" y="18"/>
                  </a:lnTo>
                  <a:lnTo>
                    <a:pt x="4" y="14"/>
                  </a:lnTo>
                  <a:lnTo>
                    <a:pt x="4" y="14"/>
                  </a:lnTo>
                  <a:lnTo>
                    <a:pt x="4" y="14"/>
                  </a:lnTo>
                  <a:lnTo>
                    <a:pt x="8" y="10"/>
                  </a:lnTo>
                  <a:lnTo>
                    <a:pt x="8" y="10"/>
                  </a:lnTo>
                  <a:lnTo>
                    <a:pt x="8" y="10"/>
                  </a:lnTo>
                  <a:lnTo>
                    <a:pt x="8" y="10"/>
                  </a:lnTo>
                  <a:lnTo>
                    <a:pt x="8" y="6"/>
                  </a:lnTo>
                  <a:lnTo>
                    <a:pt x="8" y="6"/>
                  </a:lnTo>
                  <a:lnTo>
                    <a:pt x="10" y="6"/>
                  </a:lnTo>
                  <a:lnTo>
                    <a:pt x="10" y="6"/>
                  </a:lnTo>
                  <a:lnTo>
                    <a:pt x="14" y="4"/>
                  </a:lnTo>
                  <a:lnTo>
                    <a:pt x="14" y="4"/>
                  </a:lnTo>
                  <a:lnTo>
                    <a:pt x="14" y="4"/>
                  </a:lnTo>
                  <a:lnTo>
                    <a:pt x="14" y="4"/>
                  </a:lnTo>
                  <a:lnTo>
                    <a:pt x="14" y="4"/>
                  </a:lnTo>
                  <a:lnTo>
                    <a:pt x="18" y="4"/>
                  </a:lnTo>
                  <a:lnTo>
                    <a:pt x="18" y="4"/>
                  </a:lnTo>
                  <a:lnTo>
                    <a:pt x="18" y="0"/>
                  </a:lnTo>
                  <a:lnTo>
                    <a:pt x="18" y="0"/>
                  </a:lnTo>
                  <a:lnTo>
                    <a:pt x="18" y="0"/>
                  </a:lnTo>
                  <a:lnTo>
                    <a:pt x="18" y="0"/>
                  </a:lnTo>
                  <a:lnTo>
                    <a:pt x="18" y="0"/>
                  </a:lnTo>
                  <a:lnTo>
                    <a:pt x="22" y="0"/>
                  </a:lnTo>
                  <a:lnTo>
                    <a:pt x="22" y="0"/>
                  </a:lnTo>
                  <a:lnTo>
                    <a:pt x="22" y="0"/>
                  </a:lnTo>
                  <a:lnTo>
                    <a:pt x="22" y="4"/>
                  </a:lnTo>
                  <a:lnTo>
                    <a:pt x="22" y="4"/>
                  </a:lnTo>
                  <a:lnTo>
                    <a:pt x="24" y="4"/>
                  </a:lnTo>
                  <a:lnTo>
                    <a:pt x="24" y="4"/>
                  </a:lnTo>
                  <a:lnTo>
                    <a:pt x="24" y="4"/>
                  </a:lnTo>
                  <a:lnTo>
                    <a:pt x="24" y="4"/>
                  </a:lnTo>
                  <a:lnTo>
                    <a:pt x="24" y="6"/>
                  </a:lnTo>
                  <a:lnTo>
                    <a:pt x="24" y="6"/>
                  </a:lnTo>
                  <a:lnTo>
                    <a:pt x="28" y="6"/>
                  </a:lnTo>
                  <a:lnTo>
                    <a:pt x="28" y="10"/>
                  </a:lnTo>
                  <a:lnTo>
                    <a:pt x="28" y="10"/>
                  </a:lnTo>
                  <a:lnTo>
                    <a:pt x="32" y="14"/>
                  </a:lnTo>
                  <a:lnTo>
                    <a:pt x="32" y="14"/>
                  </a:lnTo>
                  <a:lnTo>
                    <a:pt x="32" y="14"/>
                  </a:lnTo>
                  <a:lnTo>
                    <a:pt x="32" y="14"/>
                  </a:lnTo>
                  <a:lnTo>
                    <a:pt x="28" y="14"/>
                  </a:lnTo>
                  <a:lnTo>
                    <a:pt x="28" y="14"/>
                  </a:lnTo>
                  <a:lnTo>
                    <a:pt x="28" y="18"/>
                  </a:lnTo>
                  <a:lnTo>
                    <a:pt x="28" y="18"/>
                  </a:lnTo>
                  <a:lnTo>
                    <a:pt x="28" y="18"/>
                  </a:lnTo>
                  <a:lnTo>
                    <a:pt x="28" y="18"/>
                  </a:lnTo>
                  <a:lnTo>
                    <a:pt x="28" y="18"/>
                  </a:lnTo>
                  <a:lnTo>
                    <a:pt x="28" y="18"/>
                  </a:lnTo>
                  <a:lnTo>
                    <a:pt x="28" y="18"/>
                  </a:lnTo>
                  <a:lnTo>
                    <a:pt x="28" y="22"/>
                  </a:lnTo>
                  <a:lnTo>
                    <a:pt x="28" y="22"/>
                  </a:lnTo>
                  <a:lnTo>
                    <a:pt x="28" y="22"/>
                  </a:lnTo>
                  <a:lnTo>
                    <a:pt x="28" y="22"/>
                  </a:lnTo>
                  <a:lnTo>
                    <a:pt x="28" y="22"/>
                  </a:lnTo>
                  <a:lnTo>
                    <a:pt x="28" y="22"/>
                  </a:lnTo>
                  <a:lnTo>
                    <a:pt x="28" y="22"/>
                  </a:lnTo>
                  <a:lnTo>
                    <a:pt x="28" y="26"/>
                  </a:lnTo>
                  <a:lnTo>
                    <a:pt x="24" y="26"/>
                  </a:lnTo>
                  <a:lnTo>
                    <a:pt x="24" y="26"/>
                  </a:lnTo>
                  <a:lnTo>
                    <a:pt x="24" y="26"/>
                  </a:lnTo>
                  <a:lnTo>
                    <a:pt x="24" y="26"/>
                  </a:lnTo>
                  <a:lnTo>
                    <a:pt x="24" y="2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59" name="Freeform 152"/>
            <p:cNvSpPr>
              <a:spLocks/>
            </p:cNvSpPr>
            <p:nvPr/>
          </p:nvSpPr>
          <p:spPr bwMode="auto">
            <a:xfrm>
              <a:off x="6937296" y="4064990"/>
              <a:ext cx="37679" cy="48381"/>
            </a:xfrm>
            <a:custGeom>
              <a:avLst/>
              <a:gdLst>
                <a:gd name="T0" fmla="*/ 4 w 60"/>
                <a:gd name="T1" fmla="*/ 26 h 74"/>
                <a:gd name="T2" fmla="*/ 4 w 60"/>
                <a:gd name="T3" fmla="*/ 22 h 74"/>
                <a:gd name="T4" fmla="*/ 6 w 60"/>
                <a:gd name="T5" fmla="*/ 22 h 74"/>
                <a:gd name="T6" fmla="*/ 10 w 60"/>
                <a:gd name="T7" fmla="*/ 18 h 74"/>
                <a:gd name="T8" fmla="*/ 10 w 60"/>
                <a:gd name="T9" fmla="*/ 18 h 74"/>
                <a:gd name="T10" fmla="*/ 10 w 60"/>
                <a:gd name="T11" fmla="*/ 14 h 74"/>
                <a:gd name="T12" fmla="*/ 14 w 60"/>
                <a:gd name="T13" fmla="*/ 10 h 74"/>
                <a:gd name="T14" fmla="*/ 14 w 60"/>
                <a:gd name="T15" fmla="*/ 6 h 74"/>
                <a:gd name="T16" fmla="*/ 18 w 60"/>
                <a:gd name="T17" fmla="*/ 2 h 74"/>
                <a:gd name="T18" fmla="*/ 22 w 60"/>
                <a:gd name="T19" fmla="*/ 2 h 74"/>
                <a:gd name="T20" fmla="*/ 26 w 60"/>
                <a:gd name="T21" fmla="*/ 0 h 74"/>
                <a:gd name="T22" fmla="*/ 30 w 60"/>
                <a:gd name="T23" fmla="*/ 6 h 74"/>
                <a:gd name="T24" fmla="*/ 30 w 60"/>
                <a:gd name="T25" fmla="*/ 10 h 74"/>
                <a:gd name="T26" fmla="*/ 30 w 60"/>
                <a:gd name="T27" fmla="*/ 14 h 74"/>
                <a:gd name="T28" fmla="*/ 30 w 60"/>
                <a:gd name="T29" fmla="*/ 18 h 74"/>
                <a:gd name="T30" fmla="*/ 30 w 60"/>
                <a:gd name="T31" fmla="*/ 22 h 74"/>
                <a:gd name="T32" fmla="*/ 34 w 60"/>
                <a:gd name="T33" fmla="*/ 22 h 74"/>
                <a:gd name="T34" fmla="*/ 34 w 60"/>
                <a:gd name="T35" fmla="*/ 22 h 74"/>
                <a:gd name="T36" fmla="*/ 36 w 60"/>
                <a:gd name="T37" fmla="*/ 22 h 74"/>
                <a:gd name="T38" fmla="*/ 40 w 60"/>
                <a:gd name="T39" fmla="*/ 18 h 74"/>
                <a:gd name="T40" fmla="*/ 40 w 60"/>
                <a:gd name="T41" fmla="*/ 14 h 74"/>
                <a:gd name="T42" fmla="*/ 44 w 60"/>
                <a:gd name="T43" fmla="*/ 14 h 74"/>
                <a:gd name="T44" fmla="*/ 44 w 60"/>
                <a:gd name="T45" fmla="*/ 18 h 74"/>
                <a:gd name="T46" fmla="*/ 44 w 60"/>
                <a:gd name="T47" fmla="*/ 22 h 74"/>
                <a:gd name="T48" fmla="*/ 48 w 60"/>
                <a:gd name="T49" fmla="*/ 26 h 74"/>
                <a:gd name="T50" fmla="*/ 44 w 60"/>
                <a:gd name="T51" fmla="*/ 28 h 74"/>
                <a:gd name="T52" fmla="*/ 44 w 60"/>
                <a:gd name="T53" fmla="*/ 32 h 74"/>
                <a:gd name="T54" fmla="*/ 44 w 60"/>
                <a:gd name="T55" fmla="*/ 32 h 74"/>
                <a:gd name="T56" fmla="*/ 40 w 60"/>
                <a:gd name="T57" fmla="*/ 36 h 74"/>
                <a:gd name="T58" fmla="*/ 44 w 60"/>
                <a:gd name="T59" fmla="*/ 36 h 74"/>
                <a:gd name="T60" fmla="*/ 48 w 60"/>
                <a:gd name="T61" fmla="*/ 40 h 74"/>
                <a:gd name="T62" fmla="*/ 52 w 60"/>
                <a:gd name="T63" fmla="*/ 40 h 74"/>
                <a:gd name="T64" fmla="*/ 52 w 60"/>
                <a:gd name="T65" fmla="*/ 44 h 74"/>
                <a:gd name="T66" fmla="*/ 56 w 60"/>
                <a:gd name="T67" fmla="*/ 48 h 74"/>
                <a:gd name="T68" fmla="*/ 60 w 60"/>
                <a:gd name="T69" fmla="*/ 48 h 74"/>
                <a:gd name="T70" fmla="*/ 60 w 60"/>
                <a:gd name="T71" fmla="*/ 52 h 74"/>
                <a:gd name="T72" fmla="*/ 60 w 60"/>
                <a:gd name="T73" fmla="*/ 52 h 74"/>
                <a:gd name="T74" fmla="*/ 60 w 60"/>
                <a:gd name="T75" fmla="*/ 54 h 74"/>
                <a:gd name="T76" fmla="*/ 56 w 60"/>
                <a:gd name="T77" fmla="*/ 62 h 74"/>
                <a:gd name="T78" fmla="*/ 56 w 60"/>
                <a:gd name="T79" fmla="*/ 66 h 74"/>
                <a:gd name="T80" fmla="*/ 56 w 60"/>
                <a:gd name="T81" fmla="*/ 74 h 74"/>
                <a:gd name="T82" fmla="*/ 52 w 60"/>
                <a:gd name="T83" fmla="*/ 70 h 74"/>
                <a:gd name="T84" fmla="*/ 52 w 60"/>
                <a:gd name="T85" fmla="*/ 70 h 74"/>
                <a:gd name="T86" fmla="*/ 44 w 60"/>
                <a:gd name="T87" fmla="*/ 66 h 74"/>
                <a:gd name="T88" fmla="*/ 40 w 60"/>
                <a:gd name="T89" fmla="*/ 62 h 74"/>
                <a:gd name="T90" fmla="*/ 36 w 60"/>
                <a:gd name="T91" fmla="*/ 62 h 74"/>
                <a:gd name="T92" fmla="*/ 34 w 60"/>
                <a:gd name="T93" fmla="*/ 58 h 74"/>
                <a:gd name="T94" fmla="*/ 30 w 60"/>
                <a:gd name="T95" fmla="*/ 54 h 74"/>
                <a:gd name="T96" fmla="*/ 26 w 60"/>
                <a:gd name="T97" fmla="*/ 52 h 74"/>
                <a:gd name="T98" fmla="*/ 18 w 60"/>
                <a:gd name="T99" fmla="*/ 44 h 74"/>
                <a:gd name="T100" fmla="*/ 18 w 60"/>
                <a:gd name="T101" fmla="*/ 40 h 74"/>
                <a:gd name="T102" fmla="*/ 14 w 60"/>
                <a:gd name="T103" fmla="*/ 40 h 74"/>
                <a:gd name="T104" fmla="*/ 10 w 60"/>
                <a:gd name="T105" fmla="*/ 40 h 74"/>
                <a:gd name="T106" fmla="*/ 10 w 60"/>
                <a:gd name="T107" fmla="*/ 36 h 74"/>
                <a:gd name="T108" fmla="*/ 10 w 60"/>
                <a:gd name="T109" fmla="*/ 36 h 74"/>
                <a:gd name="T110" fmla="*/ 4 w 60"/>
                <a:gd name="T111" fmla="*/ 32 h 74"/>
                <a:gd name="T112" fmla="*/ 4 w 60"/>
                <a:gd name="T113" fmla="*/ 28 h 74"/>
                <a:gd name="T114" fmla="*/ 0 w 60"/>
                <a:gd name="T115" fmla="*/ 2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 h="74">
                  <a:moveTo>
                    <a:pt x="0" y="28"/>
                  </a:moveTo>
                  <a:lnTo>
                    <a:pt x="0" y="28"/>
                  </a:lnTo>
                  <a:lnTo>
                    <a:pt x="4" y="28"/>
                  </a:lnTo>
                  <a:lnTo>
                    <a:pt x="4" y="26"/>
                  </a:lnTo>
                  <a:lnTo>
                    <a:pt x="4" y="26"/>
                  </a:lnTo>
                  <a:lnTo>
                    <a:pt x="4" y="26"/>
                  </a:lnTo>
                  <a:lnTo>
                    <a:pt x="4" y="26"/>
                  </a:lnTo>
                  <a:lnTo>
                    <a:pt x="4" y="22"/>
                  </a:lnTo>
                  <a:lnTo>
                    <a:pt x="4" y="22"/>
                  </a:lnTo>
                  <a:lnTo>
                    <a:pt x="4" y="22"/>
                  </a:lnTo>
                  <a:lnTo>
                    <a:pt x="6" y="22"/>
                  </a:lnTo>
                  <a:lnTo>
                    <a:pt x="6" y="22"/>
                  </a:lnTo>
                  <a:lnTo>
                    <a:pt x="6" y="22"/>
                  </a:lnTo>
                  <a:lnTo>
                    <a:pt x="6" y="22"/>
                  </a:lnTo>
                  <a:lnTo>
                    <a:pt x="6" y="22"/>
                  </a:lnTo>
                  <a:lnTo>
                    <a:pt x="10" y="18"/>
                  </a:lnTo>
                  <a:lnTo>
                    <a:pt x="10" y="18"/>
                  </a:lnTo>
                  <a:lnTo>
                    <a:pt x="10" y="18"/>
                  </a:lnTo>
                  <a:lnTo>
                    <a:pt x="10" y="18"/>
                  </a:lnTo>
                  <a:lnTo>
                    <a:pt x="10" y="18"/>
                  </a:lnTo>
                  <a:lnTo>
                    <a:pt x="10" y="14"/>
                  </a:lnTo>
                  <a:lnTo>
                    <a:pt x="10" y="14"/>
                  </a:lnTo>
                  <a:lnTo>
                    <a:pt x="10" y="14"/>
                  </a:lnTo>
                  <a:lnTo>
                    <a:pt x="10" y="14"/>
                  </a:lnTo>
                  <a:lnTo>
                    <a:pt x="14" y="14"/>
                  </a:lnTo>
                  <a:lnTo>
                    <a:pt x="14" y="14"/>
                  </a:lnTo>
                  <a:lnTo>
                    <a:pt x="14" y="10"/>
                  </a:lnTo>
                  <a:lnTo>
                    <a:pt x="14" y="10"/>
                  </a:lnTo>
                  <a:lnTo>
                    <a:pt x="14" y="6"/>
                  </a:lnTo>
                  <a:lnTo>
                    <a:pt x="14" y="6"/>
                  </a:lnTo>
                  <a:lnTo>
                    <a:pt x="14" y="6"/>
                  </a:lnTo>
                  <a:lnTo>
                    <a:pt x="14" y="6"/>
                  </a:lnTo>
                  <a:lnTo>
                    <a:pt x="18" y="6"/>
                  </a:lnTo>
                  <a:lnTo>
                    <a:pt x="18" y="6"/>
                  </a:lnTo>
                  <a:lnTo>
                    <a:pt x="18" y="6"/>
                  </a:lnTo>
                  <a:lnTo>
                    <a:pt x="18" y="2"/>
                  </a:lnTo>
                  <a:lnTo>
                    <a:pt x="18" y="2"/>
                  </a:lnTo>
                  <a:lnTo>
                    <a:pt x="18" y="2"/>
                  </a:lnTo>
                  <a:lnTo>
                    <a:pt x="18" y="0"/>
                  </a:lnTo>
                  <a:lnTo>
                    <a:pt x="22" y="2"/>
                  </a:lnTo>
                  <a:lnTo>
                    <a:pt x="22" y="0"/>
                  </a:lnTo>
                  <a:lnTo>
                    <a:pt x="26" y="0"/>
                  </a:lnTo>
                  <a:lnTo>
                    <a:pt x="26" y="2"/>
                  </a:lnTo>
                  <a:lnTo>
                    <a:pt x="26" y="0"/>
                  </a:lnTo>
                  <a:lnTo>
                    <a:pt x="26" y="2"/>
                  </a:lnTo>
                  <a:lnTo>
                    <a:pt x="26" y="2"/>
                  </a:lnTo>
                  <a:lnTo>
                    <a:pt x="30" y="2"/>
                  </a:lnTo>
                  <a:lnTo>
                    <a:pt x="30" y="6"/>
                  </a:lnTo>
                  <a:lnTo>
                    <a:pt x="30" y="10"/>
                  </a:lnTo>
                  <a:lnTo>
                    <a:pt x="30" y="10"/>
                  </a:lnTo>
                  <a:lnTo>
                    <a:pt x="30" y="10"/>
                  </a:lnTo>
                  <a:lnTo>
                    <a:pt x="30" y="10"/>
                  </a:lnTo>
                  <a:lnTo>
                    <a:pt x="30" y="14"/>
                  </a:lnTo>
                  <a:lnTo>
                    <a:pt x="30" y="14"/>
                  </a:lnTo>
                  <a:lnTo>
                    <a:pt x="34" y="14"/>
                  </a:lnTo>
                  <a:lnTo>
                    <a:pt x="30" y="14"/>
                  </a:lnTo>
                  <a:lnTo>
                    <a:pt x="30" y="14"/>
                  </a:lnTo>
                  <a:lnTo>
                    <a:pt x="30" y="14"/>
                  </a:lnTo>
                  <a:lnTo>
                    <a:pt x="30" y="18"/>
                  </a:lnTo>
                  <a:lnTo>
                    <a:pt x="30" y="18"/>
                  </a:lnTo>
                  <a:lnTo>
                    <a:pt x="30" y="18"/>
                  </a:lnTo>
                  <a:lnTo>
                    <a:pt x="30" y="18"/>
                  </a:lnTo>
                  <a:lnTo>
                    <a:pt x="30" y="22"/>
                  </a:lnTo>
                  <a:lnTo>
                    <a:pt x="30" y="22"/>
                  </a:lnTo>
                  <a:lnTo>
                    <a:pt x="30" y="22"/>
                  </a:lnTo>
                  <a:lnTo>
                    <a:pt x="30" y="18"/>
                  </a:lnTo>
                  <a:lnTo>
                    <a:pt x="34" y="18"/>
                  </a:lnTo>
                  <a:lnTo>
                    <a:pt x="34" y="22"/>
                  </a:lnTo>
                  <a:lnTo>
                    <a:pt x="34" y="22"/>
                  </a:lnTo>
                  <a:lnTo>
                    <a:pt x="34" y="22"/>
                  </a:lnTo>
                  <a:lnTo>
                    <a:pt x="34" y="26"/>
                  </a:lnTo>
                  <a:lnTo>
                    <a:pt x="34" y="22"/>
                  </a:lnTo>
                  <a:lnTo>
                    <a:pt x="36" y="22"/>
                  </a:lnTo>
                  <a:lnTo>
                    <a:pt x="36" y="22"/>
                  </a:lnTo>
                  <a:lnTo>
                    <a:pt x="36" y="22"/>
                  </a:lnTo>
                  <a:lnTo>
                    <a:pt x="36" y="22"/>
                  </a:lnTo>
                  <a:lnTo>
                    <a:pt x="36" y="22"/>
                  </a:lnTo>
                  <a:lnTo>
                    <a:pt x="40" y="22"/>
                  </a:lnTo>
                  <a:lnTo>
                    <a:pt x="40" y="18"/>
                  </a:lnTo>
                  <a:lnTo>
                    <a:pt x="40" y="18"/>
                  </a:lnTo>
                  <a:lnTo>
                    <a:pt x="40" y="18"/>
                  </a:lnTo>
                  <a:lnTo>
                    <a:pt x="40" y="18"/>
                  </a:lnTo>
                  <a:lnTo>
                    <a:pt x="40" y="14"/>
                  </a:lnTo>
                  <a:lnTo>
                    <a:pt x="40" y="14"/>
                  </a:lnTo>
                  <a:lnTo>
                    <a:pt x="40" y="14"/>
                  </a:lnTo>
                  <a:lnTo>
                    <a:pt x="40" y="14"/>
                  </a:lnTo>
                  <a:lnTo>
                    <a:pt x="44" y="14"/>
                  </a:lnTo>
                  <a:lnTo>
                    <a:pt x="44" y="14"/>
                  </a:lnTo>
                  <a:lnTo>
                    <a:pt x="44" y="18"/>
                  </a:lnTo>
                  <a:lnTo>
                    <a:pt x="44" y="18"/>
                  </a:lnTo>
                  <a:lnTo>
                    <a:pt x="44" y="18"/>
                  </a:lnTo>
                  <a:lnTo>
                    <a:pt x="44" y="18"/>
                  </a:lnTo>
                  <a:lnTo>
                    <a:pt x="44" y="18"/>
                  </a:lnTo>
                  <a:lnTo>
                    <a:pt x="44" y="18"/>
                  </a:lnTo>
                  <a:lnTo>
                    <a:pt x="44" y="18"/>
                  </a:lnTo>
                  <a:lnTo>
                    <a:pt x="44" y="22"/>
                  </a:lnTo>
                  <a:lnTo>
                    <a:pt x="44" y="22"/>
                  </a:lnTo>
                  <a:lnTo>
                    <a:pt x="44" y="22"/>
                  </a:lnTo>
                  <a:lnTo>
                    <a:pt x="44" y="22"/>
                  </a:lnTo>
                  <a:lnTo>
                    <a:pt x="48" y="26"/>
                  </a:lnTo>
                  <a:lnTo>
                    <a:pt x="48" y="26"/>
                  </a:lnTo>
                  <a:lnTo>
                    <a:pt x="44" y="28"/>
                  </a:lnTo>
                  <a:lnTo>
                    <a:pt x="44" y="28"/>
                  </a:lnTo>
                  <a:lnTo>
                    <a:pt x="44" y="28"/>
                  </a:lnTo>
                  <a:lnTo>
                    <a:pt x="44" y="32"/>
                  </a:lnTo>
                  <a:lnTo>
                    <a:pt x="44" y="32"/>
                  </a:lnTo>
                  <a:lnTo>
                    <a:pt x="44" y="32"/>
                  </a:lnTo>
                  <a:lnTo>
                    <a:pt x="44" y="32"/>
                  </a:lnTo>
                  <a:lnTo>
                    <a:pt x="44" y="32"/>
                  </a:lnTo>
                  <a:lnTo>
                    <a:pt x="44" y="32"/>
                  </a:lnTo>
                  <a:lnTo>
                    <a:pt x="44" y="32"/>
                  </a:lnTo>
                  <a:lnTo>
                    <a:pt x="44" y="32"/>
                  </a:lnTo>
                  <a:lnTo>
                    <a:pt x="44" y="32"/>
                  </a:lnTo>
                  <a:lnTo>
                    <a:pt x="44" y="32"/>
                  </a:lnTo>
                  <a:lnTo>
                    <a:pt x="40" y="32"/>
                  </a:lnTo>
                  <a:lnTo>
                    <a:pt x="40" y="36"/>
                  </a:lnTo>
                  <a:lnTo>
                    <a:pt x="40" y="36"/>
                  </a:lnTo>
                  <a:lnTo>
                    <a:pt x="40" y="36"/>
                  </a:lnTo>
                  <a:lnTo>
                    <a:pt x="44" y="36"/>
                  </a:lnTo>
                  <a:lnTo>
                    <a:pt x="44" y="36"/>
                  </a:lnTo>
                  <a:lnTo>
                    <a:pt x="44" y="36"/>
                  </a:lnTo>
                  <a:lnTo>
                    <a:pt x="48" y="40"/>
                  </a:lnTo>
                  <a:lnTo>
                    <a:pt x="48" y="40"/>
                  </a:lnTo>
                  <a:lnTo>
                    <a:pt x="48" y="40"/>
                  </a:lnTo>
                  <a:lnTo>
                    <a:pt x="48" y="40"/>
                  </a:lnTo>
                  <a:lnTo>
                    <a:pt x="52" y="40"/>
                  </a:lnTo>
                  <a:lnTo>
                    <a:pt x="52" y="40"/>
                  </a:lnTo>
                  <a:lnTo>
                    <a:pt x="52" y="40"/>
                  </a:lnTo>
                  <a:lnTo>
                    <a:pt x="52" y="40"/>
                  </a:lnTo>
                  <a:lnTo>
                    <a:pt x="52" y="44"/>
                  </a:lnTo>
                  <a:lnTo>
                    <a:pt x="52" y="44"/>
                  </a:lnTo>
                  <a:lnTo>
                    <a:pt x="52" y="44"/>
                  </a:lnTo>
                  <a:lnTo>
                    <a:pt x="56" y="44"/>
                  </a:lnTo>
                  <a:lnTo>
                    <a:pt x="56" y="44"/>
                  </a:lnTo>
                  <a:lnTo>
                    <a:pt x="56" y="44"/>
                  </a:lnTo>
                  <a:lnTo>
                    <a:pt x="56" y="48"/>
                  </a:lnTo>
                  <a:lnTo>
                    <a:pt x="60" y="48"/>
                  </a:lnTo>
                  <a:lnTo>
                    <a:pt x="60" y="48"/>
                  </a:lnTo>
                  <a:lnTo>
                    <a:pt x="60" y="48"/>
                  </a:lnTo>
                  <a:lnTo>
                    <a:pt x="60" y="48"/>
                  </a:lnTo>
                  <a:lnTo>
                    <a:pt x="60" y="48"/>
                  </a:lnTo>
                  <a:lnTo>
                    <a:pt x="60" y="48"/>
                  </a:lnTo>
                  <a:lnTo>
                    <a:pt x="60" y="48"/>
                  </a:lnTo>
                  <a:lnTo>
                    <a:pt x="60" y="52"/>
                  </a:lnTo>
                  <a:lnTo>
                    <a:pt x="60" y="52"/>
                  </a:lnTo>
                  <a:lnTo>
                    <a:pt x="60" y="52"/>
                  </a:lnTo>
                  <a:lnTo>
                    <a:pt x="60" y="52"/>
                  </a:lnTo>
                  <a:lnTo>
                    <a:pt x="60" y="52"/>
                  </a:lnTo>
                  <a:lnTo>
                    <a:pt x="60" y="54"/>
                  </a:lnTo>
                  <a:lnTo>
                    <a:pt x="60" y="54"/>
                  </a:lnTo>
                  <a:lnTo>
                    <a:pt x="60" y="54"/>
                  </a:lnTo>
                  <a:lnTo>
                    <a:pt x="60" y="54"/>
                  </a:lnTo>
                  <a:lnTo>
                    <a:pt x="60" y="58"/>
                  </a:lnTo>
                  <a:lnTo>
                    <a:pt x="56" y="58"/>
                  </a:lnTo>
                  <a:lnTo>
                    <a:pt x="56" y="62"/>
                  </a:lnTo>
                  <a:lnTo>
                    <a:pt x="56" y="62"/>
                  </a:lnTo>
                  <a:lnTo>
                    <a:pt x="56" y="62"/>
                  </a:lnTo>
                  <a:lnTo>
                    <a:pt x="56" y="66"/>
                  </a:lnTo>
                  <a:lnTo>
                    <a:pt x="56" y="66"/>
                  </a:lnTo>
                  <a:lnTo>
                    <a:pt x="56" y="66"/>
                  </a:lnTo>
                  <a:lnTo>
                    <a:pt x="56" y="70"/>
                  </a:lnTo>
                  <a:lnTo>
                    <a:pt x="56" y="70"/>
                  </a:lnTo>
                  <a:lnTo>
                    <a:pt x="56" y="70"/>
                  </a:lnTo>
                  <a:lnTo>
                    <a:pt x="56" y="74"/>
                  </a:lnTo>
                  <a:lnTo>
                    <a:pt x="56" y="74"/>
                  </a:lnTo>
                  <a:lnTo>
                    <a:pt x="56" y="74"/>
                  </a:lnTo>
                  <a:lnTo>
                    <a:pt x="56" y="74"/>
                  </a:lnTo>
                  <a:lnTo>
                    <a:pt x="52" y="70"/>
                  </a:lnTo>
                  <a:lnTo>
                    <a:pt x="52" y="70"/>
                  </a:lnTo>
                  <a:lnTo>
                    <a:pt x="52" y="70"/>
                  </a:lnTo>
                  <a:lnTo>
                    <a:pt x="52" y="70"/>
                  </a:lnTo>
                  <a:lnTo>
                    <a:pt x="52" y="70"/>
                  </a:lnTo>
                  <a:lnTo>
                    <a:pt x="48" y="70"/>
                  </a:lnTo>
                  <a:lnTo>
                    <a:pt x="48" y="70"/>
                  </a:lnTo>
                  <a:lnTo>
                    <a:pt x="48" y="70"/>
                  </a:lnTo>
                  <a:lnTo>
                    <a:pt x="44" y="66"/>
                  </a:lnTo>
                  <a:lnTo>
                    <a:pt x="44" y="66"/>
                  </a:lnTo>
                  <a:lnTo>
                    <a:pt x="40" y="66"/>
                  </a:lnTo>
                  <a:lnTo>
                    <a:pt x="40" y="62"/>
                  </a:lnTo>
                  <a:lnTo>
                    <a:pt x="40" y="62"/>
                  </a:lnTo>
                  <a:lnTo>
                    <a:pt x="40" y="62"/>
                  </a:lnTo>
                  <a:lnTo>
                    <a:pt x="36" y="62"/>
                  </a:lnTo>
                  <a:lnTo>
                    <a:pt x="36" y="62"/>
                  </a:lnTo>
                  <a:lnTo>
                    <a:pt x="36" y="62"/>
                  </a:lnTo>
                  <a:lnTo>
                    <a:pt x="36" y="62"/>
                  </a:lnTo>
                  <a:lnTo>
                    <a:pt x="34" y="58"/>
                  </a:lnTo>
                  <a:lnTo>
                    <a:pt x="34" y="58"/>
                  </a:lnTo>
                  <a:lnTo>
                    <a:pt x="34" y="58"/>
                  </a:lnTo>
                  <a:lnTo>
                    <a:pt x="30" y="54"/>
                  </a:lnTo>
                  <a:lnTo>
                    <a:pt x="30" y="54"/>
                  </a:lnTo>
                  <a:lnTo>
                    <a:pt x="30" y="54"/>
                  </a:lnTo>
                  <a:lnTo>
                    <a:pt x="30" y="54"/>
                  </a:lnTo>
                  <a:lnTo>
                    <a:pt x="30" y="54"/>
                  </a:lnTo>
                  <a:lnTo>
                    <a:pt x="30" y="54"/>
                  </a:lnTo>
                  <a:lnTo>
                    <a:pt x="30" y="52"/>
                  </a:lnTo>
                  <a:lnTo>
                    <a:pt x="26" y="52"/>
                  </a:lnTo>
                  <a:lnTo>
                    <a:pt x="26" y="52"/>
                  </a:lnTo>
                  <a:lnTo>
                    <a:pt x="22" y="48"/>
                  </a:lnTo>
                  <a:lnTo>
                    <a:pt x="22" y="44"/>
                  </a:lnTo>
                  <a:lnTo>
                    <a:pt x="18" y="44"/>
                  </a:lnTo>
                  <a:lnTo>
                    <a:pt x="18" y="44"/>
                  </a:lnTo>
                  <a:lnTo>
                    <a:pt x="18" y="44"/>
                  </a:lnTo>
                  <a:lnTo>
                    <a:pt x="18" y="44"/>
                  </a:lnTo>
                  <a:lnTo>
                    <a:pt x="18" y="40"/>
                  </a:lnTo>
                  <a:lnTo>
                    <a:pt x="18" y="40"/>
                  </a:lnTo>
                  <a:lnTo>
                    <a:pt x="18" y="40"/>
                  </a:lnTo>
                  <a:lnTo>
                    <a:pt x="14" y="40"/>
                  </a:lnTo>
                  <a:lnTo>
                    <a:pt x="14" y="40"/>
                  </a:lnTo>
                  <a:lnTo>
                    <a:pt x="14" y="40"/>
                  </a:lnTo>
                  <a:lnTo>
                    <a:pt x="14" y="40"/>
                  </a:lnTo>
                  <a:lnTo>
                    <a:pt x="14" y="40"/>
                  </a:lnTo>
                  <a:lnTo>
                    <a:pt x="10" y="40"/>
                  </a:lnTo>
                  <a:lnTo>
                    <a:pt x="10" y="40"/>
                  </a:lnTo>
                  <a:lnTo>
                    <a:pt x="10" y="40"/>
                  </a:lnTo>
                  <a:lnTo>
                    <a:pt x="10" y="36"/>
                  </a:lnTo>
                  <a:lnTo>
                    <a:pt x="10" y="36"/>
                  </a:lnTo>
                  <a:lnTo>
                    <a:pt x="10" y="36"/>
                  </a:lnTo>
                  <a:lnTo>
                    <a:pt x="10" y="36"/>
                  </a:lnTo>
                  <a:lnTo>
                    <a:pt x="10" y="36"/>
                  </a:lnTo>
                  <a:lnTo>
                    <a:pt x="10" y="36"/>
                  </a:lnTo>
                  <a:lnTo>
                    <a:pt x="10" y="36"/>
                  </a:lnTo>
                  <a:lnTo>
                    <a:pt x="6" y="36"/>
                  </a:lnTo>
                  <a:lnTo>
                    <a:pt x="6" y="32"/>
                  </a:lnTo>
                  <a:lnTo>
                    <a:pt x="4" y="32"/>
                  </a:lnTo>
                  <a:lnTo>
                    <a:pt x="4" y="32"/>
                  </a:lnTo>
                  <a:lnTo>
                    <a:pt x="4" y="28"/>
                  </a:lnTo>
                  <a:lnTo>
                    <a:pt x="4" y="28"/>
                  </a:lnTo>
                  <a:lnTo>
                    <a:pt x="4" y="28"/>
                  </a:lnTo>
                  <a:lnTo>
                    <a:pt x="4" y="28"/>
                  </a:lnTo>
                  <a:lnTo>
                    <a:pt x="0" y="28"/>
                  </a:lnTo>
                  <a:lnTo>
                    <a:pt x="0" y="28"/>
                  </a:lnTo>
                  <a:lnTo>
                    <a:pt x="0" y="2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60" name="Freeform 153"/>
            <p:cNvSpPr>
              <a:spLocks/>
            </p:cNvSpPr>
            <p:nvPr/>
          </p:nvSpPr>
          <p:spPr bwMode="auto">
            <a:xfrm>
              <a:off x="7121922" y="3778629"/>
              <a:ext cx="140668" cy="160833"/>
            </a:xfrm>
            <a:custGeom>
              <a:avLst/>
              <a:gdLst>
                <a:gd name="T0" fmla="*/ 74 w 224"/>
                <a:gd name="T1" fmla="*/ 12 h 246"/>
                <a:gd name="T2" fmla="*/ 86 w 224"/>
                <a:gd name="T3" fmla="*/ 20 h 246"/>
                <a:gd name="T4" fmla="*/ 90 w 224"/>
                <a:gd name="T5" fmla="*/ 34 h 246"/>
                <a:gd name="T6" fmla="*/ 100 w 224"/>
                <a:gd name="T7" fmla="*/ 38 h 246"/>
                <a:gd name="T8" fmla="*/ 116 w 224"/>
                <a:gd name="T9" fmla="*/ 38 h 246"/>
                <a:gd name="T10" fmla="*/ 124 w 224"/>
                <a:gd name="T11" fmla="*/ 46 h 246"/>
                <a:gd name="T12" fmla="*/ 134 w 224"/>
                <a:gd name="T13" fmla="*/ 52 h 246"/>
                <a:gd name="T14" fmla="*/ 142 w 224"/>
                <a:gd name="T15" fmla="*/ 52 h 246"/>
                <a:gd name="T16" fmla="*/ 154 w 224"/>
                <a:gd name="T17" fmla="*/ 42 h 246"/>
                <a:gd name="T18" fmla="*/ 154 w 224"/>
                <a:gd name="T19" fmla="*/ 26 h 246"/>
                <a:gd name="T20" fmla="*/ 160 w 224"/>
                <a:gd name="T21" fmla="*/ 12 h 246"/>
                <a:gd name="T22" fmla="*/ 172 w 224"/>
                <a:gd name="T23" fmla="*/ 8 h 246"/>
                <a:gd name="T24" fmla="*/ 182 w 224"/>
                <a:gd name="T25" fmla="*/ 4 h 246"/>
                <a:gd name="T26" fmla="*/ 194 w 224"/>
                <a:gd name="T27" fmla="*/ 8 h 246"/>
                <a:gd name="T28" fmla="*/ 198 w 224"/>
                <a:gd name="T29" fmla="*/ 20 h 246"/>
                <a:gd name="T30" fmla="*/ 210 w 224"/>
                <a:gd name="T31" fmla="*/ 22 h 246"/>
                <a:gd name="T32" fmla="*/ 224 w 224"/>
                <a:gd name="T33" fmla="*/ 22 h 246"/>
                <a:gd name="T34" fmla="*/ 220 w 224"/>
                <a:gd name="T35" fmla="*/ 34 h 246"/>
                <a:gd name="T36" fmla="*/ 224 w 224"/>
                <a:gd name="T37" fmla="*/ 50 h 246"/>
                <a:gd name="T38" fmla="*/ 220 w 224"/>
                <a:gd name="T39" fmla="*/ 64 h 246"/>
                <a:gd name="T40" fmla="*/ 224 w 224"/>
                <a:gd name="T41" fmla="*/ 78 h 246"/>
                <a:gd name="T42" fmla="*/ 224 w 224"/>
                <a:gd name="T43" fmla="*/ 102 h 246"/>
                <a:gd name="T44" fmla="*/ 224 w 224"/>
                <a:gd name="T45" fmla="*/ 120 h 246"/>
                <a:gd name="T46" fmla="*/ 224 w 224"/>
                <a:gd name="T47" fmla="*/ 150 h 246"/>
                <a:gd name="T48" fmla="*/ 224 w 224"/>
                <a:gd name="T49" fmla="*/ 176 h 246"/>
                <a:gd name="T50" fmla="*/ 224 w 224"/>
                <a:gd name="T51" fmla="*/ 238 h 246"/>
                <a:gd name="T52" fmla="*/ 210 w 224"/>
                <a:gd name="T53" fmla="*/ 238 h 246"/>
                <a:gd name="T54" fmla="*/ 186 w 224"/>
                <a:gd name="T55" fmla="*/ 232 h 246"/>
                <a:gd name="T56" fmla="*/ 156 w 224"/>
                <a:gd name="T57" fmla="*/ 218 h 246"/>
                <a:gd name="T58" fmla="*/ 134 w 224"/>
                <a:gd name="T59" fmla="*/ 202 h 246"/>
                <a:gd name="T60" fmla="*/ 108 w 224"/>
                <a:gd name="T61" fmla="*/ 188 h 246"/>
                <a:gd name="T62" fmla="*/ 82 w 224"/>
                <a:gd name="T63" fmla="*/ 184 h 246"/>
                <a:gd name="T64" fmla="*/ 72 w 224"/>
                <a:gd name="T65" fmla="*/ 192 h 246"/>
                <a:gd name="T66" fmla="*/ 60 w 224"/>
                <a:gd name="T67" fmla="*/ 184 h 246"/>
                <a:gd name="T68" fmla="*/ 44 w 224"/>
                <a:gd name="T69" fmla="*/ 180 h 246"/>
                <a:gd name="T70" fmla="*/ 34 w 224"/>
                <a:gd name="T71" fmla="*/ 162 h 246"/>
                <a:gd name="T72" fmla="*/ 18 w 224"/>
                <a:gd name="T73" fmla="*/ 158 h 246"/>
                <a:gd name="T74" fmla="*/ 12 w 224"/>
                <a:gd name="T75" fmla="*/ 154 h 246"/>
                <a:gd name="T76" fmla="*/ 8 w 224"/>
                <a:gd name="T77" fmla="*/ 138 h 246"/>
                <a:gd name="T78" fmla="*/ 12 w 224"/>
                <a:gd name="T79" fmla="*/ 120 h 246"/>
                <a:gd name="T80" fmla="*/ 8 w 224"/>
                <a:gd name="T81" fmla="*/ 108 h 246"/>
                <a:gd name="T82" fmla="*/ 8 w 224"/>
                <a:gd name="T83" fmla="*/ 94 h 246"/>
                <a:gd name="T84" fmla="*/ 8 w 224"/>
                <a:gd name="T85" fmla="*/ 78 h 246"/>
                <a:gd name="T86" fmla="*/ 8 w 224"/>
                <a:gd name="T87" fmla="*/ 64 h 246"/>
                <a:gd name="T88" fmla="*/ 4 w 224"/>
                <a:gd name="T89" fmla="*/ 56 h 246"/>
                <a:gd name="T90" fmla="*/ 16 w 224"/>
                <a:gd name="T91" fmla="*/ 46 h 246"/>
                <a:gd name="T92" fmla="*/ 12 w 224"/>
                <a:gd name="T93" fmla="*/ 34 h 246"/>
                <a:gd name="T94" fmla="*/ 22 w 224"/>
                <a:gd name="T95" fmla="*/ 22 h 246"/>
                <a:gd name="T96" fmla="*/ 34 w 224"/>
                <a:gd name="T97" fmla="*/ 16 h 246"/>
                <a:gd name="T98" fmla="*/ 34 w 224"/>
                <a:gd name="T99" fmla="*/ 0 h 246"/>
                <a:gd name="T100" fmla="*/ 42 w 224"/>
                <a:gd name="T101" fmla="*/ 8 h 246"/>
                <a:gd name="T102" fmla="*/ 56 w 224"/>
                <a:gd name="T103" fmla="*/ 8 h 246"/>
                <a:gd name="T104" fmla="*/ 64 w 224"/>
                <a:gd name="T105" fmla="*/ 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4" h="246">
                  <a:moveTo>
                    <a:pt x="68" y="8"/>
                  </a:moveTo>
                  <a:lnTo>
                    <a:pt x="72" y="8"/>
                  </a:lnTo>
                  <a:lnTo>
                    <a:pt x="72" y="12"/>
                  </a:lnTo>
                  <a:lnTo>
                    <a:pt x="74" y="12"/>
                  </a:lnTo>
                  <a:lnTo>
                    <a:pt x="78" y="16"/>
                  </a:lnTo>
                  <a:lnTo>
                    <a:pt x="82" y="16"/>
                  </a:lnTo>
                  <a:lnTo>
                    <a:pt x="86" y="16"/>
                  </a:lnTo>
                  <a:lnTo>
                    <a:pt x="86" y="20"/>
                  </a:lnTo>
                  <a:lnTo>
                    <a:pt x="86" y="22"/>
                  </a:lnTo>
                  <a:lnTo>
                    <a:pt x="86" y="26"/>
                  </a:lnTo>
                  <a:lnTo>
                    <a:pt x="90" y="30"/>
                  </a:lnTo>
                  <a:lnTo>
                    <a:pt x="90" y="34"/>
                  </a:lnTo>
                  <a:lnTo>
                    <a:pt x="94" y="34"/>
                  </a:lnTo>
                  <a:lnTo>
                    <a:pt x="98" y="34"/>
                  </a:lnTo>
                  <a:lnTo>
                    <a:pt x="98" y="38"/>
                  </a:lnTo>
                  <a:lnTo>
                    <a:pt x="100" y="38"/>
                  </a:lnTo>
                  <a:lnTo>
                    <a:pt x="104" y="38"/>
                  </a:lnTo>
                  <a:lnTo>
                    <a:pt x="108" y="38"/>
                  </a:lnTo>
                  <a:lnTo>
                    <a:pt x="112" y="38"/>
                  </a:lnTo>
                  <a:lnTo>
                    <a:pt x="116" y="38"/>
                  </a:lnTo>
                  <a:lnTo>
                    <a:pt x="116" y="42"/>
                  </a:lnTo>
                  <a:lnTo>
                    <a:pt x="120" y="42"/>
                  </a:lnTo>
                  <a:lnTo>
                    <a:pt x="124" y="42"/>
                  </a:lnTo>
                  <a:lnTo>
                    <a:pt x="124" y="46"/>
                  </a:lnTo>
                  <a:lnTo>
                    <a:pt x="128" y="46"/>
                  </a:lnTo>
                  <a:lnTo>
                    <a:pt x="128" y="50"/>
                  </a:lnTo>
                  <a:lnTo>
                    <a:pt x="130" y="50"/>
                  </a:lnTo>
                  <a:lnTo>
                    <a:pt x="134" y="52"/>
                  </a:lnTo>
                  <a:lnTo>
                    <a:pt x="138" y="52"/>
                  </a:lnTo>
                  <a:lnTo>
                    <a:pt x="138" y="56"/>
                  </a:lnTo>
                  <a:lnTo>
                    <a:pt x="142" y="56"/>
                  </a:lnTo>
                  <a:lnTo>
                    <a:pt x="142" y="52"/>
                  </a:lnTo>
                  <a:lnTo>
                    <a:pt x="146" y="52"/>
                  </a:lnTo>
                  <a:lnTo>
                    <a:pt x="150" y="50"/>
                  </a:lnTo>
                  <a:lnTo>
                    <a:pt x="154" y="46"/>
                  </a:lnTo>
                  <a:lnTo>
                    <a:pt x="154" y="42"/>
                  </a:lnTo>
                  <a:lnTo>
                    <a:pt x="154" y="38"/>
                  </a:lnTo>
                  <a:lnTo>
                    <a:pt x="154" y="34"/>
                  </a:lnTo>
                  <a:lnTo>
                    <a:pt x="154" y="30"/>
                  </a:lnTo>
                  <a:lnTo>
                    <a:pt x="154" y="26"/>
                  </a:lnTo>
                  <a:lnTo>
                    <a:pt x="154" y="22"/>
                  </a:lnTo>
                  <a:lnTo>
                    <a:pt x="154" y="20"/>
                  </a:lnTo>
                  <a:lnTo>
                    <a:pt x="156" y="16"/>
                  </a:lnTo>
                  <a:lnTo>
                    <a:pt x="160" y="12"/>
                  </a:lnTo>
                  <a:lnTo>
                    <a:pt x="164" y="12"/>
                  </a:lnTo>
                  <a:lnTo>
                    <a:pt x="164" y="8"/>
                  </a:lnTo>
                  <a:lnTo>
                    <a:pt x="168" y="8"/>
                  </a:lnTo>
                  <a:lnTo>
                    <a:pt x="172" y="8"/>
                  </a:lnTo>
                  <a:lnTo>
                    <a:pt x="176" y="8"/>
                  </a:lnTo>
                  <a:lnTo>
                    <a:pt x="176" y="4"/>
                  </a:lnTo>
                  <a:lnTo>
                    <a:pt x="180" y="4"/>
                  </a:lnTo>
                  <a:lnTo>
                    <a:pt x="182" y="4"/>
                  </a:lnTo>
                  <a:lnTo>
                    <a:pt x="182" y="8"/>
                  </a:lnTo>
                  <a:lnTo>
                    <a:pt x="186" y="8"/>
                  </a:lnTo>
                  <a:lnTo>
                    <a:pt x="190" y="8"/>
                  </a:lnTo>
                  <a:lnTo>
                    <a:pt x="194" y="8"/>
                  </a:lnTo>
                  <a:lnTo>
                    <a:pt x="194" y="12"/>
                  </a:lnTo>
                  <a:lnTo>
                    <a:pt x="198" y="12"/>
                  </a:lnTo>
                  <a:lnTo>
                    <a:pt x="198" y="16"/>
                  </a:lnTo>
                  <a:lnTo>
                    <a:pt x="198" y="20"/>
                  </a:lnTo>
                  <a:lnTo>
                    <a:pt x="202" y="20"/>
                  </a:lnTo>
                  <a:lnTo>
                    <a:pt x="206" y="20"/>
                  </a:lnTo>
                  <a:lnTo>
                    <a:pt x="210" y="20"/>
                  </a:lnTo>
                  <a:lnTo>
                    <a:pt x="210" y="22"/>
                  </a:lnTo>
                  <a:lnTo>
                    <a:pt x="212" y="22"/>
                  </a:lnTo>
                  <a:lnTo>
                    <a:pt x="216" y="22"/>
                  </a:lnTo>
                  <a:lnTo>
                    <a:pt x="220" y="22"/>
                  </a:lnTo>
                  <a:lnTo>
                    <a:pt x="224" y="22"/>
                  </a:lnTo>
                  <a:lnTo>
                    <a:pt x="224" y="26"/>
                  </a:lnTo>
                  <a:lnTo>
                    <a:pt x="224" y="30"/>
                  </a:lnTo>
                  <a:lnTo>
                    <a:pt x="224" y="34"/>
                  </a:lnTo>
                  <a:lnTo>
                    <a:pt x="220" y="34"/>
                  </a:lnTo>
                  <a:lnTo>
                    <a:pt x="220" y="38"/>
                  </a:lnTo>
                  <a:lnTo>
                    <a:pt x="224" y="42"/>
                  </a:lnTo>
                  <a:lnTo>
                    <a:pt x="224" y="46"/>
                  </a:lnTo>
                  <a:lnTo>
                    <a:pt x="224" y="50"/>
                  </a:lnTo>
                  <a:lnTo>
                    <a:pt x="220" y="52"/>
                  </a:lnTo>
                  <a:lnTo>
                    <a:pt x="220" y="56"/>
                  </a:lnTo>
                  <a:lnTo>
                    <a:pt x="220" y="60"/>
                  </a:lnTo>
                  <a:lnTo>
                    <a:pt x="220" y="64"/>
                  </a:lnTo>
                  <a:lnTo>
                    <a:pt x="220" y="68"/>
                  </a:lnTo>
                  <a:lnTo>
                    <a:pt x="224" y="72"/>
                  </a:lnTo>
                  <a:lnTo>
                    <a:pt x="224" y="76"/>
                  </a:lnTo>
                  <a:lnTo>
                    <a:pt x="224" y="78"/>
                  </a:lnTo>
                  <a:lnTo>
                    <a:pt x="224" y="90"/>
                  </a:lnTo>
                  <a:lnTo>
                    <a:pt x="224" y="94"/>
                  </a:lnTo>
                  <a:lnTo>
                    <a:pt x="224" y="98"/>
                  </a:lnTo>
                  <a:lnTo>
                    <a:pt x="224" y="102"/>
                  </a:lnTo>
                  <a:lnTo>
                    <a:pt x="224" y="106"/>
                  </a:lnTo>
                  <a:lnTo>
                    <a:pt x="224" y="112"/>
                  </a:lnTo>
                  <a:lnTo>
                    <a:pt x="224" y="116"/>
                  </a:lnTo>
                  <a:lnTo>
                    <a:pt x="224" y="120"/>
                  </a:lnTo>
                  <a:lnTo>
                    <a:pt x="224" y="124"/>
                  </a:lnTo>
                  <a:lnTo>
                    <a:pt x="224" y="132"/>
                  </a:lnTo>
                  <a:lnTo>
                    <a:pt x="224" y="142"/>
                  </a:lnTo>
                  <a:lnTo>
                    <a:pt x="224" y="150"/>
                  </a:lnTo>
                  <a:lnTo>
                    <a:pt x="224" y="154"/>
                  </a:lnTo>
                  <a:lnTo>
                    <a:pt x="224" y="162"/>
                  </a:lnTo>
                  <a:lnTo>
                    <a:pt x="224" y="168"/>
                  </a:lnTo>
                  <a:lnTo>
                    <a:pt x="224" y="176"/>
                  </a:lnTo>
                  <a:lnTo>
                    <a:pt x="224" y="198"/>
                  </a:lnTo>
                  <a:lnTo>
                    <a:pt x="224" y="202"/>
                  </a:lnTo>
                  <a:lnTo>
                    <a:pt x="224" y="222"/>
                  </a:lnTo>
                  <a:lnTo>
                    <a:pt x="224" y="238"/>
                  </a:lnTo>
                  <a:lnTo>
                    <a:pt x="220" y="238"/>
                  </a:lnTo>
                  <a:lnTo>
                    <a:pt x="216" y="238"/>
                  </a:lnTo>
                  <a:lnTo>
                    <a:pt x="212" y="238"/>
                  </a:lnTo>
                  <a:lnTo>
                    <a:pt x="210" y="238"/>
                  </a:lnTo>
                  <a:lnTo>
                    <a:pt x="210" y="246"/>
                  </a:lnTo>
                  <a:lnTo>
                    <a:pt x="202" y="242"/>
                  </a:lnTo>
                  <a:lnTo>
                    <a:pt x="194" y="238"/>
                  </a:lnTo>
                  <a:lnTo>
                    <a:pt x="186" y="232"/>
                  </a:lnTo>
                  <a:lnTo>
                    <a:pt x="180" y="228"/>
                  </a:lnTo>
                  <a:lnTo>
                    <a:pt x="172" y="224"/>
                  </a:lnTo>
                  <a:lnTo>
                    <a:pt x="168" y="222"/>
                  </a:lnTo>
                  <a:lnTo>
                    <a:pt x="156" y="218"/>
                  </a:lnTo>
                  <a:lnTo>
                    <a:pt x="150" y="210"/>
                  </a:lnTo>
                  <a:lnTo>
                    <a:pt x="142" y="206"/>
                  </a:lnTo>
                  <a:lnTo>
                    <a:pt x="138" y="202"/>
                  </a:lnTo>
                  <a:lnTo>
                    <a:pt x="134" y="202"/>
                  </a:lnTo>
                  <a:lnTo>
                    <a:pt x="130" y="198"/>
                  </a:lnTo>
                  <a:lnTo>
                    <a:pt x="124" y="194"/>
                  </a:lnTo>
                  <a:lnTo>
                    <a:pt x="120" y="192"/>
                  </a:lnTo>
                  <a:lnTo>
                    <a:pt x="108" y="188"/>
                  </a:lnTo>
                  <a:lnTo>
                    <a:pt x="100" y="180"/>
                  </a:lnTo>
                  <a:lnTo>
                    <a:pt x="98" y="180"/>
                  </a:lnTo>
                  <a:lnTo>
                    <a:pt x="86" y="184"/>
                  </a:lnTo>
                  <a:lnTo>
                    <a:pt x="82" y="184"/>
                  </a:lnTo>
                  <a:lnTo>
                    <a:pt x="82" y="188"/>
                  </a:lnTo>
                  <a:lnTo>
                    <a:pt x="78" y="188"/>
                  </a:lnTo>
                  <a:lnTo>
                    <a:pt x="74" y="192"/>
                  </a:lnTo>
                  <a:lnTo>
                    <a:pt x="72" y="192"/>
                  </a:lnTo>
                  <a:lnTo>
                    <a:pt x="72" y="194"/>
                  </a:lnTo>
                  <a:lnTo>
                    <a:pt x="68" y="188"/>
                  </a:lnTo>
                  <a:lnTo>
                    <a:pt x="64" y="184"/>
                  </a:lnTo>
                  <a:lnTo>
                    <a:pt x="60" y="184"/>
                  </a:lnTo>
                  <a:lnTo>
                    <a:pt x="56" y="180"/>
                  </a:lnTo>
                  <a:lnTo>
                    <a:pt x="52" y="180"/>
                  </a:lnTo>
                  <a:lnTo>
                    <a:pt x="48" y="180"/>
                  </a:lnTo>
                  <a:lnTo>
                    <a:pt x="44" y="180"/>
                  </a:lnTo>
                  <a:lnTo>
                    <a:pt x="42" y="176"/>
                  </a:lnTo>
                  <a:lnTo>
                    <a:pt x="38" y="176"/>
                  </a:lnTo>
                  <a:lnTo>
                    <a:pt x="38" y="168"/>
                  </a:lnTo>
                  <a:lnTo>
                    <a:pt x="34" y="162"/>
                  </a:lnTo>
                  <a:lnTo>
                    <a:pt x="30" y="162"/>
                  </a:lnTo>
                  <a:lnTo>
                    <a:pt x="26" y="162"/>
                  </a:lnTo>
                  <a:lnTo>
                    <a:pt x="22" y="158"/>
                  </a:lnTo>
                  <a:lnTo>
                    <a:pt x="18" y="158"/>
                  </a:lnTo>
                  <a:lnTo>
                    <a:pt x="18" y="162"/>
                  </a:lnTo>
                  <a:lnTo>
                    <a:pt x="16" y="158"/>
                  </a:lnTo>
                  <a:lnTo>
                    <a:pt x="16" y="154"/>
                  </a:lnTo>
                  <a:lnTo>
                    <a:pt x="12" y="154"/>
                  </a:lnTo>
                  <a:lnTo>
                    <a:pt x="12" y="150"/>
                  </a:lnTo>
                  <a:lnTo>
                    <a:pt x="12" y="146"/>
                  </a:lnTo>
                  <a:lnTo>
                    <a:pt x="12" y="142"/>
                  </a:lnTo>
                  <a:lnTo>
                    <a:pt x="8" y="138"/>
                  </a:lnTo>
                  <a:lnTo>
                    <a:pt x="4" y="132"/>
                  </a:lnTo>
                  <a:lnTo>
                    <a:pt x="4" y="128"/>
                  </a:lnTo>
                  <a:lnTo>
                    <a:pt x="8" y="124"/>
                  </a:lnTo>
                  <a:lnTo>
                    <a:pt x="12" y="120"/>
                  </a:lnTo>
                  <a:lnTo>
                    <a:pt x="12" y="116"/>
                  </a:lnTo>
                  <a:lnTo>
                    <a:pt x="8" y="116"/>
                  </a:lnTo>
                  <a:lnTo>
                    <a:pt x="8" y="112"/>
                  </a:lnTo>
                  <a:lnTo>
                    <a:pt x="8" y="108"/>
                  </a:lnTo>
                  <a:lnTo>
                    <a:pt x="8" y="106"/>
                  </a:lnTo>
                  <a:lnTo>
                    <a:pt x="12" y="102"/>
                  </a:lnTo>
                  <a:lnTo>
                    <a:pt x="12" y="98"/>
                  </a:lnTo>
                  <a:lnTo>
                    <a:pt x="8" y="94"/>
                  </a:lnTo>
                  <a:lnTo>
                    <a:pt x="8" y="90"/>
                  </a:lnTo>
                  <a:lnTo>
                    <a:pt x="8" y="86"/>
                  </a:lnTo>
                  <a:lnTo>
                    <a:pt x="8" y="82"/>
                  </a:lnTo>
                  <a:lnTo>
                    <a:pt x="8" y="78"/>
                  </a:lnTo>
                  <a:lnTo>
                    <a:pt x="8" y="76"/>
                  </a:lnTo>
                  <a:lnTo>
                    <a:pt x="8" y="72"/>
                  </a:lnTo>
                  <a:lnTo>
                    <a:pt x="8" y="68"/>
                  </a:lnTo>
                  <a:lnTo>
                    <a:pt x="8" y="64"/>
                  </a:lnTo>
                  <a:lnTo>
                    <a:pt x="4" y="64"/>
                  </a:lnTo>
                  <a:lnTo>
                    <a:pt x="4" y="60"/>
                  </a:lnTo>
                  <a:lnTo>
                    <a:pt x="0" y="56"/>
                  </a:lnTo>
                  <a:lnTo>
                    <a:pt x="4" y="56"/>
                  </a:lnTo>
                  <a:lnTo>
                    <a:pt x="8" y="52"/>
                  </a:lnTo>
                  <a:lnTo>
                    <a:pt x="12" y="52"/>
                  </a:lnTo>
                  <a:lnTo>
                    <a:pt x="12" y="50"/>
                  </a:lnTo>
                  <a:lnTo>
                    <a:pt x="16" y="46"/>
                  </a:lnTo>
                  <a:lnTo>
                    <a:pt x="16" y="42"/>
                  </a:lnTo>
                  <a:lnTo>
                    <a:pt x="16" y="38"/>
                  </a:lnTo>
                  <a:lnTo>
                    <a:pt x="16" y="34"/>
                  </a:lnTo>
                  <a:lnTo>
                    <a:pt x="12" y="34"/>
                  </a:lnTo>
                  <a:lnTo>
                    <a:pt x="12" y="30"/>
                  </a:lnTo>
                  <a:lnTo>
                    <a:pt x="16" y="26"/>
                  </a:lnTo>
                  <a:lnTo>
                    <a:pt x="18" y="26"/>
                  </a:lnTo>
                  <a:lnTo>
                    <a:pt x="22" y="22"/>
                  </a:lnTo>
                  <a:lnTo>
                    <a:pt x="22" y="20"/>
                  </a:lnTo>
                  <a:lnTo>
                    <a:pt x="26" y="20"/>
                  </a:lnTo>
                  <a:lnTo>
                    <a:pt x="30" y="16"/>
                  </a:lnTo>
                  <a:lnTo>
                    <a:pt x="34" y="16"/>
                  </a:lnTo>
                  <a:lnTo>
                    <a:pt x="34" y="12"/>
                  </a:lnTo>
                  <a:lnTo>
                    <a:pt x="34" y="8"/>
                  </a:lnTo>
                  <a:lnTo>
                    <a:pt x="34" y="4"/>
                  </a:lnTo>
                  <a:lnTo>
                    <a:pt x="34" y="0"/>
                  </a:lnTo>
                  <a:lnTo>
                    <a:pt x="34" y="4"/>
                  </a:lnTo>
                  <a:lnTo>
                    <a:pt x="38" y="4"/>
                  </a:lnTo>
                  <a:lnTo>
                    <a:pt x="42" y="4"/>
                  </a:lnTo>
                  <a:lnTo>
                    <a:pt x="42" y="8"/>
                  </a:lnTo>
                  <a:lnTo>
                    <a:pt x="44" y="8"/>
                  </a:lnTo>
                  <a:lnTo>
                    <a:pt x="48" y="8"/>
                  </a:lnTo>
                  <a:lnTo>
                    <a:pt x="52" y="8"/>
                  </a:lnTo>
                  <a:lnTo>
                    <a:pt x="56" y="8"/>
                  </a:lnTo>
                  <a:lnTo>
                    <a:pt x="56" y="4"/>
                  </a:lnTo>
                  <a:lnTo>
                    <a:pt x="60" y="4"/>
                  </a:lnTo>
                  <a:lnTo>
                    <a:pt x="60" y="8"/>
                  </a:lnTo>
                  <a:lnTo>
                    <a:pt x="64" y="8"/>
                  </a:lnTo>
                  <a:lnTo>
                    <a:pt x="68" y="8"/>
                  </a:lnTo>
                  <a:lnTo>
                    <a:pt x="68" y="8"/>
                  </a:lnTo>
                  <a:lnTo>
                    <a:pt x="68" y="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61" name="Freeform 154"/>
            <p:cNvSpPr>
              <a:spLocks noEditPoints="1"/>
            </p:cNvSpPr>
            <p:nvPr/>
          </p:nvSpPr>
          <p:spPr bwMode="auto">
            <a:xfrm>
              <a:off x="7424609" y="4293817"/>
              <a:ext cx="65310" cy="158218"/>
            </a:xfrm>
            <a:custGeom>
              <a:avLst/>
              <a:gdLst>
                <a:gd name="T0" fmla="*/ 70 w 104"/>
                <a:gd name="T1" fmla="*/ 26 h 242"/>
                <a:gd name="T2" fmla="*/ 74 w 104"/>
                <a:gd name="T3" fmla="*/ 152 h 242"/>
                <a:gd name="T4" fmla="*/ 70 w 104"/>
                <a:gd name="T5" fmla="*/ 168 h 242"/>
                <a:gd name="T6" fmla="*/ 66 w 104"/>
                <a:gd name="T7" fmla="*/ 182 h 242"/>
                <a:gd name="T8" fmla="*/ 62 w 104"/>
                <a:gd name="T9" fmla="*/ 194 h 242"/>
                <a:gd name="T10" fmla="*/ 62 w 104"/>
                <a:gd name="T11" fmla="*/ 208 h 242"/>
                <a:gd name="T12" fmla="*/ 60 w 104"/>
                <a:gd name="T13" fmla="*/ 220 h 242"/>
                <a:gd name="T14" fmla="*/ 52 w 104"/>
                <a:gd name="T15" fmla="*/ 232 h 242"/>
                <a:gd name="T16" fmla="*/ 36 w 104"/>
                <a:gd name="T17" fmla="*/ 236 h 242"/>
                <a:gd name="T18" fmla="*/ 30 w 104"/>
                <a:gd name="T19" fmla="*/ 242 h 242"/>
                <a:gd name="T20" fmla="*/ 22 w 104"/>
                <a:gd name="T21" fmla="*/ 236 h 242"/>
                <a:gd name="T22" fmla="*/ 14 w 104"/>
                <a:gd name="T23" fmla="*/ 236 h 242"/>
                <a:gd name="T24" fmla="*/ 10 w 104"/>
                <a:gd name="T25" fmla="*/ 224 h 242"/>
                <a:gd name="T26" fmla="*/ 6 w 104"/>
                <a:gd name="T27" fmla="*/ 208 h 242"/>
                <a:gd name="T28" fmla="*/ 2 w 104"/>
                <a:gd name="T29" fmla="*/ 198 h 242"/>
                <a:gd name="T30" fmla="*/ 0 w 104"/>
                <a:gd name="T31" fmla="*/ 186 h 242"/>
                <a:gd name="T32" fmla="*/ 0 w 104"/>
                <a:gd name="T33" fmla="*/ 172 h 242"/>
                <a:gd name="T34" fmla="*/ 6 w 104"/>
                <a:gd name="T35" fmla="*/ 164 h 242"/>
                <a:gd name="T36" fmla="*/ 10 w 104"/>
                <a:gd name="T37" fmla="*/ 152 h 242"/>
                <a:gd name="T38" fmla="*/ 18 w 104"/>
                <a:gd name="T39" fmla="*/ 138 h 242"/>
                <a:gd name="T40" fmla="*/ 14 w 104"/>
                <a:gd name="T41" fmla="*/ 130 h 242"/>
                <a:gd name="T42" fmla="*/ 14 w 104"/>
                <a:gd name="T43" fmla="*/ 116 h 242"/>
                <a:gd name="T44" fmla="*/ 10 w 104"/>
                <a:gd name="T45" fmla="*/ 104 h 242"/>
                <a:gd name="T46" fmla="*/ 14 w 104"/>
                <a:gd name="T47" fmla="*/ 94 h 242"/>
                <a:gd name="T48" fmla="*/ 18 w 104"/>
                <a:gd name="T49" fmla="*/ 82 h 242"/>
                <a:gd name="T50" fmla="*/ 22 w 104"/>
                <a:gd name="T51" fmla="*/ 74 h 242"/>
                <a:gd name="T52" fmla="*/ 30 w 104"/>
                <a:gd name="T53" fmla="*/ 74 h 242"/>
                <a:gd name="T54" fmla="*/ 32 w 104"/>
                <a:gd name="T55" fmla="*/ 70 h 242"/>
                <a:gd name="T56" fmla="*/ 40 w 104"/>
                <a:gd name="T57" fmla="*/ 70 h 242"/>
                <a:gd name="T58" fmla="*/ 44 w 104"/>
                <a:gd name="T59" fmla="*/ 70 h 242"/>
                <a:gd name="T60" fmla="*/ 48 w 104"/>
                <a:gd name="T61" fmla="*/ 60 h 242"/>
                <a:gd name="T62" fmla="*/ 52 w 104"/>
                <a:gd name="T63" fmla="*/ 64 h 242"/>
                <a:gd name="T64" fmla="*/ 60 w 104"/>
                <a:gd name="T65" fmla="*/ 52 h 242"/>
                <a:gd name="T66" fmla="*/ 60 w 104"/>
                <a:gd name="T67" fmla="*/ 52 h 242"/>
                <a:gd name="T68" fmla="*/ 66 w 104"/>
                <a:gd name="T69" fmla="*/ 48 h 242"/>
                <a:gd name="T70" fmla="*/ 62 w 104"/>
                <a:gd name="T71" fmla="*/ 44 h 242"/>
                <a:gd name="T72" fmla="*/ 66 w 104"/>
                <a:gd name="T73" fmla="*/ 40 h 242"/>
                <a:gd name="T74" fmla="*/ 70 w 104"/>
                <a:gd name="T75" fmla="*/ 30 h 242"/>
                <a:gd name="T76" fmla="*/ 74 w 104"/>
                <a:gd name="T77" fmla="*/ 30 h 242"/>
                <a:gd name="T78" fmla="*/ 78 w 104"/>
                <a:gd name="T79" fmla="*/ 18 h 242"/>
                <a:gd name="T80" fmla="*/ 82 w 104"/>
                <a:gd name="T81" fmla="*/ 10 h 242"/>
                <a:gd name="T82" fmla="*/ 82 w 104"/>
                <a:gd name="T83" fmla="*/ 4 h 242"/>
                <a:gd name="T84" fmla="*/ 86 w 104"/>
                <a:gd name="T85" fmla="*/ 8 h 242"/>
                <a:gd name="T86" fmla="*/ 88 w 104"/>
                <a:gd name="T87" fmla="*/ 10 h 242"/>
                <a:gd name="T88" fmla="*/ 96 w 104"/>
                <a:gd name="T89" fmla="*/ 18 h 242"/>
                <a:gd name="T90" fmla="*/ 96 w 104"/>
                <a:gd name="T91" fmla="*/ 26 h 242"/>
                <a:gd name="T92" fmla="*/ 96 w 104"/>
                <a:gd name="T93" fmla="*/ 40 h 242"/>
                <a:gd name="T94" fmla="*/ 100 w 104"/>
                <a:gd name="T95" fmla="*/ 48 h 242"/>
                <a:gd name="T96" fmla="*/ 100 w 104"/>
                <a:gd name="T97" fmla="*/ 64 h 242"/>
                <a:gd name="T98" fmla="*/ 96 w 104"/>
                <a:gd name="T99" fmla="*/ 66 h 242"/>
                <a:gd name="T100" fmla="*/ 92 w 104"/>
                <a:gd name="T101" fmla="*/ 66 h 242"/>
                <a:gd name="T102" fmla="*/ 92 w 104"/>
                <a:gd name="T103" fmla="*/ 82 h 242"/>
                <a:gd name="T104" fmla="*/ 88 w 104"/>
                <a:gd name="T105" fmla="*/ 94 h 242"/>
                <a:gd name="T106" fmla="*/ 88 w 104"/>
                <a:gd name="T107" fmla="*/ 108 h 242"/>
                <a:gd name="T108" fmla="*/ 86 w 104"/>
                <a:gd name="T109" fmla="*/ 122 h 242"/>
                <a:gd name="T110" fmla="*/ 82 w 104"/>
                <a:gd name="T111" fmla="*/ 134 h 242"/>
                <a:gd name="T112" fmla="*/ 78 w 104"/>
                <a:gd name="T113" fmla="*/ 146 h 242"/>
                <a:gd name="T114" fmla="*/ 74 w 104"/>
                <a:gd name="T115" fmla="*/ 150 h 242"/>
                <a:gd name="T116" fmla="*/ 96 w 104"/>
                <a:gd name="T117" fmla="*/ 9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 h="242">
                  <a:moveTo>
                    <a:pt x="70" y="26"/>
                  </a:moveTo>
                  <a:lnTo>
                    <a:pt x="70" y="22"/>
                  </a:lnTo>
                  <a:lnTo>
                    <a:pt x="74" y="26"/>
                  </a:lnTo>
                  <a:lnTo>
                    <a:pt x="70" y="26"/>
                  </a:lnTo>
                  <a:lnTo>
                    <a:pt x="70" y="26"/>
                  </a:lnTo>
                  <a:lnTo>
                    <a:pt x="70" y="26"/>
                  </a:lnTo>
                  <a:close/>
                  <a:moveTo>
                    <a:pt x="74" y="150"/>
                  </a:moveTo>
                  <a:lnTo>
                    <a:pt x="74" y="152"/>
                  </a:lnTo>
                  <a:lnTo>
                    <a:pt x="74" y="156"/>
                  </a:lnTo>
                  <a:lnTo>
                    <a:pt x="74" y="160"/>
                  </a:lnTo>
                  <a:lnTo>
                    <a:pt x="74" y="164"/>
                  </a:lnTo>
                  <a:lnTo>
                    <a:pt x="70" y="168"/>
                  </a:lnTo>
                  <a:lnTo>
                    <a:pt x="70" y="172"/>
                  </a:lnTo>
                  <a:lnTo>
                    <a:pt x="70" y="176"/>
                  </a:lnTo>
                  <a:lnTo>
                    <a:pt x="66" y="180"/>
                  </a:lnTo>
                  <a:lnTo>
                    <a:pt x="66" y="182"/>
                  </a:lnTo>
                  <a:lnTo>
                    <a:pt x="66" y="186"/>
                  </a:lnTo>
                  <a:lnTo>
                    <a:pt x="66" y="190"/>
                  </a:lnTo>
                  <a:lnTo>
                    <a:pt x="66" y="194"/>
                  </a:lnTo>
                  <a:lnTo>
                    <a:pt x="62" y="194"/>
                  </a:lnTo>
                  <a:lnTo>
                    <a:pt x="62" y="198"/>
                  </a:lnTo>
                  <a:lnTo>
                    <a:pt x="62" y="202"/>
                  </a:lnTo>
                  <a:lnTo>
                    <a:pt x="62" y="206"/>
                  </a:lnTo>
                  <a:lnTo>
                    <a:pt x="62" y="208"/>
                  </a:lnTo>
                  <a:lnTo>
                    <a:pt x="60" y="208"/>
                  </a:lnTo>
                  <a:lnTo>
                    <a:pt x="60" y="212"/>
                  </a:lnTo>
                  <a:lnTo>
                    <a:pt x="60" y="216"/>
                  </a:lnTo>
                  <a:lnTo>
                    <a:pt x="60" y="220"/>
                  </a:lnTo>
                  <a:lnTo>
                    <a:pt x="56" y="224"/>
                  </a:lnTo>
                  <a:lnTo>
                    <a:pt x="56" y="228"/>
                  </a:lnTo>
                  <a:lnTo>
                    <a:pt x="56" y="232"/>
                  </a:lnTo>
                  <a:lnTo>
                    <a:pt x="52" y="232"/>
                  </a:lnTo>
                  <a:lnTo>
                    <a:pt x="48" y="236"/>
                  </a:lnTo>
                  <a:lnTo>
                    <a:pt x="44" y="236"/>
                  </a:lnTo>
                  <a:lnTo>
                    <a:pt x="40" y="236"/>
                  </a:lnTo>
                  <a:lnTo>
                    <a:pt x="36" y="236"/>
                  </a:lnTo>
                  <a:lnTo>
                    <a:pt x="36" y="238"/>
                  </a:lnTo>
                  <a:lnTo>
                    <a:pt x="32" y="238"/>
                  </a:lnTo>
                  <a:lnTo>
                    <a:pt x="32" y="242"/>
                  </a:lnTo>
                  <a:lnTo>
                    <a:pt x="30" y="242"/>
                  </a:lnTo>
                  <a:lnTo>
                    <a:pt x="26" y="242"/>
                  </a:lnTo>
                  <a:lnTo>
                    <a:pt x="26" y="238"/>
                  </a:lnTo>
                  <a:lnTo>
                    <a:pt x="22" y="238"/>
                  </a:lnTo>
                  <a:lnTo>
                    <a:pt x="22" y="236"/>
                  </a:lnTo>
                  <a:lnTo>
                    <a:pt x="18" y="236"/>
                  </a:lnTo>
                  <a:lnTo>
                    <a:pt x="14" y="236"/>
                  </a:lnTo>
                  <a:lnTo>
                    <a:pt x="18" y="236"/>
                  </a:lnTo>
                  <a:lnTo>
                    <a:pt x="14" y="236"/>
                  </a:lnTo>
                  <a:lnTo>
                    <a:pt x="14" y="232"/>
                  </a:lnTo>
                  <a:lnTo>
                    <a:pt x="10" y="232"/>
                  </a:lnTo>
                  <a:lnTo>
                    <a:pt x="10" y="228"/>
                  </a:lnTo>
                  <a:lnTo>
                    <a:pt x="10" y="224"/>
                  </a:lnTo>
                  <a:lnTo>
                    <a:pt x="6" y="220"/>
                  </a:lnTo>
                  <a:lnTo>
                    <a:pt x="6" y="216"/>
                  </a:lnTo>
                  <a:lnTo>
                    <a:pt x="6" y="212"/>
                  </a:lnTo>
                  <a:lnTo>
                    <a:pt x="6" y="208"/>
                  </a:lnTo>
                  <a:lnTo>
                    <a:pt x="6" y="206"/>
                  </a:lnTo>
                  <a:lnTo>
                    <a:pt x="6" y="202"/>
                  </a:lnTo>
                  <a:lnTo>
                    <a:pt x="2" y="202"/>
                  </a:lnTo>
                  <a:lnTo>
                    <a:pt x="2" y="198"/>
                  </a:lnTo>
                  <a:lnTo>
                    <a:pt x="2" y="194"/>
                  </a:lnTo>
                  <a:lnTo>
                    <a:pt x="2" y="190"/>
                  </a:lnTo>
                  <a:lnTo>
                    <a:pt x="0" y="190"/>
                  </a:lnTo>
                  <a:lnTo>
                    <a:pt x="0" y="186"/>
                  </a:lnTo>
                  <a:lnTo>
                    <a:pt x="0" y="182"/>
                  </a:lnTo>
                  <a:lnTo>
                    <a:pt x="0" y="180"/>
                  </a:lnTo>
                  <a:lnTo>
                    <a:pt x="0" y="176"/>
                  </a:lnTo>
                  <a:lnTo>
                    <a:pt x="0" y="172"/>
                  </a:lnTo>
                  <a:lnTo>
                    <a:pt x="2" y="172"/>
                  </a:lnTo>
                  <a:lnTo>
                    <a:pt x="2" y="168"/>
                  </a:lnTo>
                  <a:lnTo>
                    <a:pt x="2" y="164"/>
                  </a:lnTo>
                  <a:lnTo>
                    <a:pt x="6" y="164"/>
                  </a:lnTo>
                  <a:lnTo>
                    <a:pt x="6" y="160"/>
                  </a:lnTo>
                  <a:lnTo>
                    <a:pt x="10" y="160"/>
                  </a:lnTo>
                  <a:lnTo>
                    <a:pt x="10" y="156"/>
                  </a:lnTo>
                  <a:lnTo>
                    <a:pt x="10" y="152"/>
                  </a:lnTo>
                  <a:lnTo>
                    <a:pt x="14" y="150"/>
                  </a:lnTo>
                  <a:lnTo>
                    <a:pt x="14" y="146"/>
                  </a:lnTo>
                  <a:lnTo>
                    <a:pt x="18" y="142"/>
                  </a:lnTo>
                  <a:lnTo>
                    <a:pt x="18" y="138"/>
                  </a:lnTo>
                  <a:lnTo>
                    <a:pt x="14" y="138"/>
                  </a:lnTo>
                  <a:lnTo>
                    <a:pt x="18" y="134"/>
                  </a:lnTo>
                  <a:lnTo>
                    <a:pt x="18" y="130"/>
                  </a:lnTo>
                  <a:lnTo>
                    <a:pt x="14" y="130"/>
                  </a:lnTo>
                  <a:lnTo>
                    <a:pt x="14" y="126"/>
                  </a:lnTo>
                  <a:lnTo>
                    <a:pt x="14" y="122"/>
                  </a:lnTo>
                  <a:lnTo>
                    <a:pt x="14" y="120"/>
                  </a:lnTo>
                  <a:lnTo>
                    <a:pt x="14" y="116"/>
                  </a:lnTo>
                  <a:lnTo>
                    <a:pt x="10" y="116"/>
                  </a:lnTo>
                  <a:lnTo>
                    <a:pt x="10" y="112"/>
                  </a:lnTo>
                  <a:lnTo>
                    <a:pt x="10" y="108"/>
                  </a:lnTo>
                  <a:lnTo>
                    <a:pt x="10" y="104"/>
                  </a:lnTo>
                  <a:lnTo>
                    <a:pt x="10" y="100"/>
                  </a:lnTo>
                  <a:lnTo>
                    <a:pt x="10" y="96"/>
                  </a:lnTo>
                  <a:lnTo>
                    <a:pt x="10" y="94"/>
                  </a:lnTo>
                  <a:lnTo>
                    <a:pt x="14" y="94"/>
                  </a:lnTo>
                  <a:lnTo>
                    <a:pt x="14" y="90"/>
                  </a:lnTo>
                  <a:lnTo>
                    <a:pt x="14" y="86"/>
                  </a:lnTo>
                  <a:lnTo>
                    <a:pt x="18" y="86"/>
                  </a:lnTo>
                  <a:lnTo>
                    <a:pt x="18" y="82"/>
                  </a:lnTo>
                  <a:lnTo>
                    <a:pt x="18" y="78"/>
                  </a:lnTo>
                  <a:lnTo>
                    <a:pt x="14" y="78"/>
                  </a:lnTo>
                  <a:lnTo>
                    <a:pt x="18" y="74"/>
                  </a:lnTo>
                  <a:lnTo>
                    <a:pt x="22" y="74"/>
                  </a:lnTo>
                  <a:lnTo>
                    <a:pt x="26" y="74"/>
                  </a:lnTo>
                  <a:lnTo>
                    <a:pt x="26" y="70"/>
                  </a:lnTo>
                  <a:lnTo>
                    <a:pt x="30" y="70"/>
                  </a:lnTo>
                  <a:lnTo>
                    <a:pt x="30" y="74"/>
                  </a:lnTo>
                  <a:lnTo>
                    <a:pt x="30" y="70"/>
                  </a:lnTo>
                  <a:lnTo>
                    <a:pt x="32" y="70"/>
                  </a:lnTo>
                  <a:lnTo>
                    <a:pt x="32" y="74"/>
                  </a:lnTo>
                  <a:lnTo>
                    <a:pt x="32" y="70"/>
                  </a:lnTo>
                  <a:lnTo>
                    <a:pt x="32" y="66"/>
                  </a:lnTo>
                  <a:lnTo>
                    <a:pt x="36" y="66"/>
                  </a:lnTo>
                  <a:lnTo>
                    <a:pt x="36" y="70"/>
                  </a:lnTo>
                  <a:lnTo>
                    <a:pt x="40" y="70"/>
                  </a:lnTo>
                  <a:lnTo>
                    <a:pt x="40" y="66"/>
                  </a:lnTo>
                  <a:lnTo>
                    <a:pt x="44" y="66"/>
                  </a:lnTo>
                  <a:lnTo>
                    <a:pt x="40" y="66"/>
                  </a:lnTo>
                  <a:lnTo>
                    <a:pt x="44" y="70"/>
                  </a:lnTo>
                  <a:lnTo>
                    <a:pt x="44" y="66"/>
                  </a:lnTo>
                  <a:lnTo>
                    <a:pt x="44" y="64"/>
                  </a:lnTo>
                  <a:lnTo>
                    <a:pt x="48" y="64"/>
                  </a:lnTo>
                  <a:lnTo>
                    <a:pt x="48" y="60"/>
                  </a:lnTo>
                  <a:lnTo>
                    <a:pt x="52" y="60"/>
                  </a:lnTo>
                  <a:lnTo>
                    <a:pt x="56" y="60"/>
                  </a:lnTo>
                  <a:lnTo>
                    <a:pt x="52" y="60"/>
                  </a:lnTo>
                  <a:lnTo>
                    <a:pt x="52" y="64"/>
                  </a:lnTo>
                  <a:lnTo>
                    <a:pt x="56" y="64"/>
                  </a:lnTo>
                  <a:lnTo>
                    <a:pt x="56" y="60"/>
                  </a:lnTo>
                  <a:lnTo>
                    <a:pt x="56" y="56"/>
                  </a:lnTo>
                  <a:lnTo>
                    <a:pt x="60" y="52"/>
                  </a:lnTo>
                  <a:lnTo>
                    <a:pt x="56" y="52"/>
                  </a:lnTo>
                  <a:lnTo>
                    <a:pt x="60" y="52"/>
                  </a:lnTo>
                  <a:lnTo>
                    <a:pt x="60" y="48"/>
                  </a:lnTo>
                  <a:lnTo>
                    <a:pt x="60" y="52"/>
                  </a:lnTo>
                  <a:lnTo>
                    <a:pt x="60" y="56"/>
                  </a:lnTo>
                  <a:lnTo>
                    <a:pt x="62" y="52"/>
                  </a:lnTo>
                  <a:lnTo>
                    <a:pt x="62" y="48"/>
                  </a:lnTo>
                  <a:lnTo>
                    <a:pt x="66" y="48"/>
                  </a:lnTo>
                  <a:lnTo>
                    <a:pt x="66" y="52"/>
                  </a:lnTo>
                  <a:lnTo>
                    <a:pt x="66" y="48"/>
                  </a:lnTo>
                  <a:lnTo>
                    <a:pt x="62" y="48"/>
                  </a:lnTo>
                  <a:lnTo>
                    <a:pt x="62" y="44"/>
                  </a:lnTo>
                  <a:lnTo>
                    <a:pt x="62" y="40"/>
                  </a:lnTo>
                  <a:lnTo>
                    <a:pt x="66" y="40"/>
                  </a:lnTo>
                  <a:lnTo>
                    <a:pt x="66" y="38"/>
                  </a:lnTo>
                  <a:lnTo>
                    <a:pt x="66" y="40"/>
                  </a:lnTo>
                  <a:lnTo>
                    <a:pt x="66" y="38"/>
                  </a:lnTo>
                  <a:lnTo>
                    <a:pt x="66" y="34"/>
                  </a:lnTo>
                  <a:lnTo>
                    <a:pt x="66" y="30"/>
                  </a:lnTo>
                  <a:lnTo>
                    <a:pt x="70" y="30"/>
                  </a:lnTo>
                  <a:lnTo>
                    <a:pt x="70" y="34"/>
                  </a:lnTo>
                  <a:lnTo>
                    <a:pt x="74" y="30"/>
                  </a:lnTo>
                  <a:lnTo>
                    <a:pt x="70" y="30"/>
                  </a:lnTo>
                  <a:lnTo>
                    <a:pt x="74" y="30"/>
                  </a:lnTo>
                  <a:lnTo>
                    <a:pt x="74" y="26"/>
                  </a:lnTo>
                  <a:lnTo>
                    <a:pt x="78" y="26"/>
                  </a:lnTo>
                  <a:lnTo>
                    <a:pt x="78" y="22"/>
                  </a:lnTo>
                  <a:lnTo>
                    <a:pt x="78" y="18"/>
                  </a:lnTo>
                  <a:lnTo>
                    <a:pt x="82" y="18"/>
                  </a:lnTo>
                  <a:lnTo>
                    <a:pt x="82" y="14"/>
                  </a:lnTo>
                  <a:lnTo>
                    <a:pt x="78" y="10"/>
                  </a:lnTo>
                  <a:lnTo>
                    <a:pt x="82" y="10"/>
                  </a:lnTo>
                  <a:lnTo>
                    <a:pt x="82" y="8"/>
                  </a:lnTo>
                  <a:lnTo>
                    <a:pt x="86" y="8"/>
                  </a:lnTo>
                  <a:lnTo>
                    <a:pt x="86" y="4"/>
                  </a:lnTo>
                  <a:lnTo>
                    <a:pt x="82" y="4"/>
                  </a:lnTo>
                  <a:lnTo>
                    <a:pt x="86" y="4"/>
                  </a:lnTo>
                  <a:lnTo>
                    <a:pt x="86" y="0"/>
                  </a:lnTo>
                  <a:lnTo>
                    <a:pt x="86" y="4"/>
                  </a:lnTo>
                  <a:lnTo>
                    <a:pt x="86" y="8"/>
                  </a:lnTo>
                  <a:lnTo>
                    <a:pt x="86" y="4"/>
                  </a:lnTo>
                  <a:lnTo>
                    <a:pt x="86" y="8"/>
                  </a:lnTo>
                  <a:lnTo>
                    <a:pt x="88" y="8"/>
                  </a:lnTo>
                  <a:lnTo>
                    <a:pt x="88" y="10"/>
                  </a:lnTo>
                  <a:lnTo>
                    <a:pt x="88" y="14"/>
                  </a:lnTo>
                  <a:lnTo>
                    <a:pt x="92" y="14"/>
                  </a:lnTo>
                  <a:lnTo>
                    <a:pt x="92" y="18"/>
                  </a:lnTo>
                  <a:lnTo>
                    <a:pt x="96" y="18"/>
                  </a:lnTo>
                  <a:lnTo>
                    <a:pt x="96" y="22"/>
                  </a:lnTo>
                  <a:lnTo>
                    <a:pt x="92" y="22"/>
                  </a:lnTo>
                  <a:lnTo>
                    <a:pt x="96" y="22"/>
                  </a:lnTo>
                  <a:lnTo>
                    <a:pt x="96" y="26"/>
                  </a:lnTo>
                  <a:lnTo>
                    <a:pt x="96" y="30"/>
                  </a:lnTo>
                  <a:lnTo>
                    <a:pt x="96" y="34"/>
                  </a:lnTo>
                  <a:lnTo>
                    <a:pt x="96" y="38"/>
                  </a:lnTo>
                  <a:lnTo>
                    <a:pt x="96" y="40"/>
                  </a:lnTo>
                  <a:lnTo>
                    <a:pt x="100" y="40"/>
                  </a:lnTo>
                  <a:lnTo>
                    <a:pt x="100" y="44"/>
                  </a:lnTo>
                  <a:lnTo>
                    <a:pt x="96" y="44"/>
                  </a:lnTo>
                  <a:lnTo>
                    <a:pt x="100" y="48"/>
                  </a:lnTo>
                  <a:lnTo>
                    <a:pt x="100" y="52"/>
                  </a:lnTo>
                  <a:lnTo>
                    <a:pt x="100" y="56"/>
                  </a:lnTo>
                  <a:lnTo>
                    <a:pt x="104" y="60"/>
                  </a:lnTo>
                  <a:lnTo>
                    <a:pt x="100" y="64"/>
                  </a:lnTo>
                  <a:lnTo>
                    <a:pt x="100" y="66"/>
                  </a:lnTo>
                  <a:lnTo>
                    <a:pt x="100" y="70"/>
                  </a:lnTo>
                  <a:lnTo>
                    <a:pt x="96" y="70"/>
                  </a:lnTo>
                  <a:lnTo>
                    <a:pt x="96" y="66"/>
                  </a:lnTo>
                  <a:lnTo>
                    <a:pt x="92" y="64"/>
                  </a:lnTo>
                  <a:lnTo>
                    <a:pt x="88" y="64"/>
                  </a:lnTo>
                  <a:lnTo>
                    <a:pt x="88" y="66"/>
                  </a:lnTo>
                  <a:lnTo>
                    <a:pt x="92" y="66"/>
                  </a:lnTo>
                  <a:lnTo>
                    <a:pt x="92" y="70"/>
                  </a:lnTo>
                  <a:lnTo>
                    <a:pt x="92" y="74"/>
                  </a:lnTo>
                  <a:lnTo>
                    <a:pt x="92" y="78"/>
                  </a:lnTo>
                  <a:lnTo>
                    <a:pt x="92" y="82"/>
                  </a:lnTo>
                  <a:lnTo>
                    <a:pt x="92" y="86"/>
                  </a:lnTo>
                  <a:lnTo>
                    <a:pt x="88" y="86"/>
                  </a:lnTo>
                  <a:lnTo>
                    <a:pt x="88" y="90"/>
                  </a:lnTo>
                  <a:lnTo>
                    <a:pt x="88" y="94"/>
                  </a:lnTo>
                  <a:lnTo>
                    <a:pt x="88" y="96"/>
                  </a:lnTo>
                  <a:lnTo>
                    <a:pt x="88" y="100"/>
                  </a:lnTo>
                  <a:lnTo>
                    <a:pt x="88" y="104"/>
                  </a:lnTo>
                  <a:lnTo>
                    <a:pt x="88" y="108"/>
                  </a:lnTo>
                  <a:lnTo>
                    <a:pt x="86" y="112"/>
                  </a:lnTo>
                  <a:lnTo>
                    <a:pt x="86" y="116"/>
                  </a:lnTo>
                  <a:lnTo>
                    <a:pt x="86" y="120"/>
                  </a:lnTo>
                  <a:lnTo>
                    <a:pt x="86" y="122"/>
                  </a:lnTo>
                  <a:lnTo>
                    <a:pt x="82" y="122"/>
                  </a:lnTo>
                  <a:lnTo>
                    <a:pt x="82" y="126"/>
                  </a:lnTo>
                  <a:lnTo>
                    <a:pt x="82" y="130"/>
                  </a:lnTo>
                  <a:lnTo>
                    <a:pt x="82" y="134"/>
                  </a:lnTo>
                  <a:lnTo>
                    <a:pt x="78" y="134"/>
                  </a:lnTo>
                  <a:lnTo>
                    <a:pt x="78" y="138"/>
                  </a:lnTo>
                  <a:lnTo>
                    <a:pt x="78" y="142"/>
                  </a:lnTo>
                  <a:lnTo>
                    <a:pt x="78" y="146"/>
                  </a:lnTo>
                  <a:lnTo>
                    <a:pt x="78" y="150"/>
                  </a:lnTo>
                  <a:lnTo>
                    <a:pt x="74" y="150"/>
                  </a:lnTo>
                  <a:lnTo>
                    <a:pt x="74" y="150"/>
                  </a:lnTo>
                  <a:lnTo>
                    <a:pt x="74" y="150"/>
                  </a:lnTo>
                  <a:close/>
                  <a:moveTo>
                    <a:pt x="92" y="90"/>
                  </a:moveTo>
                  <a:lnTo>
                    <a:pt x="92" y="86"/>
                  </a:lnTo>
                  <a:lnTo>
                    <a:pt x="96" y="86"/>
                  </a:lnTo>
                  <a:lnTo>
                    <a:pt x="96" y="90"/>
                  </a:lnTo>
                  <a:lnTo>
                    <a:pt x="92" y="90"/>
                  </a:lnTo>
                  <a:lnTo>
                    <a:pt x="92" y="90"/>
                  </a:lnTo>
                  <a:lnTo>
                    <a:pt x="92" y="9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62" name="Freeform 155"/>
            <p:cNvSpPr>
              <a:spLocks noEditPoints="1"/>
            </p:cNvSpPr>
            <p:nvPr/>
          </p:nvSpPr>
          <p:spPr bwMode="auto">
            <a:xfrm>
              <a:off x="7330412" y="4266358"/>
              <a:ext cx="27631" cy="87608"/>
            </a:xfrm>
            <a:custGeom>
              <a:avLst/>
              <a:gdLst>
                <a:gd name="T0" fmla="*/ 4 w 44"/>
                <a:gd name="T1" fmla="*/ 78 h 134"/>
                <a:gd name="T2" fmla="*/ 0 w 44"/>
                <a:gd name="T3" fmla="*/ 72 h 134"/>
                <a:gd name="T4" fmla="*/ 4 w 44"/>
                <a:gd name="T5" fmla="*/ 68 h 134"/>
                <a:gd name="T6" fmla="*/ 4 w 44"/>
                <a:gd name="T7" fmla="*/ 60 h 134"/>
                <a:gd name="T8" fmla="*/ 4 w 44"/>
                <a:gd name="T9" fmla="*/ 56 h 134"/>
                <a:gd name="T10" fmla="*/ 10 w 44"/>
                <a:gd name="T11" fmla="*/ 52 h 134"/>
                <a:gd name="T12" fmla="*/ 10 w 44"/>
                <a:gd name="T13" fmla="*/ 48 h 134"/>
                <a:gd name="T14" fmla="*/ 10 w 44"/>
                <a:gd name="T15" fmla="*/ 48 h 134"/>
                <a:gd name="T16" fmla="*/ 6 w 44"/>
                <a:gd name="T17" fmla="*/ 38 h 134"/>
                <a:gd name="T18" fmla="*/ 10 w 44"/>
                <a:gd name="T19" fmla="*/ 30 h 134"/>
                <a:gd name="T20" fmla="*/ 6 w 44"/>
                <a:gd name="T21" fmla="*/ 26 h 134"/>
                <a:gd name="T22" fmla="*/ 10 w 44"/>
                <a:gd name="T23" fmla="*/ 22 h 134"/>
                <a:gd name="T24" fmla="*/ 14 w 44"/>
                <a:gd name="T25" fmla="*/ 20 h 134"/>
                <a:gd name="T26" fmla="*/ 10 w 44"/>
                <a:gd name="T27" fmla="*/ 16 h 134"/>
                <a:gd name="T28" fmla="*/ 6 w 44"/>
                <a:gd name="T29" fmla="*/ 12 h 134"/>
                <a:gd name="T30" fmla="*/ 6 w 44"/>
                <a:gd name="T31" fmla="*/ 4 h 134"/>
                <a:gd name="T32" fmla="*/ 6 w 44"/>
                <a:gd name="T33" fmla="*/ 4 h 134"/>
                <a:gd name="T34" fmla="*/ 4 w 44"/>
                <a:gd name="T35" fmla="*/ 0 h 134"/>
                <a:gd name="T36" fmla="*/ 4 w 44"/>
                <a:gd name="T37" fmla="*/ 0 h 134"/>
                <a:gd name="T38" fmla="*/ 10 w 44"/>
                <a:gd name="T39" fmla="*/ 0 h 134"/>
                <a:gd name="T40" fmla="*/ 14 w 44"/>
                <a:gd name="T41" fmla="*/ 4 h 134"/>
                <a:gd name="T42" fmla="*/ 18 w 44"/>
                <a:gd name="T43" fmla="*/ 4 h 134"/>
                <a:gd name="T44" fmla="*/ 18 w 44"/>
                <a:gd name="T45" fmla="*/ 0 h 134"/>
                <a:gd name="T46" fmla="*/ 26 w 44"/>
                <a:gd name="T47" fmla="*/ 8 h 134"/>
                <a:gd name="T48" fmla="*/ 26 w 44"/>
                <a:gd name="T49" fmla="*/ 16 h 134"/>
                <a:gd name="T50" fmla="*/ 26 w 44"/>
                <a:gd name="T51" fmla="*/ 20 h 134"/>
                <a:gd name="T52" fmla="*/ 26 w 44"/>
                <a:gd name="T53" fmla="*/ 26 h 134"/>
                <a:gd name="T54" fmla="*/ 30 w 44"/>
                <a:gd name="T55" fmla="*/ 30 h 134"/>
                <a:gd name="T56" fmla="*/ 34 w 44"/>
                <a:gd name="T57" fmla="*/ 38 h 134"/>
                <a:gd name="T58" fmla="*/ 26 w 44"/>
                <a:gd name="T59" fmla="*/ 38 h 134"/>
                <a:gd name="T60" fmla="*/ 26 w 44"/>
                <a:gd name="T61" fmla="*/ 42 h 134"/>
                <a:gd name="T62" fmla="*/ 22 w 44"/>
                <a:gd name="T63" fmla="*/ 48 h 134"/>
                <a:gd name="T64" fmla="*/ 26 w 44"/>
                <a:gd name="T65" fmla="*/ 52 h 134"/>
                <a:gd name="T66" fmla="*/ 26 w 44"/>
                <a:gd name="T67" fmla="*/ 56 h 134"/>
                <a:gd name="T68" fmla="*/ 26 w 44"/>
                <a:gd name="T69" fmla="*/ 68 h 134"/>
                <a:gd name="T70" fmla="*/ 30 w 44"/>
                <a:gd name="T71" fmla="*/ 72 h 134"/>
                <a:gd name="T72" fmla="*/ 40 w 44"/>
                <a:gd name="T73" fmla="*/ 82 h 134"/>
                <a:gd name="T74" fmla="*/ 44 w 44"/>
                <a:gd name="T75" fmla="*/ 94 h 134"/>
                <a:gd name="T76" fmla="*/ 44 w 44"/>
                <a:gd name="T77" fmla="*/ 102 h 134"/>
                <a:gd name="T78" fmla="*/ 44 w 44"/>
                <a:gd name="T79" fmla="*/ 112 h 134"/>
                <a:gd name="T80" fmla="*/ 40 w 44"/>
                <a:gd name="T81" fmla="*/ 116 h 134"/>
                <a:gd name="T82" fmla="*/ 38 w 44"/>
                <a:gd name="T83" fmla="*/ 124 h 134"/>
                <a:gd name="T84" fmla="*/ 38 w 44"/>
                <a:gd name="T85" fmla="*/ 124 h 134"/>
                <a:gd name="T86" fmla="*/ 38 w 44"/>
                <a:gd name="T87" fmla="*/ 132 h 134"/>
                <a:gd name="T88" fmla="*/ 34 w 44"/>
                <a:gd name="T89" fmla="*/ 132 h 134"/>
                <a:gd name="T90" fmla="*/ 34 w 44"/>
                <a:gd name="T91" fmla="*/ 128 h 134"/>
                <a:gd name="T92" fmla="*/ 30 w 44"/>
                <a:gd name="T93" fmla="*/ 124 h 134"/>
                <a:gd name="T94" fmla="*/ 26 w 44"/>
                <a:gd name="T95" fmla="*/ 120 h 134"/>
                <a:gd name="T96" fmla="*/ 26 w 44"/>
                <a:gd name="T97" fmla="*/ 116 h 134"/>
                <a:gd name="T98" fmla="*/ 22 w 44"/>
                <a:gd name="T99" fmla="*/ 112 h 134"/>
                <a:gd name="T100" fmla="*/ 22 w 44"/>
                <a:gd name="T101" fmla="*/ 108 h 134"/>
                <a:gd name="T102" fmla="*/ 26 w 44"/>
                <a:gd name="T103" fmla="*/ 104 h 134"/>
                <a:gd name="T104" fmla="*/ 26 w 44"/>
                <a:gd name="T105" fmla="*/ 102 h 134"/>
                <a:gd name="T106" fmla="*/ 26 w 44"/>
                <a:gd name="T107" fmla="*/ 98 h 134"/>
                <a:gd name="T108" fmla="*/ 26 w 44"/>
                <a:gd name="T109" fmla="*/ 90 h 134"/>
                <a:gd name="T110" fmla="*/ 22 w 44"/>
                <a:gd name="T111" fmla="*/ 86 h 134"/>
                <a:gd name="T112" fmla="*/ 14 w 44"/>
                <a:gd name="T113" fmla="*/ 86 h 134"/>
                <a:gd name="T114" fmla="*/ 6 w 44"/>
                <a:gd name="T115" fmla="*/ 78 h 134"/>
                <a:gd name="T116" fmla="*/ 26 w 44"/>
                <a:gd name="T117" fmla="*/ 46 h 134"/>
                <a:gd name="T118" fmla="*/ 30 w 44"/>
                <a:gd name="T119" fmla="*/ 4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 h="134">
                  <a:moveTo>
                    <a:pt x="6" y="78"/>
                  </a:moveTo>
                  <a:lnTo>
                    <a:pt x="6" y="78"/>
                  </a:lnTo>
                  <a:lnTo>
                    <a:pt x="6" y="78"/>
                  </a:lnTo>
                  <a:lnTo>
                    <a:pt x="6" y="78"/>
                  </a:lnTo>
                  <a:lnTo>
                    <a:pt x="6" y="78"/>
                  </a:lnTo>
                  <a:lnTo>
                    <a:pt x="4" y="78"/>
                  </a:lnTo>
                  <a:lnTo>
                    <a:pt x="4" y="76"/>
                  </a:lnTo>
                  <a:lnTo>
                    <a:pt x="4" y="76"/>
                  </a:lnTo>
                  <a:lnTo>
                    <a:pt x="0" y="72"/>
                  </a:lnTo>
                  <a:lnTo>
                    <a:pt x="0" y="72"/>
                  </a:lnTo>
                  <a:lnTo>
                    <a:pt x="0" y="72"/>
                  </a:lnTo>
                  <a:lnTo>
                    <a:pt x="0" y="72"/>
                  </a:lnTo>
                  <a:lnTo>
                    <a:pt x="0" y="72"/>
                  </a:lnTo>
                  <a:lnTo>
                    <a:pt x="0" y="72"/>
                  </a:lnTo>
                  <a:lnTo>
                    <a:pt x="4" y="72"/>
                  </a:lnTo>
                  <a:lnTo>
                    <a:pt x="4" y="72"/>
                  </a:lnTo>
                  <a:lnTo>
                    <a:pt x="4" y="68"/>
                  </a:lnTo>
                  <a:lnTo>
                    <a:pt x="4" y="68"/>
                  </a:lnTo>
                  <a:lnTo>
                    <a:pt x="4" y="64"/>
                  </a:lnTo>
                  <a:lnTo>
                    <a:pt x="4" y="64"/>
                  </a:lnTo>
                  <a:lnTo>
                    <a:pt x="4" y="64"/>
                  </a:lnTo>
                  <a:lnTo>
                    <a:pt x="4" y="60"/>
                  </a:lnTo>
                  <a:lnTo>
                    <a:pt x="4" y="60"/>
                  </a:lnTo>
                  <a:lnTo>
                    <a:pt x="4" y="60"/>
                  </a:lnTo>
                  <a:lnTo>
                    <a:pt x="4" y="60"/>
                  </a:lnTo>
                  <a:lnTo>
                    <a:pt x="4" y="60"/>
                  </a:lnTo>
                  <a:lnTo>
                    <a:pt x="4" y="60"/>
                  </a:lnTo>
                  <a:lnTo>
                    <a:pt x="4" y="60"/>
                  </a:lnTo>
                  <a:lnTo>
                    <a:pt x="4" y="60"/>
                  </a:lnTo>
                  <a:lnTo>
                    <a:pt x="4" y="56"/>
                  </a:lnTo>
                  <a:lnTo>
                    <a:pt x="4" y="52"/>
                  </a:lnTo>
                  <a:lnTo>
                    <a:pt x="4" y="52"/>
                  </a:lnTo>
                  <a:lnTo>
                    <a:pt x="6" y="52"/>
                  </a:lnTo>
                  <a:lnTo>
                    <a:pt x="6" y="52"/>
                  </a:lnTo>
                  <a:lnTo>
                    <a:pt x="6" y="52"/>
                  </a:lnTo>
                  <a:lnTo>
                    <a:pt x="10" y="52"/>
                  </a:lnTo>
                  <a:lnTo>
                    <a:pt x="10" y="52"/>
                  </a:lnTo>
                  <a:lnTo>
                    <a:pt x="10" y="52"/>
                  </a:lnTo>
                  <a:lnTo>
                    <a:pt x="10" y="48"/>
                  </a:lnTo>
                  <a:lnTo>
                    <a:pt x="10" y="48"/>
                  </a:lnTo>
                  <a:lnTo>
                    <a:pt x="10" y="48"/>
                  </a:lnTo>
                  <a:lnTo>
                    <a:pt x="10" y="48"/>
                  </a:lnTo>
                  <a:lnTo>
                    <a:pt x="10" y="48"/>
                  </a:lnTo>
                  <a:lnTo>
                    <a:pt x="10" y="48"/>
                  </a:lnTo>
                  <a:lnTo>
                    <a:pt x="10" y="48"/>
                  </a:lnTo>
                  <a:lnTo>
                    <a:pt x="10" y="48"/>
                  </a:lnTo>
                  <a:lnTo>
                    <a:pt x="10" y="48"/>
                  </a:lnTo>
                  <a:lnTo>
                    <a:pt x="10" y="48"/>
                  </a:lnTo>
                  <a:lnTo>
                    <a:pt x="6" y="46"/>
                  </a:lnTo>
                  <a:lnTo>
                    <a:pt x="6" y="46"/>
                  </a:lnTo>
                  <a:lnTo>
                    <a:pt x="6" y="46"/>
                  </a:lnTo>
                  <a:lnTo>
                    <a:pt x="6" y="42"/>
                  </a:lnTo>
                  <a:lnTo>
                    <a:pt x="6" y="38"/>
                  </a:lnTo>
                  <a:lnTo>
                    <a:pt x="6" y="38"/>
                  </a:lnTo>
                  <a:lnTo>
                    <a:pt x="6" y="38"/>
                  </a:lnTo>
                  <a:lnTo>
                    <a:pt x="6" y="38"/>
                  </a:lnTo>
                  <a:lnTo>
                    <a:pt x="6" y="34"/>
                  </a:lnTo>
                  <a:lnTo>
                    <a:pt x="6" y="34"/>
                  </a:lnTo>
                  <a:lnTo>
                    <a:pt x="6" y="34"/>
                  </a:lnTo>
                  <a:lnTo>
                    <a:pt x="10" y="30"/>
                  </a:lnTo>
                  <a:lnTo>
                    <a:pt x="10" y="30"/>
                  </a:lnTo>
                  <a:lnTo>
                    <a:pt x="10" y="30"/>
                  </a:lnTo>
                  <a:lnTo>
                    <a:pt x="10" y="30"/>
                  </a:lnTo>
                  <a:lnTo>
                    <a:pt x="10" y="30"/>
                  </a:lnTo>
                  <a:lnTo>
                    <a:pt x="10" y="26"/>
                  </a:lnTo>
                  <a:lnTo>
                    <a:pt x="6" y="26"/>
                  </a:lnTo>
                  <a:lnTo>
                    <a:pt x="6" y="22"/>
                  </a:lnTo>
                  <a:lnTo>
                    <a:pt x="10" y="22"/>
                  </a:lnTo>
                  <a:lnTo>
                    <a:pt x="10" y="22"/>
                  </a:lnTo>
                  <a:lnTo>
                    <a:pt x="10" y="22"/>
                  </a:lnTo>
                  <a:lnTo>
                    <a:pt x="10" y="22"/>
                  </a:lnTo>
                  <a:lnTo>
                    <a:pt x="10" y="22"/>
                  </a:lnTo>
                  <a:lnTo>
                    <a:pt x="10" y="22"/>
                  </a:lnTo>
                  <a:lnTo>
                    <a:pt x="10" y="22"/>
                  </a:lnTo>
                  <a:lnTo>
                    <a:pt x="14" y="20"/>
                  </a:lnTo>
                  <a:lnTo>
                    <a:pt x="14" y="20"/>
                  </a:lnTo>
                  <a:lnTo>
                    <a:pt x="14" y="20"/>
                  </a:lnTo>
                  <a:lnTo>
                    <a:pt x="14" y="20"/>
                  </a:lnTo>
                  <a:lnTo>
                    <a:pt x="14" y="20"/>
                  </a:lnTo>
                  <a:lnTo>
                    <a:pt x="14" y="20"/>
                  </a:lnTo>
                  <a:lnTo>
                    <a:pt x="14" y="20"/>
                  </a:lnTo>
                  <a:lnTo>
                    <a:pt x="10" y="16"/>
                  </a:lnTo>
                  <a:lnTo>
                    <a:pt x="10" y="16"/>
                  </a:lnTo>
                  <a:lnTo>
                    <a:pt x="10" y="16"/>
                  </a:lnTo>
                  <a:lnTo>
                    <a:pt x="10" y="16"/>
                  </a:lnTo>
                  <a:lnTo>
                    <a:pt x="10" y="16"/>
                  </a:lnTo>
                  <a:lnTo>
                    <a:pt x="10" y="12"/>
                  </a:lnTo>
                  <a:lnTo>
                    <a:pt x="10" y="12"/>
                  </a:lnTo>
                  <a:lnTo>
                    <a:pt x="10" y="12"/>
                  </a:lnTo>
                  <a:lnTo>
                    <a:pt x="6" y="12"/>
                  </a:lnTo>
                  <a:lnTo>
                    <a:pt x="6" y="8"/>
                  </a:lnTo>
                  <a:lnTo>
                    <a:pt x="10" y="8"/>
                  </a:lnTo>
                  <a:lnTo>
                    <a:pt x="6" y="8"/>
                  </a:lnTo>
                  <a:lnTo>
                    <a:pt x="6" y="4"/>
                  </a:lnTo>
                  <a:lnTo>
                    <a:pt x="6" y="4"/>
                  </a:lnTo>
                  <a:lnTo>
                    <a:pt x="6" y="4"/>
                  </a:lnTo>
                  <a:lnTo>
                    <a:pt x="6" y="4"/>
                  </a:lnTo>
                  <a:lnTo>
                    <a:pt x="6" y="4"/>
                  </a:lnTo>
                  <a:lnTo>
                    <a:pt x="6" y="4"/>
                  </a:lnTo>
                  <a:lnTo>
                    <a:pt x="6" y="4"/>
                  </a:lnTo>
                  <a:lnTo>
                    <a:pt x="6" y="4"/>
                  </a:lnTo>
                  <a:lnTo>
                    <a:pt x="6" y="4"/>
                  </a:lnTo>
                  <a:lnTo>
                    <a:pt x="6" y="4"/>
                  </a:lnTo>
                  <a:lnTo>
                    <a:pt x="4" y="4"/>
                  </a:lnTo>
                  <a:lnTo>
                    <a:pt x="4" y="4"/>
                  </a:lnTo>
                  <a:lnTo>
                    <a:pt x="4" y="0"/>
                  </a:lnTo>
                  <a:lnTo>
                    <a:pt x="4" y="0"/>
                  </a:lnTo>
                  <a:lnTo>
                    <a:pt x="4" y="0"/>
                  </a:lnTo>
                  <a:lnTo>
                    <a:pt x="4" y="0"/>
                  </a:lnTo>
                  <a:lnTo>
                    <a:pt x="4" y="0"/>
                  </a:lnTo>
                  <a:lnTo>
                    <a:pt x="4" y="0"/>
                  </a:lnTo>
                  <a:lnTo>
                    <a:pt x="4" y="0"/>
                  </a:lnTo>
                  <a:lnTo>
                    <a:pt x="4" y="0"/>
                  </a:lnTo>
                  <a:lnTo>
                    <a:pt x="4" y="0"/>
                  </a:lnTo>
                  <a:lnTo>
                    <a:pt x="6" y="0"/>
                  </a:lnTo>
                  <a:lnTo>
                    <a:pt x="6" y="0"/>
                  </a:lnTo>
                  <a:lnTo>
                    <a:pt x="6" y="0"/>
                  </a:lnTo>
                  <a:lnTo>
                    <a:pt x="6" y="0"/>
                  </a:lnTo>
                  <a:lnTo>
                    <a:pt x="10" y="0"/>
                  </a:lnTo>
                  <a:lnTo>
                    <a:pt x="10" y="0"/>
                  </a:lnTo>
                  <a:lnTo>
                    <a:pt x="10" y="4"/>
                  </a:lnTo>
                  <a:lnTo>
                    <a:pt x="10" y="4"/>
                  </a:lnTo>
                  <a:lnTo>
                    <a:pt x="10" y="4"/>
                  </a:lnTo>
                  <a:lnTo>
                    <a:pt x="10" y="4"/>
                  </a:lnTo>
                  <a:lnTo>
                    <a:pt x="10" y="4"/>
                  </a:lnTo>
                  <a:lnTo>
                    <a:pt x="14" y="4"/>
                  </a:lnTo>
                  <a:lnTo>
                    <a:pt x="18" y="4"/>
                  </a:lnTo>
                  <a:lnTo>
                    <a:pt x="18" y="4"/>
                  </a:lnTo>
                  <a:lnTo>
                    <a:pt x="18" y="4"/>
                  </a:lnTo>
                  <a:lnTo>
                    <a:pt x="18" y="4"/>
                  </a:lnTo>
                  <a:lnTo>
                    <a:pt x="18" y="4"/>
                  </a:lnTo>
                  <a:lnTo>
                    <a:pt x="18" y="4"/>
                  </a:lnTo>
                  <a:lnTo>
                    <a:pt x="18" y="0"/>
                  </a:lnTo>
                  <a:lnTo>
                    <a:pt x="18" y="0"/>
                  </a:lnTo>
                  <a:lnTo>
                    <a:pt x="18" y="0"/>
                  </a:lnTo>
                  <a:lnTo>
                    <a:pt x="18" y="0"/>
                  </a:lnTo>
                  <a:lnTo>
                    <a:pt x="18" y="0"/>
                  </a:lnTo>
                  <a:lnTo>
                    <a:pt x="18" y="0"/>
                  </a:lnTo>
                  <a:lnTo>
                    <a:pt x="22" y="0"/>
                  </a:lnTo>
                  <a:lnTo>
                    <a:pt x="22" y="4"/>
                  </a:lnTo>
                  <a:lnTo>
                    <a:pt x="22" y="4"/>
                  </a:lnTo>
                  <a:lnTo>
                    <a:pt x="22" y="4"/>
                  </a:lnTo>
                  <a:lnTo>
                    <a:pt x="22" y="8"/>
                  </a:lnTo>
                  <a:lnTo>
                    <a:pt x="26" y="8"/>
                  </a:lnTo>
                  <a:lnTo>
                    <a:pt x="26" y="8"/>
                  </a:lnTo>
                  <a:lnTo>
                    <a:pt x="26" y="8"/>
                  </a:lnTo>
                  <a:lnTo>
                    <a:pt x="26" y="8"/>
                  </a:lnTo>
                  <a:lnTo>
                    <a:pt x="26" y="12"/>
                  </a:lnTo>
                  <a:lnTo>
                    <a:pt x="26" y="16"/>
                  </a:lnTo>
                  <a:lnTo>
                    <a:pt x="26" y="16"/>
                  </a:lnTo>
                  <a:lnTo>
                    <a:pt x="26" y="16"/>
                  </a:lnTo>
                  <a:lnTo>
                    <a:pt x="26" y="20"/>
                  </a:lnTo>
                  <a:lnTo>
                    <a:pt x="26" y="20"/>
                  </a:lnTo>
                  <a:lnTo>
                    <a:pt x="26" y="20"/>
                  </a:lnTo>
                  <a:lnTo>
                    <a:pt x="26" y="20"/>
                  </a:lnTo>
                  <a:lnTo>
                    <a:pt x="26" y="20"/>
                  </a:lnTo>
                  <a:lnTo>
                    <a:pt x="30" y="20"/>
                  </a:lnTo>
                  <a:lnTo>
                    <a:pt x="30" y="20"/>
                  </a:lnTo>
                  <a:lnTo>
                    <a:pt x="30" y="22"/>
                  </a:lnTo>
                  <a:lnTo>
                    <a:pt x="30" y="22"/>
                  </a:lnTo>
                  <a:lnTo>
                    <a:pt x="26" y="26"/>
                  </a:lnTo>
                  <a:lnTo>
                    <a:pt x="26" y="26"/>
                  </a:lnTo>
                  <a:lnTo>
                    <a:pt x="26" y="26"/>
                  </a:lnTo>
                  <a:lnTo>
                    <a:pt x="26" y="26"/>
                  </a:lnTo>
                  <a:lnTo>
                    <a:pt x="26" y="26"/>
                  </a:lnTo>
                  <a:lnTo>
                    <a:pt x="26" y="30"/>
                  </a:lnTo>
                  <a:lnTo>
                    <a:pt x="26" y="30"/>
                  </a:lnTo>
                  <a:lnTo>
                    <a:pt x="30" y="30"/>
                  </a:lnTo>
                  <a:lnTo>
                    <a:pt x="30" y="34"/>
                  </a:lnTo>
                  <a:lnTo>
                    <a:pt x="30" y="34"/>
                  </a:lnTo>
                  <a:lnTo>
                    <a:pt x="30" y="34"/>
                  </a:lnTo>
                  <a:lnTo>
                    <a:pt x="34" y="34"/>
                  </a:lnTo>
                  <a:lnTo>
                    <a:pt x="34" y="34"/>
                  </a:lnTo>
                  <a:lnTo>
                    <a:pt x="34" y="38"/>
                  </a:lnTo>
                  <a:lnTo>
                    <a:pt x="34" y="38"/>
                  </a:lnTo>
                  <a:lnTo>
                    <a:pt x="30" y="38"/>
                  </a:lnTo>
                  <a:lnTo>
                    <a:pt x="30" y="38"/>
                  </a:lnTo>
                  <a:lnTo>
                    <a:pt x="26" y="38"/>
                  </a:lnTo>
                  <a:lnTo>
                    <a:pt x="26" y="38"/>
                  </a:lnTo>
                  <a:lnTo>
                    <a:pt x="26" y="38"/>
                  </a:lnTo>
                  <a:lnTo>
                    <a:pt x="26" y="38"/>
                  </a:lnTo>
                  <a:lnTo>
                    <a:pt x="26" y="38"/>
                  </a:lnTo>
                  <a:lnTo>
                    <a:pt x="26" y="38"/>
                  </a:lnTo>
                  <a:lnTo>
                    <a:pt x="26" y="42"/>
                  </a:lnTo>
                  <a:lnTo>
                    <a:pt x="26" y="42"/>
                  </a:lnTo>
                  <a:lnTo>
                    <a:pt x="26" y="42"/>
                  </a:lnTo>
                  <a:lnTo>
                    <a:pt x="26" y="42"/>
                  </a:lnTo>
                  <a:lnTo>
                    <a:pt x="26" y="46"/>
                  </a:lnTo>
                  <a:lnTo>
                    <a:pt x="26" y="46"/>
                  </a:lnTo>
                  <a:lnTo>
                    <a:pt x="22" y="46"/>
                  </a:lnTo>
                  <a:lnTo>
                    <a:pt x="22" y="46"/>
                  </a:lnTo>
                  <a:lnTo>
                    <a:pt x="22" y="48"/>
                  </a:lnTo>
                  <a:lnTo>
                    <a:pt x="22" y="48"/>
                  </a:lnTo>
                  <a:lnTo>
                    <a:pt x="22" y="48"/>
                  </a:lnTo>
                  <a:lnTo>
                    <a:pt x="26" y="48"/>
                  </a:lnTo>
                  <a:lnTo>
                    <a:pt x="26" y="52"/>
                  </a:lnTo>
                  <a:lnTo>
                    <a:pt x="26" y="52"/>
                  </a:lnTo>
                  <a:lnTo>
                    <a:pt x="26" y="52"/>
                  </a:lnTo>
                  <a:lnTo>
                    <a:pt x="26" y="52"/>
                  </a:lnTo>
                  <a:lnTo>
                    <a:pt x="26" y="56"/>
                  </a:lnTo>
                  <a:lnTo>
                    <a:pt x="26" y="56"/>
                  </a:lnTo>
                  <a:lnTo>
                    <a:pt x="26" y="56"/>
                  </a:lnTo>
                  <a:lnTo>
                    <a:pt x="26" y="56"/>
                  </a:lnTo>
                  <a:lnTo>
                    <a:pt x="26" y="56"/>
                  </a:lnTo>
                  <a:lnTo>
                    <a:pt x="26" y="60"/>
                  </a:lnTo>
                  <a:lnTo>
                    <a:pt x="26" y="60"/>
                  </a:lnTo>
                  <a:lnTo>
                    <a:pt x="26" y="60"/>
                  </a:lnTo>
                  <a:lnTo>
                    <a:pt x="26" y="60"/>
                  </a:lnTo>
                  <a:lnTo>
                    <a:pt x="26" y="64"/>
                  </a:lnTo>
                  <a:lnTo>
                    <a:pt x="26" y="68"/>
                  </a:lnTo>
                  <a:lnTo>
                    <a:pt x="26" y="68"/>
                  </a:lnTo>
                  <a:lnTo>
                    <a:pt x="26" y="68"/>
                  </a:lnTo>
                  <a:lnTo>
                    <a:pt x="26" y="68"/>
                  </a:lnTo>
                  <a:lnTo>
                    <a:pt x="30" y="72"/>
                  </a:lnTo>
                  <a:lnTo>
                    <a:pt x="30" y="72"/>
                  </a:lnTo>
                  <a:lnTo>
                    <a:pt x="30" y="72"/>
                  </a:lnTo>
                  <a:lnTo>
                    <a:pt x="30" y="72"/>
                  </a:lnTo>
                  <a:lnTo>
                    <a:pt x="34" y="72"/>
                  </a:lnTo>
                  <a:lnTo>
                    <a:pt x="34" y="76"/>
                  </a:lnTo>
                  <a:lnTo>
                    <a:pt x="38" y="76"/>
                  </a:lnTo>
                  <a:lnTo>
                    <a:pt x="40" y="82"/>
                  </a:lnTo>
                  <a:lnTo>
                    <a:pt x="40" y="82"/>
                  </a:lnTo>
                  <a:lnTo>
                    <a:pt x="40" y="82"/>
                  </a:lnTo>
                  <a:lnTo>
                    <a:pt x="40" y="82"/>
                  </a:lnTo>
                  <a:lnTo>
                    <a:pt x="44" y="90"/>
                  </a:lnTo>
                  <a:lnTo>
                    <a:pt x="44" y="90"/>
                  </a:lnTo>
                  <a:lnTo>
                    <a:pt x="44" y="90"/>
                  </a:lnTo>
                  <a:lnTo>
                    <a:pt x="44" y="94"/>
                  </a:lnTo>
                  <a:lnTo>
                    <a:pt x="44" y="94"/>
                  </a:lnTo>
                  <a:lnTo>
                    <a:pt x="44" y="94"/>
                  </a:lnTo>
                  <a:lnTo>
                    <a:pt x="44" y="98"/>
                  </a:lnTo>
                  <a:lnTo>
                    <a:pt x="44" y="98"/>
                  </a:lnTo>
                  <a:lnTo>
                    <a:pt x="44" y="102"/>
                  </a:lnTo>
                  <a:lnTo>
                    <a:pt x="44" y="102"/>
                  </a:lnTo>
                  <a:lnTo>
                    <a:pt x="44" y="104"/>
                  </a:lnTo>
                  <a:lnTo>
                    <a:pt x="44" y="104"/>
                  </a:lnTo>
                  <a:lnTo>
                    <a:pt x="44" y="104"/>
                  </a:lnTo>
                  <a:lnTo>
                    <a:pt x="44" y="104"/>
                  </a:lnTo>
                  <a:lnTo>
                    <a:pt x="44" y="112"/>
                  </a:lnTo>
                  <a:lnTo>
                    <a:pt x="44" y="112"/>
                  </a:lnTo>
                  <a:lnTo>
                    <a:pt x="44" y="116"/>
                  </a:lnTo>
                  <a:lnTo>
                    <a:pt x="44" y="116"/>
                  </a:lnTo>
                  <a:lnTo>
                    <a:pt x="44" y="116"/>
                  </a:lnTo>
                  <a:lnTo>
                    <a:pt x="40" y="116"/>
                  </a:lnTo>
                  <a:lnTo>
                    <a:pt x="40" y="116"/>
                  </a:lnTo>
                  <a:lnTo>
                    <a:pt x="40" y="116"/>
                  </a:lnTo>
                  <a:lnTo>
                    <a:pt x="38" y="116"/>
                  </a:lnTo>
                  <a:lnTo>
                    <a:pt x="38" y="116"/>
                  </a:lnTo>
                  <a:lnTo>
                    <a:pt x="38" y="120"/>
                  </a:lnTo>
                  <a:lnTo>
                    <a:pt x="38" y="120"/>
                  </a:lnTo>
                  <a:lnTo>
                    <a:pt x="38" y="120"/>
                  </a:lnTo>
                  <a:lnTo>
                    <a:pt x="38" y="124"/>
                  </a:lnTo>
                  <a:lnTo>
                    <a:pt x="34" y="124"/>
                  </a:lnTo>
                  <a:lnTo>
                    <a:pt x="34" y="124"/>
                  </a:lnTo>
                  <a:lnTo>
                    <a:pt x="34" y="124"/>
                  </a:lnTo>
                  <a:lnTo>
                    <a:pt x="38" y="124"/>
                  </a:lnTo>
                  <a:lnTo>
                    <a:pt x="38" y="124"/>
                  </a:lnTo>
                  <a:lnTo>
                    <a:pt x="38" y="124"/>
                  </a:lnTo>
                  <a:lnTo>
                    <a:pt x="38" y="128"/>
                  </a:lnTo>
                  <a:lnTo>
                    <a:pt x="38" y="128"/>
                  </a:lnTo>
                  <a:lnTo>
                    <a:pt x="38" y="128"/>
                  </a:lnTo>
                  <a:lnTo>
                    <a:pt x="38" y="132"/>
                  </a:lnTo>
                  <a:lnTo>
                    <a:pt x="38" y="132"/>
                  </a:lnTo>
                  <a:lnTo>
                    <a:pt x="38" y="132"/>
                  </a:lnTo>
                  <a:lnTo>
                    <a:pt x="38" y="132"/>
                  </a:lnTo>
                  <a:lnTo>
                    <a:pt x="38" y="134"/>
                  </a:lnTo>
                  <a:lnTo>
                    <a:pt x="38" y="134"/>
                  </a:lnTo>
                  <a:lnTo>
                    <a:pt x="34" y="134"/>
                  </a:lnTo>
                  <a:lnTo>
                    <a:pt x="34" y="134"/>
                  </a:lnTo>
                  <a:lnTo>
                    <a:pt x="34" y="132"/>
                  </a:lnTo>
                  <a:lnTo>
                    <a:pt x="34" y="132"/>
                  </a:lnTo>
                  <a:lnTo>
                    <a:pt x="34" y="132"/>
                  </a:lnTo>
                  <a:lnTo>
                    <a:pt x="34" y="132"/>
                  </a:lnTo>
                  <a:lnTo>
                    <a:pt x="34" y="132"/>
                  </a:lnTo>
                  <a:lnTo>
                    <a:pt x="34" y="128"/>
                  </a:lnTo>
                  <a:lnTo>
                    <a:pt x="34" y="128"/>
                  </a:lnTo>
                  <a:lnTo>
                    <a:pt x="34" y="128"/>
                  </a:lnTo>
                  <a:lnTo>
                    <a:pt x="34" y="128"/>
                  </a:lnTo>
                  <a:lnTo>
                    <a:pt x="34" y="128"/>
                  </a:lnTo>
                  <a:lnTo>
                    <a:pt x="34" y="128"/>
                  </a:lnTo>
                  <a:lnTo>
                    <a:pt x="30" y="124"/>
                  </a:lnTo>
                  <a:lnTo>
                    <a:pt x="30" y="124"/>
                  </a:lnTo>
                  <a:lnTo>
                    <a:pt x="30" y="124"/>
                  </a:lnTo>
                  <a:lnTo>
                    <a:pt x="30" y="120"/>
                  </a:lnTo>
                  <a:lnTo>
                    <a:pt x="26" y="120"/>
                  </a:lnTo>
                  <a:lnTo>
                    <a:pt x="26" y="120"/>
                  </a:lnTo>
                  <a:lnTo>
                    <a:pt x="26" y="120"/>
                  </a:lnTo>
                  <a:lnTo>
                    <a:pt x="26" y="120"/>
                  </a:lnTo>
                  <a:lnTo>
                    <a:pt x="26" y="120"/>
                  </a:lnTo>
                  <a:lnTo>
                    <a:pt x="26" y="120"/>
                  </a:lnTo>
                  <a:lnTo>
                    <a:pt x="26" y="120"/>
                  </a:lnTo>
                  <a:lnTo>
                    <a:pt x="26" y="120"/>
                  </a:lnTo>
                  <a:lnTo>
                    <a:pt x="26" y="116"/>
                  </a:lnTo>
                  <a:lnTo>
                    <a:pt x="26" y="116"/>
                  </a:lnTo>
                  <a:lnTo>
                    <a:pt x="26" y="116"/>
                  </a:lnTo>
                  <a:lnTo>
                    <a:pt x="26" y="116"/>
                  </a:lnTo>
                  <a:lnTo>
                    <a:pt x="26" y="116"/>
                  </a:lnTo>
                  <a:lnTo>
                    <a:pt x="22" y="112"/>
                  </a:lnTo>
                  <a:lnTo>
                    <a:pt x="22" y="112"/>
                  </a:lnTo>
                  <a:lnTo>
                    <a:pt x="22" y="112"/>
                  </a:lnTo>
                  <a:lnTo>
                    <a:pt x="22" y="112"/>
                  </a:lnTo>
                  <a:lnTo>
                    <a:pt x="22" y="112"/>
                  </a:lnTo>
                  <a:lnTo>
                    <a:pt x="22" y="112"/>
                  </a:lnTo>
                  <a:lnTo>
                    <a:pt x="22" y="108"/>
                  </a:lnTo>
                  <a:lnTo>
                    <a:pt x="22" y="108"/>
                  </a:lnTo>
                  <a:lnTo>
                    <a:pt x="22" y="108"/>
                  </a:lnTo>
                  <a:lnTo>
                    <a:pt x="22" y="108"/>
                  </a:lnTo>
                  <a:lnTo>
                    <a:pt x="22" y="108"/>
                  </a:lnTo>
                  <a:lnTo>
                    <a:pt x="22" y="108"/>
                  </a:lnTo>
                  <a:lnTo>
                    <a:pt x="26" y="108"/>
                  </a:lnTo>
                  <a:lnTo>
                    <a:pt x="26" y="104"/>
                  </a:lnTo>
                  <a:lnTo>
                    <a:pt x="26" y="104"/>
                  </a:lnTo>
                  <a:lnTo>
                    <a:pt x="26" y="104"/>
                  </a:lnTo>
                  <a:lnTo>
                    <a:pt x="26" y="104"/>
                  </a:lnTo>
                  <a:lnTo>
                    <a:pt x="26" y="104"/>
                  </a:lnTo>
                  <a:lnTo>
                    <a:pt x="26" y="102"/>
                  </a:lnTo>
                  <a:lnTo>
                    <a:pt x="26" y="102"/>
                  </a:lnTo>
                  <a:lnTo>
                    <a:pt x="26" y="102"/>
                  </a:lnTo>
                  <a:lnTo>
                    <a:pt x="26" y="102"/>
                  </a:lnTo>
                  <a:lnTo>
                    <a:pt x="26" y="102"/>
                  </a:lnTo>
                  <a:lnTo>
                    <a:pt x="26" y="102"/>
                  </a:lnTo>
                  <a:lnTo>
                    <a:pt x="26" y="102"/>
                  </a:lnTo>
                  <a:lnTo>
                    <a:pt x="26" y="102"/>
                  </a:lnTo>
                  <a:lnTo>
                    <a:pt x="26" y="98"/>
                  </a:lnTo>
                  <a:lnTo>
                    <a:pt x="26" y="98"/>
                  </a:lnTo>
                  <a:lnTo>
                    <a:pt x="26" y="94"/>
                  </a:lnTo>
                  <a:lnTo>
                    <a:pt x="26" y="94"/>
                  </a:lnTo>
                  <a:lnTo>
                    <a:pt x="26" y="90"/>
                  </a:lnTo>
                  <a:lnTo>
                    <a:pt x="26" y="90"/>
                  </a:lnTo>
                  <a:lnTo>
                    <a:pt x="26" y="90"/>
                  </a:lnTo>
                  <a:lnTo>
                    <a:pt x="26" y="90"/>
                  </a:lnTo>
                  <a:lnTo>
                    <a:pt x="26" y="86"/>
                  </a:lnTo>
                  <a:lnTo>
                    <a:pt x="26" y="86"/>
                  </a:lnTo>
                  <a:lnTo>
                    <a:pt x="26" y="86"/>
                  </a:lnTo>
                  <a:lnTo>
                    <a:pt x="26" y="86"/>
                  </a:lnTo>
                  <a:lnTo>
                    <a:pt x="22" y="86"/>
                  </a:lnTo>
                  <a:lnTo>
                    <a:pt x="22" y="86"/>
                  </a:lnTo>
                  <a:lnTo>
                    <a:pt x="22" y="86"/>
                  </a:lnTo>
                  <a:lnTo>
                    <a:pt x="18" y="86"/>
                  </a:lnTo>
                  <a:lnTo>
                    <a:pt x="14" y="86"/>
                  </a:lnTo>
                  <a:lnTo>
                    <a:pt x="14" y="86"/>
                  </a:lnTo>
                  <a:lnTo>
                    <a:pt x="14" y="86"/>
                  </a:lnTo>
                  <a:lnTo>
                    <a:pt x="10" y="86"/>
                  </a:lnTo>
                  <a:lnTo>
                    <a:pt x="10" y="82"/>
                  </a:lnTo>
                  <a:lnTo>
                    <a:pt x="10" y="82"/>
                  </a:lnTo>
                  <a:lnTo>
                    <a:pt x="6" y="82"/>
                  </a:lnTo>
                  <a:lnTo>
                    <a:pt x="6" y="78"/>
                  </a:lnTo>
                  <a:lnTo>
                    <a:pt x="6" y="78"/>
                  </a:lnTo>
                  <a:lnTo>
                    <a:pt x="6" y="78"/>
                  </a:lnTo>
                  <a:lnTo>
                    <a:pt x="6" y="78"/>
                  </a:lnTo>
                  <a:close/>
                  <a:moveTo>
                    <a:pt x="26" y="46"/>
                  </a:moveTo>
                  <a:lnTo>
                    <a:pt x="26" y="46"/>
                  </a:lnTo>
                  <a:lnTo>
                    <a:pt x="26" y="46"/>
                  </a:lnTo>
                  <a:lnTo>
                    <a:pt x="26" y="46"/>
                  </a:lnTo>
                  <a:lnTo>
                    <a:pt x="26" y="46"/>
                  </a:lnTo>
                  <a:lnTo>
                    <a:pt x="26" y="46"/>
                  </a:lnTo>
                  <a:close/>
                  <a:moveTo>
                    <a:pt x="30" y="46"/>
                  </a:moveTo>
                  <a:lnTo>
                    <a:pt x="30" y="46"/>
                  </a:lnTo>
                  <a:lnTo>
                    <a:pt x="30" y="46"/>
                  </a:lnTo>
                  <a:lnTo>
                    <a:pt x="30" y="46"/>
                  </a:lnTo>
                  <a:lnTo>
                    <a:pt x="30" y="46"/>
                  </a:lnTo>
                  <a:lnTo>
                    <a:pt x="30" y="46"/>
                  </a:lnTo>
                  <a:lnTo>
                    <a:pt x="30" y="46"/>
                  </a:lnTo>
                  <a:lnTo>
                    <a:pt x="30" y="4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63" name="Freeform 156"/>
            <p:cNvSpPr>
              <a:spLocks/>
            </p:cNvSpPr>
            <p:nvPr/>
          </p:nvSpPr>
          <p:spPr bwMode="auto">
            <a:xfrm>
              <a:off x="6932272" y="3876698"/>
              <a:ext cx="145692" cy="169986"/>
            </a:xfrm>
            <a:custGeom>
              <a:avLst/>
              <a:gdLst>
                <a:gd name="T0" fmla="*/ 26 w 232"/>
                <a:gd name="T1" fmla="*/ 226 h 260"/>
                <a:gd name="T2" fmla="*/ 18 w 232"/>
                <a:gd name="T3" fmla="*/ 224 h 260"/>
                <a:gd name="T4" fmla="*/ 8 w 232"/>
                <a:gd name="T5" fmla="*/ 224 h 260"/>
                <a:gd name="T6" fmla="*/ 12 w 232"/>
                <a:gd name="T7" fmla="*/ 208 h 260"/>
                <a:gd name="T8" fmla="*/ 0 w 232"/>
                <a:gd name="T9" fmla="*/ 200 h 260"/>
                <a:gd name="T10" fmla="*/ 4 w 232"/>
                <a:gd name="T11" fmla="*/ 190 h 260"/>
                <a:gd name="T12" fmla="*/ 0 w 232"/>
                <a:gd name="T13" fmla="*/ 182 h 260"/>
                <a:gd name="T14" fmla="*/ 8 w 232"/>
                <a:gd name="T15" fmla="*/ 168 h 260"/>
                <a:gd name="T16" fmla="*/ 18 w 232"/>
                <a:gd name="T17" fmla="*/ 174 h 260"/>
                <a:gd name="T18" fmla="*/ 30 w 232"/>
                <a:gd name="T19" fmla="*/ 170 h 260"/>
                <a:gd name="T20" fmla="*/ 42 w 232"/>
                <a:gd name="T21" fmla="*/ 168 h 260"/>
                <a:gd name="T22" fmla="*/ 60 w 232"/>
                <a:gd name="T23" fmla="*/ 168 h 260"/>
                <a:gd name="T24" fmla="*/ 82 w 232"/>
                <a:gd name="T25" fmla="*/ 168 h 260"/>
                <a:gd name="T26" fmla="*/ 98 w 232"/>
                <a:gd name="T27" fmla="*/ 152 h 260"/>
                <a:gd name="T28" fmla="*/ 90 w 232"/>
                <a:gd name="T29" fmla="*/ 122 h 260"/>
                <a:gd name="T30" fmla="*/ 86 w 232"/>
                <a:gd name="T31" fmla="*/ 92 h 260"/>
                <a:gd name="T32" fmla="*/ 86 w 232"/>
                <a:gd name="T33" fmla="*/ 68 h 260"/>
                <a:gd name="T34" fmla="*/ 82 w 232"/>
                <a:gd name="T35" fmla="*/ 42 h 260"/>
                <a:gd name="T36" fmla="*/ 78 w 232"/>
                <a:gd name="T37" fmla="*/ 12 h 260"/>
                <a:gd name="T38" fmla="*/ 90 w 232"/>
                <a:gd name="T39" fmla="*/ 0 h 260"/>
                <a:gd name="T40" fmla="*/ 120 w 232"/>
                <a:gd name="T41" fmla="*/ 12 h 260"/>
                <a:gd name="T42" fmla="*/ 142 w 232"/>
                <a:gd name="T43" fmla="*/ 34 h 260"/>
                <a:gd name="T44" fmla="*/ 164 w 232"/>
                <a:gd name="T45" fmla="*/ 52 h 260"/>
                <a:gd name="T46" fmla="*/ 188 w 232"/>
                <a:gd name="T47" fmla="*/ 72 h 260"/>
                <a:gd name="T48" fmla="*/ 194 w 232"/>
                <a:gd name="T49" fmla="*/ 78 h 260"/>
                <a:gd name="T50" fmla="*/ 206 w 232"/>
                <a:gd name="T51" fmla="*/ 86 h 260"/>
                <a:gd name="T52" fmla="*/ 218 w 232"/>
                <a:gd name="T53" fmla="*/ 96 h 260"/>
                <a:gd name="T54" fmla="*/ 228 w 232"/>
                <a:gd name="T55" fmla="*/ 104 h 260"/>
                <a:gd name="T56" fmla="*/ 232 w 232"/>
                <a:gd name="T57" fmla="*/ 130 h 260"/>
                <a:gd name="T58" fmla="*/ 232 w 232"/>
                <a:gd name="T59" fmla="*/ 152 h 260"/>
                <a:gd name="T60" fmla="*/ 224 w 232"/>
                <a:gd name="T61" fmla="*/ 164 h 260"/>
                <a:gd name="T62" fmla="*/ 214 w 232"/>
                <a:gd name="T63" fmla="*/ 168 h 260"/>
                <a:gd name="T64" fmla="*/ 188 w 232"/>
                <a:gd name="T65" fmla="*/ 174 h 260"/>
                <a:gd name="T66" fmla="*/ 176 w 232"/>
                <a:gd name="T67" fmla="*/ 178 h 260"/>
                <a:gd name="T68" fmla="*/ 164 w 232"/>
                <a:gd name="T69" fmla="*/ 174 h 260"/>
                <a:gd name="T70" fmla="*/ 146 w 232"/>
                <a:gd name="T71" fmla="*/ 186 h 260"/>
                <a:gd name="T72" fmla="*/ 132 w 232"/>
                <a:gd name="T73" fmla="*/ 194 h 260"/>
                <a:gd name="T74" fmla="*/ 128 w 232"/>
                <a:gd name="T75" fmla="*/ 200 h 260"/>
                <a:gd name="T76" fmla="*/ 120 w 232"/>
                <a:gd name="T77" fmla="*/ 204 h 260"/>
                <a:gd name="T78" fmla="*/ 112 w 232"/>
                <a:gd name="T79" fmla="*/ 212 h 260"/>
                <a:gd name="T80" fmla="*/ 104 w 232"/>
                <a:gd name="T81" fmla="*/ 226 h 260"/>
                <a:gd name="T82" fmla="*/ 98 w 232"/>
                <a:gd name="T83" fmla="*/ 242 h 260"/>
                <a:gd name="T84" fmla="*/ 94 w 232"/>
                <a:gd name="T85" fmla="*/ 256 h 260"/>
                <a:gd name="T86" fmla="*/ 82 w 232"/>
                <a:gd name="T87" fmla="*/ 256 h 260"/>
                <a:gd name="T88" fmla="*/ 82 w 232"/>
                <a:gd name="T89" fmla="*/ 250 h 260"/>
                <a:gd name="T90" fmla="*/ 74 w 232"/>
                <a:gd name="T91" fmla="*/ 260 h 260"/>
                <a:gd name="T92" fmla="*/ 60 w 232"/>
                <a:gd name="T93" fmla="*/ 256 h 260"/>
                <a:gd name="T94" fmla="*/ 52 w 232"/>
                <a:gd name="T95" fmla="*/ 250 h 260"/>
                <a:gd name="T96" fmla="*/ 48 w 232"/>
                <a:gd name="T97" fmla="*/ 242 h 260"/>
                <a:gd name="T98" fmla="*/ 44 w 232"/>
                <a:gd name="T99" fmla="*/ 234 h 260"/>
                <a:gd name="T100" fmla="*/ 42 w 232"/>
                <a:gd name="T101" fmla="*/ 220 h 260"/>
                <a:gd name="T102" fmla="*/ 34 w 232"/>
                <a:gd name="T103" fmla="*/ 22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2" h="260">
                  <a:moveTo>
                    <a:pt x="34" y="226"/>
                  </a:moveTo>
                  <a:lnTo>
                    <a:pt x="30" y="226"/>
                  </a:lnTo>
                  <a:lnTo>
                    <a:pt x="30" y="224"/>
                  </a:lnTo>
                  <a:lnTo>
                    <a:pt x="26" y="224"/>
                  </a:lnTo>
                  <a:lnTo>
                    <a:pt x="26" y="226"/>
                  </a:lnTo>
                  <a:lnTo>
                    <a:pt x="22" y="226"/>
                  </a:lnTo>
                  <a:lnTo>
                    <a:pt x="22" y="230"/>
                  </a:lnTo>
                  <a:lnTo>
                    <a:pt x="18" y="230"/>
                  </a:lnTo>
                  <a:lnTo>
                    <a:pt x="18" y="226"/>
                  </a:lnTo>
                  <a:lnTo>
                    <a:pt x="18" y="224"/>
                  </a:lnTo>
                  <a:lnTo>
                    <a:pt x="14" y="224"/>
                  </a:lnTo>
                  <a:lnTo>
                    <a:pt x="14" y="226"/>
                  </a:lnTo>
                  <a:lnTo>
                    <a:pt x="12" y="226"/>
                  </a:lnTo>
                  <a:lnTo>
                    <a:pt x="8" y="226"/>
                  </a:lnTo>
                  <a:lnTo>
                    <a:pt x="8" y="224"/>
                  </a:lnTo>
                  <a:lnTo>
                    <a:pt x="12" y="224"/>
                  </a:lnTo>
                  <a:lnTo>
                    <a:pt x="12" y="220"/>
                  </a:lnTo>
                  <a:lnTo>
                    <a:pt x="12" y="216"/>
                  </a:lnTo>
                  <a:lnTo>
                    <a:pt x="12" y="212"/>
                  </a:lnTo>
                  <a:lnTo>
                    <a:pt x="12" y="208"/>
                  </a:lnTo>
                  <a:lnTo>
                    <a:pt x="8" y="208"/>
                  </a:lnTo>
                  <a:lnTo>
                    <a:pt x="8" y="204"/>
                  </a:lnTo>
                  <a:lnTo>
                    <a:pt x="4" y="204"/>
                  </a:lnTo>
                  <a:lnTo>
                    <a:pt x="4" y="200"/>
                  </a:lnTo>
                  <a:lnTo>
                    <a:pt x="0" y="200"/>
                  </a:lnTo>
                  <a:lnTo>
                    <a:pt x="0" y="196"/>
                  </a:lnTo>
                  <a:lnTo>
                    <a:pt x="4" y="196"/>
                  </a:lnTo>
                  <a:lnTo>
                    <a:pt x="4" y="194"/>
                  </a:lnTo>
                  <a:lnTo>
                    <a:pt x="0" y="194"/>
                  </a:lnTo>
                  <a:lnTo>
                    <a:pt x="4" y="190"/>
                  </a:lnTo>
                  <a:lnTo>
                    <a:pt x="0" y="190"/>
                  </a:lnTo>
                  <a:lnTo>
                    <a:pt x="0" y="186"/>
                  </a:lnTo>
                  <a:lnTo>
                    <a:pt x="0" y="182"/>
                  </a:lnTo>
                  <a:lnTo>
                    <a:pt x="0" y="178"/>
                  </a:lnTo>
                  <a:lnTo>
                    <a:pt x="0" y="182"/>
                  </a:lnTo>
                  <a:lnTo>
                    <a:pt x="4" y="178"/>
                  </a:lnTo>
                  <a:lnTo>
                    <a:pt x="4" y="174"/>
                  </a:lnTo>
                  <a:lnTo>
                    <a:pt x="4" y="170"/>
                  </a:lnTo>
                  <a:lnTo>
                    <a:pt x="4" y="168"/>
                  </a:lnTo>
                  <a:lnTo>
                    <a:pt x="8" y="168"/>
                  </a:lnTo>
                  <a:lnTo>
                    <a:pt x="8" y="164"/>
                  </a:lnTo>
                  <a:lnTo>
                    <a:pt x="12" y="164"/>
                  </a:lnTo>
                  <a:lnTo>
                    <a:pt x="12" y="168"/>
                  </a:lnTo>
                  <a:lnTo>
                    <a:pt x="14" y="170"/>
                  </a:lnTo>
                  <a:lnTo>
                    <a:pt x="18" y="174"/>
                  </a:lnTo>
                  <a:lnTo>
                    <a:pt x="18" y="170"/>
                  </a:lnTo>
                  <a:lnTo>
                    <a:pt x="18" y="168"/>
                  </a:lnTo>
                  <a:lnTo>
                    <a:pt x="22" y="168"/>
                  </a:lnTo>
                  <a:lnTo>
                    <a:pt x="26" y="168"/>
                  </a:lnTo>
                  <a:lnTo>
                    <a:pt x="30" y="170"/>
                  </a:lnTo>
                  <a:lnTo>
                    <a:pt x="34" y="170"/>
                  </a:lnTo>
                  <a:lnTo>
                    <a:pt x="34" y="168"/>
                  </a:lnTo>
                  <a:lnTo>
                    <a:pt x="38" y="168"/>
                  </a:lnTo>
                  <a:lnTo>
                    <a:pt x="42" y="164"/>
                  </a:lnTo>
                  <a:lnTo>
                    <a:pt x="42" y="168"/>
                  </a:lnTo>
                  <a:lnTo>
                    <a:pt x="44" y="168"/>
                  </a:lnTo>
                  <a:lnTo>
                    <a:pt x="48" y="168"/>
                  </a:lnTo>
                  <a:lnTo>
                    <a:pt x="52" y="168"/>
                  </a:lnTo>
                  <a:lnTo>
                    <a:pt x="56" y="168"/>
                  </a:lnTo>
                  <a:lnTo>
                    <a:pt x="60" y="168"/>
                  </a:lnTo>
                  <a:lnTo>
                    <a:pt x="64" y="168"/>
                  </a:lnTo>
                  <a:lnTo>
                    <a:pt x="68" y="168"/>
                  </a:lnTo>
                  <a:lnTo>
                    <a:pt x="72" y="168"/>
                  </a:lnTo>
                  <a:lnTo>
                    <a:pt x="78" y="168"/>
                  </a:lnTo>
                  <a:lnTo>
                    <a:pt x="82" y="168"/>
                  </a:lnTo>
                  <a:lnTo>
                    <a:pt x="86" y="168"/>
                  </a:lnTo>
                  <a:lnTo>
                    <a:pt x="94" y="168"/>
                  </a:lnTo>
                  <a:lnTo>
                    <a:pt x="94" y="160"/>
                  </a:lnTo>
                  <a:lnTo>
                    <a:pt x="98" y="156"/>
                  </a:lnTo>
                  <a:lnTo>
                    <a:pt x="98" y="152"/>
                  </a:lnTo>
                  <a:lnTo>
                    <a:pt x="94" y="148"/>
                  </a:lnTo>
                  <a:lnTo>
                    <a:pt x="94" y="144"/>
                  </a:lnTo>
                  <a:lnTo>
                    <a:pt x="90" y="134"/>
                  </a:lnTo>
                  <a:lnTo>
                    <a:pt x="90" y="126"/>
                  </a:lnTo>
                  <a:lnTo>
                    <a:pt x="90" y="122"/>
                  </a:lnTo>
                  <a:lnTo>
                    <a:pt x="90" y="118"/>
                  </a:lnTo>
                  <a:lnTo>
                    <a:pt x="90" y="112"/>
                  </a:lnTo>
                  <a:lnTo>
                    <a:pt x="90" y="104"/>
                  </a:lnTo>
                  <a:lnTo>
                    <a:pt x="90" y="100"/>
                  </a:lnTo>
                  <a:lnTo>
                    <a:pt x="86" y="92"/>
                  </a:lnTo>
                  <a:lnTo>
                    <a:pt x="86" y="86"/>
                  </a:lnTo>
                  <a:lnTo>
                    <a:pt x="86" y="78"/>
                  </a:lnTo>
                  <a:lnTo>
                    <a:pt x="86" y="74"/>
                  </a:lnTo>
                  <a:lnTo>
                    <a:pt x="86" y="72"/>
                  </a:lnTo>
                  <a:lnTo>
                    <a:pt x="86" y="68"/>
                  </a:lnTo>
                  <a:lnTo>
                    <a:pt x="86" y="64"/>
                  </a:lnTo>
                  <a:lnTo>
                    <a:pt x="86" y="60"/>
                  </a:lnTo>
                  <a:lnTo>
                    <a:pt x="82" y="56"/>
                  </a:lnTo>
                  <a:lnTo>
                    <a:pt x="82" y="52"/>
                  </a:lnTo>
                  <a:lnTo>
                    <a:pt x="82" y="42"/>
                  </a:lnTo>
                  <a:lnTo>
                    <a:pt x="82" y="38"/>
                  </a:lnTo>
                  <a:lnTo>
                    <a:pt x="82" y="30"/>
                  </a:lnTo>
                  <a:lnTo>
                    <a:pt x="82" y="22"/>
                  </a:lnTo>
                  <a:lnTo>
                    <a:pt x="78" y="16"/>
                  </a:lnTo>
                  <a:lnTo>
                    <a:pt x="78" y="12"/>
                  </a:lnTo>
                  <a:lnTo>
                    <a:pt x="78" y="8"/>
                  </a:lnTo>
                  <a:lnTo>
                    <a:pt x="78" y="0"/>
                  </a:lnTo>
                  <a:lnTo>
                    <a:pt x="82" y="0"/>
                  </a:lnTo>
                  <a:lnTo>
                    <a:pt x="86" y="0"/>
                  </a:lnTo>
                  <a:lnTo>
                    <a:pt x="90" y="0"/>
                  </a:lnTo>
                  <a:lnTo>
                    <a:pt x="102" y="0"/>
                  </a:lnTo>
                  <a:lnTo>
                    <a:pt x="104" y="0"/>
                  </a:lnTo>
                  <a:lnTo>
                    <a:pt x="108" y="4"/>
                  </a:lnTo>
                  <a:lnTo>
                    <a:pt x="112" y="8"/>
                  </a:lnTo>
                  <a:lnTo>
                    <a:pt x="120" y="12"/>
                  </a:lnTo>
                  <a:lnTo>
                    <a:pt x="124" y="16"/>
                  </a:lnTo>
                  <a:lnTo>
                    <a:pt x="128" y="18"/>
                  </a:lnTo>
                  <a:lnTo>
                    <a:pt x="132" y="22"/>
                  </a:lnTo>
                  <a:lnTo>
                    <a:pt x="138" y="26"/>
                  </a:lnTo>
                  <a:lnTo>
                    <a:pt x="142" y="34"/>
                  </a:lnTo>
                  <a:lnTo>
                    <a:pt x="146" y="38"/>
                  </a:lnTo>
                  <a:lnTo>
                    <a:pt x="154" y="42"/>
                  </a:lnTo>
                  <a:lnTo>
                    <a:pt x="158" y="44"/>
                  </a:lnTo>
                  <a:lnTo>
                    <a:pt x="160" y="48"/>
                  </a:lnTo>
                  <a:lnTo>
                    <a:pt x="164" y="52"/>
                  </a:lnTo>
                  <a:lnTo>
                    <a:pt x="172" y="56"/>
                  </a:lnTo>
                  <a:lnTo>
                    <a:pt x="176" y="60"/>
                  </a:lnTo>
                  <a:lnTo>
                    <a:pt x="180" y="60"/>
                  </a:lnTo>
                  <a:lnTo>
                    <a:pt x="184" y="68"/>
                  </a:lnTo>
                  <a:lnTo>
                    <a:pt x="188" y="72"/>
                  </a:lnTo>
                  <a:lnTo>
                    <a:pt x="190" y="72"/>
                  </a:lnTo>
                  <a:lnTo>
                    <a:pt x="190" y="74"/>
                  </a:lnTo>
                  <a:lnTo>
                    <a:pt x="188" y="74"/>
                  </a:lnTo>
                  <a:lnTo>
                    <a:pt x="190" y="78"/>
                  </a:lnTo>
                  <a:lnTo>
                    <a:pt x="194" y="78"/>
                  </a:lnTo>
                  <a:lnTo>
                    <a:pt x="194" y="82"/>
                  </a:lnTo>
                  <a:lnTo>
                    <a:pt x="198" y="82"/>
                  </a:lnTo>
                  <a:lnTo>
                    <a:pt x="198" y="86"/>
                  </a:lnTo>
                  <a:lnTo>
                    <a:pt x="202" y="86"/>
                  </a:lnTo>
                  <a:lnTo>
                    <a:pt x="206" y="86"/>
                  </a:lnTo>
                  <a:lnTo>
                    <a:pt x="206" y="88"/>
                  </a:lnTo>
                  <a:lnTo>
                    <a:pt x="210" y="88"/>
                  </a:lnTo>
                  <a:lnTo>
                    <a:pt x="214" y="88"/>
                  </a:lnTo>
                  <a:lnTo>
                    <a:pt x="218" y="92"/>
                  </a:lnTo>
                  <a:lnTo>
                    <a:pt x="218" y="96"/>
                  </a:lnTo>
                  <a:lnTo>
                    <a:pt x="218" y="100"/>
                  </a:lnTo>
                  <a:lnTo>
                    <a:pt x="218" y="104"/>
                  </a:lnTo>
                  <a:lnTo>
                    <a:pt x="220" y="108"/>
                  </a:lnTo>
                  <a:lnTo>
                    <a:pt x="224" y="104"/>
                  </a:lnTo>
                  <a:lnTo>
                    <a:pt x="228" y="104"/>
                  </a:lnTo>
                  <a:lnTo>
                    <a:pt x="232" y="104"/>
                  </a:lnTo>
                  <a:lnTo>
                    <a:pt x="232" y="108"/>
                  </a:lnTo>
                  <a:lnTo>
                    <a:pt x="232" y="112"/>
                  </a:lnTo>
                  <a:lnTo>
                    <a:pt x="232" y="122"/>
                  </a:lnTo>
                  <a:lnTo>
                    <a:pt x="232" y="130"/>
                  </a:lnTo>
                  <a:lnTo>
                    <a:pt x="232" y="134"/>
                  </a:lnTo>
                  <a:lnTo>
                    <a:pt x="232" y="138"/>
                  </a:lnTo>
                  <a:lnTo>
                    <a:pt x="232" y="142"/>
                  </a:lnTo>
                  <a:lnTo>
                    <a:pt x="232" y="144"/>
                  </a:lnTo>
                  <a:lnTo>
                    <a:pt x="232" y="152"/>
                  </a:lnTo>
                  <a:lnTo>
                    <a:pt x="228" y="152"/>
                  </a:lnTo>
                  <a:lnTo>
                    <a:pt x="228" y="156"/>
                  </a:lnTo>
                  <a:lnTo>
                    <a:pt x="228" y="160"/>
                  </a:lnTo>
                  <a:lnTo>
                    <a:pt x="228" y="164"/>
                  </a:lnTo>
                  <a:lnTo>
                    <a:pt x="224" y="164"/>
                  </a:lnTo>
                  <a:lnTo>
                    <a:pt x="224" y="168"/>
                  </a:lnTo>
                  <a:lnTo>
                    <a:pt x="220" y="168"/>
                  </a:lnTo>
                  <a:lnTo>
                    <a:pt x="220" y="170"/>
                  </a:lnTo>
                  <a:lnTo>
                    <a:pt x="218" y="168"/>
                  </a:lnTo>
                  <a:lnTo>
                    <a:pt x="214" y="168"/>
                  </a:lnTo>
                  <a:lnTo>
                    <a:pt x="214" y="170"/>
                  </a:lnTo>
                  <a:lnTo>
                    <a:pt x="210" y="170"/>
                  </a:lnTo>
                  <a:lnTo>
                    <a:pt x="198" y="170"/>
                  </a:lnTo>
                  <a:lnTo>
                    <a:pt x="190" y="170"/>
                  </a:lnTo>
                  <a:lnTo>
                    <a:pt x="188" y="174"/>
                  </a:lnTo>
                  <a:lnTo>
                    <a:pt x="184" y="178"/>
                  </a:lnTo>
                  <a:lnTo>
                    <a:pt x="180" y="178"/>
                  </a:lnTo>
                  <a:lnTo>
                    <a:pt x="180" y="174"/>
                  </a:lnTo>
                  <a:lnTo>
                    <a:pt x="180" y="178"/>
                  </a:lnTo>
                  <a:lnTo>
                    <a:pt x="176" y="178"/>
                  </a:lnTo>
                  <a:lnTo>
                    <a:pt x="176" y="174"/>
                  </a:lnTo>
                  <a:lnTo>
                    <a:pt x="176" y="178"/>
                  </a:lnTo>
                  <a:lnTo>
                    <a:pt x="172" y="174"/>
                  </a:lnTo>
                  <a:lnTo>
                    <a:pt x="168" y="174"/>
                  </a:lnTo>
                  <a:lnTo>
                    <a:pt x="164" y="174"/>
                  </a:lnTo>
                  <a:lnTo>
                    <a:pt x="160" y="174"/>
                  </a:lnTo>
                  <a:lnTo>
                    <a:pt x="158" y="178"/>
                  </a:lnTo>
                  <a:lnTo>
                    <a:pt x="154" y="182"/>
                  </a:lnTo>
                  <a:lnTo>
                    <a:pt x="150" y="186"/>
                  </a:lnTo>
                  <a:lnTo>
                    <a:pt x="146" y="186"/>
                  </a:lnTo>
                  <a:lnTo>
                    <a:pt x="142" y="186"/>
                  </a:lnTo>
                  <a:lnTo>
                    <a:pt x="142" y="190"/>
                  </a:lnTo>
                  <a:lnTo>
                    <a:pt x="138" y="190"/>
                  </a:lnTo>
                  <a:lnTo>
                    <a:pt x="134" y="190"/>
                  </a:lnTo>
                  <a:lnTo>
                    <a:pt x="132" y="194"/>
                  </a:lnTo>
                  <a:lnTo>
                    <a:pt x="132" y="196"/>
                  </a:lnTo>
                  <a:lnTo>
                    <a:pt x="132" y="200"/>
                  </a:lnTo>
                  <a:lnTo>
                    <a:pt x="128" y="200"/>
                  </a:lnTo>
                  <a:lnTo>
                    <a:pt x="128" y="196"/>
                  </a:lnTo>
                  <a:lnTo>
                    <a:pt x="128" y="200"/>
                  </a:lnTo>
                  <a:lnTo>
                    <a:pt x="128" y="204"/>
                  </a:lnTo>
                  <a:lnTo>
                    <a:pt x="124" y="204"/>
                  </a:lnTo>
                  <a:lnTo>
                    <a:pt x="124" y="208"/>
                  </a:lnTo>
                  <a:lnTo>
                    <a:pt x="120" y="208"/>
                  </a:lnTo>
                  <a:lnTo>
                    <a:pt x="120" y="204"/>
                  </a:lnTo>
                  <a:lnTo>
                    <a:pt x="116" y="204"/>
                  </a:lnTo>
                  <a:lnTo>
                    <a:pt x="116" y="200"/>
                  </a:lnTo>
                  <a:lnTo>
                    <a:pt x="112" y="204"/>
                  </a:lnTo>
                  <a:lnTo>
                    <a:pt x="112" y="208"/>
                  </a:lnTo>
                  <a:lnTo>
                    <a:pt x="112" y="212"/>
                  </a:lnTo>
                  <a:lnTo>
                    <a:pt x="112" y="216"/>
                  </a:lnTo>
                  <a:lnTo>
                    <a:pt x="108" y="216"/>
                  </a:lnTo>
                  <a:lnTo>
                    <a:pt x="108" y="220"/>
                  </a:lnTo>
                  <a:lnTo>
                    <a:pt x="108" y="224"/>
                  </a:lnTo>
                  <a:lnTo>
                    <a:pt x="104" y="226"/>
                  </a:lnTo>
                  <a:lnTo>
                    <a:pt x="102" y="226"/>
                  </a:lnTo>
                  <a:lnTo>
                    <a:pt x="98" y="230"/>
                  </a:lnTo>
                  <a:lnTo>
                    <a:pt x="98" y="234"/>
                  </a:lnTo>
                  <a:lnTo>
                    <a:pt x="98" y="238"/>
                  </a:lnTo>
                  <a:lnTo>
                    <a:pt x="98" y="242"/>
                  </a:lnTo>
                  <a:lnTo>
                    <a:pt x="98" y="246"/>
                  </a:lnTo>
                  <a:lnTo>
                    <a:pt x="94" y="246"/>
                  </a:lnTo>
                  <a:lnTo>
                    <a:pt x="94" y="250"/>
                  </a:lnTo>
                  <a:lnTo>
                    <a:pt x="94" y="252"/>
                  </a:lnTo>
                  <a:lnTo>
                    <a:pt x="94" y="256"/>
                  </a:lnTo>
                  <a:lnTo>
                    <a:pt x="94" y="252"/>
                  </a:lnTo>
                  <a:lnTo>
                    <a:pt x="90" y="256"/>
                  </a:lnTo>
                  <a:lnTo>
                    <a:pt x="86" y="256"/>
                  </a:lnTo>
                  <a:lnTo>
                    <a:pt x="86" y="260"/>
                  </a:lnTo>
                  <a:lnTo>
                    <a:pt x="82" y="256"/>
                  </a:lnTo>
                  <a:lnTo>
                    <a:pt x="86" y="256"/>
                  </a:lnTo>
                  <a:lnTo>
                    <a:pt x="86" y="252"/>
                  </a:lnTo>
                  <a:lnTo>
                    <a:pt x="82" y="252"/>
                  </a:lnTo>
                  <a:lnTo>
                    <a:pt x="86" y="252"/>
                  </a:lnTo>
                  <a:lnTo>
                    <a:pt x="82" y="250"/>
                  </a:lnTo>
                  <a:lnTo>
                    <a:pt x="82" y="252"/>
                  </a:lnTo>
                  <a:lnTo>
                    <a:pt x="78" y="252"/>
                  </a:lnTo>
                  <a:lnTo>
                    <a:pt x="78" y="256"/>
                  </a:lnTo>
                  <a:lnTo>
                    <a:pt x="74" y="256"/>
                  </a:lnTo>
                  <a:lnTo>
                    <a:pt x="74" y="260"/>
                  </a:lnTo>
                  <a:lnTo>
                    <a:pt x="72" y="260"/>
                  </a:lnTo>
                  <a:lnTo>
                    <a:pt x="72" y="256"/>
                  </a:lnTo>
                  <a:lnTo>
                    <a:pt x="68" y="256"/>
                  </a:lnTo>
                  <a:lnTo>
                    <a:pt x="64" y="256"/>
                  </a:lnTo>
                  <a:lnTo>
                    <a:pt x="60" y="256"/>
                  </a:lnTo>
                  <a:lnTo>
                    <a:pt x="60" y="260"/>
                  </a:lnTo>
                  <a:lnTo>
                    <a:pt x="60" y="256"/>
                  </a:lnTo>
                  <a:lnTo>
                    <a:pt x="56" y="256"/>
                  </a:lnTo>
                  <a:lnTo>
                    <a:pt x="56" y="252"/>
                  </a:lnTo>
                  <a:lnTo>
                    <a:pt x="52" y="250"/>
                  </a:lnTo>
                  <a:lnTo>
                    <a:pt x="56" y="250"/>
                  </a:lnTo>
                  <a:lnTo>
                    <a:pt x="56" y="246"/>
                  </a:lnTo>
                  <a:lnTo>
                    <a:pt x="52" y="246"/>
                  </a:lnTo>
                  <a:lnTo>
                    <a:pt x="48" y="246"/>
                  </a:lnTo>
                  <a:lnTo>
                    <a:pt x="48" y="242"/>
                  </a:lnTo>
                  <a:lnTo>
                    <a:pt x="52" y="242"/>
                  </a:lnTo>
                  <a:lnTo>
                    <a:pt x="52" y="238"/>
                  </a:lnTo>
                  <a:lnTo>
                    <a:pt x="48" y="238"/>
                  </a:lnTo>
                  <a:lnTo>
                    <a:pt x="48" y="234"/>
                  </a:lnTo>
                  <a:lnTo>
                    <a:pt x="44" y="234"/>
                  </a:lnTo>
                  <a:lnTo>
                    <a:pt x="48" y="230"/>
                  </a:lnTo>
                  <a:lnTo>
                    <a:pt x="48" y="226"/>
                  </a:lnTo>
                  <a:lnTo>
                    <a:pt x="44" y="224"/>
                  </a:lnTo>
                  <a:lnTo>
                    <a:pt x="44" y="220"/>
                  </a:lnTo>
                  <a:lnTo>
                    <a:pt x="42" y="220"/>
                  </a:lnTo>
                  <a:lnTo>
                    <a:pt x="38" y="220"/>
                  </a:lnTo>
                  <a:lnTo>
                    <a:pt x="42" y="220"/>
                  </a:lnTo>
                  <a:lnTo>
                    <a:pt x="42" y="224"/>
                  </a:lnTo>
                  <a:lnTo>
                    <a:pt x="38" y="224"/>
                  </a:lnTo>
                  <a:lnTo>
                    <a:pt x="34" y="226"/>
                  </a:lnTo>
                  <a:lnTo>
                    <a:pt x="34" y="226"/>
                  </a:lnTo>
                  <a:lnTo>
                    <a:pt x="34" y="22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64" name="Freeform 157"/>
            <p:cNvSpPr>
              <a:spLocks noEditPoints="1"/>
            </p:cNvSpPr>
            <p:nvPr/>
          </p:nvSpPr>
          <p:spPr bwMode="auto">
            <a:xfrm>
              <a:off x="6887057" y="3849239"/>
              <a:ext cx="110525" cy="146449"/>
            </a:xfrm>
            <a:custGeom>
              <a:avLst/>
              <a:gdLst>
                <a:gd name="T0" fmla="*/ 90 w 176"/>
                <a:gd name="T1" fmla="*/ 218 h 224"/>
                <a:gd name="T2" fmla="*/ 84 w 176"/>
                <a:gd name="T3" fmla="*/ 210 h 224"/>
                <a:gd name="T4" fmla="*/ 80 w 176"/>
                <a:gd name="T5" fmla="*/ 206 h 224"/>
                <a:gd name="T6" fmla="*/ 76 w 176"/>
                <a:gd name="T7" fmla="*/ 210 h 224"/>
                <a:gd name="T8" fmla="*/ 76 w 176"/>
                <a:gd name="T9" fmla="*/ 218 h 224"/>
                <a:gd name="T10" fmla="*/ 72 w 176"/>
                <a:gd name="T11" fmla="*/ 220 h 224"/>
                <a:gd name="T12" fmla="*/ 64 w 176"/>
                <a:gd name="T13" fmla="*/ 218 h 224"/>
                <a:gd name="T14" fmla="*/ 60 w 176"/>
                <a:gd name="T15" fmla="*/ 214 h 224"/>
                <a:gd name="T16" fmla="*/ 60 w 176"/>
                <a:gd name="T17" fmla="*/ 210 h 224"/>
                <a:gd name="T18" fmla="*/ 54 w 176"/>
                <a:gd name="T19" fmla="*/ 198 h 224"/>
                <a:gd name="T20" fmla="*/ 50 w 176"/>
                <a:gd name="T21" fmla="*/ 198 h 224"/>
                <a:gd name="T22" fmla="*/ 38 w 176"/>
                <a:gd name="T23" fmla="*/ 190 h 224"/>
                <a:gd name="T24" fmla="*/ 30 w 176"/>
                <a:gd name="T25" fmla="*/ 190 h 224"/>
                <a:gd name="T26" fmla="*/ 26 w 176"/>
                <a:gd name="T27" fmla="*/ 190 h 224"/>
                <a:gd name="T28" fmla="*/ 20 w 176"/>
                <a:gd name="T29" fmla="*/ 190 h 224"/>
                <a:gd name="T30" fmla="*/ 16 w 176"/>
                <a:gd name="T31" fmla="*/ 190 h 224"/>
                <a:gd name="T32" fmla="*/ 12 w 176"/>
                <a:gd name="T33" fmla="*/ 194 h 224"/>
                <a:gd name="T34" fmla="*/ 8 w 176"/>
                <a:gd name="T35" fmla="*/ 194 h 224"/>
                <a:gd name="T36" fmla="*/ 12 w 176"/>
                <a:gd name="T37" fmla="*/ 190 h 224"/>
                <a:gd name="T38" fmla="*/ 16 w 176"/>
                <a:gd name="T39" fmla="*/ 180 h 224"/>
                <a:gd name="T40" fmla="*/ 16 w 176"/>
                <a:gd name="T41" fmla="*/ 172 h 224"/>
                <a:gd name="T42" fmla="*/ 16 w 176"/>
                <a:gd name="T43" fmla="*/ 158 h 224"/>
                <a:gd name="T44" fmla="*/ 16 w 176"/>
                <a:gd name="T45" fmla="*/ 154 h 224"/>
                <a:gd name="T46" fmla="*/ 12 w 176"/>
                <a:gd name="T47" fmla="*/ 146 h 224"/>
                <a:gd name="T48" fmla="*/ 12 w 176"/>
                <a:gd name="T49" fmla="*/ 142 h 224"/>
                <a:gd name="T50" fmla="*/ 12 w 176"/>
                <a:gd name="T51" fmla="*/ 138 h 224"/>
                <a:gd name="T52" fmla="*/ 12 w 176"/>
                <a:gd name="T53" fmla="*/ 138 h 224"/>
                <a:gd name="T54" fmla="*/ 12 w 176"/>
                <a:gd name="T55" fmla="*/ 124 h 224"/>
                <a:gd name="T56" fmla="*/ 8 w 176"/>
                <a:gd name="T57" fmla="*/ 120 h 224"/>
                <a:gd name="T58" fmla="*/ 4 w 176"/>
                <a:gd name="T59" fmla="*/ 114 h 224"/>
                <a:gd name="T60" fmla="*/ 0 w 176"/>
                <a:gd name="T61" fmla="*/ 118 h 224"/>
                <a:gd name="T62" fmla="*/ 4 w 176"/>
                <a:gd name="T63" fmla="*/ 110 h 224"/>
                <a:gd name="T64" fmla="*/ 30 w 176"/>
                <a:gd name="T65" fmla="*/ 110 h 224"/>
                <a:gd name="T66" fmla="*/ 60 w 176"/>
                <a:gd name="T67" fmla="*/ 110 h 224"/>
                <a:gd name="T68" fmla="*/ 56 w 176"/>
                <a:gd name="T69" fmla="*/ 88 h 224"/>
                <a:gd name="T70" fmla="*/ 60 w 176"/>
                <a:gd name="T71" fmla="*/ 80 h 224"/>
                <a:gd name="T72" fmla="*/ 72 w 176"/>
                <a:gd name="T73" fmla="*/ 72 h 224"/>
                <a:gd name="T74" fmla="*/ 72 w 176"/>
                <a:gd name="T75" fmla="*/ 46 h 224"/>
                <a:gd name="T76" fmla="*/ 72 w 176"/>
                <a:gd name="T77" fmla="*/ 30 h 224"/>
                <a:gd name="T78" fmla="*/ 102 w 176"/>
                <a:gd name="T79" fmla="*/ 24 h 224"/>
                <a:gd name="T80" fmla="*/ 120 w 176"/>
                <a:gd name="T81" fmla="*/ 24 h 224"/>
                <a:gd name="T82" fmla="*/ 120 w 176"/>
                <a:gd name="T83" fmla="*/ 0 h 224"/>
                <a:gd name="T84" fmla="*/ 142 w 176"/>
                <a:gd name="T85" fmla="*/ 20 h 224"/>
                <a:gd name="T86" fmla="*/ 166 w 176"/>
                <a:gd name="T87" fmla="*/ 34 h 224"/>
                <a:gd name="T88" fmla="*/ 172 w 176"/>
                <a:gd name="T89" fmla="*/ 42 h 224"/>
                <a:gd name="T90" fmla="*/ 150 w 176"/>
                <a:gd name="T91" fmla="*/ 50 h 224"/>
                <a:gd name="T92" fmla="*/ 154 w 176"/>
                <a:gd name="T93" fmla="*/ 80 h 224"/>
                <a:gd name="T94" fmla="*/ 158 w 176"/>
                <a:gd name="T95" fmla="*/ 110 h 224"/>
                <a:gd name="T96" fmla="*/ 162 w 176"/>
                <a:gd name="T97" fmla="*/ 142 h 224"/>
                <a:gd name="T98" fmla="*/ 162 w 176"/>
                <a:gd name="T99" fmla="*/ 168 h 224"/>
                <a:gd name="T100" fmla="*/ 166 w 176"/>
                <a:gd name="T101" fmla="*/ 202 h 224"/>
                <a:gd name="T102" fmla="*/ 154 w 176"/>
                <a:gd name="T103" fmla="*/ 210 h 224"/>
                <a:gd name="T104" fmla="*/ 132 w 176"/>
                <a:gd name="T105" fmla="*/ 210 h 224"/>
                <a:gd name="T106" fmla="*/ 116 w 176"/>
                <a:gd name="T107" fmla="*/ 210 h 224"/>
                <a:gd name="T108" fmla="*/ 110 w 176"/>
                <a:gd name="T109" fmla="*/ 210 h 224"/>
                <a:gd name="T110" fmla="*/ 106 w 176"/>
                <a:gd name="T111" fmla="*/ 214 h 224"/>
                <a:gd name="T112" fmla="*/ 98 w 176"/>
                <a:gd name="T113" fmla="*/ 210 h 224"/>
                <a:gd name="T114" fmla="*/ 90 w 176"/>
                <a:gd name="T115" fmla="*/ 210 h 224"/>
                <a:gd name="T116" fmla="*/ 12 w 176"/>
                <a:gd name="T117" fmla="*/ 134 h 224"/>
                <a:gd name="T118" fmla="*/ 12 w 176"/>
                <a:gd name="T119" fmla="*/ 138 h 224"/>
                <a:gd name="T120" fmla="*/ 12 w 176"/>
                <a:gd name="T121" fmla="*/ 13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 h="224">
                  <a:moveTo>
                    <a:pt x="90" y="210"/>
                  </a:moveTo>
                  <a:lnTo>
                    <a:pt x="90" y="214"/>
                  </a:lnTo>
                  <a:lnTo>
                    <a:pt x="90" y="214"/>
                  </a:lnTo>
                  <a:lnTo>
                    <a:pt x="90" y="214"/>
                  </a:lnTo>
                  <a:lnTo>
                    <a:pt x="90" y="214"/>
                  </a:lnTo>
                  <a:lnTo>
                    <a:pt x="90" y="218"/>
                  </a:lnTo>
                  <a:lnTo>
                    <a:pt x="90" y="218"/>
                  </a:lnTo>
                  <a:lnTo>
                    <a:pt x="86" y="214"/>
                  </a:lnTo>
                  <a:lnTo>
                    <a:pt x="86" y="214"/>
                  </a:lnTo>
                  <a:lnTo>
                    <a:pt x="86" y="214"/>
                  </a:lnTo>
                  <a:lnTo>
                    <a:pt x="86" y="214"/>
                  </a:lnTo>
                  <a:lnTo>
                    <a:pt x="86" y="214"/>
                  </a:lnTo>
                  <a:lnTo>
                    <a:pt x="84" y="210"/>
                  </a:lnTo>
                  <a:lnTo>
                    <a:pt x="84" y="210"/>
                  </a:lnTo>
                  <a:lnTo>
                    <a:pt x="84" y="210"/>
                  </a:lnTo>
                  <a:lnTo>
                    <a:pt x="84" y="210"/>
                  </a:lnTo>
                  <a:lnTo>
                    <a:pt x="84" y="210"/>
                  </a:lnTo>
                  <a:lnTo>
                    <a:pt x="84" y="210"/>
                  </a:lnTo>
                  <a:lnTo>
                    <a:pt x="84" y="206"/>
                  </a:lnTo>
                  <a:lnTo>
                    <a:pt x="84" y="206"/>
                  </a:lnTo>
                  <a:lnTo>
                    <a:pt x="80" y="206"/>
                  </a:lnTo>
                  <a:lnTo>
                    <a:pt x="80" y="210"/>
                  </a:lnTo>
                  <a:lnTo>
                    <a:pt x="80" y="210"/>
                  </a:lnTo>
                  <a:lnTo>
                    <a:pt x="80" y="210"/>
                  </a:lnTo>
                  <a:lnTo>
                    <a:pt x="80" y="210"/>
                  </a:lnTo>
                  <a:lnTo>
                    <a:pt x="80" y="210"/>
                  </a:lnTo>
                  <a:lnTo>
                    <a:pt x="80" y="210"/>
                  </a:lnTo>
                  <a:lnTo>
                    <a:pt x="76" y="210"/>
                  </a:lnTo>
                  <a:lnTo>
                    <a:pt x="76" y="210"/>
                  </a:lnTo>
                  <a:lnTo>
                    <a:pt x="76" y="214"/>
                  </a:lnTo>
                  <a:lnTo>
                    <a:pt x="76" y="214"/>
                  </a:lnTo>
                  <a:lnTo>
                    <a:pt x="76" y="218"/>
                  </a:lnTo>
                  <a:lnTo>
                    <a:pt x="76" y="218"/>
                  </a:lnTo>
                  <a:lnTo>
                    <a:pt x="76" y="218"/>
                  </a:lnTo>
                  <a:lnTo>
                    <a:pt x="76" y="218"/>
                  </a:lnTo>
                  <a:lnTo>
                    <a:pt x="76" y="220"/>
                  </a:lnTo>
                  <a:lnTo>
                    <a:pt x="76" y="220"/>
                  </a:lnTo>
                  <a:lnTo>
                    <a:pt x="76" y="220"/>
                  </a:lnTo>
                  <a:lnTo>
                    <a:pt x="76" y="220"/>
                  </a:lnTo>
                  <a:lnTo>
                    <a:pt x="72" y="224"/>
                  </a:lnTo>
                  <a:lnTo>
                    <a:pt x="72" y="224"/>
                  </a:lnTo>
                  <a:lnTo>
                    <a:pt x="72" y="220"/>
                  </a:lnTo>
                  <a:lnTo>
                    <a:pt x="72" y="220"/>
                  </a:lnTo>
                  <a:lnTo>
                    <a:pt x="68" y="220"/>
                  </a:lnTo>
                  <a:lnTo>
                    <a:pt x="68" y="220"/>
                  </a:lnTo>
                  <a:lnTo>
                    <a:pt x="68" y="220"/>
                  </a:lnTo>
                  <a:lnTo>
                    <a:pt x="68" y="220"/>
                  </a:lnTo>
                  <a:lnTo>
                    <a:pt x="68" y="218"/>
                  </a:lnTo>
                  <a:lnTo>
                    <a:pt x="64" y="218"/>
                  </a:lnTo>
                  <a:lnTo>
                    <a:pt x="64" y="218"/>
                  </a:lnTo>
                  <a:lnTo>
                    <a:pt x="64" y="218"/>
                  </a:lnTo>
                  <a:lnTo>
                    <a:pt x="64" y="218"/>
                  </a:lnTo>
                  <a:lnTo>
                    <a:pt x="60" y="218"/>
                  </a:lnTo>
                  <a:lnTo>
                    <a:pt x="60" y="214"/>
                  </a:lnTo>
                  <a:lnTo>
                    <a:pt x="60" y="214"/>
                  </a:lnTo>
                  <a:lnTo>
                    <a:pt x="60" y="214"/>
                  </a:lnTo>
                  <a:lnTo>
                    <a:pt x="60" y="214"/>
                  </a:lnTo>
                  <a:lnTo>
                    <a:pt x="60" y="214"/>
                  </a:lnTo>
                  <a:lnTo>
                    <a:pt x="60" y="214"/>
                  </a:lnTo>
                  <a:lnTo>
                    <a:pt x="60" y="214"/>
                  </a:lnTo>
                  <a:lnTo>
                    <a:pt x="60" y="214"/>
                  </a:lnTo>
                  <a:lnTo>
                    <a:pt x="60" y="214"/>
                  </a:lnTo>
                  <a:lnTo>
                    <a:pt x="60" y="210"/>
                  </a:lnTo>
                  <a:lnTo>
                    <a:pt x="56" y="210"/>
                  </a:lnTo>
                  <a:lnTo>
                    <a:pt x="56" y="210"/>
                  </a:lnTo>
                  <a:lnTo>
                    <a:pt x="56" y="210"/>
                  </a:lnTo>
                  <a:lnTo>
                    <a:pt x="56" y="206"/>
                  </a:lnTo>
                  <a:lnTo>
                    <a:pt x="56" y="206"/>
                  </a:lnTo>
                  <a:lnTo>
                    <a:pt x="54" y="202"/>
                  </a:lnTo>
                  <a:lnTo>
                    <a:pt x="54" y="198"/>
                  </a:lnTo>
                  <a:lnTo>
                    <a:pt x="54" y="198"/>
                  </a:lnTo>
                  <a:lnTo>
                    <a:pt x="50" y="198"/>
                  </a:lnTo>
                  <a:lnTo>
                    <a:pt x="50" y="198"/>
                  </a:lnTo>
                  <a:lnTo>
                    <a:pt x="50" y="198"/>
                  </a:lnTo>
                  <a:lnTo>
                    <a:pt x="50" y="198"/>
                  </a:lnTo>
                  <a:lnTo>
                    <a:pt x="50" y="198"/>
                  </a:lnTo>
                  <a:lnTo>
                    <a:pt x="50" y="198"/>
                  </a:lnTo>
                  <a:lnTo>
                    <a:pt x="50" y="198"/>
                  </a:lnTo>
                  <a:lnTo>
                    <a:pt x="46" y="198"/>
                  </a:lnTo>
                  <a:lnTo>
                    <a:pt x="46" y="194"/>
                  </a:lnTo>
                  <a:lnTo>
                    <a:pt x="46" y="194"/>
                  </a:lnTo>
                  <a:lnTo>
                    <a:pt x="42" y="190"/>
                  </a:lnTo>
                  <a:lnTo>
                    <a:pt x="42" y="190"/>
                  </a:lnTo>
                  <a:lnTo>
                    <a:pt x="38" y="190"/>
                  </a:lnTo>
                  <a:lnTo>
                    <a:pt x="38" y="190"/>
                  </a:lnTo>
                  <a:lnTo>
                    <a:pt x="38" y="190"/>
                  </a:lnTo>
                  <a:lnTo>
                    <a:pt x="34" y="190"/>
                  </a:lnTo>
                  <a:lnTo>
                    <a:pt x="34" y="190"/>
                  </a:lnTo>
                  <a:lnTo>
                    <a:pt x="34" y="190"/>
                  </a:lnTo>
                  <a:lnTo>
                    <a:pt x="30" y="190"/>
                  </a:lnTo>
                  <a:lnTo>
                    <a:pt x="30" y="190"/>
                  </a:lnTo>
                  <a:lnTo>
                    <a:pt x="30" y="190"/>
                  </a:lnTo>
                  <a:lnTo>
                    <a:pt x="30" y="190"/>
                  </a:lnTo>
                  <a:lnTo>
                    <a:pt x="30" y="188"/>
                  </a:lnTo>
                  <a:lnTo>
                    <a:pt x="30" y="190"/>
                  </a:lnTo>
                  <a:lnTo>
                    <a:pt x="30" y="190"/>
                  </a:lnTo>
                  <a:lnTo>
                    <a:pt x="30" y="190"/>
                  </a:lnTo>
                  <a:lnTo>
                    <a:pt x="26" y="190"/>
                  </a:lnTo>
                  <a:lnTo>
                    <a:pt x="26" y="190"/>
                  </a:lnTo>
                  <a:lnTo>
                    <a:pt x="24" y="190"/>
                  </a:lnTo>
                  <a:lnTo>
                    <a:pt x="24" y="190"/>
                  </a:lnTo>
                  <a:lnTo>
                    <a:pt x="24" y="190"/>
                  </a:lnTo>
                  <a:lnTo>
                    <a:pt x="24" y="190"/>
                  </a:lnTo>
                  <a:lnTo>
                    <a:pt x="20" y="190"/>
                  </a:lnTo>
                  <a:lnTo>
                    <a:pt x="20" y="190"/>
                  </a:lnTo>
                  <a:lnTo>
                    <a:pt x="20" y="190"/>
                  </a:lnTo>
                  <a:lnTo>
                    <a:pt x="20" y="190"/>
                  </a:lnTo>
                  <a:lnTo>
                    <a:pt x="20" y="190"/>
                  </a:lnTo>
                  <a:lnTo>
                    <a:pt x="16" y="190"/>
                  </a:lnTo>
                  <a:lnTo>
                    <a:pt x="16" y="190"/>
                  </a:lnTo>
                  <a:lnTo>
                    <a:pt x="16" y="190"/>
                  </a:lnTo>
                  <a:lnTo>
                    <a:pt x="16" y="190"/>
                  </a:lnTo>
                  <a:lnTo>
                    <a:pt x="16" y="190"/>
                  </a:lnTo>
                  <a:lnTo>
                    <a:pt x="12" y="190"/>
                  </a:lnTo>
                  <a:lnTo>
                    <a:pt x="12" y="190"/>
                  </a:lnTo>
                  <a:lnTo>
                    <a:pt x="12" y="194"/>
                  </a:lnTo>
                  <a:lnTo>
                    <a:pt x="12" y="194"/>
                  </a:lnTo>
                  <a:lnTo>
                    <a:pt x="12" y="194"/>
                  </a:lnTo>
                  <a:lnTo>
                    <a:pt x="12" y="194"/>
                  </a:lnTo>
                  <a:lnTo>
                    <a:pt x="12" y="198"/>
                  </a:lnTo>
                  <a:lnTo>
                    <a:pt x="8" y="198"/>
                  </a:lnTo>
                  <a:lnTo>
                    <a:pt x="8" y="198"/>
                  </a:lnTo>
                  <a:lnTo>
                    <a:pt x="8" y="198"/>
                  </a:lnTo>
                  <a:lnTo>
                    <a:pt x="8" y="194"/>
                  </a:lnTo>
                  <a:lnTo>
                    <a:pt x="8" y="194"/>
                  </a:lnTo>
                  <a:lnTo>
                    <a:pt x="8" y="194"/>
                  </a:lnTo>
                  <a:lnTo>
                    <a:pt x="8" y="194"/>
                  </a:lnTo>
                  <a:lnTo>
                    <a:pt x="8" y="194"/>
                  </a:lnTo>
                  <a:lnTo>
                    <a:pt x="12" y="190"/>
                  </a:lnTo>
                  <a:lnTo>
                    <a:pt x="12" y="190"/>
                  </a:lnTo>
                  <a:lnTo>
                    <a:pt x="12" y="190"/>
                  </a:lnTo>
                  <a:lnTo>
                    <a:pt x="12" y="190"/>
                  </a:lnTo>
                  <a:lnTo>
                    <a:pt x="12" y="190"/>
                  </a:lnTo>
                  <a:lnTo>
                    <a:pt x="12" y="188"/>
                  </a:lnTo>
                  <a:lnTo>
                    <a:pt x="12" y="188"/>
                  </a:lnTo>
                  <a:lnTo>
                    <a:pt x="12" y="184"/>
                  </a:lnTo>
                  <a:lnTo>
                    <a:pt x="12" y="184"/>
                  </a:lnTo>
                  <a:lnTo>
                    <a:pt x="12" y="184"/>
                  </a:lnTo>
                  <a:lnTo>
                    <a:pt x="12" y="184"/>
                  </a:lnTo>
                  <a:lnTo>
                    <a:pt x="16" y="180"/>
                  </a:lnTo>
                  <a:lnTo>
                    <a:pt x="16" y="180"/>
                  </a:lnTo>
                  <a:lnTo>
                    <a:pt x="16" y="176"/>
                  </a:lnTo>
                  <a:lnTo>
                    <a:pt x="16" y="176"/>
                  </a:lnTo>
                  <a:lnTo>
                    <a:pt x="16" y="176"/>
                  </a:lnTo>
                  <a:lnTo>
                    <a:pt x="16" y="172"/>
                  </a:lnTo>
                  <a:lnTo>
                    <a:pt x="16" y="172"/>
                  </a:lnTo>
                  <a:lnTo>
                    <a:pt x="16" y="172"/>
                  </a:lnTo>
                  <a:lnTo>
                    <a:pt x="16" y="168"/>
                  </a:lnTo>
                  <a:lnTo>
                    <a:pt x="16" y="164"/>
                  </a:lnTo>
                  <a:lnTo>
                    <a:pt x="16" y="164"/>
                  </a:lnTo>
                  <a:lnTo>
                    <a:pt x="16" y="160"/>
                  </a:lnTo>
                  <a:lnTo>
                    <a:pt x="16" y="160"/>
                  </a:lnTo>
                  <a:lnTo>
                    <a:pt x="16" y="160"/>
                  </a:lnTo>
                  <a:lnTo>
                    <a:pt x="16" y="158"/>
                  </a:lnTo>
                  <a:lnTo>
                    <a:pt x="16" y="158"/>
                  </a:lnTo>
                  <a:lnTo>
                    <a:pt x="16" y="158"/>
                  </a:lnTo>
                  <a:lnTo>
                    <a:pt x="16" y="158"/>
                  </a:lnTo>
                  <a:lnTo>
                    <a:pt x="16" y="158"/>
                  </a:lnTo>
                  <a:lnTo>
                    <a:pt x="16" y="158"/>
                  </a:lnTo>
                  <a:lnTo>
                    <a:pt x="16" y="154"/>
                  </a:lnTo>
                  <a:lnTo>
                    <a:pt x="16" y="154"/>
                  </a:lnTo>
                  <a:lnTo>
                    <a:pt x="16" y="150"/>
                  </a:lnTo>
                  <a:lnTo>
                    <a:pt x="16" y="150"/>
                  </a:lnTo>
                  <a:lnTo>
                    <a:pt x="16" y="150"/>
                  </a:lnTo>
                  <a:lnTo>
                    <a:pt x="12" y="150"/>
                  </a:lnTo>
                  <a:lnTo>
                    <a:pt x="12" y="146"/>
                  </a:lnTo>
                  <a:lnTo>
                    <a:pt x="12" y="146"/>
                  </a:lnTo>
                  <a:lnTo>
                    <a:pt x="12" y="146"/>
                  </a:lnTo>
                  <a:lnTo>
                    <a:pt x="12" y="146"/>
                  </a:lnTo>
                  <a:lnTo>
                    <a:pt x="12" y="146"/>
                  </a:lnTo>
                  <a:lnTo>
                    <a:pt x="12" y="146"/>
                  </a:lnTo>
                  <a:lnTo>
                    <a:pt x="12" y="142"/>
                  </a:lnTo>
                  <a:lnTo>
                    <a:pt x="8" y="142"/>
                  </a:lnTo>
                  <a:lnTo>
                    <a:pt x="8" y="142"/>
                  </a:lnTo>
                  <a:lnTo>
                    <a:pt x="12" y="142"/>
                  </a:lnTo>
                  <a:lnTo>
                    <a:pt x="12" y="142"/>
                  </a:lnTo>
                  <a:lnTo>
                    <a:pt x="12" y="142"/>
                  </a:lnTo>
                  <a:lnTo>
                    <a:pt x="12" y="142"/>
                  </a:lnTo>
                  <a:lnTo>
                    <a:pt x="12" y="138"/>
                  </a:lnTo>
                  <a:lnTo>
                    <a:pt x="12" y="138"/>
                  </a:lnTo>
                  <a:lnTo>
                    <a:pt x="12" y="138"/>
                  </a:lnTo>
                  <a:lnTo>
                    <a:pt x="12" y="138"/>
                  </a:lnTo>
                  <a:lnTo>
                    <a:pt x="12" y="142"/>
                  </a:lnTo>
                  <a:lnTo>
                    <a:pt x="12" y="142"/>
                  </a:lnTo>
                  <a:lnTo>
                    <a:pt x="12" y="142"/>
                  </a:lnTo>
                  <a:lnTo>
                    <a:pt x="12" y="142"/>
                  </a:lnTo>
                  <a:lnTo>
                    <a:pt x="12" y="138"/>
                  </a:lnTo>
                  <a:lnTo>
                    <a:pt x="12" y="138"/>
                  </a:lnTo>
                  <a:lnTo>
                    <a:pt x="12" y="138"/>
                  </a:lnTo>
                  <a:lnTo>
                    <a:pt x="12" y="138"/>
                  </a:lnTo>
                  <a:lnTo>
                    <a:pt x="12" y="134"/>
                  </a:lnTo>
                  <a:lnTo>
                    <a:pt x="12" y="132"/>
                  </a:lnTo>
                  <a:lnTo>
                    <a:pt x="12" y="132"/>
                  </a:lnTo>
                  <a:lnTo>
                    <a:pt x="16" y="128"/>
                  </a:lnTo>
                  <a:lnTo>
                    <a:pt x="12" y="128"/>
                  </a:lnTo>
                  <a:lnTo>
                    <a:pt x="12" y="124"/>
                  </a:lnTo>
                  <a:lnTo>
                    <a:pt x="12" y="124"/>
                  </a:lnTo>
                  <a:lnTo>
                    <a:pt x="12" y="120"/>
                  </a:lnTo>
                  <a:lnTo>
                    <a:pt x="12" y="120"/>
                  </a:lnTo>
                  <a:lnTo>
                    <a:pt x="12" y="120"/>
                  </a:lnTo>
                  <a:lnTo>
                    <a:pt x="8" y="120"/>
                  </a:lnTo>
                  <a:lnTo>
                    <a:pt x="8" y="118"/>
                  </a:lnTo>
                  <a:lnTo>
                    <a:pt x="8" y="120"/>
                  </a:lnTo>
                  <a:lnTo>
                    <a:pt x="8" y="120"/>
                  </a:lnTo>
                  <a:lnTo>
                    <a:pt x="8" y="120"/>
                  </a:lnTo>
                  <a:lnTo>
                    <a:pt x="8" y="120"/>
                  </a:lnTo>
                  <a:lnTo>
                    <a:pt x="8" y="120"/>
                  </a:lnTo>
                  <a:lnTo>
                    <a:pt x="8" y="120"/>
                  </a:lnTo>
                  <a:lnTo>
                    <a:pt x="4" y="114"/>
                  </a:lnTo>
                  <a:lnTo>
                    <a:pt x="4" y="114"/>
                  </a:lnTo>
                  <a:lnTo>
                    <a:pt x="4" y="110"/>
                  </a:lnTo>
                  <a:lnTo>
                    <a:pt x="4" y="114"/>
                  </a:lnTo>
                  <a:lnTo>
                    <a:pt x="0" y="114"/>
                  </a:lnTo>
                  <a:lnTo>
                    <a:pt x="4" y="114"/>
                  </a:lnTo>
                  <a:lnTo>
                    <a:pt x="0" y="118"/>
                  </a:lnTo>
                  <a:lnTo>
                    <a:pt x="0" y="118"/>
                  </a:lnTo>
                  <a:lnTo>
                    <a:pt x="0" y="118"/>
                  </a:lnTo>
                  <a:lnTo>
                    <a:pt x="0" y="118"/>
                  </a:lnTo>
                  <a:lnTo>
                    <a:pt x="0" y="118"/>
                  </a:lnTo>
                  <a:lnTo>
                    <a:pt x="0" y="114"/>
                  </a:lnTo>
                  <a:lnTo>
                    <a:pt x="0" y="114"/>
                  </a:lnTo>
                  <a:lnTo>
                    <a:pt x="4" y="114"/>
                  </a:lnTo>
                  <a:lnTo>
                    <a:pt x="4" y="110"/>
                  </a:lnTo>
                  <a:lnTo>
                    <a:pt x="4" y="110"/>
                  </a:lnTo>
                  <a:lnTo>
                    <a:pt x="8" y="110"/>
                  </a:lnTo>
                  <a:lnTo>
                    <a:pt x="16" y="110"/>
                  </a:lnTo>
                  <a:lnTo>
                    <a:pt x="16" y="110"/>
                  </a:lnTo>
                  <a:lnTo>
                    <a:pt x="20" y="110"/>
                  </a:lnTo>
                  <a:lnTo>
                    <a:pt x="20" y="110"/>
                  </a:lnTo>
                  <a:lnTo>
                    <a:pt x="26" y="110"/>
                  </a:lnTo>
                  <a:lnTo>
                    <a:pt x="30" y="110"/>
                  </a:lnTo>
                  <a:lnTo>
                    <a:pt x="34" y="110"/>
                  </a:lnTo>
                  <a:lnTo>
                    <a:pt x="38" y="110"/>
                  </a:lnTo>
                  <a:lnTo>
                    <a:pt x="42" y="110"/>
                  </a:lnTo>
                  <a:lnTo>
                    <a:pt x="42" y="110"/>
                  </a:lnTo>
                  <a:lnTo>
                    <a:pt x="46" y="110"/>
                  </a:lnTo>
                  <a:lnTo>
                    <a:pt x="54" y="110"/>
                  </a:lnTo>
                  <a:lnTo>
                    <a:pt x="60" y="110"/>
                  </a:lnTo>
                  <a:lnTo>
                    <a:pt x="60" y="106"/>
                  </a:lnTo>
                  <a:lnTo>
                    <a:pt x="60" y="98"/>
                  </a:lnTo>
                  <a:lnTo>
                    <a:pt x="56" y="94"/>
                  </a:lnTo>
                  <a:lnTo>
                    <a:pt x="56" y="94"/>
                  </a:lnTo>
                  <a:lnTo>
                    <a:pt x="56" y="90"/>
                  </a:lnTo>
                  <a:lnTo>
                    <a:pt x="56" y="90"/>
                  </a:lnTo>
                  <a:lnTo>
                    <a:pt x="56" y="88"/>
                  </a:lnTo>
                  <a:lnTo>
                    <a:pt x="56" y="88"/>
                  </a:lnTo>
                  <a:lnTo>
                    <a:pt x="56" y="88"/>
                  </a:lnTo>
                  <a:lnTo>
                    <a:pt x="56" y="84"/>
                  </a:lnTo>
                  <a:lnTo>
                    <a:pt x="56" y="84"/>
                  </a:lnTo>
                  <a:lnTo>
                    <a:pt x="56" y="80"/>
                  </a:lnTo>
                  <a:lnTo>
                    <a:pt x="56" y="80"/>
                  </a:lnTo>
                  <a:lnTo>
                    <a:pt x="60" y="80"/>
                  </a:lnTo>
                  <a:lnTo>
                    <a:pt x="64" y="76"/>
                  </a:lnTo>
                  <a:lnTo>
                    <a:pt x="64" y="76"/>
                  </a:lnTo>
                  <a:lnTo>
                    <a:pt x="64" y="72"/>
                  </a:lnTo>
                  <a:lnTo>
                    <a:pt x="64" y="72"/>
                  </a:lnTo>
                  <a:lnTo>
                    <a:pt x="68" y="72"/>
                  </a:lnTo>
                  <a:lnTo>
                    <a:pt x="72" y="72"/>
                  </a:lnTo>
                  <a:lnTo>
                    <a:pt x="72" y="72"/>
                  </a:lnTo>
                  <a:lnTo>
                    <a:pt x="72" y="72"/>
                  </a:lnTo>
                  <a:lnTo>
                    <a:pt x="72" y="64"/>
                  </a:lnTo>
                  <a:lnTo>
                    <a:pt x="72" y="60"/>
                  </a:lnTo>
                  <a:lnTo>
                    <a:pt x="72" y="54"/>
                  </a:lnTo>
                  <a:lnTo>
                    <a:pt x="72" y="54"/>
                  </a:lnTo>
                  <a:lnTo>
                    <a:pt x="72" y="46"/>
                  </a:lnTo>
                  <a:lnTo>
                    <a:pt x="72" y="46"/>
                  </a:lnTo>
                  <a:lnTo>
                    <a:pt x="72" y="46"/>
                  </a:lnTo>
                  <a:lnTo>
                    <a:pt x="72" y="38"/>
                  </a:lnTo>
                  <a:lnTo>
                    <a:pt x="72" y="38"/>
                  </a:lnTo>
                  <a:lnTo>
                    <a:pt x="72" y="38"/>
                  </a:lnTo>
                  <a:lnTo>
                    <a:pt x="72" y="30"/>
                  </a:lnTo>
                  <a:lnTo>
                    <a:pt x="72" y="30"/>
                  </a:lnTo>
                  <a:lnTo>
                    <a:pt x="72" y="30"/>
                  </a:lnTo>
                  <a:lnTo>
                    <a:pt x="72" y="24"/>
                  </a:lnTo>
                  <a:lnTo>
                    <a:pt x="80" y="24"/>
                  </a:lnTo>
                  <a:lnTo>
                    <a:pt x="84" y="24"/>
                  </a:lnTo>
                  <a:lnTo>
                    <a:pt x="90" y="24"/>
                  </a:lnTo>
                  <a:lnTo>
                    <a:pt x="94" y="24"/>
                  </a:lnTo>
                  <a:lnTo>
                    <a:pt x="102" y="24"/>
                  </a:lnTo>
                  <a:lnTo>
                    <a:pt x="102" y="24"/>
                  </a:lnTo>
                  <a:lnTo>
                    <a:pt x="102" y="24"/>
                  </a:lnTo>
                  <a:lnTo>
                    <a:pt x="102" y="24"/>
                  </a:lnTo>
                  <a:lnTo>
                    <a:pt x="106" y="24"/>
                  </a:lnTo>
                  <a:lnTo>
                    <a:pt x="106" y="24"/>
                  </a:lnTo>
                  <a:lnTo>
                    <a:pt x="110" y="24"/>
                  </a:lnTo>
                  <a:lnTo>
                    <a:pt x="110" y="24"/>
                  </a:lnTo>
                  <a:lnTo>
                    <a:pt x="120" y="24"/>
                  </a:lnTo>
                  <a:lnTo>
                    <a:pt x="120" y="24"/>
                  </a:lnTo>
                  <a:lnTo>
                    <a:pt x="120" y="24"/>
                  </a:lnTo>
                  <a:lnTo>
                    <a:pt x="120" y="16"/>
                  </a:lnTo>
                  <a:lnTo>
                    <a:pt x="120" y="8"/>
                  </a:lnTo>
                  <a:lnTo>
                    <a:pt x="120" y="8"/>
                  </a:lnTo>
                  <a:lnTo>
                    <a:pt x="120" y="0"/>
                  </a:lnTo>
                  <a:lnTo>
                    <a:pt x="120" y="0"/>
                  </a:lnTo>
                  <a:lnTo>
                    <a:pt x="128" y="4"/>
                  </a:lnTo>
                  <a:lnTo>
                    <a:pt x="128" y="8"/>
                  </a:lnTo>
                  <a:lnTo>
                    <a:pt x="136" y="12"/>
                  </a:lnTo>
                  <a:lnTo>
                    <a:pt x="136" y="12"/>
                  </a:lnTo>
                  <a:lnTo>
                    <a:pt x="140" y="16"/>
                  </a:lnTo>
                  <a:lnTo>
                    <a:pt x="142" y="16"/>
                  </a:lnTo>
                  <a:lnTo>
                    <a:pt x="142" y="20"/>
                  </a:lnTo>
                  <a:lnTo>
                    <a:pt x="146" y="20"/>
                  </a:lnTo>
                  <a:lnTo>
                    <a:pt x="150" y="24"/>
                  </a:lnTo>
                  <a:lnTo>
                    <a:pt x="154" y="28"/>
                  </a:lnTo>
                  <a:lnTo>
                    <a:pt x="154" y="28"/>
                  </a:lnTo>
                  <a:lnTo>
                    <a:pt x="162" y="30"/>
                  </a:lnTo>
                  <a:lnTo>
                    <a:pt x="162" y="30"/>
                  </a:lnTo>
                  <a:lnTo>
                    <a:pt x="166" y="34"/>
                  </a:lnTo>
                  <a:lnTo>
                    <a:pt x="170" y="38"/>
                  </a:lnTo>
                  <a:lnTo>
                    <a:pt x="172" y="42"/>
                  </a:lnTo>
                  <a:lnTo>
                    <a:pt x="172" y="42"/>
                  </a:lnTo>
                  <a:lnTo>
                    <a:pt x="176" y="42"/>
                  </a:lnTo>
                  <a:lnTo>
                    <a:pt x="176" y="42"/>
                  </a:lnTo>
                  <a:lnTo>
                    <a:pt x="176" y="42"/>
                  </a:lnTo>
                  <a:lnTo>
                    <a:pt x="172" y="42"/>
                  </a:lnTo>
                  <a:lnTo>
                    <a:pt x="162" y="42"/>
                  </a:lnTo>
                  <a:lnTo>
                    <a:pt x="158" y="42"/>
                  </a:lnTo>
                  <a:lnTo>
                    <a:pt x="154" y="42"/>
                  </a:lnTo>
                  <a:lnTo>
                    <a:pt x="154" y="42"/>
                  </a:lnTo>
                  <a:lnTo>
                    <a:pt x="150" y="42"/>
                  </a:lnTo>
                  <a:lnTo>
                    <a:pt x="150" y="42"/>
                  </a:lnTo>
                  <a:lnTo>
                    <a:pt x="150" y="50"/>
                  </a:lnTo>
                  <a:lnTo>
                    <a:pt x="150" y="50"/>
                  </a:lnTo>
                  <a:lnTo>
                    <a:pt x="150" y="54"/>
                  </a:lnTo>
                  <a:lnTo>
                    <a:pt x="150" y="58"/>
                  </a:lnTo>
                  <a:lnTo>
                    <a:pt x="154" y="64"/>
                  </a:lnTo>
                  <a:lnTo>
                    <a:pt x="154" y="72"/>
                  </a:lnTo>
                  <a:lnTo>
                    <a:pt x="154" y="80"/>
                  </a:lnTo>
                  <a:lnTo>
                    <a:pt x="154" y="80"/>
                  </a:lnTo>
                  <a:lnTo>
                    <a:pt x="154" y="80"/>
                  </a:lnTo>
                  <a:lnTo>
                    <a:pt x="154" y="84"/>
                  </a:lnTo>
                  <a:lnTo>
                    <a:pt x="154" y="94"/>
                  </a:lnTo>
                  <a:lnTo>
                    <a:pt x="154" y="98"/>
                  </a:lnTo>
                  <a:lnTo>
                    <a:pt x="158" y="102"/>
                  </a:lnTo>
                  <a:lnTo>
                    <a:pt x="158" y="106"/>
                  </a:lnTo>
                  <a:lnTo>
                    <a:pt x="158" y="110"/>
                  </a:lnTo>
                  <a:lnTo>
                    <a:pt x="158" y="114"/>
                  </a:lnTo>
                  <a:lnTo>
                    <a:pt x="158" y="118"/>
                  </a:lnTo>
                  <a:lnTo>
                    <a:pt x="158" y="120"/>
                  </a:lnTo>
                  <a:lnTo>
                    <a:pt x="158" y="128"/>
                  </a:lnTo>
                  <a:lnTo>
                    <a:pt x="158" y="134"/>
                  </a:lnTo>
                  <a:lnTo>
                    <a:pt x="158" y="134"/>
                  </a:lnTo>
                  <a:lnTo>
                    <a:pt x="162" y="142"/>
                  </a:lnTo>
                  <a:lnTo>
                    <a:pt x="162" y="146"/>
                  </a:lnTo>
                  <a:lnTo>
                    <a:pt x="162" y="146"/>
                  </a:lnTo>
                  <a:lnTo>
                    <a:pt x="162" y="154"/>
                  </a:lnTo>
                  <a:lnTo>
                    <a:pt x="162" y="154"/>
                  </a:lnTo>
                  <a:lnTo>
                    <a:pt x="162" y="160"/>
                  </a:lnTo>
                  <a:lnTo>
                    <a:pt x="162" y="164"/>
                  </a:lnTo>
                  <a:lnTo>
                    <a:pt x="162" y="168"/>
                  </a:lnTo>
                  <a:lnTo>
                    <a:pt x="162" y="176"/>
                  </a:lnTo>
                  <a:lnTo>
                    <a:pt x="166" y="188"/>
                  </a:lnTo>
                  <a:lnTo>
                    <a:pt x="166" y="190"/>
                  </a:lnTo>
                  <a:lnTo>
                    <a:pt x="170" y="194"/>
                  </a:lnTo>
                  <a:lnTo>
                    <a:pt x="170" y="198"/>
                  </a:lnTo>
                  <a:lnTo>
                    <a:pt x="170" y="198"/>
                  </a:lnTo>
                  <a:lnTo>
                    <a:pt x="166" y="202"/>
                  </a:lnTo>
                  <a:lnTo>
                    <a:pt x="166" y="210"/>
                  </a:lnTo>
                  <a:lnTo>
                    <a:pt x="166" y="210"/>
                  </a:lnTo>
                  <a:lnTo>
                    <a:pt x="166" y="210"/>
                  </a:lnTo>
                  <a:lnTo>
                    <a:pt x="166" y="210"/>
                  </a:lnTo>
                  <a:lnTo>
                    <a:pt x="158" y="210"/>
                  </a:lnTo>
                  <a:lnTo>
                    <a:pt x="154" y="210"/>
                  </a:lnTo>
                  <a:lnTo>
                    <a:pt x="154" y="210"/>
                  </a:lnTo>
                  <a:lnTo>
                    <a:pt x="154" y="210"/>
                  </a:lnTo>
                  <a:lnTo>
                    <a:pt x="150" y="210"/>
                  </a:lnTo>
                  <a:lnTo>
                    <a:pt x="142" y="210"/>
                  </a:lnTo>
                  <a:lnTo>
                    <a:pt x="140" y="210"/>
                  </a:lnTo>
                  <a:lnTo>
                    <a:pt x="140" y="210"/>
                  </a:lnTo>
                  <a:lnTo>
                    <a:pt x="136" y="210"/>
                  </a:lnTo>
                  <a:lnTo>
                    <a:pt x="132" y="210"/>
                  </a:lnTo>
                  <a:lnTo>
                    <a:pt x="128" y="210"/>
                  </a:lnTo>
                  <a:lnTo>
                    <a:pt x="124" y="210"/>
                  </a:lnTo>
                  <a:lnTo>
                    <a:pt x="124" y="210"/>
                  </a:lnTo>
                  <a:lnTo>
                    <a:pt x="120" y="210"/>
                  </a:lnTo>
                  <a:lnTo>
                    <a:pt x="116" y="210"/>
                  </a:lnTo>
                  <a:lnTo>
                    <a:pt x="116" y="210"/>
                  </a:lnTo>
                  <a:lnTo>
                    <a:pt x="116" y="210"/>
                  </a:lnTo>
                  <a:lnTo>
                    <a:pt x="112" y="210"/>
                  </a:lnTo>
                  <a:lnTo>
                    <a:pt x="112" y="210"/>
                  </a:lnTo>
                  <a:lnTo>
                    <a:pt x="112" y="210"/>
                  </a:lnTo>
                  <a:lnTo>
                    <a:pt x="112" y="210"/>
                  </a:lnTo>
                  <a:lnTo>
                    <a:pt x="112" y="206"/>
                  </a:lnTo>
                  <a:lnTo>
                    <a:pt x="112" y="206"/>
                  </a:lnTo>
                  <a:lnTo>
                    <a:pt x="110" y="210"/>
                  </a:lnTo>
                  <a:lnTo>
                    <a:pt x="110" y="210"/>
                  </a:lnTo>
                  <a:lnTo>
                    <a:pt x="110" y="210"/>
                  </a:lnTo>
                  <a:lnTo>
                    <a:pt x="106" y="210"/>
                  </a:lnTo>
                  <a:lnTo>
                    <a:pt x="106" y="210"/>
                  </a:lnTo>
                  <a:lnTo>
                    <a:pt x="106" y="214"/>
                  </a:lnTo>
                  <a:lnTo>
                    <a:pt x="106" y="214"/>
                  </a:lnTo>
                  <a:lnTo>
                    <a:pt x="106" y="214"/>
                  </a:lnTo>
                  <a:lnTo>
                    <a:pt x="102" y="214"/>
                  </a:lnTo>
                  <a:lnTo>
                    <a:pt x="102" y="214"/>
                  </a:lnTo>
                  <a:lnTo>
                    <a:pt x="102" y="214"/>
                  </a:lnTo>
                  <a:lnTo>
                    <a:pt x="102" y="214"/>
                  </a:lnTo>
                  <a:lnTo>
                    <a:pt x="98" y="210"/>
                  </a:lnTo>
                  <a:lnTo>
                    <a:pt x="98" y="210"/>
                  </a:lnTo>
                  <a:lnTo>
                    <a:pt x="98" y="210"/>
                  </a:lnTo>
                  <a:lnTo>
                    <a:pt x="94" y="210"/>
                  </a:lnTo>
                  <a:lnTo>
                    <a:pt x="94" y="210"/>
                  </a:lnTo>
                  <a:lnTo>
                    <a:pt x="94" y="210"/>
                  </a:lnTo>
                  <a:lnTo>
                    <a:pt x="94" y="210"/>
                  </a:lnTo>
                  <a:lnTo>
                    <a:pt x="90" y="210"/>
                  </a:lnTo>
                  <a:lnTo>
                    <a:pt x="90" y="210"/>
                  </a:lnTo>
                  <a:lnTo>
                    <a:pt x="90" y="210"/>
                  </a:lnTo>
                  <a:lnTo>
                    <a:pt x="90" y="210"/>
                  </a:lnTo>
                  <a:close/>
                  <a:moveTo>
                    <a:pt x="12" y="138"/>
                  </a:moveTo>
                  <a:lnTo>
                    <a:pt x="12" y="138"/>
                  </a:lnTo>
                  <a:lnTo>
                    <a:pt x="12" y="138"/>
                  </a:lnTo>
                  <a:lnTo>
                    <a:pt x="12" y="134"/>
                  </a:lnTo>
                  <a:lnTo>
                    <a:pt x="12" y="134"/>
                  </a:lnTo>
                  <a:lnTo>
                    <a:pt x="12" y="134"/>
                  </a:lnTo>
                  <a:lnTo>
                    <a:pt x="12" y="134"/>
                  </a:lnTo>
                  <a:lnTo>
                    <a:pt x="12" y="134"/>
                  </a:lnTo>
                  <a:lnTo>
                    <a:pt x="12" y="134"/>
                  </a:lnTo>
                  <a:lnTo>
                    <a:pt x="12" y="134"/>
                  </a:lnTo>
                  <a:lnTo>
                    <a:pt x="12" y="134"/>
                  </a:lnTo>
                  <a:lnTo>
                    <a:pt x="12" y="134"/>
                  </a:lnTo>
                  <a:lnTo>
                    <a:pt x="12" y="138"/>
                  </a:lnTo>
                  <a:lnTo>
                    <a:pt x="12" y="138"/>
                  </a:lnTo>
                  <a:lnTo>
                    <a:pt x="12" y="138"/>
                  </a:lnTo>
                  <a:lnTo>
                    <a:pt x="12" y="138"/>
                  </a:lnTo>
                  <a:lnTo>
                    <a:pt x="12" y="138"/>
                  </a:lnTo>
                  <a:lnTo>
                    <a:pt x="12" y="138"/>
                  </a:lnTo>
                  <a:lnTo>
                    <a:pt x="12" y="138"/>
                  </a:lnTo>
                  <a:lnTo>
                    <a:pt x="12" y="13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65" name="Freeform 158"/>
            <p:cNvSpPr>
              <a:spLocks/>
            </p:cNvSpPr>
            <p:nvPr/>
          </p:nvSpPr>
          <p:spPr bwMode="auto">
            <a:xfrm>
              <a:off x="6923480" y="3744632"/>
              <a:ext cx="108013" cy="100684"/>
            </a:xfrm>
            <a:custGeom>
              <a:avLst/>
              <a:gdLst>
                <a:gd name="T0" fmla="*/ 126 w 172"/>
                <a:gd name="T1" fmla="*/ 16 h 154"/>
                <a:gd name="T2" fmla="*/ 134 w 172"/>
                <a:gd name="T3" fmla="*/ 16 h 154"/>
                <a:gd name="T4" fmla="*/ 142 w 172"/>
                <a:gd name="T5" fmla="*/ 16 h 154"/>
                <a:gd name="T6" fmla="*/ 146 w 172"/>
                <a:gd name="T7" fmla="*/ 16 h 154"/>
                <a:gd name="T8" fmla="*/ 146 w 172"/>
                <a:gd name="T9" fmla="*/ 16 h 154"/>
                <a:gd name="T10" fmla="*/ 148 w 172"/>
                <a:gd name="T11" fmla="*/ 16 h 154"/>
                <a:gd name="T12" fmla="*/ 156 w 172"/>
                <a:gd name="T13" fmla="*/ 20 h 154"/>
                <a:gd name="T14" fmla="*/ 160 w 172"/>
                <a:gd name="T15" fmla="*/ 26 h 154"/>
                <a:gd name="T16" fmla="*/ 164 w 172"/>
                <a:gd name="T17" fmla="*/ 38 h 154"/>
                <a:gd name="T18" fmla="*/ 164 w 172"/>
                <a:gd name="T19" fmla="*/ 46 h 154"/>
                <a:gd name="T20" fmla="*/ 164 w 172"/>
                <a:gd name="T21" fmla="*/ 56 h 154"/>
                <a:gd name="T22" fmla="*/ 172 w 172"/>
                <a:gd name="T23" fmla="*/ 64 h 154"/>
                <a:gd name="T24" fmla="*/ 168 w 172"/>
                <a:gd name="T25" fmla="*/ 72 h 154"/>
                <a:gd name="T26" fmla="*/ 168 w 172"/>
                <a:gd name="T27" fmla="*/ 76 h 154"/>
                <a:gd name="T28" fmla="*/ 160 w 172"/>
                <a:gd name="T29" fmla="*/ 72 h 154"/>
                <a:gd name="T30" fmla="*/ 152 w 172"/>
                <a:gd name="T31" fmla="*/ 72 h 154"/>
                <a:gd name="T32" fmla="*/ 146 w 172"/>
                <a:gd name="T33" fmla="*/ 76 h 154"/>
                <a:gd name="T34" fmla="*/ 142 w 172"/>
                <a:gd name="T35" fmla="*/ 78 h 154"/>
                <a:gd name="T36" fmla="*/ 134 w 172"/>
                <a:gd name="T37" fmla="*/ 78 h 154"/>
                <a:gd name="T38" fmla="*/ 130 w 172"/>
                <a:gd name="T39" fmla="*/ 86 h 154"/>
                <a:gd name="T40" fmla="*/ 134 w 172"/>
                <a:gd name="T41" fmla="*/ 94 h 154"/>
                <a:gd name="T42" fmla="*/ 130 w 172"/>
                <a:gd name="T43" fmla="*/ 94 h 154"/>
                <a:gd name="T44" fmla="*/ 126 w 172"/>
                <a:gd name="T45" fmla="*/ 98 h 154"/>
                <a:gd name="T46" fmla="*/ 118 w 172"/>
                <a:gd name="T47" fmla="*/ 102 h 154"/>
                <a:gd name="T48" fmla="*/ 116 w 172"/>
                <a:gd name="T49" fmla="*/ 108 h 154"/>
                <a:gd name="T50" fmla="*/ 112 w 172"/>
                <a:gd name="T51" fmla="*/ 112 h 154"/>
                <a:gd name="T52" fmla="*/ 100 w 172"/>
                <a:gd name="T53" fmla="*/ 116 h 154"/>
                <a:gd name="T54" fmla="*/ 96 w 172"/>
                <a:gd name="T55" fmla="*/ 116 h 154"/>
                <a:gd name="T56" fmla="*/ 92 w 172"/>
                <a:gd name="T57" fmla="*/ 120 h 154"/>
                <a:gd name="T58" fmla="*/ 86 w 172"/>
                <a:gd name="T59" fmla="*/ 120 h 154"/>
                <a:gd name="T60" fmla="*/ 78 w 172"/>
                <a:gd name="T61" fmla="*/ 124 h 154"/>
                <a:gd name="T62" fmla="*/ 74 w 172"/>
                <a:gd name="T63" fmla="*/ 124 h 154"/>
                <a:gd name="T64" fmla="*/ 66 w 172"/>
                <a:gd name="T65" fmla="*/ 130 h 154"/>
                <a:gd name="T66" fmla="*/ 62 w 172"/>
                <a:gd name="T67" fmla="*/ 154 h 154"/>
                <a:gd name="T68" fmla="*/ 44 w 172"/>
                <a:gd name="T69" fmla="*/ 154 h 154"/>
                <a:gd name="T70" fmla="*/ 0 w 172"/>
                <a:gd name="T71" fmla="*/ 154 h 154"/>
                <a:gd name="T72" fmla="*/ 4 w 172"/>
                <a:gd name="T73" fmla="*/ 150 h 154"/>
                <a:gd name="T74" fmla="*/ 18 w 172"/>
                <a:gd name="T75" fmla="*/ 146 h 154"/>
                <a:gd name="T76" fmla="*/ 30 w 172"/>
                <a:gd name="T77" fmla="*/ 134 h 154"/>
                <a:gd name="T78" fmla="*/ 36 w 172"/>
                <a:gd name="T79" fmla="*/ 130 h 154"/>
                <a:gd name="T80" fmla="*/ 40 w 172"/>
                <a:gd name="T81" fmla="*/ 124 h 154"/>
                <a:gd name="T82" fmla="*/ 48 w 172"/>
                <a:gd name="T83" fmla="*/ 116 h 154"/>
                <a:gd name="T84" fmla="*/ 52 w 172"/>
                <a:gd name="T85" fmla="*/ 104 h 154"/>
                <a:gd name="T86" fmla="*/ 48 w 172"/>
                <a:gd name="T87" fmla="*/ 98 h 154"/>
                <a:gd name="T88" fmla="*/ 48 w 172"/>
                <a:gd name="T89" fmla="*/ 86 h 154"/>
                <a:gd name="T90" fmla="*/ 48 w 172"/>
                <a:gd name="T91" fmla="*/ 78 h 154"/>
                <a:gd name="T92" fmla="*/ 56 w 172"/>
                <a:gd name="T93" fmla="*/ 64 h 154"/>
                <a:gd name="T94" fmla="*/ 60 w 172"/>
                <a:gd name="T95" fmla="*/ 60 h 154"/>
                <a:gd name="T96" fmla="*/ 66 w 172"/>
                <a:gd name="T97" fmla="*/ 52 h 154"/>
                <a:gd name="T98" fmla="*/ 70 w 172"/>
                <a:gd name="T99" fmla="*/ 50 h 154"/>
                <a:gd name="T100" fmla="*/ 82 w 172"/>
                <a:gd name="T101" fmla="*/ 42 h 154"/>
                <a:gd name="T102" fmla="*/ 90 w 172"/>
                <a:gd name="T103" fmla="*/ 38 h 154"/>
                <a:gd name="T104" fmla="*/ 96 w 172"/>
                <a:gd name="T105" fmla="*/ 22 h 154"/>
                <a:gd name="T106" fmla="*/ 100 w 172"/>
                <a:gd name="T107" fmla="*/ 12 h 154"/>
                <a:gd name="T108" fmla="*/ 108 w 172"/>
                <a:gd name="T109" fmla="*/ 4 h 154"/>
                <a:gd name="T110" fmla="*/ 112 w 172"/>
                <a:gd name="T111" fmla="*/ 4 h 154"/>
                <a:gd name="T112" fmla="*/ 112 w 172"/>
                <a:gd name="T113" fmla="*/ 8 h 154"/>
                <a:gd name="T114" fmla="*/ 122 w 172"/>
                <a:gd name="T115" fmla="*/ 1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154">
                  <a:moveTo>
                    <a:pt x="122" y="16"/>
                  </a:moveTo>
                  <a:lnTo>
                    <a:pt x="122" y="16"/>
                  </a:lnTo>
                  <a:lnTo>
                    <a:pt x="122" y="16"/>
                  </a:lnTo>
                  <a:lnTo>
                    <a:pt x="126" y="16"/>
                  </a:lnTo>
                  <a:lnTo>
                    <a:pt x="126" y="16"/>
                  </a:lnTo>
                  <a:lnTo>
                    <a:pt x="126" y="16"/>
                  </a:lnTo>
                  <a:lnTo>
                    <a:pt x="126" y="16"/>
                  </a:lnTo>
                  <a:lnTo>
                    <a:pt x="126" y="16"/>
                  </a:lnTo>
                  <a:lnTo>
                    <a:pt x="130" y="16"/>
                  </a:lnTo>
                  <a:lnTo>
                    <a:pt x="130" y="16"/>
                  </a:lnTo>
                  <a:lnTo>
                    <a:pt x="130" y="16"/>
                  </a:lnTo>
                  <a:lnTo>
                    <a:pt x="130" y="16"/>
                  </a:lnTo>
                  <a:lnTo>
                    <a:pt x="130" y="16"/>
                  </a:lnTo>
                  <a:lnTo>
                    <a:pt x="134" y="16"/>
                  </a:lnTo>
                  <a:lnTo>
                    <a:pt x="134" y="16"/>
                  </a:lnTo>
                  <a:lnTo>
                    <a:pt x="134" y="16"/>
                  </a:lnTo>
                  <a:lnTo>
                    <a:pt x="134" y="16"/>
                  </a:lnTo>
                  <a:lnTo>
                    <a:pt x="134" y="16"/>
                  </a:lnTo>
                  <a:lnTo>
                    <a:pt x="138" y="16"/>
                  </a:lnTo>
                  <a:lnTo>
                    <a:pt x="138" y="16"/>
                  </a:lnTo>
                  <a:lnTo>
                    <a:pt x="138" y="16"/>
                  </a:lnTo>
                  <a:lnTo>
                    <a:pt x="138" y="16"/>
                  </a:lnTo>
                  <a:lnTo>
                    <a:pt x="142" y="16"/>
                  </a:lnTo>
                  <a:lnTo>
                    <a:pt x="142" y="16"/>
                  </a:lnTo>
                  <a:lnTo>
                    <a:pt x="146" y="12"/>
                  </a:lnTo>
                  <a:lnTo>
                    <a:pt x="146" y="12"/>
                  </a:lnTo>
                  <a:lnTo>
                    <a:pt x="146" y="12"/>
                  </a:lnTo>
                  <a:lnTo>
                    <a:pt x="146" y="12"/>
                  </a:lnTo>
                  <a:lnTo>
                    <a:pt x="146" y="12"/>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6" y="16"/>
                  </a:lnTo>
                  <a:lnTo>
                    <a:pt x="148" y="16"/>
                  </a:lnTo>
                  <a:lnTo>
                    <a:pt x="148" y="16"/>
                  </a:lnTo>
                  <a:lnTo>
                    <a:pt x="148" y="16"/>
                  </a:lnTo>
                  <a:lnTo>
                    <a:pt x="148" y="20"/>
                  </a:lnTo>
                  <a:lnTo>
                    <a:pt x="148" y="20"/>
                  </a:lnTo>
                  <a:lnTo>
                    <a:pt x="152" y="16"/>
                  </a:lnTo>
                  <a:lnTo>
                    <a:pt x="152" y="16"/>
                  </a:lnTo>
                  <a:lnTo>
                    <a:pt x="152" y="20"/>
                  </a:lnTo>
                  <a:lnTo>
                    <a:pt x="156" y="20"/>
                  </a:lnTo>
                  <a:lnTo>
                    <a:pt x="156" y="20"/>
                  </a:lnTo>
                  <a:lnTo>
                    <a:pt x="156" y="20"/>
                  </a:lnTo>
                  <a:lnTo>
                    <a:pt x="156" y="20"/>
                  </a:lnTo>
                  <a:lnTo>
                    <a:pt x="156" y="20"/>
                  </a:lnTo>
                  <a:lnTo>
                    <a:pt x="160" y="22"/>
                  </a:lnTo>
                  <a:lnTo>
                    <a:pt x="160" y="22"/>
                  </a:lnTo>
                  <a:lnTo>
                    <a:pt x="160" y="22"/>
                  </a:lnTo>
                  <a:lnTo>
                    <a:pt x="160" y="26"/>
                  </a:lnTo>
                  <a:lnTo>
                    <a:pt x="160" y="26"/>
                  </a:lnTo>
                  <a:lnTo>
                    <a:pt x="160" y="26"/>
                  </a:lnTo>
                  <a:lnTo>
                    <a:pt x="160" y="30"/>
                  </a:lnTo>
                  <a:lnTo>
                    <a:pt x="164" y="30"/>
                  </a:lnTo>
                  <a:lnTo>
                    <a:pt x="160" y="30"/>
                  </a:lnTo>
                  <a:lnTo>
                    <a:pt x="160" y="30"/>
                  </a:lnTo>
                  <a:lnTo>
                    <a:pt x="160" y="30"/>
                  </a:lnTo>
                  <a:lnTo>
                    <a:pt x="160" y="34"/>
                  </a:lnTo>
                  <a:lnTo>
                    <a:pt x="164" y="38"/>
                  </a:lnTo>
                  <a:lnTo>
                    <a:pt x="164" y="38"/>
                  </a:lnTo>
                  <a:lnTo>
                    <a:pt x="164" y="38"/>
                  </a:lnTo>
                  <a:lnTo>
                    <a:pt x="164" y="42"/>
                  </a:lnTo>
                  <a:lnTo>
                    <a:pt x="160" y="42"/>
                  </a:lnTo>
                  <a:lnTo>
                    <a:pt x="164" y="46"/>
                  </a:lnTo>
                  <a:lnTo>
                    <a:pt x="164" y="46"/>
                  </a:lnTo>
                  <a:lnTo>
                    <a:pt x="164" y="46"/>
                  </a:lnTo>
                  <a:lnTo>
                    <a:pt x="164" y="46"/>
                  </a:lnTo>
                  <a:lnTo>
                    <a:pt x="164" y="46"/>
                  </a:lnTo>
                  <a:lnTo>
                    <a:pt x="164" y="50"/>
                  </a:lnTo>
                  <a:lnTo>
                    <a:pt x="164" y="50"/>
                  </a:lnTo>
                  <a:lnTo>
                    <a:pt x="164" y="50"/>
                  </a:lnTo>
                  <a:lnTo>
                    <a:pt x="164" y="52"/>
                  </a:lnTo>
                  <a:lnTo>
                    <a:pt x="164" y="52"/>
                  </a:lnTo>
                  <a:lnTo>
                    <a:pt x="164" y="52"/>
                  </a:lnTo>
                  <a:lnTo>
                    <a:pt x="164" y="52"/>
                  </a:lnTo>
                  <a:lnTo>
                    <a:pt x="164" y="56"/>
                  </a:lnTo>
                  <a:lnTo>
                    <a:pt x="164" y="56"/>
                  </a:lnTo>
                  <a:lnTo>
                    <a:pt x="164" y="56"/>
                  </a:lnTo>
                  <a:lnTo>
                    <a:pt x="164" y="56"/>
                  </a:lnTo>
                  <a:lnTo>
                    <a:pt x="164" y="56"/>
                  </a:lnTo>
                  <a:lnTo>
                    <a:pt x="164" y="56"/>
                  </a:lnTo>
                  <a:lnTo>
                    <a:pt x="168" y="60"/>
                  </a:lnTo>
                  <a:lnTo>
                    <a:pt x="168" y="64"/>
                  </a:lnTo>
                  <a:lnTo>
                    <a:pt x="172" y="64"/>
                  </a:lnTo>
                  <a:lnTo>
                    <a:pt x="172" y="68"/>
                  </a:lnTo>
                  <a:lnTo>
                    <a:pt x="172" y="68"/>
                  </a:lnTo>
                  <a:lnTo>
                    <a:pt x="172" y="68"/>
                  </a:lnTo>
                  <a:lnTo>
                    <a:pt x="172" y="68"/>
                  </a:lnTo>
                  <a:lnTo>
                    <a:pt x="168" y="68"/>
                  </a:lnTo>
                  <a:lnTo>
                    <a:pt x="168" y="68"/>
                  </a:lnTo>
                  <a:lnTo>
                    <a:pt x="168" y="68"/>
                  </a:lnTo>
                  <a:lnTo>
                    <a:pt x="168" y="72"/>
                  </a:lnTo>
                  <a:lnTo>
                    <a:pt x="168" y="72"/>
                  </a:lnTo>
                  <a:lnTo>
                    <a:pt x="168" y="72"/>
                  </a:lnTo>
                  <a:lnTo>
                    <a:pt x="168" y="72"/>
                  </a:lnTo>
                  <a:lnTo>
                    <a:pt x="168" y="72"/>
                  </a:lnTo>
                  <a:lnTo>
                    <a:pt x="168" y="72"/>
                  </a:lnTo>
                  <a:lnTo>
                    <a:pt x="172" y="72"/>
                  </a:lnTo>
                  <a:lnTo>
                    <a:pt x="172" y="72"/>
                  </a:lnTo>
                  <a:lnTo>
                    <a:pt x="168" y="76"/>
                  </a:lnTo>
                  <a:lnTo>
                    <a:pt x="168" y="76"/>
                  </a:lnTo>
                  <a:lnTo>
                    <a:pt x="168" y="76"/>
                  </a:lnTo>
                  <a:lnTo>
                    <a:pt x="168" y="76"/>
                  </a:lnTo>
                  <a:lnTo>
                    <a:pt x="168" y="72"/>
                  </a:lnTo>
                  <a:lnTo>
                    <a:pt x="164" y="72"/>
                  </a:lnTo>
                  <a:lnTo>
                    <a:pt x="164" y="72"/>
                  </a:lnTo>
                  <a:lnTo>
                    <a:pt x="164" y="72"/>
                  </a:lnTo>
                  <a:lnTo>
                    <a:pt x="160" y="72"/>
                  </a:lnTo>
                  <a:lnTo>
                    <a:pt x="160" y="72"/>
                  </a:lnTo>
                  <a:lnTo>
                    <a:pt x="156" y="72"/>
                  </a:lnTo>
                  <a:lnTo>
                    <a:pt x="156" y="72"/>
                  </a:lnTo>
                  <a:lnTo>
                    <a:pt x="156" y="72"/>
                  </a:lnTo>
                  <a:lnTo>
                    <a:pt x="156" y="72"/>
                  </a:lnTo>
                  <a:lnTo>
                    <a:pt x="152" y="72"/>
                  </a:lnTo>
                  <a:lnTo>
                    <a:pt x="152" y="72"/>
                  </a:lnTo>
                  <a:lnTo>
                    <a:pt x="152" y="72"/>
                  </a:lnTo>
                  <a:lnTo>
                    <a:pt x="152" y="72"/>
                  </a:lnTo>
                  <a:lnTo>
                    <a:pt x="152" y="72"/>
                  </a:lnTo>
                  <a:lnTo>
                    <a:pt x="146" y="76"/>
                  </a:lnTo>
                  <a:lnTo>
                    <a:pt x="146" y="76"/>
                  </a:lnTo>
                  <a:lnTo>
                    <a:pt x="146" y="76"/>
                  </a:lnTo>
                  <a:lnTo>
                    <a:pt x="146" y="76"/>
                  </a:lnTo>
                  <a:lnTo>
                    <a:pt x="146" y="76"/>
                  </a:lnTo>
                  <a:lnTo>
                    <a:pt x="146" y="76"/>
                  </a:lnTo>
                  <a:lnTo>
                    <a:pt x="146" y="76"/>
                  </a:lnTo>
                  <a:lnTo>
                    <a:pt x="146" y="78"/>
                  </a:lnTo>
                  <a:lnTo>
                    <a:pt x="146" y="78"/>
                  </a:lnTo>
                  <a:lnTo>
                    <a:pt x="146" y="78"/>
                  </a:lnTo>
                  <a:lnTo>
                    <a:pt x="142" y="78"/>
                  </a:lnTo>
                  <a:lnTo>
                    <a:pt x="142" y="78"/>
                  </a:lnTo>
                  <a:lnTo>
                    <a:pt x="142" y="78"/>
                  </a:lnTo>
                  <a:lnTo>
                    <a:pt x="142" y="78"/>
                  </a:lnTo>
                  <a:lnTo>
                    <a:pt x="138" y="78"/>
                  </a:lnTo>
                  <a:lnTo>
                    <a:pt x="138" y="78"/>
                  </a:lnTo>
                  <a:lnTo>
                    <a:pt x="138" y="82"/>
                  </a:lnTo>
                  <a:lnTo>
                    <a:pt x="138" y="82"/>
                  </a:lnTo>
                  <a:lnTo>
                    <a:pt x="138" y="82"/>
                  </a:lnTo>
                  <a:lnTo>
                    <a:pt x="134" y="82"/>
                  </a:lnTo>
                  <a:lnTo>
                    <a:pt x="134" y="78"/>
                  </a:lnTo>
                  <a:lnTo>
                    <a:pt x="134" y="78"/>
                  </a:lnTo>
                  <a:lnTo>
                    <a:pt x="134" y="78"/>
                  </a:lnTo>
                  <a:lnTo>
                    <a:pt x="134" y="78"/>
                  </a:lnTo>
                  <a:lnTo>
                    <a:pt x="134" y="78"/>
                  </a:lnTo>
                  <a:lnTo>
                    <a:pt x="134" y="78"/>
                  </a:lnTo>
                  <a:lnTo>
                    <a:pt x="130" y="82"/>
                  </a:lnTo>
                  <a:lnTo>
                    <a:pt x="130" y="82"/>
                  </a:lnTo>
                  <a:lnTo>
                    <a:pt x="130" y="86"/>
                  </a:lnTo>
                  <a:lnTo>
                    <a:pt x="130" y="86"/>
                  </a:lnTo>
                  <a:lnTo>
                    <a:pt x="134" y="86"/>
                  </a:lnTo>
                  <a:lnTo>
                    <a:pt x="130" y="90"/>
                  </a:lnTo>
                  <a:lnTo>
                    <a:pt x="130" y="90"/>
                  </a:lnTo>
                  <a:lnTo>
                    <a:pt x="134" y="90"/>
                  </a:lnTo>
                  <a:lnTo>
                    <a:pt x="134" y="90"/>
                  </a:lnTo>
                  <a:lnTo>
                    <a:pt x="134" y="90"/>
                  </a:lnTo>
                  <a:lnTo>
                    <a:pt x="134" y="90"/>
                  </a:lnTo>
                  <a:lnTo>
                    <a:pt x="134" y="94"/>
                  </a:lnTo>
                  <a:lnTo>
                    <a:pt x="134" y="94"/>
                  </a:lnTo>
                  <a:lnTo>
                    <a:pt x="134" y="94"/>
                  </a:lnTo>
                  <a:lnTo>
                    <a:pt x="134" y="94"/>
                  </a:lnTo>
                  <a:lnTo>
                    <a:pt x="134" y="94"/>
                  </a:lnTo>
                  <a:lnTo>
                    <a:pt x="134" y="94"/>
                  </a:lnTo>
                  <a:lnTo>
                    <a:pt x="134" y="94"/>
                  </a:lnTo>
                  <a:lnTo>
                    <a:pt x="130" y="94"/>
                  </a:lnTo>
                  <a:lnTo>
                    <a:pt x="130" y="94"/>
                  </a:lnTo>
                  <a:lnTo>
                    <a:pt x="130" y="94"/>
                  </a:lnTo>
                  <a:lnTo>
                    <a:pt x="130" y="94"/>
                  </a:lnTo>
                  <a:lnTo>
                    <a:pt x="130" y="94"/>
                  </a:lnTo>
                  <a:lnTo>
                    <a:pt x="130" y="94"/>
                  </a:lnTo>
                  <a:lnTo>
                    <a:pt x="126" y="98"/>
                  </a:lnTo>
                  <a:lnTo>
                    <a:pt x="126" y="98"/>
                  </a:lnTo>
                  <a:lnTo>
                    <a:pt x="126" y="98"/>
                  </a:lnTo>
                  <a:lnTo>
                    <a:pt x="126" y="98"/>
                  </a:lnTo>
                  <a:lnTo>
                    <a:pt x="126" y="98"/>
                  </a:lnTo>
                  <a:lnTo>
                    <a:pt x="126" y="98"/>
                  </a:lnTo>
                  <a:lnTo>
                    <a:pt x="122" y="102"/>
                  </a:lnTo>
                  <a:lnTo>
                    <a:pt x="122" y="102"/>
                  </a:lnTo>
                  <a:lnTo>
                    <a:pt x="122" y="102"/>
                  </a:lnTo>
                  <a:lnTo>
                    <a:pt x="122" y="102"/>
                  </a:lnTo>
                  <a:lnTo>
                    <a:pt x="122" y="102"/>
                  </a:lnTo>
                  <a:lnTo>
                    <a:pt x="118" y="102"/>
                  </a:lnTo>
                  <a:lnTo>
                    <a:pt x="116" y="102"/>
                  </a:lnTo>
                  <a:lnTo>
                    <a:pt x="116" y="102"/>
                  </a:lnTo>
                  <a:lnTo>
                    <a:pt x="116" y="104"/>
                  </a:lnTo>
                  <a:lnTo>
                    <a:pt x="116" y="104"/>
                  </a:lnTo>
                  <a:lnTo>
                    <a:pt x="116" y="104"/>
                  </a:lnTo>
                  <a:lnTo>
                    <a:pt x="116" y="104"/>
                  </a:lnTo>
                  <a:lnTo>
                    <a:pt x="116" y="104"/>
                  </a:lnTo>
                  <a:lnTo>
                    <a:pt x="116" y="108"/>
                  </a:lnTo>
                  <a:lnTo>
                    <a:pt x="116" y="108"/>
                  </a:lnTo>
                  <a:lnTo>
                    <a:pt x="112" y="108"/>
                  </a:lnTo>
                  <a:lnTo>
                    <a:pt x="112" y="108"/>
                  </a:lnTo>
                  <a:lnTo>
                    <a:pt x="112" y="108"/>
                  </a:lnTo>
                  <a:lnTo>
                    <a:pt x="112" y="112"/>
                  </a:lnTo>
                  <a:lnTo>
                    <a:pt x="112" y="112"/>
                  </a:lnTo>
                  <a:lnTo>
                    <a:pt x="112" y="112"/>
                  </a:lnTo>
                  <a:lnTo>
                    <a:pt x="112" y="112"/>
                  </a:lnTo>
                  <a:lnTo>
                    <a:pt x="108" y="112"/>
                  </a:lnTo>
                  <a:lnTo>
                    <a:pt x="108" y="112"/>
                  </a:lnTo>
                  <a:lnTo>
                    <a:pt x="108" y="112"/>
                  </a:lnTo>
                  <a:lnTo>
                    <a:pt x="104" y="112"/>
                  </a:lnTo>
                  <a:lnTo>
                    <a:pt x="104" y="112"/>
                  </a:lnTo>
                  <a:lnTo>
                    <a:pt x="104" y="112"/>
                  </a:lnTo>
                  <a:lnTo>
                    <a:pt x="104" y="116"/>
                  </a:lnTo>
                  <a:lnTo>
                    <a:pt x="100" y="116"/>
                  </a:lnTo>
                  <a:lnTo>
                    <a:pt x="100" y="116"/>
                  </a:lnTo>
                  <a:lnTo>
                    <a:pt x="100" y="116"/>
                  </a:lnTo>
                  <a:lnTo>
                    <a:pt x="100" y="116"/>
                  </a:lnTo>
                  <a:lnTo>
                    <a:pt x="100" y="116"/>
                  </a:lnTo>
                  <a:lnTo>
                    <a:pt x="100" y="116"/>
                  </a:lnTo>
                  <a:lnTo>
                    <a:pt x="100" y="116"/>
                  </a:lnTo>
                  <a:lnTo>
                    <a:pt x="100" y="116"/>
                  </a:lnTo>
                  <a:lnTo>
                    <a:pt x="96" y="116"/>
                  </a:lnTo>
                  <a:lnTo>
                    <a:pt x="96" y="116"/>
                  </a:lnTo>
                  <a:lnTo>
                    <a:pt x="96" y="116"/>
                  </a:lnTo>
                  <a:lnTo>
                    <a:pt x="92" y="116"/>
                  </a:lnTo>
                  <a:lnTo>
                    <a:pt x="92" y="116"/>
                  </a:lnTo>
                  <a:lnTo>
                    <a:pt x="92" y="120"/>
                  </a:lnTo>
                  <a:lnTo>
                    <a:pt x="92" y="120"/>
                  </a:lnTo>
                  <a:lnTo>
                    <a:pt x="92" y="120"/>
                  </a:lnTo>
                  <a:lnTo>
                    <a:pt x="92" y="120"/>
                  </a:lnTo>
                  <a:lnTo>
                    <a:pt x="92" y="120"/>
                  </a:lnTo>
                  <a:lnTo>
                    <a:pt x="92" y="120"/>
                  </a:lnTo>
                  <a:lnTo>
                    <a:pt x="90" y="120"/>
                  </a:lnTo>
                  <a:lnTo>
                    <a:pt x="90" y="120"/>
                  </a:lnTo>
                  <a:lnTo>
                    <a:pt x="90" y="120"/>
                  </a:lnTo>
                  <a:lnTo>
                    <a:pt x="86" y="120"/>
                  </a:lnTo>
                  <a:lnTo>
                    <a:pt x="86" y="120"/>
                  </a:lnTo>
                  <a:lnTo>
                    <a:pt x="86" y="120"/>
                  </a:lnTo>
                  <a:lnTo>
                    <a:pt x="82" y="120"/>
                  </a:lnTo>
                  <a:lnTo>
                    <a:pt x="82" y="120"/>
                  </a:lnTo>
                  <a:lnTo>
                    <a:pt x="82" y="120"/>
                  </a:lnTo>
                  <a:lnTo>
                    <a:pt x="82" y="120"/>
                  </a:lnTo>
                  <a:lnTo>
                    <a:pt x="82" y="124"/>
                  </a:lnTo>
                  <a:lnTo>
                    <a:pt x="82" y="124"/>
                  </a:lnTo>
                  <a:lnTo>
                    <a:pt x="82" y="124"/>
                  </a:lnTo>
                  <a:lnTo>
                    <a:pt x="78" y="124"/>
                  </a:lnTo>
                  <a:lnTo>
                    <a:pt x="78" y="124"/>
                  </a:lnTo>
                  <a:lnTo>
                    <a:pt x="78" y="124"/>
                  </a:lnTo>
                  <a:lnTo>
                    <a:pt x="78" y="124"/>
                  </a:lnTo>
                  <a:lnTo>
                    <a:pt x="78" y="124"/>
                  </a:lnTo>
                  <a:lnTo>
                    <a:pt x="78" y="124"/>
                  </a:lnTo>
                  <a:lnTo>
                    <a:pt x="78" y="124"/>
                  </a:lnTo>
                  <a:lnTo>
                    <a:pt x="78" y="124"/>
                  </a:lnTo>
                  <a:lnTo>
                    <a:pt x="74" y="124"/>
                  </a:lnTo>
                  <a:lnTo>
                    <a:pt x="74" y="128"/>
                  </a:lnTo>
                  <a:lnTo>
                    <a:pt x="70" y="128"/>
                  </a:lnTo>
                  <a:lnTo>
                    <a:pt x="70" y="130"/>
                  </a:lnTo>
                  <a:lnTo>
                    <a:pt x="70" y="130"/>
                  </a:lnTo>
                  <a:lnTo>
                    <a:pt x="66" y="130"/>
                  </a:lnTo>
                  <a:lnTo>
                    <a:pt x="66" y="130"/>
                  </a:lnTo>
                  <a:lnTo>
                    <a:pt x="66" y="130"/>
                  </a:lnTo>
                  <a:lnTo>
                    <a:pt x="66" y="130"/>
                  </a:lnTo>
                  <a:lnTo>
                    <a:pt x="66" y="134"/>
                  </a:lnTo>
                  <a:lnTo>
                    <a:pt x="66" y="134"/>
                  </a:lnTo>
                  <a:lnTo>
                    <a:pt x="66" y="134"/>
                  </a:lnTo>
                  <a:lnTo>
                    <a:pt x="62" y="134"/>
                  </a:lnTo>
                  <a:lnTo>
                    <a:pt x="62" y="134"/>
                  </a:lnTo>
                  <a:lnTo>
                    <a:pt x="62" y="134"/>
                  </a:lnTo>
                  <a:lnTo>
                    <a:pt x="62" y="150"/>
                  </a:lnTo>
                  <a:lnTo>
                    <a:pt x="62" y="154"/>
                  </a:lnTo>
                  <a:lnTo>
                    <a:pt x="56" y="154"/>
                  </a:lnTo>
                  <a:lnTo>
                    <a:pt x="56" y="154"/>
                  </a:lnTo>
                  <a:lnTo>
                    <a:pt x="48" y="154"/>
                  </a:lnTo>
                  <a:lnTo>
                    <a:pt x="48" y="154"/>
                  </a:lnTo>
                  <a:lnTo>
                    <a:pt x="44" y="154"/>
                  </a:lnTo>
                  <a:lnTo>
                    <a:pt x="44" y="154"/>
                  </a:lnTo>
                  <a:lnTo>
                    <a:pt x="44" y="154"/>
                  </a:lnTo>
                  <a:lnTo>
                    <a:pt x="44" y="154"/>
                  </a:lnTo>
                  <a:lnTo>
                    <a:pt x="44" y="154"/>
                  </a:lnTo>
                  <a:lnTo>
                    <a:pt x="40" y="154"/>
                  </a:lnTo>
                  <a:lnTo>
                    <a:pt x="4" y="154"/>
                  </a:lnTo>
                  <a:lnTo>
                    <a:pt x="0" y="154"/>
                  </a:lnTo>
                  <a:lnTo>
                    <a:pt x="0" y="154"/>
                  </a:lnTo>
                  <a:lnTo>
                    <a:pt x="0" y="154"/>
                  </a:lnTo>
                  <a:lnTo>
                    <a:pt x="0" y="154"/>
                  </a:lnTo>
                  <a:lnTo>
                    <a:pt x="0" y="154"/>
                  </a:lnTo>
                  <a:lnTo>
                    <a:pt x="0" y="154"/>
                  </a:lnTo>
                  <a:lnTo>
                    <a:pt x="0" y="154"/>
                  </a:lnTo>
                  <a:lnTo>
                    <a:pt x="4" y="154"/>
                  </a:lnTo>
                  <a:lnTo>
                    <a:pt x="4" y="154"/>
                  </a:lnTo>
                  <a:lnTo>
                    <a:pt x="4" y="150"/>
                  </a:lnTo>
                  <a:lnTo>
                    <a:pt x="4" y="150"/>
                  </a:lnTo>
                  <a:lnTo>
                    <a:pt x="4" y="150"/>
                  </a:lnTo>
                  <a:lnTo>
                    <a:pt x="4" y="150"/>
                  </a:lnTo>
                  <a:lnTo>
                    <a:pt x="4" y="150"/>
                  </a:lnTo>
                  <a:lnTo>
                    <a:pt x="4" y="150"/>
                  </a:lnTo>
                  <a:lnTo>
                    <a:pt x="6" y="150"/>
                  </a:lnTo>
                  <a:lnTo>
                    <a:pt x="6" y="150"/>
                  </a:lnTo>
                  <a:lnTo>
                    <a:pt x="6" y="150"/>
                  </a:lnTo>
                  <a:lnTo>
                    <a:pt x="10" y="146"/>
                  </a:lnTo>
                  <a:lnTo>
                    <a:pt x="14" y="146"/>
                  </a:lnTo>
                  <a:lnTo>
                    <a:pt x="18" y="146"/>
                  </a:lnTo>
                  <a:lnTo>
                    <a:pt x="18" y="146"/>
                  </a:lnTo>
                  <a:lnTo>
                    <a:pt x="22" y="142"/>
                  </a:lnTo>
                  <a:lnTo>
                    <a:pt x="22" y="142"/>
                  </a:lnTo>
                  <a:lnTo>
                    <a:pt x="22" y="142"/>
                  </a:lnTo>
                  <a:lnTo>
                    <a:pt x="26" y="142"/>
                  </a:lnTo>
                  <a:lnTo>
                    <a:pt x="26" y="138"/>
                  </a:lnTo>
                  <a:lnTo>
                    <a:pt x="26" y="138"/>
                  </a:lnTo>
                  <a:lnTo>
                    <a:pt x="30" y="134"/>
                  </a:lnTo>
                  <a:lnTo>
                    <a:pt x="30" y="134"/>
                  </a:lnTo>
                  <a:lnTo>
                    <a:pt x="30" y="134"/>
                  </a:lnTo>
                  <a:lnTo>
                    <a:pt x="30" y="134"/>
                  </a:lnTo>
                  <a:lnTo>
                    <a:pt x="34" y="134"/>
                  </a:lnTo>
                  <a:lnTo>
                    <a:pt x="34" y="130"/>
                  </a:lnTo>
                  <a:lnTo>
                    <a:pt x="36" y="130"/>
                  </a:lnTo>
                  <a:lnTo>
                    <a:pt x="36" y="130"/>
                  </a:lnTo>
                  <a:lnTo>
                    <a:pt x="36" y="130"/>
                  </a:lnTo>
                  <a:lnTo>
                    <a:pt x="36" y="130"/>
                  </a:lnTo>
                  <a:lnTo>
                    <a:pt x="36" y="130"/>
                  </a:lnTo>
                  <a:lnTo>
                    <a:pt x="36" y="128"/>
                  </a:lnTo>
                  <a:lnTo>
                    <a:pt x="36" y="128"/>
                  </a:lnTo>
                  <a:lnTo>
                    <a:pt x="40" y="128"/>
                  </a:lnTo>
                  <a:lnTo>
                    <a:pt x="40" y="128"/>
                  </a:lnTo>
                  <a:lnTo>
                    <a:pt x="40" y="124"/>
                  </a:lnTo>
                  <a:lnTo>
                    <a:pt x="40" y="124"/>
                  </a:lnTo>
                  <a:lnTo>
                    <a:pt x="40" y="124"/>
                  </a:lnTo>
                  <a:lnTo>
                    <a:pt x="40" y="124"/>
                  </a:lnTo>
                  <a:lnTo>
                    <a:pt x="44" y="124"/>
                  </a:lnTo>
                  <a:lnTo>
                    <a:pt x="44" y="120"/>
                  </a:lnTo>
                  <a:lnTo>
                    <a:pt x="44" y="120"/>
                  </a:lnTo>
                  <a:lnTo>
                    <a:pt x="44" y="120"/>
                  </a:lnTo>
                  <a:lnTo>
                    <a:pt x="44" y="120"/>
                  </a:lnTo>
                  <a:lnTo>
                    <a:pt x="48" y="116"/>
                  </a:lnTo>
                  <a:lnTo>
                    <a:pt x="48" y="116"/>
                  </a:lnTo>
                  <a:lnTo>
                    <a:pt x="48" y="116"/>
                  </a:lnTo>
                  <a:lnTo>
                    <a:pt x="48" y="112"/>
                  </a:lnTo>
                  <a:lnTo>
                    <a:pt x="48" y="112"/>
                  </a:lnTo>
                  <a:lnTo>
                    <a:pt x="48" y="112"/>
                  </a:lnTo>
                  <a:lnTo>
                    <a:pt x="48" y="108"/>
                  </a:lnTo>
                  <a:lnTo>
                    <a:pt x="48" y="108"/>
                  </a:lnTo>
                  <a:lnTo>
                    <a:pt x="52" y="104"/>
                  </a:lnTo>
                  <a:lnTo>
                    <a:pt x="52" y="104"/>
                  </a:lnTo>
                  <a:lnTo>
                    <a:pt x="48" y="102"/>
                  </a:lnTo>
                  <a:lnTo>
                    <a:pt x="48" y="102"/>
                  </a:lnTo>
                  <a:lnTo>
                    <a:pt x="48" y="102"/>
                  </a:lnTo>
                  <a:lnTo>
                    <a:pt x="48" y="98"/>
                  </a:lnTo>
                  <a:lnTo>
                    <a:pt x="48" y="98"/>
                  </a:lnTo>
                  <a:lnTo>
                    <a:pt x="48" y="98"/>
                  </a:lnTo>
                  <a:lnTo>
                    <a:pt x="48" y="98"/>
                  </a:lnTo>
                  <a:lnTo>
                    <a:pt x="48" y="98"/>
                  </a:lnTo>
                  <a:lnTo>
                    <a:pt x="48" y="94"/>
                  </a:lnTo>
                  <a:lnTo>
                    <a:pt x="48" y="90"/>
                  </a:lnTo>
                  <a:lnTo>
                    <a:pt x="48" y="90"/>
                  </a:lnTo>
                  <a:lnTo>
                    <a:pt x="48" y="90"/>
                  </a:lnTo>
                  <a:lnTo>
                    <a:pt x="48" y="90"/>
                  </a:lnTo>
                  <a:lnTo>
                    <a:pt x="48" y="90"/>
                  </a:lnTo>
                  <a:lnTo>
                    <a:pt x="48" y="86"/>
                  </a:lnTo>
                  <a:lnTo>
                    <a:pt x="48" y="86"/>
                  </a:lnTo>
                  <a:lnTo>
                    <a:pt x="48" y="86"/>
                  </a:lnTo>
                  <a:lnTo>
                    <a:pt x="48" y="82"/>
                  </a:lnTo>
                  <a:lnTo>
                    <a:pt x="48" y="82"/>
                  </a:lnTo>
                  <a:lnTo>
                    <a:pt x="48" y="82"/>
                  </a:lnTo>
                  <a:lnTo>
                    <a:pt x="48" y="82"/>
                  </a:lnTo>
                  <a:lnTo>
                    <a:pt x="48" y="78"/>
                  </a:lnTo>
                  <a:lnTo>
                    <a:pt x="48" y="78"/>
                  </a:lnTo>
                  <a:lnTo>
                    <a:pt x="48" y="78"/>
                  </a:lnTo>
                  <a:lnTo>
                    <a:pt x="52" y="76"/>
                  </a:lnTo>
                  <a:lnTo>
                    <a:pt x="52" y="76"/>
                  </a:lnTo>
                  <a:lnTo>
                    <a:pt x="52" y="76"/>
                  </a:lnTo>
                  <a:lnTo>
                    <a:pt x="56" y="72"/>
                  </a:lnTo>
                  <a:lnTo>
                    <a:pt x="56" y="72"/>
                  </a:lnTo>
                  <a:lnTo>
                    <a:pt x="56" y="68"/>
                  </a:lnTo>
                  <a:lnTo>
                    <a:pt x="56" y="64"/>
                  </a:lnTo>
                  <a:lnTo>
                    <a:pt x="56" y="64"/>
                  </a:lnTo>
                  <a:lnTo>
                    <a:pt x="56" y="64"/>
                  </a:lnTo>
                  <a:lnTo>
                    <a:pt x="56" y="64"/>
                  </a:lnTo>
                  <a:lnTo>
                    <a:pt x="56" y="64"/>
                  </a:lnTo>
                  <a:lnTo>
                    <a:pt x="60" y="60"/>
                  </a:lnTo>
                  <a:lnTo>
                    <a:pt x="60" y="60"/>
                  </a:lnTo>
                  <a:lnTo>
                    <a:pt x="60" y="60"/>
                  </a:lnTo>
                  <a:lnTo>
                    <a:pt x="60" y="60"/>
                  </a:lnTo>
                  <a:lnTo>
                    <a:pt x="60" y="56"/>
                  </a:lnTo>
                  <a:lnTo>
                    <a:pt x="62" y="56"/>
                  </a:lnTo>
                  <a:lnTo>
                    <a:pt x="62" y="52"/>
                  </a:lnTo>
                  <a:lnTo>
                    <a:pt x="62" y="52"/>
                  </a:lnTo>
                  <a:lnTo>
                    <a:pt x="62" y="52"/>
                  </a:lnTo>
                  <a:lnTo>
                    <a:pt x="66" y="52"/>
                  </a:lnTo>
                  <a:lnTo>
                    <a:pt x="66" y="52"/>
                  </a:lnTo>
                  <a:lnTo>
                    <a:pt x="66" y="52"/>
                  </a:lnTo>
                  <a:lnTo>
                    <a:pt x="66" y="52"/>
                  </a:lnTo>
                  <a:lnTo>
                    <a:pt x="66" y="52"/>
                  </a:lnTo>
                  <a:lnTo>
                    <a:pt x="66" y="50"/>
                  </a:lnTo>
                  <a:lnTo>
                    <a:pt x="66" y="50"/>
                  </a:lnTo>
                  <a:lnTo>
                    <a:pt x="66" y="50"/>
                  </a:lnTo>
                  <a:lnTo>
                    <a:pt x="70" y="50"/>
                  </a:lnTo>
                  <a:lnTo>
                    <a:pt x="70" y="50"/>
                  </a:lnTo>
                  <a:lnTo>
                    <a:pt x="70" y="50"/>
                  </a:lnTo>
                  <a:lnTo>
                    <a:pt x="74" y="50"/>
                  </a:lnTo>
                  <a:lnTo>
                    <a:pt x="74" y="46"/>
                  </a:lnTo>
                  <a:lnTo>
                    <a:pt x="74" y="46"/>
                  </a:lnTo>
                  <a:lnTo>
                    <a:pt x="78" y="46"/>
                  </a:lnTo>
                  <a:lnTo>
                    <a:pt x="78" y="46"/>
                  </a:lnTo>
                  <a:lnTo>
                    <a:pt x="78" y="46"/>
                  </a:lnTo>
                  <a:lnTo>
                    <a:pt x="82" y="46"/>
                  </a:lnTo>
                  <a:lnTo>
                    <a:pt x="82" y="42"/>
                  </a:lnTo>
                  <a:lnTo>
                    <a:pt x="86" y="42"/>
                  </a:lnTo>
                  <a:lnTo>
                    <a:pt x="86" y="42"/>
                  </a:lnTo>
                  <a:lnTo>
                    <a:pt x="86" y="42"/>
                  </a:lnTo>
                  <a:lnTo>
                    <a:pt x="86" y="42"/>
                  </a:lnTo>
                  <a:lnTo>
                    <a:pt x="86" y="42"/>
                  </a:lnTo>
                  <a:lnTo>
                    <a:pt x="90" y="38"/>
                  </a:lnTo>
                  <a:lnTo>
                    <a:pt x="90" y="38"/>
                  </a:lnTo>
                  <a:lnTo>
                    <a:pt x="90" y="38"/>
                  </a:lnTo>
                  <a:lnTo>
                    <a:pt x="90" y="38"/>
                  </a:lnTo>
                  <a:lnTo>
                    <a:pt x="92" y="34"/>
                  </a:lnTo>
                  <a:lnTo>
                    <a:pt x="92" y="34"/>
                  </a:lnTo>
                  <a:lnTo>
                    <a:pt x="92" y="30"/>
                  </a:lnTo>
                  <a:lnTo>
                    <a:pt x="92" y="30"/>
                  </a:lnTo>
                  <a:lnTo>
                    <a:pt x="92" y="30"/>
                  </a:lnTo>
                  <a:lnTo>
                    <a:pt x="92" y="26"/>
                  </a:lnTo>
                  <a:lnTo>
                    <a:pt x="96" y="22"/>
                  </a:lnTo>
                  <a:lnTo>
                    <a:pt x="96" y="22"/>
                  </a:lnTo>
                  <a:lnTo>
                    <a:pt x="96" y="22"/>
                  </a:lnTo>
                  <a:lnTo>
                    <a:pt x="96" y="22"/>
                  </a:lnTo>
                  <a:lnTo>
                    <a:pt x="96" y="20"/>
                  </a:lnTo>
                  <a:lnTo>
                    <a:pt x="96" y="20"/>
                  </a:lnTo>
                  <a:lnTo>
                    <a:pt x="96" y="20"/>
                  </a:lnTo>
                  <a:lnTo>
                    <a:pt x="100" y="16"/>
                  </a:lnTo>
                  <a:lnTo>
                    <a:pt x="100" y="12"/>
                  </a:lnTo>
                  <a:lnTo>
                    <a:pt x="100" y="12"/>
                  </a:lnTo>
                  <a:lnTo>
                    <a:pt x="100" y="8"/>
                  </a:lnTo>
                  <a:lnTo>
                    <a:pt x="100" y="8"/>
                  </a:lnTo>
                  <a:lnTo>
                    <a:pt x="100" y="4"/>
                  </a:lnTo>
                  <a:lnTo>
                    <a:pt x="104" y="4"/>
                  </a:lnTo>
                  <a:lnTo>
                    <a:pt x="104" y="4"/>
                  </a:lnTo>
                  <a:lnTo>
                    <a:pt x="104" y="4"/>
                  </a:lnTo>
                  <a:lnTo>
                    <a:pt x="108" y="4"/>
                  </a:lnTo>
                  <a:lnTo>
                    <a:pt x="108" y="4"/>
                  </a:lnTo>
                  <a:lnTo>
                    <a:pt x="108" y="4"/>
                  </a:lnTo>
                  <a:lnTo>
                    <a:pt x="108" y="0"/>
                  </a:lnTo>
                  <a:lnTo>
                    <a:pt x="108" y="0"/>
                  </a:lnTo>
                  <a:lnTo>
                    <a:pt x="108" y="0"/>
                  </a:lnTo>
                  <a:lnTo>
                    <a:pt x="112" y="0"/>
                  </a:lnTo>
                  <a:lnTo>
                    <a:pt x="112" y="0"/>
                  </a:lnTo>
                  <a:lnTo>
                    <a:pt x="112" y="4"/>
                  </a:lnTo>
                  <a:lnTo>
                    <a:pt x="112" y="4"/>
                  </a:lnTo>
                  <a:lnTo>
                    <a:pt x="112" y="4"/>
                  </a:lnTo>
                  <a:lnTo>
                    <a:pt x="112" y="4"/>
                  </a:lnTo>
                  <a:lnTo>
                    <a:pt x="112" y="4"/>
                  </a:lnTo>
                  <a:lnTo>
                    <a:pt x="112" y="4"/>
                  </a:lnTo>
                  <a:lnTo>
                    <a:pt x="112" y="4"/>
                  </a:lnTo>
                  <a:lnTo>
                    <a:pt x="112" y="8"/>
                  </a:lnTo>
                  <a:lnTo>
                    <a:pt x="112" y="8"/>
                  </a:lnTo>
                  <a:lnTo>
                    <a:pt x="116" y="12"/>
                  </a:lnTo>
                  <a:lnTo>
                    <a:pt x="116" y="12"/>
                  </a:lnTo>
                  <a:lnTo>
                    <a:pt x="118" y="16"/>
                  </a:lnTo>
                  <a:lnTo>
                    <a:pt x="118" y="16"/>
                  </a:lnTo>
                  <a:lnTo>
                    <a:pt x="118" y="16"/>
                  </a:lnTo>
                  <a:lnTo>
                    <a:pt x="122" y="16"/>
                  </a:lnTo>
                  <a:lnTo>
                    <a:pt x="122" y="16"/>
                  </a:lnTo>
                  <a:lnTo>
                    <a:pt x="122" y="16"/>
                  </a:lnTo>
                  <a:lnTo>
                    <a:pt x="122" y="1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66" name="Freeform 159"/>
            <p:cNvSpPr>
              <a:spLocks noEditPoints="1"/>
            </p:cNvSpPr>
            <p:nvPr/>
          </p:nvSpPr>
          <p:spPr bwMode="auto">
            <a:xfrm>
              <a:off x="7309060" y="4278126"/>
              <a:ext cx="94197" cy="188292"/>
            </a:xfrm>
            <a:custGeom>
              <a:avLst/>
              <a:gdLst>
                <a:gd name="T0" fmla="*/ 22 w 150"/>
                <a:gd name="T1" fmla="*/ 274 h 288"/>
                <a:gd name="T2" fmla="*/ 22 w 150"/>
                <a:gd name="T3" fmla="*/ 254 h 288"/>
                <a:gd name="T4" fmla="*/ 22 w 150"/>
                <a:gd name="T5" fmla="*/ 240 h 288"/>
                <a:gd name="T6" fmla="*/ 18 w 150"/>
                <a:gd name="T7" fmla="*/ 226 h 288"/>
                <a:gd name="T8" fmla="*/ 22 w 150"/>
                <a:gd name="T9" fmla="*/ 198 h 288"/>
                <a:gd name="T10" fmla="*/ 34 w 150"/>
                <a:gd name="T11" fmla="*/ 176 h 288"/>
                <a:gd name="T12" fmla="*/ 38 w 150"/>
                <a:gd name="T13" fmla="*/ 158 h 288"/>
                <a:gd name="T14" fmla="*/ 38 w 150"/>
                <a:gd name="T15" fmla="*/ 146 h 288"/>
                <a:gd name="T16" fmla="*/ 42 w 150"/>
                <a:gd name="T17" fmla="*/ 136 h 288"/>
                <a:gd name="T18" fmla="*/ 38 w 150"/>
                <a:gd name="T19" fmla="*/ 120 h 288"/>
                <a:gd name="T20" fmla="*/ 34 w 150"/>
                <a:gd name="T21" fmla="*/ 106 h 288"/>
                <a:gd name="T22" fmla="*/ 22 w 150"/>
                <a:gd name="T23" fmla="*/ 98 h 288"/>
                <a:gd name="T24" fmla="*/ 8 w 150"/>
                <a:gd name="T25" fmla="*/ 94 h 288"/>
                <a:gd name="T26" fmla="*/ 0 w 150"/>
                <a:gd name="T27" fmla="*/ 80 h 288"/>
                <a:gd name="T28" fmla="*/ 12 w 150"/>
                <a:gd name="T29" fmla="*/ 72 h 288"/>
                <a:gd name="T30" fmla="*/ 26 w 150"/>
                <a:gd name="T31" fmla="*/ 68 h 288"/>
                <a:gd name="T32" fmla="*/ 44 w 150"/>
                <a:gd name="T33" fmla="*/ 64 h 288"/>
                <a:gd name="T34" fmla="*/ 60 w 150"/>
                <a:gd name="T35" fmla="*/ 68 h 288"/>
                <a:gd name="T36" fmla="*/ 60 w 150"/>
                <a:gd name="T37" fmla="*/ 86 h 288"/>
                <a:gd name="T38" fmla="*/ 60 w 150"/>
                <a:gd name="T39" fmla="*/ 102 h 288"/>
                <a:gd name="T40" fmla="*/ 68 w 150"/>
                <a:gd name="T41" fmla="*/ 116 h 288"/>
                <a:gd name="T42" fmla="*/ 68 w 150"/>
                <a:gd name="T43" fmla="*/ 106 h 288"/>
                <a:gd name="T44" fmla="*/ 78 w 150"/>
                <a:gd name="T45" fmla="*/ 98 h 288"/>
                <a:gd name="T46" fmla="*/ 78 w 150"/>
                <a:gd name="T47" fmla="*/ 76 h 288"/>
                <a:gd name="T48" fmla="*/ 68 w 150"/>
                <a:gd name="T49" fmla="*/ 52 h 288"/>
                <a:gd name="T50" fmla="*/ 60 w 150"/>
                <a:gd name="T51" fmla="*/ 38 h 288"/>
                <a:gd name="T52" fmla="*/ 60 w 150"/>
                <a:gd name="T53" fmla="*/ 26 h 288"/>
                <a:gd name="T54" fmla="*/ 70 w 150"/>
                <a:gd name="T55" fmla="*/ 20 h 288"/>
                <a:gd name="T56" fmla="*/ 90 w 150"/>
                <a:gd name="T57" fmla="*/ 20 h 288"/>
                <a:gd name="T58" fmla="*/ 108 w 150"/>
                <a:gd name="T59" fmla="*/ 20 h 288"/>
                <a:gd name="T60" fmla="*/ 112 w 150"/>
                <a:gd name="T61" fmla="*/ 12 h 288"/>
                <a:gd name="T62" fmla="*/ 128 w 150"/>
                <a:gd name="T63" fmla="*/ 12 h 288"/>
                <a:gd name="T64" fmla="*/ 138 w 150"/>
                <a:gd name="T65" fmla="*/ 4 h 288"/>
                <a:gd name="T66" fmla="*/ 146 w 150"/>
                <a:gd name="T67" fmla="*/ 12 h 288"/>
                <a:gd name="T68" fmla="*/ 146 w 150"/>
                <a:gd name="T69" fmla="*/ 24 h 288"/>
                <a:gd name="T70" fmla="*/ 142 w 150"/>
                <a:gd name="T71" fmla="*/ 42 h 288"/>
                <a:gd name="T72" fmla="*/ 146 w 150"/>
                <a:gd name="T73" fmla="*/ 56 h 288"/>
                <a:gd name="T74" fmla="*/ 146 w 150"/>
                <a:gd name="T75" fmla="*/ 68 h 288"/>
                <a:gd name="T76" fmla="*/ 146 w 150"/>
                <a:gd name="T77" fmla="*/ 80 h 288"/>
                <a:gd name="T78" fmla="*/ 142 w 150"/>
                <a:gd name="T79" fmla="*/ 86 h 288"/>
                <a:gd name="T80" fmla="*/ 134 w 150"/>
                <a:gd name="T81" fmla="*/ 102 h 288"/>
                <a:gd name="T82" fmla="*/ 124 w 150"/>
                <a:gd name="T83" fmla="*/ 112 h 288"/>
                <a:gd name="T84" fmla="*/ 108 w 150"/>
                <a:gd name="T85" fmla="*/ 120 h 288"/>
                <a:gd name="T86" fmla="*/ 94 w 150"/>
                <a:gd name="T87" fmla="*/ 132 h 288"/>
                <a:gd name="T88" fmla="*/ 86 w 150"/>
                <a:gd name="T89" fmla="*/ 140 h 288"/>
                <a:gd name="T90" fmla="*/ 82 w 150"/>
                <a:gd name="T91" fmla="*/ 146 h 288"/>
                <a:gd name="T92" fmla="*/ 70 w 150"/>
                <a:gd name="T93" fmla="*/ 158 h 288"/>
                <a:gd name="T94" fmla="*/ 64 w 150"/>
                <a:gd name="T95" fmla="*/ 162 h 288"/>
                <a:gd name="T96" fmla="*/ 68 w 150"/>
                <a:gd name="T97" fmla="*/ 176 h 288"/>
                <a:gd name="T98" fmla="*/ 70 w 150"/>
                <a:gd name="T99" fmla="*/ 192 h 288"/>
                <a:gd name="T100" fmla="*/ 70 w 150"/>
                <a:gd name="T101" fmla="*/ 210 h 288"/>
                <a:gd name="T102" fmla="*/ 74 w 150"/>
                <a:gd name="T103" fmla="*/ 210 h 288"/>
                <a:gd name="T104" fmla="*/ 70 w 150"/>
                <a:gd name="T105" fmla="*/ 228 h 288"/>
                <a:gd name="T106" fmla="*/ 74 w 150"/>
                <a:gd name="T107" fmla="*/ 236 h 288"/>
                <a:gd name="T108" fmla="*/ 68 w 150"/>
                <a:gd name="T109" fmla="*/ 248 h 288"/>
                <a:gd name="T110" fmla="*/ 52 w 150"/>
                <a:gd name="T111" fmla="*/ 254 h 288"/>
                <a:gd name="T112" fmla="*/ 38 w 150"/>
                <a:gd name="T113" fmla="*/ 262 h 288"/>
                <a:gd name="T114" fmla="*/ 34 w 150"/>
                <a:gd name="T115" fmla="*/ 278 h 288"/>
                <a:gd name="T116" fmla="*/ 38 w 150"/>
                <a:gd name="T117" fmla="*/ 288 h 288"/>
                <a:gd name="T118" fmla="*/ 26 w 150"/>
                <a:gd name="T119" fmla="*/ 288 h 288"/>
                <a:gd name="T120" fmla="*/ 74 w 150"/>
                <a:gd name="T121" fmla="*/ 19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288">
                  <a:moveTo>
                    <a:pt x="26" y="288"/>
                  </a:moveTo>
                  <a:lnTo>
                    <a:pt x="26" y="280"/>
                  </a:lnTo>
                  <a:lnTo>
                    <a:pt x="26" y="278"/>
                  </a:lnTo>
                  <a:lnTo>
                    <a:pt x="26" y="274"/>
                  </a:lnTo>
                  <a:lnTo>
                    <a:pt x="22" y="274"/>
                  </a:lnTo>
                  <a:lnTo>
                    <a:pt x="22" y="270"/>
                  </a:lnTo>
                  <a:lnTo>
                    <a:pt x="22" y="266"/>
                  </a:lnTo>
                  <a:lnTo>
                    <a:pt x="22" y="262"/>
                  </a:lnTo>
                  <a:lnTo>
                    <a:pt x="26" y="254"/>
                  </a:lnTo>
                  <a:lnTo>
                    <a:pt x="22" y="254"/>
                  </a:lnTo>
                  <a:lnTo>
                    <a:pt x="22" y="252"/>
                  </a:lnTo>
                  <a:lnTo>
                    <a:pt x="22" y="248"/>
                  </a:lnTo>
                  <a:lnTo>
                    <a:pt x="26" y="244"/>
                  </a:lnTo>
                  <a:lnTo>
                    <a:pt x="22" y="244"/>
                  </a:lnTo>
                  <a:lnTo>
                    <a:pt x="22" y="240"/>
                  </a:lnTo>
                  <a:lnTo>
                    <a:pt x="22" y="236"/>
                  </a:lnTo>
                  <a:lnTo>
                    <a:pt x="22" y="232"/>
                  </a:lnTo>
                  <a:lnTo>
                    <a:pt x="18" y="232"/>
                  </a:lnTo>
                  <a:lnTo>
                    <a:pt x="18" y="228"/>
                  </a:lnTo>
                  <a:lnTo>
                    <a:pt x="18" y="226"/>
                  </a:lnTo>
                  <a:lnTo>
                    <a:pt x="18" y="222"/>
                  </a:lnTo>
                  <a:lnTo>
                    <a:pt x="14" y="210"/>
                  </a:lnTo>
                  <a:lnTo>
                    <a:pt x="14" y="206"/>
                  </a:lnTo>
                  <a:lnTo>
                    <a:pt x="18" y="202"/>
                  </a:lnTo>
                  <a:lnTo>
                    <a:pt x="22" y="198"/>
                  </a:lnTo>
                  <a:lnTo>
                    <a:pt x="30" y="188"/>
                  </a:lnTo>
                  <a:lnTo>
                    <a:pt x="30" y="184"/>
                  </a:lnTo>
                  <a:lnTo>
                    <a:pt x="30" y="180"/>
                  </a:lnTo>
                  <a:lnTo>
                    <a:pt x="30" y="176"/>
                  </a:lnTo>
                  <a:lnTo>
                    <a:pt x="34" y="176"/>
                  </a:lnTo>
                  <a:lnTo>
                    <a:pt x="34" y="172"/>
                  </a:lnTo>
                  <a:lnTo>
                    <a:pt x="38" y="168"/>
                  </a:lnTo>
                  <a:lnTo>
                    <a:pt x="38" y="166"/>
                  </a:lnTo>
                  <a:lnTo>
                    <a:pt x="38" y="162"/>
                  </a:lnTo>
                  <a:lnTo>
                    <a:pt x="38" y="158"/>
                  </a:lnTo>
                  <a:lnTo>
                    <a:pt x="34" y="158"/>
                  </a:lnTo>
                  <a:lnTo>
                    <a:pt x="34" y="154"/>
                  </a:lnTo>
                  <a:lnTo>
                    <a:pt x="38" y="154"/>
                  </a:lnTo>
                  <a:lnTo>
                    <a:pt x="38" y="150"/>
                  </a:lnTo>
                  <a:lnTo>
                    <a:pt x="38" y="146"/>
                  </a:lnTo>
                  <a:lnTo>
                    <a:pt x="34" y="146"/>
                  </a:lnTo>
                  <a:lnTo>
                    <a:pt x="34" y="142"/>
                  </a:lnTo>
                  <a:lnTo>
                    <a:pt x="38" y="142"/>
                  </a:lnTo>
                  <a:lnTo>
                    <a:pt x="38" y="140"/>
                  </a:lnTo>
                  <a:lnTo>
                    <a:pt x="42" y="136"/>
                  </a:lnTo>
                  <a:lnTo>
                    <a:pt x="38" y="136"/>
                  </a:lnTo>
                  <a:lnTo>
                    <a:pt x="38" y="132"/>
                  </a:lnTo>
                  <a:lnTo>
                    <a:pt x="38" y="128"/>
                  </a:lnTo>
                  <a:lnTo>
                    <a:pt x="38" y="124"/>
                  </a:lnTo>
                  <a:lnTo>
                    <a:pt x="38" y="120"/>
                  </a:lnTo>
                  <a:lnTo>
                    <a:pt x="38" y="116"/>
                  </a:lnTo>
                  <a:lnTo>
                    <a:pt x="38" y="112"/>
                  </a:lnTo>
                  <a:lnTo>
                    <a:pt x="38" y="110"/>
                  </a:lnTo>
                  <a:lnTo>
                    <a:pt x="34" y="110"/>
                  </a:lnTo>
                  <a:lnTo>
                    <a:pt x="34" y="106"/>
                  </a:lnTo>
                  <a:lnTo>
                    <a:pt x="30" y="106"/>
                  </a:lnTo>
                  <a:lnTo>
                    <a:pt x="30" y="102"/>
                  </a:lnTo>
                  <a:lnTo>
                    <a:pt x="26" y="102"/>
                  </a:lnTo>
                  <a:lnTo>
                    <a:pt x="22" y="102"/>
                  </a:lnTo>
                  <a:lnTo>
                    <a:pt x="22" y="98"/>
                  </a:lnTo>
                  <a:lnTo>
                    <a:pt x="18" y="98"/>
                  </a:lnTo>
                  <a:lnTo>
                    <a:pt x="14" y="98"/>
                  </a:lnTo>
                  <a:lnTo>
                    <a:pt x="14" y="94"/>
                  </a:lnTo>
                  <a:lnTo>
                    <a:pt x="12" y="94"/>
                  </a:lnTo>
                  <a:lnTo>
                    <a:pt x="8" y="94"/>
                  </a:lnTo>
                  <a:lnTo>
                    <a:pt x="0" y="94"/>
                  </a:lnTo>
                  <a:lnTo>
                    <a:pt x="0" y="90"/>
                  </a:lnTo>
                  <a:lnTo>
                    <a:pt x="0" y="86"/>
                  </a:lnTo>
                  <a:lnTo>
                    <a:pt x="0" y="82"/>
                  </a:lnTo>
                  <a:lnTo>
                    <a:pt x="0" y="80"/>
                  </a:lnTo>
                  <a:lnTo>
                    <a:pt x="0" y="76"/>
                  </a:lnTo>
                  <a:lnTo>
                    <a:pt x="4" y="76"/>
                  </a:lnTo>
                  <a:lnTo>
                    <a:pt x="8" y="76"/>
                  </a:lnTo>
                  <a:lnTo>
                    <a:pt x="8" y="72"/>
                  </a:lnTo>
                  <a:lnTo>
                    <a:pt x="12" y="72"/>
                  </a:lnTo>
                  <a:lnTo>
                    <a:pt x="14" y="72"/>
                  </a:lnTo>
                  <a:lnTo>
                    <a:pt x="18" y="72"/>
                  </a:lnTo>
                  <a:lnTo>
                    <a:pt x="18" y="68"/>
                  </a:lnTo>
                  <a:lnTo>
                    <a:pt x="22" y="68"/>
                  </a:lnTo>
                  <a:lnTo>
                    <a:pt x="26" y="68"/>
                  </a:lnTo>
                  <a:lnTo>
                    <a:pt x="30" y="64"/>
                  </a:lnTo>
                  <a:lnTo>
                    <a:pt x="38" y="60"/>
                  </a:lnTo>
                  <a:lnTo>
                    <a:pt x="42" y="60"/>
                  </a:lnTo>
                  <a:lnTo>
                    <a:pt x="42" y="64"/>
                  </a:lnTo>
                  <a:lnTo>
                    <a:pt x="44" y="64"/>
                  </a:lnTo>
                  <a:lnTo>
                    <a:pt x="44" y="68"/>
                  </a:lnTo>
                  <a:lnTo>
                    <a:pt x="48" y="68"/>
                  </a:lnTo>
                  <a:lnTo>
                    <a:pt x="52" y="68"/>
                  </a:lnTo>
                  <a:lnTo>
                    <a:pt x="56" y="68"/>
                  </a:lnTo>
                  <a:lnTo>
                    <a:pt x="60" y="68"/>
                  </a:lnTo>
                  <a:lnTo>
                    <a:pt x="60" y="72"/>
                  </a:lnTo>
                  <a:lnTo>
                    <a:pt x="60" y="76"/>
                  </a:lnTo>
                  <a:lnTo>
                    <a:pt x="60" y="80"/>
                  </a:lnTo>
                  <a:lnTo>
                    <a:pt x="60" y="82"/>
                  </a:lnTo>
                  <a:lnTo>
                    <a:pt x="60" y="86"/>
                  </a:lnTo>
                  <a:lnTo>
                    <a:pt x="60" y="90"/>
                  </a:lnTo>
                  <a:lnTo>
                    <a:pt x="56" y="90"/>
                  </a:lnTo>
                  <a:lnTo>
                    <a:pt x="56" y="94"/>
                  </a:lnTo>
                  <a:lnTo>
                    <a:pt x="60" y="98"/>
                  </a:lnTo>
                  <a:lnTo>
                    <a:pt x="60" y="102"/>
                  </a:lnTo>
                  <a:lnTo>
                    <a:pt x="64" y="102"/>
                  </a:lnTo>
                  <a:lnTo>
                    <a:pt x="64" y="106"/>
                  </a:lnTo>
                  <a:lnTo>
                    <a:pt x="68" y="110"/>
                  </a:lnTo>
                  <a:lnTo>
                    <a:pt x="68" y="112"/>
                  </a:lnTo>
                  <a:lnTo>
                    <a:pt x="68" y="116"/>
                  </a:lnTo>
                  <a:lnTo>
                    <a:pt x="70" y="116"/>
                  </a:lnTo>
                  <a:lnTo>
                    <a:pt x="70" y="112"/>
                  </a:lnTo>
                  <a:lnTo>
                    <a:pt x="70" y="110"/>
                  </a:lnTo>
                  <a:lnTo>
                    <a:pt x="70" y="106"/>
                  </a:lnTo>
                  <a:lnTo>
                    <a:pt x="68" y="106"/>
                  </a:lnTo>
                  <a:lnTo>
                    <a:pt x="70" y="106"/>
                  </a:lnTo>
                  <a:lnTo>
                    <a:pt x="70" y="102"/>
                  </a:lnTo>
                  <a:lnTo>
                    <a:pt x="70" y="98"/>
                  </a:lnTo>
                  <a:lnTo>
                    <a:pt x="74" y="98"/>
                  </a:lnTo>
                  <a:lnTo>
                    <a:pt x="78" y="98"/>
                  </a:lnTo>
                  <a:lnTo>
                    <a:pt x="78" y="94"/>
                  </a:lnTo>
                  <a:lnTo>
                    <a:pt x="78" y="86"/>
                  </a:lnTo>
                  <a:lnTo>
                    <a:pt x="78" y="82"/>
                  </a:lnTo>
                  <a:lnTo>
                    <a:pt x="78" y="80"/>
                  </a:lnTo>
                  <a:lnTo>
                    <a:pt x="78" y="76"/>
                  </a:lnTo>
                  <a:lnTo>
                    <a:pt x="78" y="72"/>
                  </a:lnTo>
                  <a:lnTo>
                    <a:pt x="74" y="64"/>
                  </a:lnTo>
                  <a:lnTo>
                    <a:pt x="70" y="56"/>
                  </a:lnTo>
                  <a:lnTo>
                    <a:pt x="68" y="56"/>
                  </a:lnTo>
                  <a:lnTo>
                    <a:pt x="68" y="52"/>
                  </a:lnTo>
                  <a:lnTo>
                    <a:pt x="64" y="52"/>
                  </a:lnTo>
                  <a:lnTo>
                    <a:pt x="60" y="50"/>
                  </a:lnTo>
                  <a:lnTo>
                    <a:pt x="60" y="46"/>
                  </a:lnTo>
                  <a:lnTo>
                    <a:pt x="60" y="42"/>
                  </a:lnTo>
                  <a:lnTo>
                    <a:pt x="60" y="38"/>
                  </a:lnTo>
                  <a:lnTo>
                    <a:pt x="60" y="34"/>
                  </a:lnTo>
                  <a:lnTo>
                    <a:pt x="60" y="30"/>
                  </a:lnTo>
                  <a:lnTo>
                    <a:pt x="56" y="30"/>
                  </a:lnTo>
                  <a:lnTo>
                    <a:pt x="56" y="26"/>
                  </a:lnTo>
                  <a:lnTo>
                    <a:pt x="60" y="26"/>
                  </a:lnTo>
                  <a:lnTo>
                    <a:pt x="60" y="24"/>
                  </a:lnTo>
                  <a:lnTo>
                    <a:pt x="60" y="20"/>
                  </a:lnTo>
                  <a:lnTo>
                    <a:pt x="64" y="20"/>
                  </a:lnTo>
                  <a:lnTo>
                    <a:pt x="68" y="20"/>
                  </a:lnTo>
                  <a:lnTo>
                    <a:pt x="70" y="20"/>
                  </a:lnTo>
                  <a:lnTo>
                    <a:pt x="74" y="20"/>
                  </a:lnTo>
                  <a:lnTo>
                    <a:pt x="78" y="16"/>
                  </a:lnTo>
                  <a:lnTo>
                    <a:pt x="82" y="20"/>
                  </a:lnTo>
                  <a:lnTo>
                    <a:pt x="86" y="20"/>
                  </a:lnTo>
                  <a:lnTo>
                    <a:pt x="90" y="20"/>
                  </a:lnTo>
                  <a:lnTo>
                    <a:pt x="94" y="20"/>
                  </a:lnTo>
                  <a:lnTo>
                    <a:pt x="98" y="20"/>
                  </a:lnTo>
                  <a:lnTo>
                    <a:pt x="100" y="20"/>
                  </a:lnTo>
                  <a:lnTo>
                    <a:pt x="104" y="20"/>
                  </a:lnTo>
                  <a:lnTo>
                    <a:pt x="108" y="20"/>
                  </a:lnTo>
                  <a:lnTo>
                    <a:pt x="108" y="16"/>
                  </a:lnTo>
                  <a:lnTo>
                    <a:pt x="104" y="16"/>
                  </a:lnTo>
                  <a:lnTo>
                    <a:pt x="108" y="16"/>
                  </a:lnTo>
                  <a:lnTo>
                    <a:pt x="108" y="12"/>
                  </a:lnTo>
                  <a:lnTo>
                    <a:pt x="112" y="12"/>
                  </a:lnTo>
                  <a:lnTo>
                    <a:pt x="112" y="16"/>
                  </a:lnTo>
                  <a:lnTo>
                    <a:pt x="116" y="16"/>
                  </a:lnTo>
                  <a:lnTo>
                    <a:pt x="120" y="12"/>
                  </a:lnTo>
                  <a:lnTo>
                    <a:pt x="124" y="12"/>
                  </a:lnTo>
                  <a:lnTo>
                    <a:pt x="128" y="12"/>
                  </a:lnTo>
                  <a:lnTo>
                    <a:pt x="128" y="8"/>
                  </a:lnTo>
                  <a:lnTo>
                    <a:pt x="130" y="8"/>
                  </a:lnTo>
                  <a:lnTo>
                    <a:pt x="134" y="8"/>
                  </a:lnTo>
                  <a:lnTo>
                    <a:pt x="134" y="4"/>
                  </a:lnTo>
                  <a:lnTo>
                    <a:pt x="138" y="4"/>
                  </a:lnTo>
                  <a:lnTo>
                    <a:pt x="142" y="0"/>
                  </a:lnTo>
                  <a:lnTo>
                    <a:pt x="146" y="0"/>
                  </a:lnTo>
                  <a:lnTo>
                    <a:pt x="146" y="4"/>
                  </a:lnTo>
                  <a:lnTo>
                    <a:pt x="146" y="8"/>
                  </a:lnTo>
                  <a:lnTo>
                    <a:pt x="146" y="12"/>
                  </a:lnTo>
                  <a:lnTo>
                    <a:pt x="142" y="12"/>
                  </a:lnTo>
                  <a:lnTo>
                    <a:pt x="142" y="16"/>
                  </a:lnTo>
                  <a:lnTo>
                    <a:pt x="146" y="16"/>
                  </a:lnTo>
                  <a:lnTo>
                    <a:pt x="142" y="20"/>
                  </a:lnTo>
                  <a:lnTo>
                    <a:pt x="146" y="24"/>
                  </a:lnTo>
                  <a:lnTo>
                    <a:pt x="146" y="30"/>
                  </a:lnTo>
                  <a:lnTo>
                    <a:pt x="146" y="34"/>
                  </a:lnTo>
                  <a:lnTo>
                    <a:pt x="146" y="38"/>
                  </a:lnTo>
                  <a:lnTo>
                    <a:pt x="146" y="42"/>
                  </a:lnTo>
                  <a:lnTo>
                    <a:pt x="142" y="42"/>
                  </a:lnTo>
                  <a:lnTo>
                    <a:pt x="146" y="42"/>
                  </a:lnTo>
                  <a:lnTo>
                    <a:pt x="146" y="46"/>
                  </a:lnTo>
                  <a:lnTo>
                    <a:pt x="146" y="50"/>
                  </a:lnTo>
                  <a:lnTo>
                    <a:pt x="146" y="52"/>
                  </a:lnTo>
                  <a:lnTo>
                    <a:pt x="146" y="56"/>
                  </a:lnTo>
                  <a:lnTo>
                    <a:pt x="146" y="60"/>
                  </a:lnTo>
                  <a:lnTo>
                    <a:pt x="146" y="64"/>
                  </a:lnTo>
                  <a:lnTo>
                    <a:pt x="150" y="64"/>
                  </a:lnTo>
                  <a:lnTo>
                    <a:pt x="150" y="68"/>
                  </a:lnTo>
                  <a:lnTo>
                    <a:pt x="146" y="68"/>
                  </a:lnTo>
                  <a:lnTo>
                    <a:pt x="150" y="68"/>
                  </a:lnTo>
                  <a:lnTo>
                    <a:pt x="150" y="72"/>
                  </a:lnTo>
                  <a:lnTo>
                    <a:pt x="150" y="76"/>
                  </a:lnTo>
                  <a:lnTo>
                    <a:pt x="150" y="80"/>
                  </a:lnTo>
                  <a:lnTo>
                    <a:pt x="146" y="80"/>
                  </a:lnTo>
                  <a:lnTo>
                    <a:pt x="146" y="82"/>
                  </a:lnTo>
                  <a:lnTo>
                    <a:pt x="146" y="80"/>
                  </a:lnTo>
                  <a:lnTo>
                    <a:pt x="146" y="82"/>
                  </a:lnTo>
                  <a:lnTo>
                    <a:pt x="146" y="86"/>
                  </a:lnTo>
                  <a:lnTo>
                    <a:pt x="142" y="86"/>
                  </a:lnTo>
                  <a:lnTo>
                    <a:pt x="142" y="90"/>
                  </a:lnTo>
                  <a:lnTo>
                    <a:pt x="138" y="94"/>
                  </a:lnTo>
                  <a:lnTo>
                    <a:pt x="138" y="98"/>
                  </a:lnTo>
                  <a:lnTo>
                    <a:pt x="134" y="98"/>
                  </a:lnTo>
                  <a:lnTo>
                    <a:pt x="134" y="102"/>
                  </a:lnTo>
                  <a:lnTo>
                    <a:pt x="134" y="106"/>
                  </a:lnTo>
                  <a:lnTo>
                    <a:pt x="130" y="106"/>
                  </a:lnTo>
                  <a:lnTo>
                    <a:pt x="128" y="110"/>
                  </a:lnTo>
                  <a:lnTo>
                    <a:pt x="124" y="110"/>
                  </a:lnTo>
                  <a:lnTo>
                    <a:pt x="124" y="112"/>
                  </a:lnTo>
                  <a:lnTo>
                    <a:pt x="120" y="112"/>
                  </a:lnTo>
                  <a:lnTo>
                    <a:pt x="116" y="116"/>
                  </a:lnTo>
                  <a:lnTo>
                    <a:pt x="112" y="116"/>
                  </a:lnTo>
                  <a:lnTo>
                    <a:pt x="108" y="116"/>
                  </a:lnTo>
                  <a:lnTo>
                    <a:pt x="108" y="120"/>
                  </a:lnTo>
                  <a:lnTo>
                    <a:pt x="104" y="120"/>
                  </a:lnTo>
                  <a:lnTo>
                    <a:pt x="100" y="124"/>
                  </a:lnTo>
                  <a:lnTo>
                    <a:pt x="98" y="124"/>
                  </a:lnTo>
                  <a:lnTo>
                    <a:pt x="98" y="128"/>
                  </a:lnTo>
                  <a:lnTo>
                    <a:pt x="94" y="132"/>
                  </a:lnTo>
                  <a:lnTo>
                    <a:pt x="94" y="128"/>
                  </a:lnTo>
                  <a:lnTo>
                    <a:pt x="94" y="132"/>
                  </a:lnTo>
                  <a:lnTo>
                    <a:pt x="94" y="136"/>
                  </a:lnTo>
                  <a:lnTo>
                    <a:pt x="90" y="140"/>
                  </a:lnTo>
                  <a:lnTo>
                    <a:pt x="86" y="140"/>
                  </a:lnTo>
                  <a:lnTo>
                    <a:pt x="86" y="142"/>
                  </a:lnTo>
                  <a:lnTo>
                    <a:pt x="86" y="146"/>
                  </a:lnTo>
                  <a:lnTo>
                    <a:pt x="82" y="146"/>
                  </a:lnTo>
                  <a:lnTo>
                    <a:pt x="82" y="142"/>
                  </a:lnTo>
                  <a:lnTo>
                    <a:pt x="82" y="146"/>
                  </a:lnTo>
                  <a:lnTo>
                    <a:pt x="78" y="146"/>
                  </a:lnTo>
                  <a:lnTo>
                    <a:pt x="78" y="150"/>
                  </a:lnTo>
                  <a:lnTo>
                    <a:pt x="74" y="150"/>
                  </a:lnTo>
                  <a:lnTo>
                    <a:pt x="74" y="154"/>
                  </a:lnTo>
                  <a:lnTo>
                    <a:pt x="70" y="158"/>
                  </a:lnTo>
                  <a:lnTo>
                    <a:pt x="68" y="162"/>
                  </a:lnTo>
                  <a:lnTo>
                    <a:pt x="64" y="162"/>
                  </a:lnTo>
                  <a:lnTo>
                    <a:pt x="60" y="158"/>
                  </a:lnTo>
                  <a:lnTo>
                    <a:pt x="60" y="162"/>
                  </a:lnTo>
                  <a:lnTo>
                    <a:pt x="64" y="162"/>
                  </a:lnTo>
                  <a:lnTo>
                    <a:pt x="64" y="166"/>
                  </a:lnTo>
                  <a:lnTo>
                    <a:pt x="64" y="168"/>
                  </a:lnTo>
                  <a:lnTo>
                    <a:pt x="64" y="172"/>
                  </a:lnTo>
                  <a:lnTo>
                    <a:pt x="64" y="176"/>
                  </a:lnTo>
                  <a:lnTo>
                    <a:pt x="68" y="176"/>
                  </a:lnTo>
                  <a:lnTo>
                    <a:pt x="68" y="180"/>
                  </a:lnTo>
                  <a:lnTo>
                    <a:pt x="68" y="184"/>
                  </a:lnTo>
                  <a:lnTo>
                    <a:pt x="68" y="188"/>
                  </a:lnTo>
                  <a:lnTo>
                    <a:pt x="68" y="192"/>
                  </a:lnTo>
                  <a:lnTo>
                    <a:pt x="70" y="192"/>
                  </a:lnTo>
                  <a:lnTo>
                    <a:pt x="70" y="196"/>
                  </a:lnTo>
                  <a:lnTo>
                    <a:pt x="70" y="198"/>
                  </a:lnTo>
                  <a:lnTo>
                    <a:pt x="70" y="202"/>
                  </a:lnTo>
                  <a:lnTo>
                    <a:pt x="70" y="206"/>
                  </a:lnTo>
                  <a:lnTo>
                    <a:pt x="70" y="210"/>
                  </a:lnTo>
                  <a:lnTo>
                    <a:pt x="70" y="206"/>
                  </a:lnTo>
                  <a:lnTo>
                    <a:pt x="70" y="202"/>
                  </a:lnTo>
                  <a:lnTo>
                    <a:pt x="74" y="202"/>
                  </a:lnTo>
                  <a:lnTo>
                    <a:pt x="74" y="206"/>
                  </a:lnTo>
                  <a:lnTo>
                    <a:pt x="74" y="210"/>
                  </a:lnTo>
                  <a:lnTo>
                    <a:pt x="74" y="214"/>
                  </a:lnTo>
                  <a:lnTo>
                    <a:pt x="74" y="218"/>
                  </a:lnTo>
                  <a:lnTo>
                    <a:pt x="74" y="222"/>
                  </a:lnTo>
                  <a:lnTo>
                    <a:pt x="74" y="226"/>
                  </a:lnTo>
                  <a:lnTo>
                    <a:pt x="70" y="228"/>
                  </a:lnTo>
                  <a:lnTo>
                    <a:pt x="70" y="232"/>
                  </a:lnTo>
                  <a:lnTo>
                    <a:pt x="70" y="236"/>
                  </a:lnTo>
                  <a:lnTo>
                    <a:pt x="70" y="232"/>
                  </a:lnTo>
                  <a:lnTo>
                    <a:pt x="74" y="232"/>
                  </a:lnTo>
                  <a:lnTo>
                    <a:pt x="74" y="236"/>
                  </a:lnTo>
                  <a:lnTo>
                    <a:pt x="74" y="240"/>
                  </a:lnTo>
                  <a:lnTo>
                    <a:pt x="70" y="240"/>
                  </a:lnTo>
                  <a:lnTo>
                    <a:pt x="70" y="244"/>
                  </a:lnTo>
                  <a:lnTo>
                    <a:pt x="70" y="248"/>
                  </a:lnTo>
                  <a:lnTo>
                    <a:pt x="68" y="248"/>
                  </a:lnTo>
                  <a:lnTo>
                    <a:pt x="64" y="252"/>
                  </a:lnTo>
                  <a:lnTo>
                    <a:pt x="60" y="252"/>
                  </a:lnTo>
                  <a:lnTo>
                    <a:pt x="56" y="252"/>
                  </a:lnTo>
                  <a:lnTo>
                    <a:pt x="56" y="254"/>
                  </a:lnTo>
                  <a:lnTo>
                    <a:pt x="52" y="254"/>
                  </a:lnTo>
                  <a:lnTo>
                    <a:pt x="48" y="254"/>
                  </a:lnTo>
                  <a:lnTo>
                    <a:pt x="44" y="258"/>
                  </a:lnTo>
                  <a:lnTo>
                    <a:pt x="42" y="258"/>
                  </a:lnTo>
                  <a:lnTo>
                    <a:pt x="42" y="262"/>
                  </a:lnTo>
                  <a:lnTo>
                    <a:pt x="38" y="262"/>
                  </a:lnTo>
                  <a:lnTo>
                    <a:pt x="38" y="266"/>
                  </a:lnTo>
                  <a:lnTo>
                    <a:pt x="34" y="266"/>
                  </a:lnTo>
                  <a:lnTo>
                    <a:pt x="34" y="270"/>
                  </a:lnTo>
                  <a:lnTo>
                    <a:pt x="34" y="274"/>
                  </a:lnTo>
                  <a:lnTo>
                    <a:pt x="34" y="278"/>
                  </a:lnTo>
                  <a:lnTo>
                    <a:pt x="38" y="278"/>
                  </a:lnTo>
                  <a:lnTo>
                    <a:pt x="38" y="274"/>
                  </a:lnTo>
                  <a:lnTo>
                    <a:pt x="38" y="278"/>
                  </a:lnTo>
                  <a:lnTo>
                    <a:pt x="38" y="284"/>
                  </a:lnTo>
                  <a:lnTo>
                    <a:pt x="38" y="288"/>
                  </a:lnTo>
                  <a:lnTo>
                    <a:pt x="34" y="288"/>
                  </a:lnTo>
                  <a:lnTo>
                    <a:pt x="30" y="288"/>
                  </a:lnTo>
                  <a:lnTo>
                    <a:pt x="26" y="288"/>
                  </a:lnTo>
                  <a:lnTo>
                    <a:pt x="26" y="288"/>
                  </a:lnTo>
                  <a:lnTo>
                    <a:pt x="26" y="288"/>
                  </a:lnTo>
                  <a:close/>
                  <a:moveTo>
                    <a:pt x="74" y="198"/>
                  </a:moveTo>
                  <a:lnTo>
                    <a:pt x="70" y="198"/>
                  </a:lnTo>
                  <a:lnTo>
                    <a:pt x="70" y="196"/>
                  </a:lnTo>
                  <a:lnTo>
                    <a:pt x="74" y="192"/>
                  </a:lnTo>
                  <a:lnTo>
                    <a:pt x="74" y="196"/>
                  </a:lnTo>
                  <a:lnTo>
                    <a:pt x="74" y="198"/>
                  </a:lnTo>
                  <a:lnTo>
                    <a:pt x="74" y="198"/>
                  </a:lnTo>
                  <a:lnTo>
                    <a:pt x="74" y="19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67" name="Freeform 160"/>
            <p:cNvSpPr>
              <a:spLocks/>
            </p:cNvSpPr>
            <p:nvPr/>
          </p:nvSpPr>
          <p:spPr bwMode="auto">
            <a:xfrm>
              <a:off x="7143274" y="4351350"/>
              <a:ext cx="121828" cy="139911"/>
            </a:xfrm>
            <a:custGeom>
              <a:avLst/>
              <a:gdLst>
                <a:gd name="T0" fmla="*/ 120 w 194"/>
                <a:gd name="T1" fmla="*/ 124 h 214"/>
                <a:gd name="T2" fmla="*/ 120 w 194"/>
                <a:gd name="T3" fmla="*/ 140 h 214"/>
                <a:gd name="T4" fmla="*/ 120 w 194"/>
                <a:gd name="T5" fmla="*/ 154 h 214"/>
                <a:gd name="T6" fmla="*/ 120 w 194"/>
                <a:gd name="T7" fmla="*/ 184 h 214"/>
                <a:gd name="T8" fmla="*/ 120 w 194"/>
                <a:gd name="T9" fmla="*/ 202 h 214"/>
                <a:gd name="T10" fmla="*/ 108 w 194"/>
                <a:gd name="T11" fmla="*/ 210 h 214"/>
                <a:gd name="T12" fmla="*/ 96 w 194"/>
                <a:gd name="T13" fmla="*/ 214 h 214"/>
                <a:gd name="T14" fmla="*/ 86 w 194"/>
                <a:gd name="T15" fmla="*/ 210 h 214"/>
                <a:gd name="T16" fmla="*/ 82 w 194"/>
                <a:gd name="T17" fmla="*/ 198 h 214"/>
                <a:gd name="T18" fmla="*/ 74 w 194"/>
                <a:gd name="T19" fmla="*/ 198 h 214"/>
                <a:gd name="T20" fmla="*/ 66 w 194"/>
                <a:gd name="T21" fmla="*/ 206 h 214"/>
                <a:gd name="T22" fmla="*/ 60 w 194"/>
                <a:gd name="T23" fmla="*/ 194 h 214"/>
                <a:gd name="T24" fmla="*/ 56 w 194"/>
                <a:gd name="T25" fmla="*/ 190 h 214"/>
                <a:gd name="T26" fmla="*/ 52 w 194"/>
                <a:gd name="T27" fmla="*/ 176 h 214"/>
                <a:gd name="T28" fmla="*/ 48 w 194"/>
                <a:gd name="T29" fmla="*/ 166 h 214"/>
                <a:gd name="T30" fmla="*/ 44 w 194"/>
                <a:gd name="T31" fmla="*/ 154 h 214"/>
                <a:gd name="T32" fmla="*/ 44 w 194"/>
                <a:gd name="T33" fmla="*/ 140 h 214"/>
                <a:gd name="T34" fmla="*/ 40 w 194"/>
                <a:gd name="T35" fmla="*/ 128 h 214"/>
                <a:gd name="T36" fmla="*/ 40 w 194"/>
                <a:gd name="T37" fmla="*/ 114 h 214"/>
                <a:gd name="T38" fmla="*/ 40 w 194"/>
                <a:gd name="T39" fmla="*/ 98 h 214"/>
                <a:gd name="T40" fmla="*/ 34 w 194"/>
                <a:gd name="T41" fmla="*/ 86 h 214"/>
                <a:gd name="T42" fmla="*/ 30 w 194"/>
                <a:gd name="T43" fmla="*/ 76 h 214"/>
                <a:gd name="T44" fmla="*/ 22 w 194"/>
                <a:gd name="T45" fmla="*/ 64 h 214"/>
                <a:gd name="T46" fmla="*/ 18 w 194"/>
                <a:gd name="T47" fmla="*/ 54 h 214"/>
                <a:gd name="T48" fmla="*/ 14 w 194"/>
                <a:gd name="T49" fmla="*/ 42 h 214"/>
                <a:gd name="T50" fmla="*/ 8 w 194"/>
                <a:gd name="T51" fmla="*/ 30 h 214"/>
                <a:gd name="T52" fmla="*/ 4 w 194"/>
                <a:gd name="T53" fmla="*/ 20 h 214"/>
                <a:gd name="T54" fmla="*/ 4 w 194"/>
                <a:gd name="T55" fmla="*/ 8 h 214"/>
                <a:gd name="T56" fmla="*/ 14 w 194"/>
                <a:gd name="T57" fmla="*/ 4 h 214"/>
                <a:gd name="T58" fmla="*/ 30 w 194"/>
                <a:gd name="T59" fmla="*/ 4 h 214"/>
                <a:gd name="T60" fmla="*/ 40 w 194"/>
                <a:gd name="T61" fmla="*/ 8 h 214"/>
                <a:gd name="T62" fmla="*/ 64 w 194"/>
                <a:gd name="T63" fmla="*/ 8 h 214"/>
                <a:gd name="T64" fmla="*/ 90 w 194"/>
                <a:gd name="T65" fmla="*/ 8 h 214"/>
                <a:gd name="T66" fmla="*/ 100 w 194"/>
                <a:gd name="T67" fmla="*/ 16 h 214"/>
                <a:gd name="T68" fmla="*/ 116 w 194"/>
                <a:gd name="T69" fmla="*/ 16 h 214"/>
                <a:gd name="T70" fmla="*/ 126 w 194"/>
                <a:gd name="T71" fmla="*/ 20 h 214"/>
                <a:gd name="T72" fmla="*/ 138 w 194"/>
                <a:gd name="T73" fmla="*/ 20 h 214"/>
                <a:gd name="T74" fmla="*/ 160 w 194"/>
                <a:gd name="T75" fmla="*/ 12 h 214"/>
                <a:gd name="T76" fmla="*/ 176 w 194"/>
                <a:gd name="T77" fmla="*/ 8 h 214"/>
                <a:gd name="T78" fmla="*/ 190 w 194"/>
                <a:gd name="T79" fmla="*/ 8 h 214"/>
                <a:gd name="T80" fmla="*/ 186 w 194"/>
                <a:gd name="T81" fmla="*/ 16 h 214"/>
                <a:gd name="T82" fmla="*/ 178 w 194"/>
                <a:gd name="T83" fmla="*/ 20 h 214"/>
                <a:gd name="T84" fmla="*/ 172 w 194"/>
                <a:gd name="T85" fmla="*/ 28 h 214"/>
                <a:gd name="T86" fmla="*/ 164 w 194"/>
                <a:gd name="T87" fmla="*/ 20 h 214"/>
                <a:gd name="T88" fmla="*/ 146 w 194"/>
                <a:gd name="T89" fmla="*/ 24 h 214"/>
                <a:gd name="T90" fmla="*/ 134 w 194"/>
                <a:gd name="T91" fmla="*/ 30 h 214"/>
                <a:gd name="T92" fmla="*/ 134 w 194"/>
                <a:gd name="T93" fmla="*/ 68 h 214"/>
                <a:gd name="T94" fmla="*/ 134 w 194"/>
                <a:gd name="T95" fmla="*/ 86 h 214"/>
                <a:gd name="T96" fmla="*/ 122 w 194"/>
                <a:gd name="T97" fmla="*/ 90 h 214"/>
                <a:gd name="T98" fmla="*/ 120 w 194"/>
                <a:gd name="T99" fmla="*/ 102 h 214"/>
                <a:gd name="T100" fmla="*/ 120 w 194"/>
                <a:gd name="T101" fmla="*/ 1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4" h="214">
                  <a:moveTo>
                    <a:pt x="120" y="114"/>
                  </a:moveTo>
                  <a:lnTo>
                    <a:pt x="120" y="116"/>
                  </a:lnTo>
                  <a:lnTo>
                    <a:pt x="120" y="120"/>
                  </a:lnTo>
                  <a:lnTo>
                    <a:pt x="120" y="124"/>
                  </a:lnTo>
                  <a:lnTo>
                    <a:pt x="120" y="128"/>
                  </a:lnTo>
                  <a:lnTo>
                    <a:pt x="120" y="132"/>
                  </a:lnTo>
                  <a:lnTo>
                    <a:pt x="120" y="136"/>
                  </a:lnTo>
                  <a:lnTo>
                    <a:pt x="120" y="140"/>
                  </a:lnTo>
                  <a:lnTo>
                    <a:pt x="120" y="144"/>
                  </a:lnTo>
                  <a:lnTo>
                    <a:pt x="120" y="146"/>
                  </a:lnTo>
                  <a:lnTo>
                    <a:pt x="120" y="150"/>
                  </a:lnTo>
                  <a:lnTo>
                    <a:pt x="120" y="154"/>
                  </a:lnTo>
                  <a:lnTo>
                    <a:pt x="120" y="158"/>
                  </a:lnTo>
                  <a:lnTo>
                    <a:pt x="120" y="168"/>
                  </a:lnTo>
                  <a:lnTo>
                    <a:pt x="120" y="180"/>
                  </a:lnTo>
                  <a:lnTo>
                    <a:pt x="120" y="184"/>
                  </a:lnTo>
                  <a:lnTo>
                    <a:pt x="120" y="186"/>
                  </a:lnTo>
                  <a:lnTo>
                    <a:pt x="120" y="194"/>
                  </a:lnTo>
                  <a:lnTo>
                    <a:pt x="120" y="198"/>
                  </a:lnTo>
                  <a:lnTo>
                    <a:pt x="120" y="202"/>
                  </a:lnTo>
                  <a:lnTo>
                    <a:pt x="116" y="206"/>
                  </a:lnTo>
                  <a:lnTo>
                    <a:pt x="112" y="206"/>
                  </a:lnTo>
                  <a:lnTo>
                    <a:pt x="112" y="210"/>
                  </a:lnTo>
                  <a:lnTo>
                    <a:pt x="108" y="210"/>
                  </a:lnTo>
                  <a:lnTo>
                    <a:pt x="108" y="214"/>
                  </a:lnTo>
                  <a:lnTo>
                    <a:pt x="104" y="214"/>
                  </a:lnTo>
                  <a:lnTo>
                    <a:pt x="100" y="210"/>
                  </a:lnTo>
                  <a:lnTo>
                    <a:pt x="96" y="214"/>
                  </a:lnTo>
                  <a:lnTo>
                    <a:pt x="94" y="214"/>
                  </a:lnTo>
                  <a:lnTo>
                    <a:pt x="90" y="214"/>
                  </a:lnTo>
                  <a:lnTo>
                    <a:pt x="90" y="210"/>
                  </a:lnTo>
                  <a:lnTo>
                    <a:pt x="86" y="210"/>
                  </a:lnTo>
                  <a:lnTo>
                    <a:pt x="82" y="210"/>
                  </a:lnTo>
                  <a:lnTo>
                    <a:pt x="82" y="206"/>
                  </a:lnTo>
                  <a:lnTo>
                    <a:pt x="82" y="202"/>
                  </a:lnTo>
                  <a:lnTo>
                    <a:pt x="82" y="198"/>
                  </a:lnTo>
                  <a:lnTo>
                    <a:pt x="82" y="202"/>
                  </a:lnTo>
                  <a:lnTo>
                    <a:pt x="78" y="202"/>
                  </a:lnTo>
                  <a:lnTo>
                    <a:pt x="78" y="198"/>
                  </a:lnTo>
                  <a:lnTo>
                    <a:pt x="74" y="198"/>
                  </a:lnTo>
                  <a:lnTo>
                    <a:pt x="74" y="202"/>
                  </a:lnTo>
                  <a:lnTo>
                    <a:pt x="74" y="206"/>
                  </a:lnTo>
                  <a:lnTo>
                    <a:pt x="70" y="206"/>
                  </a:lnTo>
                  <a:lnTo>
                    <a:pt x="66" y="206"/>
                  </a:lnTo>
                  <a:lnTo>
                    <a:pt x="64" y="202"/>
                  </a:lnTo>
                  <a:lnTo>
                    <a:pt x="64" y="198"/>
                  </a:lnTo>
                  <a:lnTo>
                    <a:pt x="60" y="198"/>
                  </a:lnTo>
                  <a:lnTo>
                    <a:pt x="60" y="194"/>
                  </a:lnTo>
                  <a:lnTo>
                    <a:pt x="56" y="194"/>
                  </a:lnTo>
                  <a:lnTo>
                    <a:pt x="60" y="194"/>
                  </a:lnTo>
                  <a:lnTo>
                    <a:pt x="56" y="194"/>
                  </a:lnTo>
                  <a:lnTo>
                    <a:pt x="56" y="190"/>
                  </a:lnTo>
                  <a:lnTo>
                    <a:pt x="52" y="186"/>
                  </a:lnTo>
                  <a:lnTo>
                    <a:pt x="52" y="184"/>
                  </a:lnTo>
                  <a:lnTo>
                    <a:pt x="52" y="180"/>
                  </a:lnTo>
                  <a:lnTo>
                    <a:pt x="52" y="176"/>
                  </a:lnTo>
                  <a:lnTo>
                    <a:pt x="48" y="172"/>
                  </a:lnTo>
                  <a:lnTo>
                    <a:pt x="52" y="172"/>
                  </a:lnTo>
                  <a:lnTo>
                    <a:pt x="48" y="168"/>
                  </a:lnTo>
                  <a:lnTo>
                    <a:pt x="48" y="166"/>
                  </a:lnTo>
                  <a:lnTo>
                    <a:pt x="48" y="162"/>
                  </a:lnTo>
                  <a:lnTo>
                    <a:pt x="48" y="158"/>
                  </a:lnTo>
                  <a:lnTo>
                    <a:pt x="44" y="158"/>
                  </a:lnTo>
                  <a:lnTo>
                    <a:pt x="44" y="154"/>
                  </a:lnTo>
                  <a:lnTo>
                    <a:pt x="44" y="150"/>
                  </a:lnTo>
                  <a:lnTo>
                    <a:pt x="44" y="146"/>
                  </a:lnTo>
                  <a:lnTo>
                    <a:pt x="44" y="144"/>
                  </a:lnTo>
                  <a:lnTo>
                    <a:pt x="44" y="140"/>
                  </a:lnTo>
                  <a:lnTo>
                    <a:pt x="44" y="136"/>
                  </a:lnTo>
                  <a:lnTo>
                    <a:pt x="40" y="136"/>
                  </a:lnTo>
                  <a:lnTo>
                    <a:pt x="40" y="132"/>
                  </a:lnTo>
                  <a:lnTo>
                    <a:pt x="40" y="128"/>
                  </a:lnTo>
                  <a:lnTo>
                    <a:pt x="40" y="124"/>
                  </a:lnTo>
                  <a:lnTo>
                    <a:pt x="40" y="120"/>
                  </a:lnTo>
                  <a:lnTo>
                    <a:pt x="40" y="116"/>
                  </a:lnTo>
                  <a:lnTo>
                    <a:pt x="40" y="114"/>
                  </a:lnTo>
                  <a:lnTo>
                    <a:pt x="40" y="110"/>
                  </a:lnTo>
                  <a:lnTo>
                    <a:pt x="40" y="106"/>
                  </a:lnTo>
                  <a:lnTo>
                    <a:pt x="40" y="102"/>
                  </a:lnTo>
                  <a:lnTo>
                    <a:pt x="40" y="98"/>
                  </a:lnTo>
                  <a:lnTo>
                    <a:pt x="40" y="94"/>
                  </a:lnTo>
                  <a:lnTo>
                    <a:pt x="38" y="90"/>
                  </a:lnTo>
                  <a:lnTo>
                    <a:pt x="38" y="86"/>
                  </a:lnTo>
                  <a:lnTo>
                    <a:pt x="34" y="86"/>
                  </a:lnTo>
                  <a:lnTo>
                    <a:pt x="34" y="84"/>
                  </a:lnTo>
                  <a:lnTo>
                    <a:pt x="34" y="80"/>
                  </a:lnTo>
                  <a:lnTo>
                    <a:pt x="30" y="80"/>
                  </a:lnTo>
                  <a:lnTo>
                    <a:pt x="30" y="76"/>
                  </a:lnTo>
                  <a:lnTo>
                    <a:pt x="30" y="72"/>
                  </a:lnTo>
                  <a:lnTo>
                    <a:pt x="26" y="68"/>
                  </a:lnTo>
                  <a:lnTo>
                    <a:pt x="26" y="64"/>
                  </a:lnTo>
                  <a:lnTo>
                    <a:pt x="22" y="64"/>
                  </a:lnTo>
                  <a:lnTo>
                    <a:pt x="22" y="60"/>
                  </a:lnTo>
                  <a:lnTo>
                    <a:pt x="22" y="58"/>
                  </a:lnTo>
                  <a:lnTo>
                    <a:pt x="22" y="54"/>
                  </a:lnTo>
                  <a:lnTo>
                    <a:pt x="18" y="54"/>
                  </a:lnTo>
                  <a:lnTo>
                    <a:pt x="18" y="50"/>
                  </a:lnTo>
                  <a:lnTo>
                    <a:pt x="18" y="46"/>
                  </a:lnTo>
                  <a:lnTo>
                    <a:pt x="14" y="46"/>
                  </a:lnTo>
                  <a:lnTo>
                    <a:pt x="14" y="42"/>
                  </a:lnTo>
                  <a:lnTo>
                    <a:pt x="14" y="38"/>
                  </a:lnTo>
                  <a:lnTo>
                    <a:pt x="12" y="34"/>
                  </a:lnTo>
                  <a:lnTo>
                    <a:pt x="12" y="30"/>
                  </a:lnTo>
                  <a:lnTo>
                    <a:pt x="8" y="30"/>
                  </a:lnTo>
                  <a:lnTo>
                    <a:pt x="8" y="28"/>
                  </a:lnTo>
                  <a:lnTo>
                    <a:pt x="8" y="24"/>
                  </a:lnTo>
                  <a:lnTo>
                    <a:pt x="4" y="24"/>
                  </a:lnTo>
                  <a:lnTo>
                    <a:pt x="4" y="20"/>
                  </a:lnTo>
                  <a:lnTo>
                    <a:pt x="4" y="16"/>
                  </a:lnTo>
                  <a:lnTo>
                    <a:pt x="0" y="12"/>
                  </a:lnTo>
                  <a:lnTo>
                    <a:pt x="0" y="8"/>
                  </a:lnTo>
                  <a:lnTo>
                    <a:pt x="4" y="8"/>
                  </a:lnTo>
                  <a:lnTo>
                    <a:pt x="4" y="4"/>
                  </a:lnTo>
                  <a:lnTo>
                    <a:pt x="8" y="4"/>
                  </a:lnTo>
                  <a:lnTo>
                    <a:pt x="12" y="4"/>
                  </a:lnTo>
                  <a:lnTo>
                    <a:pt x="14" y="4"/>
                  </a:lnTo>
                  <a:lnTo>
                    <a:pt x="18" y="0"/>
                  </a:lnTo>
                  <a:lnTo>
                    <a:pt x="22" y="0"/>
                  </a:lnTo>
                  <a:lnTo>
                    <a:pt x="26" y="0"/>
                  </a:lnTo>
                  <a:lnTo>
                    <a:pt x="30" y="4"/>
                  </a:lnTo>
                  <a:lnTo>
                    <a:pt x="34" y="4"/>
                  </a:lnTo>
                  <a:lnTo>
                    <a:pt x="34" y="8"/>
                  </a:lnTo>
                  <a:lnTo>
                    <a:pt x="38" y="8"/>
                  </a:lnTo>
                  <a:lnTo>
                    <a:pt x="40" y="8"/>
                  </a:lnTo>
                  <a:lnTo>
                    <a:pt x="44" y="8"/>
                  </a:lnTo>
                  <a:lnTo>
                    <a:pt x="48" y="8"/>
                  </a:lnTo>
                  <a:lnTo>
                    <a:pt x="56" y="8"/>
                  </a:lnTo>
                  <a:lnTo>
                    <a:pt x="64" y="8"/>
                  </a:lnTo>
                  <a:lnTo>
                    <a:pt x="70" y="8"/>
                  </a:lnTo>
                  <a:lnTo>
                    <a:pt x="82" y="8"/>
                  </a:lnTo>
                  <a:lnTo>
                    <a:pt x="86" y="8"/>
                  </a:lnTo>
                  <a:lnTo>
                    <a:pt x="90" y="8"/>
                  </a:lnTo>
                  <a:lnTo>
                    <a:pt x="94" y="8"/>
                  </a:lnTo>
                  <a:lnTo>
                    <a:pt x="96" y="8"/>
                  </a:lnTo>
                  <a:lnTo>
                    <a:pt x="100" y="12"/>
                  </a:lnTo>
                  <a:lnTo>
                    <a:pt x="100" y="16"/>
                  </a:lnTo>
                  <a:lnTo>
                    <a:pt x="104" y="16"/>
                  </a:lnTo>
                  <a:lnTo>
                    <a:pt x="108" y="16"/>
                  </a:lnTo>
                  <a:lnTo>
                    <a:pt x="112" y="16"/>
                  </a:lnTo>
                  <a:lnTo>
                    <a:pt x="116" y="16"/>
                  </a:lnTo>
                  <a:lnTo>
                    <a:pt x="120" y="16"/>
                  </a:lnTo>
                  <a:lnTo>
                    <a:pt x="122" y="16"/>
                  </a:lnTo>
                  <a:lnTo>
                    <a:pt x="126" y="16"/>
                  </a:lnTo>
                  <a:lnTo>
                    <a:pt x="126" y="20"/>
                  </a:lnTo>
                  <a:lnTo>
                    <a:pt x="130" y="20"/>
                  </a:lnTo>
                  <a:lnTo>
                    <a:pt x="134" y="16"/>
                  </a:lnTo>
                  <a:lnTo>
                    <a:pt x="138" y="16"/>
                  </a:lnTo>
                  <a:lnTo>
                    <a:pt x="138" y="20"/>
                  </a:lnTo>
                  <a:lnTo>
                    <a:pt x="146" y="16"/>
                  </a:lnTo>
                  <a:lnTo>
                    <a:pt x="152" y="16"/>
                  </a:lnTo>
                  <a:lnTo>
                    <a:pt x="156" y="16"/>
                  </a:lnTo>
                  <a:lnTo>
                    <a:pt x="160" y="12"/>
                  </a:lnTo>
                  <a:lnTo>
                    <a:pt x="164" y="12"/>
                  </a:lnTo>
                  <a:lnTo>
                    <a:pt x="168" y="12"/>
                  </a:lnTo>
                  <a:lnTo>
                    <a:pt x="172" y="12"/>
                  </a:lnTo>
                  <a:lnTo>
                    <a:pt x="176" y="8"/>
                  </a:lnTo>
                  <a:lnTo>
                    <a:pt x="178" y="8"/>
                  </a:lnTo>
                  <a:lnTo>
                    <a:pt x="182" y="8"/>
                  </a:lnTo>
                  <a:lnTo>
                    <a:pt x="186" y="8"/>
                  </a:lnTo>
                  <a:lnTo>
                    <a:pt x="190" y="8"/>
                  </a:lnTo>
                  <a:lnTo>
                    <a:pt x="190" y="12"/>
                  </a:lnTo>
                  <a:lnTo>
                    <a:pt x="194" y="16"/>
                  </a:lnTo>
                  <a:lnTo>
                    <a:pt x="190" y="16"/>
                  </a:lnTo>
                  <a:lnTo>
                    <a:pt x="186" y="16"/>
                  </a:lnTo>
                  <a:lnTo>
                    <a:pt x="182" y="20"/>
                  </a:lnTo>
                  <a:lnTo>
                    <a:pt x="182" y="16"/>
                  </a:lnTo>
                  <a:lnTo>
                    <a:pt x="178" y="16"/>
                  </a:lnTo>
                  <a:lnTo>
                    <a:pt x="178" y="20"/>
                  </a:lnTo>
                  <a:lnTo>
                    <a:pt x="176" y="20"/>
                  </a:lnTo>
                  <a:lnTo>
                    <a:pt x="176" y="24"/>
                  </a:lnTo>
                  <a:lnTo>
                    <a:pt x="172" y="24"/>
                  </a:lnTo>
                  <a:lnTo>
                    <a:pt x="172" y="28"/>
                  </a:lnTo>
                  <a:lnTo>
                    <a:pt x="168" y="28"/>
                  </a:lnTo>
                  <a:lnTo>
                    <a:pt x="168" y="24"/>
                  </a:lnTo>
                  <a:lnTo>
                    <a:pt x="168" y="20"/>
                  </a:lnTo>
                  <a:lnTo>
                    <a:pt x="164" y="20"/>
                  </a:lnTo>
                  <a:lnTo>
                    <a:pt x="156" y="20"/>
                  </a:lnTo>
                  <a:lnTo>
                    <a:pt x="152" y="20"/>
                  </a:lnTo>
                  <a:lnTo>
                    <a:pt x="150" y="20"/>
                  </a:lnTo>
                  <a:lnTo>
                    <a:pt x="146" y="24"/>
                  </a:lnTo>
                  <a:lnTo>
                    <a:pt x="138" y="24"/>
                  </a:lnTo>
                  <a:lnTo>
                    <a:pt x="134" y="24"/>
                  </a:lnTo>
                  <a:lnTo>
                    <a:pt x="134" y="28"/>
                  </a:lnTo>
                  <a:lnTo>
                    <a:pt x="134" y="30"/>
                  </a:lnTo>
                  <a:lnTo>
                    <a:pt x="134" y="38"/>
                  </a:lnTo>
                  <a:lnTo>
                    <a:pt x="134" y="54"/>
                  </a:lnTo>
                  <a:lnTo>
                    <a:pt x="134" y="58"/>
                  </a:lnTo>
                  <a:lnTo>
                    <a:pt x="134" y="68"/>
                  </a:lnTo>
                  <a:lnTo>
                    <a:pt x="134" y="72"/>
                  </a:lnTo>
                  <a:lnTo>
                    <a:pt x="134" y="76"/>
                  </a:lnTo>
                  <a:lnTo>
                    <a:pt x="134" y="84"/>
                  </a:lnTo>
                  <a:lnTo>
                    <a:pt x="134" y="86"/>
                  </a:lnTo>
                  <a:lnTo>
                    <a:pt x="134" y="90"/>
                  </a:lnTo>
                  <a:lnTo>
                    <a:pt x="130" y="90"/>
                  </a:lnTo>
                  <a:lnTo>
                    <a:pt x="126" y="90"/>
                  </a:lnTo>
                  <a:lnTo>
                    <a:pt x="122" y="90"/>
                  </a:lnTo>
                  <a:lnTo>
                    <a:pt x="120" y="90"/>
                  </a:lnTo>
                  <a:lnTo>
                    <a:pt x="120" y="94"/>
                  </a:lnTo>
                  <a:lnTo>
                    <a:pt x="120" y="98"/>
                  </a:lnTo>
                  <a:lnTo>
                    <a:pt x="120" y="102"/>
                  </a:lnTo>
                  <a:lnTo>
                    <a:pt x="120" y="106"/>
                  </a:lnTo>
                  <a:lnTo>
                    <a:pt x="120" y="110"/>
                  </a:lnTo>
                  <a:lnTo>
                    <a:pt x="120" y="114"/>
                  </a:lnTo>
                  <a:lnTo>
                    <a:pt x="120" y="114"/>
                  </a:lnTo>
                  <a:lnTo>
                    <a:pt x="120" y="11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68" name="Freeform 161"/>
            <p:cNvSpPr>
              <a:spLocks/>
            </p:cNvSpPr>
            <p:nvPr/>
          </p:nvSpPr>
          <p:spPr bwMode="auto">
            <a:xfrm>
              <a:off x="7042797" y="3893696"/>
              <a:ext cx="140668" cy="135989"/>
            </a:xfrm>
            <a:custGeom>
              <a:avLst/>
              <a:gdLst>
                <a:gd name="T0" fmla="*/ 84 w 224"/>
                <a:gd name="T1" fmla="*/ 174 h 208"/>
                <a:gd name="T2" fmla="*/ 80 w 224"/>
                <a:gd name="T3" fmla="*/ 172 h 208"/>
                <a:gd name="T4" fmla="*/ 70 w 224"/>
                <a:gd name="T5" fmla="*/ 172 h 208"/>
                <a:gd name="T6" fmla="*/ 60 w 224"/>
                <a:gd name="T7" fmla="*/ 172 h 208"/>
                <a:gd name="T8" fmla="*/ 52 w 224"/>
                <a:gd name="T9" fmla="*/ 186 h 208"/>
                <a:gd name="T10" fmla="*/ 48 w 224"/>
                <a:gd name="T11" fmla="*/ 202 h 208"/>
                <a:gd name="T12" fmla="*/ 48 w 224"/>
                <a:gd name="T13" fmla="*/ 208 h 208"/>
                <a:gd name="T14" fmla="*/ 44 w 224"/>
                <a:gd name="T15" fmla="*/ 204 h 208"/>
                <a:gd name="T16" fmla="*/ 36 w 224"/>
                <a:gd name="T17" fmla="*/ 198 h 208"/>
                <a:gd name="T18" fmla="*/ 30 w 224"/>
                <a:gd name="T19" fmla="*/ 198 h 208"/>
                <a:gd name="T20" fmla="*/ 30 w 224"/>
                <a:gd name="T21" fmla="*/ 202 h 208"/>
                <a:gd name="T22" fmla="*/ 26 w 224"/>
                <a:gd name="T23" fmla="*/ 190 h 208"/>
                <a:gd name="T24" fmla="*/ 14 w 224"/>
                <a:gd name="T25" fmla="*/ 186 h 208"/>
                <a:gd name="T26" fmla="*/ 10 w 224"/>
                <a:gd name="T27" fmla="*/ 178 h 208"/>
                <a:gd name="T28" fmla="*/ 14 w 224"/>
                <a:gd name="T29" fmla="*/ 178 h 208"/>
                <a:gd name="T30" fmla="*/ 8 w 224"/>
                <a:gd name="T31" fmla="*/ 174 h 208"/>
                <a:gd name="T32" fmla="*/ 4 w 224"/>
                <a:gd name="T33" fmla="*/ 164 h 208"/>
                <a:gd name="T34" fmla="*/ 0 w 224"/>
                <a:gd name="T35" fmla="*/ 156 h 208"/>
                <a:gd name="T36" fmla="*/ 0 w 224"/>
                <a:gd name="T37" fmla="*/ 148 h 208"/>
                <a:gd name="T38" fmla="*/ 4 w 224"/>
                <a:gd name="T39" fmla="*/ 152 h 208"/>
                <a:gd name="T40" fmla="*/ 10 w 224"/>
                <a:gd name="T41" fmla="*/ 148 h 208"/>
                <a:gd name="T42" fmla="*/ 36 w 224"/>
                <a:gd name="T43" fmla="*/ 144 h 208"/>
                <a:gd name="T44" fmla="*/ 48 w 224"/>
                <a:gd name="T45" fmla="*/ 142 h 208"/>
                <a:gd name="T46" fmla="*/ 52 w 224"/>
                <a:gd name="T47" fmla="*/ 138 h 208"/>
                <a:gd name="T48" fmla="*/ 56 w 224"/>
                <a:gd name="T49" fmla="*/ 126 h 208"/>
                <a:gd name="T50" fmla="*/ 56 w 224"/>
                <a:gd name="T51" fmla="*/ 112 h 208"/>
                <a:gd name="T52" fmla="*/ 56 w 224"/>
                <a:gd name="T53" fmla="*/ 78 h 208"/>
                <a:gd name="T54" fmla="*/ 74 w 224"/>
                <a:gd name="T55" fmla="*/ 74 h 208"/>
                <a:gd name="T56" fmla="*/ 88 w 224"/>
                <a:gd name="T57" fmla="*/ 60 h 208"/>
                <a:gd name="T58" fmla="*/ 118 w 224"/>
                <a:gd name="T59" fmla="*/ 38 h 208"/>
                <a:gd name="T60" fmla="*/ 144 w 224"/>
                <a:gd name="T61" fmla="*/ 16 h 208"/>
                <a:gd name="T62" fmla="*/ 168 w 224"/>
                <a:gd name="T63" fmla="*/ 0 h 208"/>
                <a:gd name="T64" fmla="*/ 182 w 224"/>
                <a:gd name="T65" fmla="*/ 4 h 208"/>
                <a:gd name="T66" fmla="*/ 190 w 224"/>
                <a:gd name="T67" fmla="*/ 8 h 208"/>
                <a:gd name="T68" fmla="*/ 204 w 224"/>
                <a:gd name="T69" fmla="*/ 12 h 208"/>
                <a:gd name="T70" fmla="*/ 212 w 224"/>
                <a:gd name="T71" fmla="*/ 26 h 208"/>
                <a:gd name="T72" fmla="*/ 216 w 224"/>
                <a:gd name="T73" fmla="*/ 44 h 208"/>
                <a:gd name="T74" fmla="*/ 216 w 224"/>
                <a:gd name="T75" fmla="*/ 48 h 208"/>
                <a:gd name="T76" fmla="*/ 220 w 224"/>
                <a:gd name="T77" fmla="*/ 60 h 208"/>
                <a:gd name="T78" fmla="*/ 216 w 224"/>
                <a:gd name="T79" fmla="*/ 86 h 208"/>
                <a:gd name="T80" fmla="*/ 216 w 224"/>
                <a:gd name="T81" fmla="*/ 118 h 208"/>
                <a:gd name="T82" fmla="*/ 200 w 224"/>
                <a:gd name="T83" fmla="*/ 138 h 208"/>
                <a:gd name="T84" fmla="*/ 190 w 224"/>
                <a:gd name="T85" fmla="*/ 152 h 208"/>
                <a:gd name="T86" fmla="*/ 190 w 224"/>
                <a:gd name="T87" fmla="*/ 160 h 208"/>
                <a:gd name="T88" fmla="*/ 186 w 224"/>
                <a:gd name="T89" fmla="*/ 160 h 208"/>
                <a:gd name="T90" fmla="*/ 182 w 224"/>
                <a:gd name="T91" fmla="*/ 174 h 208"/>
                <a:gd name="T92" fmla="*/ 174 w 224"/>
                <a:gd name="T93" fmla="*/ 178 h 208"/>
                <a:gd name="T94" fmla="*/ 174 w 224"/>
                <a:gd name="T95" fmla="*/ 182 h 208"/>
                <a:gd name="T96" fmla="*/ 164 w 224"/>
                <a:gd name="T97" fmla="*/ 182 h 208"/>
                <a:gd name="T98" fmla="*/ 156 w 224"/>
                <a:gd name="T99" fmla="*/ 178 h 208"/>
                <a:gd name="T100" fmla="*/ 152 w 224"/>
                <a:gd name="T101" fmla="*/ 178 h 208"/>
                <a:gd name="T102" fmla="*/ 148 w 224"/>
                <a:gd name="T103" fmla="*/ 178 h 208"/>
                <a:gd name="T104" fmla="*/ 144 w 224"/>
                <a:gd name="T105" fmla="*/ 178 h 208"/>
                <a:gd name="T106" fmla="*/ 138 w 224"/>
                <a:gd name="T107" fmla="*/ 182 h 208"/>
                <a:gd name="T108" fmla="*/ 134 w 224"/>
                <a:gd name="T109" fmla="*/ 190 h 208"/>
                <a:gd name="T110" fmla="*/ 122 w 224"/>
                <a:gd name="T111" fmla="*/ 186 h 208"/>
                <a:gd name="T112" fmla="*/ 114 w 224"/>
                <a:gd name="T113" fmla="*/ 182 h 208"/>
                <a:gd name="T114" fmla="*/ 110 w 224"/>
                <a:gd name="T115" fmla="*/ 182 h 208"/>
                <a:gd name="T116" fmla="*/ 100 w 224"/>
                <a:gd name="T117" fmla="*/ 18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4" h="208">
                  <a:moveTo>
                    <a:pt x="96" y="186"/>
                  </a:moveTo>
                  <a:lnTo>
                    <a:pt x="92" y="186"/>
                  </a:lnTo>
                  <a:lnTo>
                    <a:pt x="92" y="182"/>
                  </a:lnTo>
                  <a:lnTo>
                    <a:pt x="92" y="182"/>
                  </a:lnTo>
                  <a:lnTo>
                    <a:pt x="88" y="178"/>
                  </a:lnTo>
                  <a:lnTo>
                    <a:pt x="88" y="178"/>
                  </a:lnTo>
                  <a:lnTo>
                    <a:pt x="84" y="174"/>
                  </a:lnTo>
                  <a:lnTo>
                    <a:pt x="84" y="174"/>
                  </a:lnTo>
                  <a:lnTo>
                    <a:pt x="84" y="174"/>
                  </a:lnTo>
                  <a:lnTo>
                    <a:pt x="84" y="174"/>
                  </a:lnTo>
                  <a:lnTo>
                    <a:pt x="84" y="174"/>
                  </a:lnTo>
                  <a:lnTo>
                    <a:pt x="80" y="174"/>
                  </a:lnTo>
                  <a:lnTo>
                    <a:pt x="80" y="172"/>
                  </a:lnTo>
                  <a:lnTo>
                    <a:pt x="80" y="172"/>
                  </a:lnTo>
                  <a:lnTo>
                    <a:pt x="78" y="172"/>
                  </a:lnTo>
                  <a:lnTo>
                    <a:pt x="78" y="172"/>
                  </a:lnTo>
                  <a:lnTo>
                    <a:pt x="74" y="172"/>
                  </a:lnTo>
                  <a:lnTo>
                    <a:pt x="74" y="172"/>
                  </a:lnTo>
                  <a:lnTo>
                    <a:pt x="74" y="172"/>
                  </a:lnTo>
                  <a:lnTo>
                    <a:pt x="70" y="172"/>
                  </a:lnTo>
                  <a:lnTo>
                    <a:pt x="70" y="172"/>
                  </a:lnTo>
                  <a:lnTo>
                    <a:pt x="70" y="172"/>
                  </a:lnTo>
                  <a:lnTo>
                    <a:pt x="70" y="172"/>
                  </a:lnTo>
                  <a:lnTo>
                    <a:pt x="66" y="172"/>
                  </a:lnTo>
                  <a:lnTo>
                    <a:pt x="66" y="172"/>
                  </a:lnTo>
                  <a:lnTo>
                    <a:pt x="66" y="172"/>
                  </a:lnTo>
                  <a:lnTo>
                    <a:pt x="64" y="172"/>
                  </a:lnTo>
                  <a:lnTo>
                    <a:pt x="60" y="172"/>
                  </a:lnTo>
                  <a:lnTo>
                    <a:pt x="56" y="174"/>
                  </a:lnTo>
                  <a:lnTo>
                    <a:pt x="56" y="174"/>
                  </a:lnTo>
                  <a:lnTo>
                    <a:pt x="56" y="178"/>
                  </a:lnTo>
                  <a:lnTo>
                    <a:pt x="56" y="178"/>
                  </a:lnTo>
                  <a:lnTo>
                    <a:pt x="56" y="182"/>
                  </a:lnTo>
                  <a:lnTo>
                    <a:pt x="56" y="186"/>
                  </a:lnTo>
                  <a:lnTo>
                    <a:pt x="52" y="186"/>
                  </a:lnTo>
                  <a:lnTo>
                    <a:pt x="52" y="190"/>
                  </a:lnTo>
                  <a:lnTo>
                    <a:pt x="52" y="190"/>
                  </a:lnTo>
                  <a:lnTo>
                    <a:pt x="48" y="194"/>
                  </a:lnTo>
                  <a:lnTo>
                    <a:pt x="48" y="194"/>
                  </a:lnTo>
                  <a:lnTo>
                    <a:pt x="48" y="198"/>
                  </a:lnTo>
                  <a:lnTo>
                    <a:pt x="48" y="198"/>
                  </a:lnTo>
                  <a:lnTo>
                    <a:pt x="48" y="202"/>
                  </a:lnTo>
                  <a:lnTo>
                    <a:pt x="48" y="202"/>
                  </a:lnTo>
                  <a:lnTo>
                    <a:pt x="48" y="202"/>
                  </a:lnTo>
                  <a:lnTo>
                    <a:pt x="48" y="204"/>
                  </a:lnTo>
                  <a:lnTo>
                    <a:pt x="48" y="204"/>
                  </a:lnTo>
                  <a:lnTo>
                    <a:pt x="48" y="204"/>
                  </a:lnTo>
                  <a:lnTo>
                    <a:pt x="48" y="204"/>
                  </a:lnTo>
                  <a:lnTo>
                    <a:pt x="48" y="208"/>
                  </a:lnTo>
                  <a:lnTo>
                    <a:pt x="48" y="208"/>
                  </a:lnTo>
                  <a:lnTo>
                    <a:pt x="44" y="204"/>
                  </a:lnTo>
                  <a:lnTo>
                    <a:pt x="44" y="204"/>
                  </a:lnTo>
                  <a:lnTo>
                    <a:pt x="44" y="204"/>
                  </a:lnTo>
                  <a:lnTo>
                    <a:pt x="44" y="204"/>
                  </a:lnTo>
                  <a:lnTo>
                    <a:pt x="44" y="204"/>
                  </a:lnTo>
                  <a:lnTo>
                    <a:pt x="44" y="204"/>
                  </a:lnTo>
                  <a:lnTo>
                    <a:pt x="44" y="204"/>
                  </a:lnTo>
                  <a:lnTo>
                    <a:pt x="40" y="204"/>
                  </a:lnTo>
                  <a:lnTo>
                    <a:pt x="40" y="202"/>
                  </a:lnTo>
                  <a:lnTo>
                    <a:pt x="40" y="202"/>
                  </a:lnTo>
                  <a:lnTo>
                    <a:pt x="40" y="202"/>
                  </a:lnTo>
                  <a:lnTo>
                    <a:pt x="36" y="198"/>
                  </a:lnTo>
                  <a:lnTo>
                    <a:pt x="36" y="198"/>
                  </a:lnTo>
                  <a:lnTo>
                    <a:pt x="36" y="194"/>
                  </a:lnTo>
                  <a:lnTo>
                    <a:pt x="36" y="198"/>
                  </a:lnTo>
                  <a:lnTo>
                    <a:pt x="34" y="198"/>
                  </a:lnTo>
                  <a:lnTo>
                    <a:pt x="34" y="198"/>
                  </a:lnTo>
                  <a:lnTo>
                    <a:pt x="34" y="198"/>
                  </a:lnTo>
                  <a:lnTo>
                    <a:pt x="34" y="198"/>
                  </a:lnTo>
                  <a:lnTo>
                    <a:pt x="30" y="198"/>
                  </a:lnTo>
                  <a:lnTo>
                    <a:pt x="30" y="198"/>
                  </a:lnTo>
                  <a:lnTo>
                    <a:pt x="30" y="202"/>
                  </a:lnTo>
                  <a:lnTo>
                    <a:pt x="30" y="202"/>
                  </a:lnTo>
                  <a:lnTo>
                    <a:pt x="30" y="204"/>
                  </a:lnTo>
                  <a:lnTo>
                    <a:pt x="30" y="204"/>
                  </a:lnTo>
                  <a:lnTo>
                    <a:pt x="30" y="204"/>
                  </a:lnTo>
                  <a:lnTo>
                    <a:pt x="30" y="202"/>
                  </a:lnTo>
                  <a:lnTo>
                    <a:pt x="26" y="198"/>
                  </a:lnTo>
                  <a:lnTo>
                    <a:pt x="26" y="198"/>
                  </a:lnTo>
                  <a:lnTo>
                    <a:pt x="26" y="194"/>
                  </a:lnTo>
                  <a:lnTo>
                    <a:pt x="26" y="194"/>
                  </a:lnTo>
                  <a:lnTo>
                    <a:pt x="30" y="194"/>
                  </a:lnTo>
                  <a:lnTo>
                    <a:pt x="26" y="194"/>
                  </a:lnTo>
                  <a:lnTo>
                    <a:pt x="26" y="190"/>
                  </a:lnTo>
                  <a:lnTo>
                    <a:pt x="26" y="190"/>
                  </a:lnTo>
                  <a:lnTo>
                    <a:pt x="26" y="190"/>
                  </a:lnTo>
                  <a:lnTo>
                    <a:pt x="26" y="190"/>
                  </a:lnTo>
                  <a:lnTo>
                    <a:pt x="22" y="190"/>
                  </a:lnTo>
                  <a:lnTo>
                    <a:pt x="22" y="194"/>
                  </a:lnTo>
                  <a:lnTo>
                    <a:pt x="18" y="190"/>
                  </a:lnTo>
                  <a:lnTo>
                    <a:pt x="14" y="186"/>
                  </a:lnTo>
                  <a:lnTo>
                    <a:pt x="10" y="186"/>
                  </a:lnTo>
                  <a:lnTo>
                    <a:pt x="10" y="186"/>
                  </a:lnTo>
                  <a:lnTo>
                    <a:pt x="10" y="182"/>
                  </a:lnTo>
                  <a:lnTo>
                    <a:pt x="10" y="182"/>
                  </a:lnTo>
                  <a:lnTo>
                    <a:pt x="10" y="178"/>
                  </a:lnTo>
                  <a:lnTo>
                    <a:pt x="10" y="178"/>
                  </a:lnTo>
                  <a:lnTo>
                    <a:pt x="10" y="178"/>
                  </a:lnTo>
                  <a:lnTo>
                    <a:pt x="10" y="178"/>
                  </a:lnTo>
                  <a:lnTo>
                    <a:pt x="10" y="178"/>
                  </a:lnTo>
                  <a:lnTo>
                    <a:pt x="10" y="178"/>
                  </a:lnTo>
                  <a:lnTo>
                    <a:pt x="10" y="178"/>
                  </a:lnTo>
                  <a:lnTo>
                    <a:pt x="14" y="178"/>
                  </a:lnTo>
                  <a:lnTo>
                    <a:pt x="14" y="178"/>
                  </a:lnTo>
                  <a:lnTo>
                    <a:pt x="14" y="178"/>
                  </a:lnTo>
                  <a:lnTo>
                    <a:pt x="10" y="178"/>
                  </a:lnTo>
                  <a:lnTo>
                    <a:pt x="10" y="178"/>
                  </a:lnTo>
                  <a:lnTo>
                    <a:pt x="10" y="178"/>
                  </a:lnTo>
                  <a:lnTo>
                    <a:pt x="10" y="174"/>
                  </a:lnTo>
                  <a:lnTo>
                    <a:pt x="10" y="174"/>
                  </a:lnTo>
                  <a:lnTo>
                    <a:pt x="10" y="174"/>
                  </a:lnTo>
                  <a:lnTo>
                    <a:pt x="8" y="174"/>
                  </a:lnTo>
                  <a:lnTo>
                    <a:pt x="4" y="174"/>
                  </a:lnTo>
                  <a:lnTo>
                    <a:pt x="4" y="172"/>
                  </a:lnTo>
                  <a:lnTo>
                    <a:pt x="4" y="172"/>
                  </a:lnTo>
                  <a:lnTo>
                    <a:pt x="4" y="168"/>
                  </a:lnTo>
                  <a:lnTo>
                    <a:pt x="0" y="164"/>
                  </a:lnTo>
                  <a:lnTo>
                    <a:pt x="0" y="164"/>
                  </a:lnTo>
                  <a:lnTo>
                    <a:pt x="4" y="164"/>
                  </a:lnTo>
                  <a:lnTo>
                    <a:pt x="0" y="164"/>
                  </a:lnTo>
                  <a:lnTo>
                    <a:pt x="0" y="160"/>
                  </a:lnTo>
                  <a:lnTo>
                    <a:pt x="0" y="160"/>
                  </a:lnTo>
                  <a:lnTo>
                    <a:pt x="0" y="160"/>
                  </a:lnTo>
                  <a:lnTo>
                    <a:pt x="0" y="160"/>
                  </a:lnTo>
                  <a:lnTo>
                    <a:pt x="0" y="160"/>
                  </a:lnTo>
                  <a:lnTo>
                    <a:pt x="0" y="156"/>
                  </a:lnTo>
                  <a:lnTo>
                    <a:pt x="0" y="156"/>
                  </a:lnTo>
                  <a:lnTo>
                    <a:pt x="0" y="152"/>
                  </a:lnTo>
                  <a:lnTo>
                    <a:pt x="0" y="152"/>
                  </a:lnTo>
                  <a:lnTo>
                    <a:pt x="0" y="152"/>
                  </a:lnTo>
                  <a:lnTo>
                    <a:pt x="0" y="152"/>
                  </a:lnTo>
                  <a:lnTo>
                    <a:pt x="0" y="152"/>
                  </a:lnTo>
                  <a:lnTo>
                    <a:pt x="0" y="148"/>
                  </a:lnTo>
                  <a:lnTo>
                    <a:pt x="0" y="148"/>
                  </a:lnTo>
                  <a:lnTo>
                    <a:pt x="0" y="152"/>
                  </a:lnTo>
                  <a:lnTo>
                    <a:pt x="4" y="152"/>
                  </a:lnTo>
                  <a:lnTo>
                    <a:pt x="4" y="148"/>
                  </a:lnTo>
                  <a:lnTo>
                    <a:pt x="4" y="148"/>
                  </a:lnTo>
                  <a:lnTo>
                    <a:pt x="4" y="152"/>
                  </a:lnTo>
                  <a:lnTo>
                    <a:pt x="4" y="152"/>
                  </a:lnTo>
                  <a:lnTo>
                    <a:pt x="8" y="152"/>
                  </a:lnTo>
                  <a:lnTo>
                    <a:pt x="8" y="152"/>
                  </a:lnTo>
                  <a:lnTo>
                    <a:pt x="8" y="152"/>
                  </a:lnTo>
                  <a:lnTo>
                    <a:pt x="10" y="148"/>
                  </a:lnTo>
                  <a:lnTo>
                    <a:pt x="10" y="148"/>
                  </a:lnTo>
                  <a:lnTo>
                    <a:pt x="10" y="148"/>
                  </a:lnTo>
                  <a:lnTo>
                    <a:pt x="10" y="148"/>
                  </a:lnTo>
                  <a:lnTo>
                    <a:pt x="14" y="144"/>
                  </a:lnTo>
                  <a:lnTo>
                    <a:pt x="22" y="144"/>
                  </a:lnTo>
                  <a:lnTo>
                    <a:pt x="22" y="144"/>
                  </a:lnTo>
                  <a:lnTo>
                    <a:pt x="34" y="144"/>
                  </a:lnTo>
                  <a:lnTo>
                    <a:pt x="34" y="144"/>
                  </a:lnTo>
                  <a:lnTo>
                    <a:pt x="36" y="144"/>
                  </a:lnTo>
                  <a:lnTo>
                    <a:pt x="36" y="144"/>
                  </a:lnTo>
                  <a:lnTo>
                    <a:pt x="36" y="142"/>
                  </a:lnTo>
                  <a:lnTo>
                    <a:pt x="40" y="142"/>
                  </a:lnTo>
                  <a:lnTo>
                    <a:pt x="44" y="144"/>
                  </a:lnTo>
                  <a:lnTo>
                    <a:pt x="44" y="144"/>
                  </a:lnTo>
                  <a:lnTo>
                    <a:pt x="44" y="144"/>
                  </a:lnTo>
                  <a:lnTo>
                    <a:pt x="44" y="142"/>
                  </a:lnTo>
                  <a:lnTo>
                    <a:pt x="48" y="142"/>
                  </a:lnTo>
                  <a:lnTo>
                    <a:pt x="48" y="138"/>
                  </a:lnTo>
                  <a:lnTo>
                    <a:pt x="48" y="138"/>
                  </a:lnTo>
                  <a:lnTo>
                    <a:pt x="48" y="138"/>
                  </a:lnTo>
                  <a:lnTo>
                    <a:pt x="52" y="138"/>
                  </a:lnTo>
                  <a:lnTo>
                    <a:pt x="52" y="138"/>
                  </a:lnTo>
                  <a:lnTo>
                    <a:pt x="52" y="138"/>
                  </a:lnTo>
                  <a:lnTo>
                    <a:pt x="52" y="138"/>
                  </a:lnTo>
                  <a:lnTo>
                    <a:pt x="52" y="138"/>
                  </a:lnTo>
                  <a:lnTo>
                    <a:pt x="52" y="134"/>
                  </a:lnTo>
                  <a:lnTo>
                    <a:pt x="52" y="130"/>
                  </a:lnTo>
                  <a:lnTo>
                    <a:pt x="52" y="126"/>
                  </a:lnTo>
                  <a:lnTo>
                    <a:pt x="56" y="126"/>
                  </a:lnTo>
                  <a:lnTo>
                    <a:pt x="56" y="126"/>
                  </a:lnTo>
                  <a:lnTo>
                    <a:pt x="56" y="126"/>
                  </a:lnTo>
                  <a:lnTo>
                    <a:pt x="56" y="126"/>
                  </a:lnTo>
                  <a:lnTo>
                    <a:pt x="56" y="126"/>
                  </a:lnTo>
                  <a:lnTo>
                    <a:pt x="56" y="118"/>
                  </a:lnTo>
                  <a:lnTo>
                    <a:pt x="56" y="118"/>
                  </a:lnTo>
                  <a:lnTo>
                    <a:pt x="56" y="116"/>
                  </a:lnTo>
                  <a:lnTo>
                    <a:pt x="56" y="116"/>
                  </a:lnTo>
                  <a:lnTo>
                    <a:pt x="56" y="112"/>
                  </a:lnTo>
                  <a:lnTo>
                    <a:pt x="56" y="108"/>
                  </a:lnTo>
                  <a:lnTo>
                    <a:pt x="56" y="104"/>
                  </a:lnTo>
                  <a:lnTo>
                    <a:pt x="56" y="96"/>
                  </a:lnTo>
                  <a:lnTo>
                    <a:pt x="56" y="86"/>
                  </a:lnTo>
                  <a:lnTo>
                    <a:pt x="56" y="86"/>
                  </a:lnTo>
                  <a:lnTo>
                    <a:pt x="56" y="82"/>
                  </a:lnTo>
                  <a:lnTo>
                    <a:pt x="56" y="78"/>
                  </a:lnTo>
                  <a:lnTo>
                    <a:pt x="56" y="78"/>
                  </a:lnTo>
                  <a:lnTo>
                    <a:pt x="60" y="78"/>
                  </a:lnTo>
                  <a:lnTo>
                    <a:pt x="60" y="78"/>
                  </a:lnTo>
                  <a:lnTo>
                    <a:pt x="66" y="74"/>
                  </a:lnTo>
                  <a:lnTo>
                    <a:pt x="70" y="74"/>
                  </a:lnTo>
                  <a:lnTo>
                    <a:pt x="74" y="74"/>
                  </a:lnTo>
                  <a:lnTo>
                    <a:pt x="74" y="74"/>
                  </a:lnTo>
                  <a:lnTo>
                    <a:pt x="78" y="74"/>
                  </a:lnTo>
                  <a:lnTo>
                    <a:pt x="78" y="74"/>
                  </a:lnTo>
                  <a:lnTo>
                    <a:pt x="80" y="70"/>
                  </a:lnTo>
                  <a:lnTo>
                    <a:pt x="80" y="70"/>
                  </a:lnTo>
                  <a:lnTo>
                    <a:pt x="84" y="66"/>
                  </a:lnTo>
                  <a:lnTo>
                    <a:pt x="88" y="62"/>
                  </a:lnTo>
                  <a:lnTo>
                    <a:pt x="88" y="60"/>
                  </a:lnTo>
                  <a:lnTo>
                    <a:pt x="92" y="56"/>
                  </a:lnTo>
                  <a:lnTo>
                    <a:pt x="100" y="48"/>
                  </a:lnTo>
                  <a:lnTo>
                    <a:pt x="104" y="44"/>
                  </a:lnTo>
                  <a:lnTo>
                    <a:pt x="104" y="44"/>
                  </a:lnTo>
                  <a:lnTo>
                    <a:pt x="108" y="44"/>
                  </a:lnTo>
                  <a:lnTo>
                    <a:pt x="110" y="42"/>
                  </a:lnTo>
                  <a:lnTo>
                    <a:pt x="118" y="38"/>
                  </a:lnTo>
                  <a:lnTo>
                    <a:pt x="118" y="34"/>
                  </a:lnTo>
                  <a:lnTo>
                    <a:pt x="122" y="30"/>
                  </a:lnTo>
                  <a:lnTo>
                    <a:pt x="130" y="26"/>
                  </a:lnTo>
                  <a:lnTo>
                    <a:pt x="134" y="22"/>
                  </a:lnTo>
                  <a:lnTo>
                    <a:pt x="138" y="18"/>
                  </a:lnTo>
                  <a:lnTo>
                    <a:pt x="140" y="18"/>
                  </a:lnTo>
                  <a:lnTo>
                    <a:pt x="144" y="16"/>
                  </a:lnTo>
                  <a:lnTo>
                    <a:pt x="148" y="16"/>
                  </a:lnTo>
                  <a:lnTo>
                    <a:pt x="148" y="12"/>
                  </a:lnTo>
                  <a:lnTo>
                    <a:pt x="152" y="12"/>
                  </a:lnTo>
                  <a:lnTo>
                    <a:pt x="160" y="4"/>
                  </a:lnTo>
                  <a:lnTo>
                    <a:pt x="164" y="4"/>
                  </a:lnTo>
                  <a:lnTo>
                    <a:pt x="164" y="0"/>
                  </a:lnTo>
                  <a:lnTo>
                    <a:pt x="168" y="0"/>
                  </a:lnTo>
                  <a:lnTo>
                    <a:pt x="170" y="4"/>
                  </a:lnTo>
                  <a:lnTo>
                    <a:pt x="170" y="4"/>
                  </a:lnTo>
                  <a:lnTo>
                    <a:pt x="170" y="4"/>
                  </a:lnTo>
                  <a:lnTo>
                    <a:pt x="170" y="4"/>
                  </a:lnTo>
                  <a:lnTo>
                    <a:pt x="174" y="4"/>
                  </a:lnTo>
                  <a:lnTo>
                    <a:pt x="178" y="4"/>
                  </a:lnTo>
                  <a:lnTo>
                    <a:pt x="182" y="4"/>
                  </a:lnTo>
                  <a:lnTo>
                    <a:pt x="186" y="8"/>
                  </a:lnTo>
                  <a:lnTo>
                    <a:pt x="186" y="8"/>
                  </a:lnTo>
                  <a:lnTo>
                    <a:pt x="186" y="8"/>
                  </a:lnTo>
                  <a:lnTo>
                    <a:pt x="186" y="8"/>
                  </a:lnTo>
                  <a:lnTo>
                    <a:pt x="186" y="8"/>
                  </a:lnTo>
                  <a:lnTo>
                    <a:pt x="186" y="8"/>
                  </a:lnTo>
                  <a:lnTo>
                    <a:pt x="190" y="8"/>
                  </a:lnTo>
                  <a:lnTo>
                    <a:pt x="190" y="8"/>
                  </a:lnTo>
                  <a:lnTo>
                    <a:pt x="194" y="12"/>
                  </a:lnTo>
                  <a:lnTo>
                    <a:pt x="198" y="18"/>
                  </a:lnTo>
                  <a:lnTo>
                    <a:pt x="198" y="16"/>
                  </a:lnTo>
                  <a:lnTo>
                    <a:pt x="200" y="16"/>
                  </a:lnTo>
                  <a:lnTo>
                    <a:pt x="200" y="16"/>
                  </a:lnTo>
                  <a:lnTo>
                    <a:pt x="204" y="12"/>
                  </a:lnTo>
                  <a:lnTo>
                    <a:pt x="204" y="12"/>
                  </a:lnTo>
                  <a:lnTo>
                    <a:pt x="208" y="12"/>
                  </a:lnTo>
                  <a:lnTo>
                    <a:pt x="208" y="12"/>
                  </a:lnTo>
                  <a:lnTo>
                    <a:pt x="208" y="12"/>
                  </a:lnTo>
                  <a:lnTo>
                    <a:pt x="208" y="16"/>
                  </a:lnTo>
                  <a:lnTo>
                    <a:pt x="212" y="26"/>
                  </a:lnTo>
                  <a:lnTo>
                    <a:pt x="212" y="26"/>
                  </a:lnTo>
                  <a:lnTo>
                    <a:pt x="212" y="30"/>
                  </a:lnTo>
                  <a:lnTo>
                    <a:pt x="212" y="34"/>
                  </a:lnTo>
                  <a:lnTo>
                    <a:pt x="212" y="34"/>
                  </a:lnTo>
                  <a:lnTo>
                    <a:pt x="212" y="38"/>
                  </a:lnTo>
                  <a:lnTo>
                    <a:pt x="212" y="38"/>
                  </a:lnTo>
                  <a:lnTo>
                    <a:pt x="212" y="38"/>
                  </a:lnTo>
                  <a:lnTo>
                    <a:pt x="216" y="44"/>
                  </a:lnTo>
                  <a:lnTo>
                    <a:pt x="216" y="44"/>
                  </a:lnTo>
                  <a:lnTo>
                    <a:pt x="216" y="44"/>
                  </a:lnTo>
                  <a:lnTo>
                    <a:pt x="216" y="48"/>
                  </a:lnTo>
                  <a:lnTo>
                    <a:pt x="216" y="48"/>
                  </a:lnTo>
                  <a:lnTo>
                    <a:pt x="216" y="48"/>
                  </a:lnTo>
                  <a:lnTo>
                    <a:pt x="216" y="48"/>
                  </a:lnTo>
                  <a:lnTo>
                    <a:pt x="216" y="48"/>
                  </a:lnTo>
                  <a:lnTo>
                    <a:pt x="216" y="48"/>
                  </a:lnTo>
                  <a:lnTo>
                    <a:pt x="216" y="48"/>
                  </a:lnTo>
                  <a:lnTo>
                    <a:pt x="216" y="52"/>
                  </a:lnTo>
                  <a:lnTo>
                    <a:pt x="216" y="52"/>
                  </a:lnTo>
                  <a:lnTo>
                    <a:pt x="224" y="56"/>
                  </a:lnTo>
                  <a:lnTo>
                    <a:pt x="224" y="56"/>
                  </a:lnTo>
                  <a:lnTo>
                    <a:pt x="220" y="60"/>
                  </a:lnTo>
                  <a:lnTo>
                    <a:pt x="220" y="62"/>
                  </a:lnTo>
                  <a:lnTo>
                    <a:pt x="220" y="62"/>
                  </a:lnTo>
                  <a:lnTo>
                    <a:pt x="220" y="66"/>
                  </a:lnTo>
                  <a:lnTo>
                    <a:pt x="220" y="70"/>
                  </a:lnTo>
                  <a:lnTo>
                    <a:pt x="216" y="82"/>
                  </a:lnTo>
                  <a:lnTo>
                    <a:pt x="216" y="82"/>
                  </a:lnTo>
                  <a:lnTo>
                    <a:pt x="216" y="86"/>
                  </a:lnTo>
                  <a:lnTo>
                    <a:pt x="216" y="92"/>
                  </a:lnTo>
                  <a:lnTo>
                    <a:pt x="216" y="92"/>
                  </a:lnTo>
                  <a:lnTo>
                    <a:pt x="216" y="96"/>
                  </a:lnTo>
                  <a:lnTo>
                    <a:pt x="216" y="108"/>
                  </a:lnTo>
                  <a:lnTo>
                    <a:pt x="216" y="116"/>
                  </a:lnTo>
                  <a:lnTo>
                    <a:pt x="216" y="118"/>
                  </a:lnTo>
                  <a:lnTo>
                    <a:pt x="216" y="118"/>
                  </a:lnTo>
                  <a:lnTo>
                    <a:pt x="216" y="118"/>
                  </a:lnTo>
                  <a:lnTo>
                    <a:pt x="212" y="118"/>
                  </a:lnTo>
                  <a:lnTo>
                    <a:pt x="212" y="122"/>
                  </a:lnTo>
                  <a:lnTo>
                    <a:pt x="208" y="122"/>
                  </a:lnTo>
                  <a:lnTo>
                    <a:pt x="208" y="126"/>
                  </a:lnTo>
                  <a:lnTo>
                    <a:pt x="200" y="134"/>
                  </a:lnTo>
                  <a:lnTo>
                    <a:pt x="200" y="138"/>
                  </a:lnTo>
                  <a:lnTo>
                    <a:pt x="198" y="142"/>
                  </a:lnTo>
                  <a:lnTo>
                    <a:pt x="198" y="142"/>
                  </a:lnTo>
                  <a:lnTo>
                    <a:pt x="194" y="144"/>
                  </a:lnTo>
                  <a:lnTo>
                    <a:pt x="194" y="144"/>
                  </a:lnTo>
                  <a:lnTo>
                    <a:pt x="194" y="148"/>
                  </a:lnTo>
                  <a:lnTo>
                    <a:pt x="190" y="152"/>
                  </a:lnTo>
                  <a:lnTo>
                    <a:pt x="190" y="152"/>
                  </a:lnTo>
                  <a:lnTo>
                    <a:pt x="190" y="152"/>
                  </a:lnTo>
                  <a:lnTo>
                    <a:pt x="190" y="156"/>
                  </a:lnTo>
                  <a:lnTo>
                    <a:pt x="190" y="156"/>
                  </a:lnTo>
                  <a:lnTo>
                    <a:pt x="190" y="156"/>
                  </a:lnTo>
                  <a:lnTo>
                    <a:pt x="190" y="156"/>
                  </a:lnTo>
                  <a:lnTo>
                    <a:pt x="190" y="156"/>
                  </a:lnTo>
                  <a:lnTo>
                    <a:pt x="190" y="160"/>
                  </a:lnTo>
                  <a:lnTo>
                    <a:pt x="190" y="160"/>
                  </a:lnTo>
                  <a:lnTo>
                    <a:pt x="190" y="160"/>
                  </a:lnTo>
                  <a:lnTo>
                    <a:pt x="186" y="160"/>
                  </a:lnTo>
                  <a:lnTo>
                    <a:pt x="186" y="160"/>
                  </a:lnTo>
                  <a:lnTo>
                    <a:pt x="186" y="160"/>
                  </a:lnTo>
                  <a:lnTo>
                    <a:pt x="186" y="160"/>
                  </a:lnTo>
                  <a:lnTo>
                    <a:pt x="186" y="160"/>
                  </a:lnTo>
                  <a:lnTo>
                    <a:pt x="186" y="160"/>
                  </a:lnTo>
                  <a:lnTo>
                    <a:pt x="186" y="168"/>
                  </a:lnTo>
                  <a:lnTo>
                    <a:pt x="190" y="172"/>
                  </a:lnTo>
                  <a:lnTo>
                    <a:pt x="190" y="172"/>
                  </a:lnTo>
                  <a:lnTo>
                    <a:pt x="186" y="172"/>
                  </a:lnTo>
                  <a:lnTo>
                    <a:pt x="182" y="174"/>
                  </a:lnTo>
                  <a:lnTo>
                    <a:pt x="182" y="174"/>
                  </a:lnTo>
                  <a:lnTo>
                    <a:pt x="182" y="174"/>
                  </a:lnTo>
                  <a:lnTo>
                    <a:pt x="182" y="174"/>
                  </a:lnTo>
                  <a:lnTo>
                    <a:pt x="182" y="174"/>
                  </a:lnTo>
                  <a:lnTo>
                    <a:pt x="178" y="174"/>
                  </a:lnTo>
                  <a:lnTo>
                    <a:pt x="178" y="174"/>
                  </a:lnTo>
                  <a:lnTo>
                    <a:pt x="178" y="174"/>
                  </a:lnTo>
                  <a:lnTo>
                    <a:pt x="174" y="178"/>
                  </a:lnTo>
                  <a:lnTo>
                    <a:pt x="174" y="178"/>
                  </a:lnTo>
                  <a:lnTo>
                    <a:pt x="174" y="178"/>
                  </a:lnTo>
                  <a:lnTo>
                    <a:pt x="174" y="178"/>
                  </a:lnTo>
                  <a:lnTo>
                    <a:pt x="174" y="178"/>
                  </a:lnTo>
                  <a:lnTo>
                    <a:pt x="174" y="182"/>
                  </a:lnTo>
                  <a:lnTo>
                    <a:pt x="174" y="182"/>
                  </a:lnTo>
                  <a:lnTo>
                    <a:pt x="174" y="182"/>
                  </a:lnTo>
                  <a:lnTo>
                    <a:pt x="170" y="182"/>
                  </a:lnTo>
                  <a:lnTo>
                    <a:pt x="170" y="182"/>
                  </a:lnTo>
                  <a:lnTo>
                    <a:pt x="170" y="182"/>
                  </a:lnTo>
                  <a:lnTo>
                    <a:pt x="170" y="182"/>
                  </a:lnTo>
                  <a:lnTo>
                    <a:pt x="168" y="182"/>
                  </a:lnTo>
                  <a:lnTo>
                    <a:pt x="168" y="182"/>
                  </a:lnTo>
                  <a:lnTo>
                    <a:pt x="164" y="182"/>
                  </a:lnTo>
                  <a:lnTo>
                    <a:pt x="164" y="178"/>
                  </a:lnTo>
                  <a:lnTo>
                    <a:pt x="160" y="178"/>
                  </a:lnTo>
                  <a:lnTo>
                    <a:pt x="160" y="178"/>
                  </a:lnTo>
                  <a:lnTo>
                    <a:pt x="160" y="178"/>
                  </a:lnTo>
                  <a:lnTo>
                    <a:pt x="156" y="178"/>
                  </a:lnTo>
                  <a:lnTo>
                    <a:pt x="156" y="178"/>
                  </a:lnTo>
                  <a:lnTo>
                    <a:pt x="156" y="178"/>
                  </a:lnTo>
                  <a:lnTo>
                    <a:pt x="156" y="178"/>
                  </a:lnTo>
                  <a:lnTo>
                    <a:pt x="156" y="178"/>
                  </a:lnTo>
                  <a:lnTo>
                    <a:pt x="156" y="178"/>
                  </a:lnTo>
                  <a:lnTo>
                    <a:pt x="152" y="178"/>
                  </a:lnTo>
                  <a:lnTo>
                    <a:pt x="152" y="178"/>
                  </a:lnTo>
                  <a:lnTo>
                    <a:pt x="152" y="178"/>
                  </a:lnTo>
                  <a:lnTo>
                    <a:pt x="152" y="178"/>
                  </a:lnTo>
                  <a:lnTo>
                    <a:pt x="152" y="178"/>
                  </a:lnTo>
                  <a:lnTo>
                    <a:pt x="152" y="178"/>
                  </a:lnTo>
                  <a:lnTo>
                    <a:pt x="152" y="178"/>
                  </a:lnTo>
                  <a:lnTo>
                    <a:pt x="152" y="178"/>
                  </a:lnTo>
                  <a:lnTo>
                    <a:pt x="148" y="178"/>
                  </a:lnTo>
                  <a:lnTo>
                    <a:pt x="148" y="178"/>
                  </a:lnTo>
                  <a:lnTo>
                    <a:pt x="148" y="178"/>
                  </a:lnTo>
                  <a:lnTo>
                    <a:pt x="148" y="178"/>
                  </a:lnTo>
                  <a:lnTo>
                    <a:pt x="148" y="178"/>
                  </a:lnTo>
                  <a:lnTo>
                    <a:pt x="148" y="178"/>
                  </a:lnTo>
                  <a:lnTo>
                    <a:pt x="144" y="178"/>
                  </a:lnTo>
                  <a:lnTo>
                    <a:pt x="144" y="178"/>
                  </a:lnTo>
                  <a:lnTo>
                    <a:pt x="144" y="178"/>
                  </a:lnTo>
                  <a:lnTo>
                    <a:pt x="144" y="178"/>
                  </a:lnTo>
                  <a:lnTo>
                    <a:pt x="144" y="178"/>
                  </a:lnTo>
                  <a:lnTo>
                    <a:pt x="144" y="178"/>
                  </a:lnTo>
                  <a:lnTo>
                    <a:pt x="140" y="178"/>
                  </a:lnTo>
                  <a:lnTo>
                    <a:pt x="140" y="178"/>
                  </a:lnTo>
                  <a:lnTo>
                    <a:pt x="140" y="178"/>
                  </a:lnTo>
                  <a:lnTo>
                    <a:pt x="140" y="178"/>
                  </a:lnTo>
                  <a:lnTo>
                    <a:pt x="138" y="182"/>
                  </a:lnTo>
                  <a:lnTo>
                    <a:pt x="138" y="182"/>
                  </a:lnTo>
                  <a:lnTo>
                    <a:pt x="138" y="182"/>
                  </a:lnTo>
                  <a:lnTo>
                    <a:pt x="138" y="182"/>
                  </a:lnTo>
                  <a:lnTo>
                    <a:pt x="134" y="182"/>
                  </a:lnTo>
                  <a:lnTo>
                    <a:pt x="134" y="186"/>
                  </a:lnTo>
                  <a:lnTo>
                    <a:pt x="134" y="190"/>
                  </a:lnTo>
                  <a:lnTo>
                    <a:pt x="134" y="190"/>
                  </a:lnTo>
                  <a:lnTo>
                    <a:pt x="130" y="190"/>
                  </a:lnTo>
                  <a:lnTo>
                    <a:pt x="126" y="186"/>
                  </a:lnTo>
                  <a:lnTo>
                    <a:pt x="126" y="186"/>
                  </a:lnTo>
                  <a:lnTo>
                    <a:pt x="122" y="186"/>
                  </a:lnTo>
                  <a:lnTo>
                    <a:pt x="122" y="186"/>
                  </a:lnTo>
                  <a:lnTo>
                    <a:pt x="122" y="186"/>
                  </a:lnTo>
                  <a:lnTo>
                    <a:pt x="122" y="186"/>
                  </a:lnTo>
                  <a:lnTo>
                    <a:pt x="118" y="186"/>
                  </a:lnTo>
                  <a:lnTo>
                    <a:pt x="118" y="186"/>
                  </a:lnTo>
                  <a:lnTo>
                    <a:pt x="118" y="186"/>
                  </a:lnTo>
                  <a:lnTo>
                    <a:pt x="118" y="186"/>
                  </a:lnTo>
                  <a:lnTo>
                    <a:pt x="118" y="186"/>
                  </a:lnTo>
                  <a:lnTo>
                    <a:pt x="114" y="182"/>
                  </a:lnTo>
                  <a:lnTo>
                    <a:pt x="114" y="182"/>
                  </a:lnTo>
                  <a:lnTo>
                    <a:pt x="114" y="182"/>
                  </a:lnTo>
                  <a:lnTo>
                    <a:pt x="114" y="182"/>
                  </a:lnTo>
                  <a:lnTo>
                    <a:pt x="114" y="182"/>
                  </a:lnTo>
                  <a:lnTo>
                    <a:pt x="114" y="182"/>
                  </a:lnTo>
                  <a:lnTo>
                    <a:pt x="114" y="182"/>
                  </a:lnTo>
                  <a:lnTo>
                    <a:pt x="110" y="182"/>
                  </a:lnTo>
                  <a:lnTo>
                    <a:pt x="110" y="182"/>
                  </a:lnTo>
                  <a:lnTo>
                    <a:pt x="110" y="182"/>
                  </a:lnTo>
                  <a:lnTo>
                    <a:pt x="110" y="178"/>
                  </a:lnTo>
                  <a:lnTo>
                    <a:pt x="110" y="178"/>
                  </a:lnTo>
                  <a:lnTo>
                    <a:pt x="110" y="178"/>
                  </a:lnTo>
                  <a:lnTo>
                    <a:pt x="108" y="178"/>
                  </a:lnTo>
                  <a:lnTo>
                    <a:pt x="100" y="182"/>
                  </a:lnTo>
                  <a:lnTo>
                    <a:pt x="100" y="182"/>
                  </a:lnTo>
                  <a:lnTo>
                    <a:pt x="96" y="182"/>
                  </a:lnTo>
                  <a:lnTo>
                    <a:pt x="96" y="182"/>
                  </a:lnTo>
                  <a:lnTo>
                    <a:pt x="96" y="186"/>
                  </a:lnTo>
                  <a:lnTo>
                    <a:pt x="96" y="186"/>
                  </a:lnTo>
                  <a:lnTo>
                    <a:pt x="96" y="186"/>
                  </a:lnTo>
                  <a:lnTo>
                    <a:pt x="96" y="18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69" name="Freeform 162"/>
            <p:cNvSpPr>
              <a:spLocks noEditPoints="1"/>
            </p:cNvSpPr>
            <p:nvPr/>
          </p:nvSpPr>
          <p:spPr bwMode="auto">
            <a:xfrm>
              <a:off x="7064148" y="4006148"/>
              <a:ext cx="106757" cy="107222"/>
            </a:xfrm>
            <a:custGeom>
              <a:avLst/>
              <a:gdLst>
                <a:gd name="T0" fmla="*/ 126 w 170"/>
                <a:gd name="T1" fmla="*/ 122 h 164"/>
                <a:gd name="T2" fmla="*/ 118 w 170"/>
                <a:gd name="T3" fmla="*/ 122 h 164"/>
                <a:gd name="T4" fmla="*/ 110 w 170"/>
                <a:gd name="T5" fmla="*/ 114 h 164"/>
                <a:gd name="T6" fmla="*/ 102 w 170"/>
                <a:gd name="T7" fmla="*/ 118 h 164"/>
                <a:gd name="T8" fmla="*/ 96 w 170"/>
                <a:gd name="T9" fmla="*/ 126 h 164"/>
                <a:gd name="T10" fmla="*/ 88 w 170"/>
                <a:gd name="T11" fmla="*/ 140 h 164"/>
                <a:gd name="T12" fmla="*/ 80 w 170"/>
                <a:gd name="T13" fmla="*/ 152 h 164"/>
                <a:gd name="T14" fmla="*/ 76 w 170"/>
                <a:gd name="T15" fmla="*/ 156 h 164"/>
                <a:gd name="T16" fmla="*/ 70 w 170"/>
                <a:gd name="T17" fmla="*/ 160 h 164"/>
                <a:gd name="T18" fmla="*/ 62 w 170"/>
                <a:gd name="T19" fmla="*/ 156 h 164"/>
                <a:gd name="T20" fmla="*/ 58 w 170"/>
                <a:gd name="T21" fmla="*/ 160 h 164"/>
                <a:gd name="T22" fmla="*/ 58 w 170"/>
                <a:gd name="T23" fmla="*/ 160 h 164"/>
                <a:gd name="T24" fmla="*/ 58 w 170"/>
                <a:gd name="T25" fmla="*/ 156 h 164"/>
                <a:gd name="T26" fmla="*/ 50 w 170"/>
                <a:gd name="T27" fmla="*/ 160 h 164"/>
                <a:gd name="T28" fmla="*/ 40 w 170"/>
                <a:gd name="T29" fmla="*/ 156 h 164"/>
                <a:gd name="T30" fmla="*/ 36 w 170"/>
                <a:gd name="T31" fmla="*/ 148 h 164"/>
                <a:gd name="T32" fmla="*/ 40 w 170"/>
                <a:gd name="T33" fmla="*/ 144 h 164"/>
                <a:gd name="T34" fmla="*/ 36 w 170"/>
                <a:gd name="T35" fmla="*/ 140 h 164"/>
                <a:gd name="T36" fmla="*/ 30 w 170"/>
                <a:gd name="T37" fmla="*/ 130 h 164"/>
                <a:gd name="T38" fmla="*/ 18 w 170"/>
                <a:gd name="T39" fmla="*/ 126 h 164"/>
                <a:gd name="T40" fmla="*/ 18 w 170"/>
                <a:gd name="T41" fmla="*/ 122 h 164"/>
                <a:gd name="T42" fmla="*/ 10 w 170"/>
                <a:gd name="T43" fmla="*/ 126 h 164"/>
                <a:gd name="T44" fmla="*/ 0 w 170"/>
                <a:gd name="T45" fmla="*/ 122 h 164"/>
                <a:gd name="T46" fmla="*/ 2 w 170"/>
                <a:gd name="T47" fmla="*/ 110 h 164"/>
                <a:gd name="T48" fmla="*/ 0 w 170"/>
                <a:gd name="T49" fmla="*/ 96 h 164"/>
                <a:gd name="T50" fmla="*/ 2 w 170"/>
                <a:gd name="T51" fmla="*/ 82 h 164"/>
                <a:gd name="T52" fmla="*/ 10 w 170"/>
                <a:gd name="T53" fmla="*/ 70 h 164"/>
                <a:gd name="T54" fmla="*/ 14 w 170"/>
                <a:gd name="T55" fmla="*/ 58 h 164"/>
                <a:gd name="T56" fmla="*/ 14 w 170"/>
                <a:gd name="T57" fmla="*/ 52 h 164"/>
                <a:gd name="T58" fmla="*/ 10 w 170"/>
                <a:gd name="T59" fmla="*/ 36 h 164"/>
                <a:gd name="T60" fmla="*/ 14 w 170"/>
                <a:gd name="T61" fmla="*/ 26 h 164"/>
                <a:gd name="T62" fmla="*/ 22 w 170"/>
                <a:gd name="T63" fmla="*/ 14 h 164"/>
                <a:gd name="T64" fmla="*/ 26 w 170"/>
                <a:gd name="T65" fmla="*/ 0 h 164"/>
                <a:gd name="T66" fmla="*/ 40 w 170"/>
                <a:gd name="T67" fmla="*/ 0 h 164"/>
                <a:gd name="T68" fmla="*/ 50 w 170"/>
                <a:gd name="T69" fmla="*/ 2 h 164"/>
                <a:gd name="T70" fmla="*/ 62 w 170"/>
                <a:gd name="T71" fmla="*/ 14 h 164"/>
                <a:gd name="T72" fmla="*/ 76 w 170"/>
                <a:gd name="T73" fmla="*/ 6 h 164"/>
                <a:gd name="T74" fmla="*/ 88 w 170"/>
                <a:gd name="T75" fmla="*/ 14 h 164"/>
                <a:gd name="T76" fmla="*/ 100 w 170"/>
                <a:gd name="T77" fmla="*/ 14 h 164"/>
                <a:gd name="T78" fmla="*/ 110 w 170"/>
                <a:gd name="T79" fmla="*/ 6 h 164"/>
                <a:gd name="T80" fmla="*/ 126 w 170"/>
                <a:gd name="T81" fmla="*/ 6 h 164"/>
                <a:gd name="T82" fmla="*/ 136 w 170"/>
                <a:gd name="T83" fmla="*/ 10 h 164"/>
                <a:gd name="T84" fmla="*/ 148 w 170"/>
                <a:gd name="T85" fmla="*/ 2 h 164"/>
                <a:gd name="T86" fmla="*/ 158 w 170"/>
                <a:gd name="T87" fmla="*/ 6 h 164"/>
                <a:gd name="T88" fmla="*/ 162 w 170"/>
                <a:gd name="T89" fmla="*/ 22 h 164"/>
                <a:gd name="T90" fmla="*/ 170 w 170"/>
                <a:gd name="T91" fmla="*/ 28 h 164"/>
                <a:gd name="T92" fmla="*/ 166 w 170"/>
                <a:gd name="T93" fmla="*/ 32 h 164"/>
                <a:gd name="T94" fmla="*/ 162 w 170"/>
                <a:gd name="T95" fmla="*/ 40 h 164"/>
                <a:gd name="T96" fmla="*/ 156 w 170"/>
                <a:gd name="T97" fmla="*/ 52 h 164"/>
                <a:gd name="T98" fmla="*/ 148 w 170"/>
                <a:gd name="T99" fmla="*/ 62 h 164"/>
                <a:gd name="T100" fmla="*/ 144 w 170"/>
                <a:gd name="T101" fmla="*/ 74 h 164"/>
                <a:gd name="T102" fmla="*/ 140 w 170"/>
                <a:gd name="T103" fmla="*/ 88 h 164"/>
                <a:gd name="T104" fmla="*/ 132 w 170"/>
                <a:gd name="T105" fmla="*/ 96 h 164"/>
                <a:gd name="T106" fmla="*/ 132 w 170"/>
                <a:gd name="T107" fmla="*/ 104 h 164"/>
                <a:gd name="T108" fmla="*/ 128 w 170"/>
                <a:gd name="T109" fmla="*/ 110 h 164"/>
                <a:gd name="T110" fmla="*/ 62 w 170"/>
                <a:gd name="T111" fmla="*/ 16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 h="164">
                  <a:moveTo>
                    <a:pt x="128" y="110"/>
                  </a:moveTo>
                  <a:lnTo>
                    <a:pt x="128" y="114"/>
                  </a:lnTo>
                  <a:lnTo>
                    <a:pt x="126" y="118"/>
                  </a:lnTo>
                  <a:lnTo>
                    <a:pt x="126" y="122"/>
                  </a:lnTo>
                  <a:lnTo>
                    <a:pt x="122" y="122"/>
                  </a:lnTo>
                  <a:lnTo>
                    <a:pt x="122" y="126"/>
                  </a:lnTo>
                  <a:lnTo>
                    <a:pt x="118" y="126"/>
                  </a:lnTo>
                  <a:lnTo>
                    <a:pt x="118" y="122"/>
                  </a:lnTo>
                  <a:lnTo>
                    <a:pt x="118" y="118"/>
                  </a:lnTo>
                  <a:lnTo>
                    <a:pt x="114" y="118"/>
                  </a:lnTo>
                  <a:lnTo>
                    <a:pt x="114" y="114"/>
                  </a:lnTo>
                  <a:lnTo>
                    <a:pt x="110" y="114"/>
                  </a:lnTo>
                  <a:lnTo>
                    <a:pt x="110" y="118"/>
                  </a:lnTo>
                  <a:lnTo>
                    <a:pt x="106" y="118"/>
                  </a:lnTo>
                  <a:lnTo>
                    <a:pt x="106" y="114"/>
                  </a:lnTo>
                  <a:lnTo>
                    <a:pt x="102" y="118"/>
                  </a:lnTo>
                  <a:lnTo>
                    <a:pt x="100" y="118"/>
                  </a:lnTo>
                  <a:lnTo>
                    <a:pt x="100" y="122"/>
                  </a:lnTo>
                  <a:lnTo>
                    <a:pt x="100" y="126"/>
                  </a:lnTo>
                  <a:lnTo>
                    <a:pt x="96" y="126"/>
                  </a:lnTo>
                  <a:lnTo>
                    <a:pt x="92" y="130"/>
                  </a:lnTo>
                  <a:lnTo>
                    <a:pt x="88" y="134"/>
                  </a:lnTo>
                  <a:lnTo>
                    <a:pt x="88" y="138"/>
                  </a:lnTo>
                  <a:lnTo>
                    <a:pt x="88" y="140"/>
                  </a:lnTo>
                  <a:lnTo>
                    <a:pt x="88" y="144"/>
                  </a:lnTo>
                  <a:lnTo>
                    <a:pt x="84" y="148"/>
                  </a:lnTo>
                  <a:lnTo>
                    <a:pt x="84" y="152"/>
                  </a:lnTo>
                  <a:lnTo>
                    <a:pt x="80" y="152"/>
                  </a:lnTo>
                  <a:lnTo>
                    <a:pt x="80" y="156"/>
                  </a:lnTo>
                  <a:lnTo>
                    <a:pt x="80" y="152"/>
                  </a:lnTo>
                  <a:lnTo>
                    <a:pt x="76" y="152"/>
                  </a:lnTo>
                  <a:lnTo>
                    <a:pt x="76" y="156"/>
                  </a:lnTo>
                  <a:lnTo>
                    <a:pt x="80" y="156"/>
                  </a:lnTo>
                  <a:lnTo>
                    <a:pt x="76" y="160"/>
                  </a:lnTo>
                  <a:lnTo>
                    <a:pt x="72" y="160"/>
                  </a:lnTo>
                  <a:lnTo>
                    <a:pt x="70" y="160"/>
                  </a:lnTo>
                  <a:lnTo>
                    <a:pt x="70" y="156"/>
                  </a:lnTo>
                  <a:lnTo>
                    <a:pt x="66" y="160"/>
                  </a:lnTo>
                  <a:lnTo>
                    <a:pt x="62" y="160"/>
                  </a:lnTo>
                  <a:lnTo>
                    <a:pt x="62" y="156"/>
                  </a:lnTo>
                  <a:lnTo>
                    <a:pt x="62" y="160"/>
                  </a:lnTo>
                  <a:lnTo>
                    <a:pt x="62" y="156"/>
                  </a:lnTo>
                  <a:lnTo>
                    <a:pt x="58" y="156"/>
                  </a:lnTo>
                  <a:lnTo>
                    <a:pt x="58" y="160"/>
                  </a:lnTo>
                  <a:lnTo>
                    <a:pt x="62" y="160"/>
                  </a:lnTo>
                  <a:lnTo>
                    <a:pt x="58" y="160"/>
                  </a:lnTo>
                  <a:lnTo>
                    <a:pt x="58" y="156"/>
                  </a:lnTo>
                  <a:lnTo>
                    <a:pt x="58" y="160"/>
                  </a:lnTo>
                  <a:lnTo>
                    <a:pt x="58" y="164"/>
                  </a:lnTo>
                  <a:lnTo>
                    <a:pt x="54" y="160"/>
                  </a:lnTo>
                  <a:lnTo>
                    <a:pt x="58" y="160"/>
                  </a:lnTo>
                  <a:lnTo>
                    <a:pt x="58" y="156"/>
                  </a:lnTo>
                  <a:lnTo>
                    <a:pt x="54" y="160"/>
                  </a:lnTo>
                  <a:lnTo>
                    <a:pt x="54" y="164"/>
                  </a:lnTo>
                  <a:lnTo>
                    <a:pt x="50" y="164"/>
                  </a:lnTo>
                  <a:lnTo>
                    <a:pt x="50" y="160"/>
                  </a:lnTo>
                  <a:lnTo>
                    <a:pt x="50" y="164"/>
                  </a:lnTo>
                  <a:lnTo>
                    <a:pt x="46" y="164"/>
                  </a:lnTo>
                  <a:lnTo>
                    <a:pt x="44" y="160"/>
                  </a:lnTo>
                  <a:lnTo>
                    <a:pt x="40" y="156"/>
                  </a:lnTo>
                  <a:lnTo>
                    <a:pt x="40" y="152"/>
                  </a:lnTo>
                  <a:lnTo>
                    <a:pt x="36" y="148"/>
                  </a:lnTo>
                  <a:lnTo>
                    <a:pt x="40" y="148"/>
                  </a:lnTo>
                  <a:lnTo>
                    <a:pt x="36" y="148"/>
                  </a:lnTo>
                  <a:lnTo>
                    <a:pt x="36" y="144"/>
                  </a:lnTo>
                  <a:lnTo>
                    <a:pt x="40" y="144"/>
                  </a:lnTo>
                  <a:lnTo>
                    <a:pt x="40" y="140"/>
                  </a:lnTo>
                  <a:lnTo>
                    <a:pt x="40" y="144"/>
                  </a:lnTo>
                  <a:lnTo>
                    <a:pt x="36" y="144"/>
                  </a:lnTo>
                  <a:lnTo>
                    <a:pt x="36" y="140"/>
                  </a:lnTo>
                  <a:lnTo>
                    <a:pt x="40" y="140"/>
                  </a:lnTo>
                  <a:lnTo>
                    <a:pt x="36" y="140"/>
                  </a:lnTo>
                  <a:lnTo>
                    <a:pt x="32" y="138"/>
                  </a:lnTo>
                  <a:lnTo>
                    <a:pt x="32" y="134"/>
                  </a:lnTo>
                  <a:lnTo>
                    <a:pt x="30" y="134"/>
                  </a:lnTo>
                  <a:lnTo>
                    <a:pt x="30" y="130"/>
                  </a:lnTo>
                  <a:lnTo>
                    <a:pt x="26" y="130"/>
                  </a:lnTo>
                  <a:lnTo>
                    <a:pt x="26" y="126"/>
                  </a:lnTo>
                  <a:lnTo>
                    <a:pt x="22" y="126"/>
                  </a:lnTo>
                  <a:lnTo>
                    <a:pt x="18" y="126"/>
                  </a:lnTo>
                  <a:lnTo>
                    <a:pt x="14" y="126"/>
                  </a:lnTo>
                  <a:lnTo>
                    <a:pt x="10" y="126"/>
                  </a:lnTo>
                  <a:lnTo>
                    <a:pt x="14" y="126"/>
                  </a:lnTo>
                  <a:lnTo>
                    <a:pt x="18" y="122"/>
                  </a:lnTo>
                  <a:lnTo>
                    <a:pt x="14" y="122"/>
                  </a:lnTo>
                  <a:lnTo>
                    <a:pt x="10" y="126"/>
                  </a:lnTo>
                  <a:lnTo>
                    <a:pt x="10" y="122"/>
                  </a:lnTo>
                  <a:lnTo>
                    <a:pt x="10" y="126"/>
                  </a:lnTo>
                  <a:lnTo>
                    <a:pt x="6" y="126"/>
                  </a:lnTo>
                  <a:lnTo>
                    <a:pt x="2" y="126"/>
                  </a:lnTo>
                  <a:lnTo>
                    <a:pt x="0" y="126"/>
                  </a:lnTo>
                  <a:lnTo>
                    <a:pt x="0" y="122"/>
                  </a:lnTo>
                  <a:lnTo>
                    <a:pt x="0" y="118"/>
                  </a:lnTo>
                  <a:lnTo>
                    <a:pt x="0" y="114"/>
                  </a:lnTo>
                  <a:lnTo>
                    <a:pt x="2" y="114"/>
                  </a:lnTo>
                  <a:lnTo>
                    <a:pt x="2" y="110"/>
                  </a:lnTo>
                  <a:lnTo>
                    <a:pt x="0" y="108"/>
                  </a:lnTo>
                  <a:lnTo>
                    <a:pt x="0" y="104"/>
                  </a:lnTo>
                  <a:lnTo>
                    <a:pt x="0" y="100"/>
                  </a:lnTo>
                  <a:lnTo>
                    <a:pt x="0" y="96"/>
                  </a:lnTo>
                  <a:lnTo>
                    <a:pt x="0" y="92"/>
                  </a:lnTo>
                  <a:lnTo>
                    <a:pt x="0" y="88"/>
                  </a:lnTo>
                  <a:lnTo>
                    <a:pt x="0" y="84"/>
                  </a:lnTo>
                  <a:lnTo>
                    <a:pt x="2" y="82"/>
                  </a:lnTo>
                  <a:lnTo>
                    <a:pt x="6" y="82"/>
                  </a:lnTo>
                  <a:lnTo>
                    <a:pt x="6" y="78"/>
                  </a:lnTo>
                  <a:lnTo>
                    <a:pt x="6" y="74"/>
                  </a:lnTo>
                  <a:lnTo>
                    <a:pt x="10" y="70"/>
                  </a:lnTo>
                  <a:lnTo>
                    <a:pt x="10" y="66"/>
                  </a:lnTo>
                  <a:lnTo>
                    <a:pt x="14" y="66"/>
                  </a:lnTo>
                  <a:lnTo>
                    <a:pt x="14" y="62"/>
                  </a:lnTo>
                  <a:lnTo>
                    <a:pt x="14" y="58"/>
                  </a:lnTo>
                  <a:lnTo>
                    <a:pt x="14" y="56"/>
                  </a:lnTo>
                  <a:lnTo>
                    <a:pt x="18" y="56"/>
                  </a:lnTo>
                  <a:lnTo>
                    <a:pt x="18" y="52"/>
                  </a:lnTo>
                  <a:lnTo>
                    <a:pt x="14" y="52"/>
                  </a:lnTo>
                  <a:lnTo>
                    <a:pt x="14" y="48"/>
                  </a:lnTo>
                  <a:lnTo>
                    <a:pt x="14" y="44"/>
                  </a:lnTo>
                  <a:lnTo>
                    <a:pt x="10" y="40"/>
                  </a:lnTo>
                  <a:lnTo>
                    <a:pt x="10" y="36"/>
                  </a:lnTo>
                  <a:lnTo>
                    <a:pt x="14" y="36"/>
                  </a:lnTo>
                  <a:lnTo>
                    <a:pt x="14" y="32"/>
                  </a:lnTo>
                  <a:lnTo>
                    <a:pt x="14" y="28"/>
                  </a:lnTo>
                  <a:lnTo>
                    <a:pt x="14" y="26"/>
                  </a:lnTo>
                  <a:lnTo>
                    <a:pt x="14" y="22"/>
                  </a:lnTo>
                  <a:lnTo>
                    <a:pt x="18" y="18"/>
                  </a:lnTo>
                  <a:lnTo>
                    <a:pt x="18" y="14"/>
                  </a:lnTo>
                  <a:lnTo>
                    <a:pt x="22" y="14"/>
                  </a:lnTo>
                  <a:lnTo>
                    <a:pt x="22" y="10"/>
                  </a:lnTo>
                  <a:lnTo>
                    <a:pt x="22" y="6"/>
                  </a:lnTo>
                  <a:lnTo>
                    <a:pt x="22" y="2"/>
                  </a:lnTo>
                  <a:lnTo>
                    <a:pt x="26" y="0"/>
                  </a:lnTo>
                  <a:lnTo>
                    <a:pt x="30" y="0"/>
                  </a:lnTo>
                  <a:lnTo>
                    <a:pt x="32" y="0"/>
                  </a:lnTo>
                  <a:lnTo>
                    <a:pt x="36" y="0"/>
                  </a:lnTo>
                  <a:lnTo>
                    <a:pt x="40" y="0"/>
                  </a:lnTo>
                  <a:lnTo>
                    <a:pt x="44" y="0"/>
                  </a:lnTo>
                  <a:lnTo>
                    <a:pt x="46" y="0"/>
                  </a:lnTo>
                  <a:lnTo>
                    <a:pt x="46" y="2"/>
                  </a:lnTo>
                  <a:lnTo>
                    <a:pt x="50" y="2"/>
                  </a:lnTo>
                  <a:lnTo>
                    <a:pt x="54" y="6"/>
                  </a:lnTo>
                  <a:lnTo>
                    <a:pt x="58" y="10"/>
                  </a:lnTo>
                  <a:lnTo>
                    <a:pt x="58" y="14"/>
                  </a:lnTo>
                  <a:lnTo>
                    <a:pt x="62" y="14"/>
                  </a:lnTo>
                  <a:lnTo>
                    <a:pt x="62" y="10"/>
                  </a:lnTo>
                  <a:lnTo>
                    <a:pt x="66" y="10"/>
                  </a:lnTo>
                  <a:lnTo>
                    <a:pt x="72" y="6"/>
                  </a:lnTo>
                  <a:lnTo>
                    <a:pt x="76" y="6"/>
                  </a:lnTo>
                  <a:lnTo>
                    <a:pt x="76" y="10"/>
                  </a:lnTo>
                  <a:lnTo>
                    <a:pt x="80" y="10"/>
                  </a:lnTo>
                  <a:lnTo>
                    <a:pt x="84" y="14"/>
                  </a:lnTo>
                  <a:lnTo>
                    <a:pt x="88" y="14"/>
                  </a:lnTo>
                  <a:lnTo>
                    <a:pt x="92" y="14"/>
                  </a:lnTo>
                  <a:lnTo>
                    <a:pt x="96" y="18"/>
                  </a:lnTo>
                  <a:lnTo>
                    <a:pt x="100" y="18"/>
                  </a:lnTo>
                  <a:lnTo>
                    <a:pt x="100" y="14"/>
                  </a:lnTo>
                  <a:lnTo>
                    <a:pt x="100" y="10"/>
                  </a:lnTo>
                  <a:lnTo>
                    <a:pt x="102" y="10"/>
                  </a:lnTo>
                  <a:lnTo>
                    <a:pt x="106" y="6"/>
                  </a:lnTo>
                  <a:lnTo>
                    <a:pt x="110" y="6"/>
                  </a:lnTo>
                  <a:lnTo>
                    <a:pt x="114" y="6"/>
                  </a:lnTo>
                  <a:lnTo>
                    <a:pt x="118" y="6"/>
                  </a:lnTo>
                  <a:lnTo>
                    <a:pt x="122" y="6"/>
                  </a:lnTo>
                  <a:lnTo>
                    <a:pt x="126" y="6"/>
                  </a:lnTo>
                  <a:lnTo>
                    <a:pt x="128" y="6"/>
                  </a:lnTo>
                  <a:lnTo>
                    <a:pt x="128" y="10"/>
                  </a:lnTo>
                  <a:lnTo>
                    <a:pt x="132" y="10"/>
                  </a:lnTo>
                  <a:lnTo>
                    <a:pt x="136" y="10"/>
                  </a:lnTo>
                  <a:lnTo>
                    <a:pt x="140" y="10"/>
                  </a:lnTo>
                  <a:lnTo>
                    <a:pt x="140" y="6"/>
                  </a:lnTo>
                  <a:lnTo>
                    <a:pt x="144" y="2"/>
                  </a:lnTo>
                  <a:lnTo>
                    <a:pt x="148" y="2"/>
                  </a:lnTo>
                  <a:lnTo>
                    <a:pt x="152" y="0"/>
                  </a:lnTo>
                  <a:lnTo>
                    <a:pt x="156" y="0"/>
                  </a:lnTo>
                  <a:lnTo>
                    <a:pt x="156" y="2"/>
                  </a:lnTo>
                  <a:lnTo>
                    <a:pt x="158" y="6"/>
                  </a:lnTo>
                  <a:lnTo>
                    <a:pt x="158" y="10"/>
                  </a:lnTo>
                  <a:lnTo>
                    <a:pt x="162" y="14"/>
                  </a:lnTo>
                  <a:lnTo>
                    <a:pt x="162" y="18"/>
                  </a:lnTo>
                  <a:lnTo>
                    <a:pt x="162" y="22"/>
                  </a:lnTo>
                  <a:lnTo>
                    <a:pt x="162" y="26"/>
                  </a:lnTo>
                  <a:lnTo>
                    <a:pt x="166" y="26"/>
                  </a:lnTo>
                  <a:lnTo>
                    <a:pt x="170" y="26"/>
                  </a:lnTo>
                  <a:lnTo>
                    <a:pt x="170" y="28"/>
                  </a:lnTo>
                  <a:lnTo>
                    <a:pt x="166" y="28"/>
                  </a:lnTo>
                  <a:lnTo>
                    <a:pt x="170" y="28"/>
                  </a:lnTo>
                  <a:lnTo>
                    <a:pt x="170" y="32"/>
                  </a:lnTo>
                  <a:lnTo>
                    <a:pt x="166" y="32"/>
                  </a:lnTo>
                  <a:lnTo>
                    <a:pt x="166" y="36"/>
                  </a:lnTo>
                  <a:lnTo>
                    <a:pt x="170" y="36"/>
                  </a:lnTo>
                  <a:lnTo>
                    <a:pt x="166" y="40"/>
                  </a:lnTo>
                  <a:lnTo>
                    <a:pt x="162" y="40"/>
                  </a:lnTo>
                  <a:lnTo>
                    <a:pt x="162" y="44"/>
                  </a:lnTo>
                  <a:lnTo>
                    <a:pt x="158" y="44"/>
                  </a:lnTo>
                  <a:lnTo>
                    <a:pt x="156" y="48"/>
                  </a:lnTo>
                  <a:lnTo>
                    <a:pt x="156" y="52"/>
                  </a:lnTo>
                  <a:lnTo>
                    <a:pt x="152" y="56"/>
                  </a:lnTo>
                  <a:lnTo>
                    <a:pt x="152" y="58"/>
                  </a:lnTo>
                  <a:lnTo>
                    <a:pt x="152" y="62"/>
                  </a:lnTo>
                  <a:lnTo>
                    <a:pt x="148" y="62"/>
                  </a:lnTo>
                  <a:lnTo>
                    <a:pt x="148" y="66"/>
                  </a:lnTo>
                  <a:lnTo>
                    <a:pt x="148" y="70"/>
                  </a:lnTo>
                  <a:lnTo>
                    <a:pt x="148" y="74"/>
                  </a:lnTo>
                  <a:lnTo>
                    <a:pt x="144" y="74"/>
                  </a:lnTo>
                  <a:lnTo>
                    <a:pt x="144" y="78"/>
                  </a:lnTo>
                  <a:lnTo>
                    <a:pt x="144" y="82"/>
                  </a:lnTo>
                  <a:lnTo>
                    <a:pt x="144" y="84"/>
                  </a:lnTo>
                  <a:lnTo>
                    <a:pt x="140" y="88"/>
                  </a:lnTo>
                  <a:lnTo>
                    <a:pt x="136" y="88"/>
                  </a:lnTo>
                  <a:lnTo>
                    <a:pt x="136" y="92"/>
                  </a:lnTo>
                  <a:lnTo>
                    <a:pt x="132" y="92"/>
                  </a:lnTo>
                  <a:lnTo>
                    <a:pt x="132" y="96"/>
                  </a:lnTo>
                  <a:lnTo>
                    <a:pt x="136" y="96"/>
                  </a:lnTo>
                  <a:lnTo>
                    <a:pt x="132" y="96"/>
                  </a:lnTo>
                  <a:lnTo>
                    <a:pt x="132" y="100"/>
                  </a:lnTo>
                  <a:lnTo>
                    <a:pt x="132" y="104"/>
                  </a:lnTo>
                  <a:lnTo>
                    <a:pt x="132" y="108"/>
                  </a:lnTo>
                  <a:lnTo>
                    <a:pt x="128" y="108"/>
                  </a:lnTo>
                  <a:lnTo>
                    <a:pt x="128" y="110"/>
                  </a:lnTo>
                  <a:lnTo>
                    <a:pt x="128" y="110"/>
                  </a:lnTo>
                  <a:lnTo>
                    <a:pt x="128" y="110"/>
                  </a:lnTo>
                  <a:close/>
                  <a:moveTo>
                    <a:pt x="62" y="160"/>
                  </a:moveTo>
                  <a:lnTo>
                    <a:pt x="66" y="160"/>
                  </a:lnTo>
                  <a:lnTo>
                    <a:pt x="62" y="160"/>
                  </a:lnTo>
                  <a:lnTo>
                    <a:pt x="62" y="160"/>
                  </a:lnTo>
                  <a:lnTo>
                    <a:pt x="62" y="16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70" name="Freeform 163"/>
            <p:cNvSpPr>
              <a:spLocks/>
            </p:cNvSpPr>
            <p:nvPr/>
          </p:nvSpPr>
          <p:spPr bwMode="auto">
            <a:xfrm>
              <a:off x="7297757" y="4172212"/>
              <a:ext cx="16328" cy="19614"/>
            </a:xfrm>
            <a:custGeom>
              <a:avLst/>
              <a:gdLst>
                <a:gd name="T0" fmla="*/ 0 w 26"/>
                <a:gd name="T1" fmla="*/ 30 h 30"/>
                <a:gd name="T2" fmla="*/ 0 w 26"/>
                <a:gd name="T3" fmla="*/ 30 h 30"/>
                <a:gd name="T4" fmla="*/ 0 w 26"/>
                <a:gd name="T5" fmla="*/ 22 h 30"/>
                <a:gd name="T6" fmla="*/ 4 w 26"/>
                <a:gd name="T7" fmla="*/ 22 h 30"/>
                <a:gd name="T8" fmla="*/ 4 w 26"/>
                <a:gd name="T9" fmla="*/ 18 h 30"/>
                <a:gd name="T10" fmla="*/ 4 w 26"/>
                <a:gd name="T11" fmla="*/ 18 h 30"/>
                <a:gd name="T12" fmla="*/ 4 w 26"/>
                <a:gd name="T13" fmla="*/ 14 h 30"/>
                <a:gd name="T14" fmla="*/ 4 w 26"/>
                <a:gd name="T15" fmla="*/ 14 h 30"/>
                <a:gd name="T16" fmla="*/ 4 w 26"/>
                <a:gd name="T17" fmla="*/ 6 h 30"/>
                <a:gd name="T18" fmla="*/ 8 w 26"/>
                <a:gd name="T19" fmla="*/ 6 h 30"/>
                <a:gd name="T20" fmla="*/ 8 w 26"/>
                <a:gd name="T21" fmla="*/ 6 h 30"/>
                <a:gd name="T22" fmla="*/ 8 w 26"/>
                <a:gd name="T23" fmla="*/ 6 h 30"/>
                <a:gd name="T24" fmla="*/ 10 w 26"/>
                <a:gd name="T25" fmla="*/ 6 h 30"/>
                <a:gd name="T26" fmla="*/ 10 w 26"/>
                <a:gd name="T27" fmla="*/ 6 h 30"/>
                <a:gd name="T28" fmla="*/ 14 w 26"/>
                <a:gd name="T29" fmla="*/ 6 h 30"/>
                <a:gd name="T30" fmla="*/ 14 w 26"/>
                <a:gd name="T31" fmla="*/ 6 h 30"/>
                <a:gd name="T32" fmla="*/ 18 w 26"/>
                <a:gd name="T33" fmla="*/ 4 h 30"/>
                <a:gd name="T34" fmla="*/ 18 w 26"/>
                <a:gd name="T35" fmla="*/ 4 h 30"/>
                <a:gd name="T36" fmla="*/ 22 w 26"/>
                <a:gd name="T37" fmla="*/ 0 h 30"/>
                <a:gd name="T38" fmla="*/ 22 w 26"/>
                <a:gd name="T39" fmla="*/ 4 h 30"/>
                <a:gd name="T40" fmla="*/ 22 w 26"/>
                <a:gd name="T41" fmla="*/ 6 h 30"/>
                <a:gd name="T42" fmla="*/ 26 w 26"/>
                <a:gd name="T43" fmla="*/ 6 h 30"/>
                <a:gd name="T44" fmla="*/ 26 w 26"/>
                <a:gd name="T45" fmla="*/ 10 h 30"/>
                <a:gd name="T46" fmla="*/ 26 w 26"/>
                <a:gd name="T47" fmla="*/ 14 h 30"/>
                <a:gd name="T48" fmla="*/ 26 w 26"/>
                <a:gd name="T49" fmla="*/ 18 h 30"/>
                <a:gd name="T50" fmla="*/ 26 w 26"/>
                <a:gd name="T51" fmla="*/ 22 h 30"/>
                <a:gd name="T52" fmla="*/ 26 w 26"/>
                <a:gd name="T53" fmla="*/ 22 h 30"/>
                <a:gd name="T54" fmla="*/ 26 w 26"/>
                <a:gd name="T55" fmla="*/ 22 h 30"/>
                <a:gd name="T56" fmla="*/ 22 w 26"/>
                <a:gd name="T57" fmla="*/ 22 h 30"/>
                <a:gd name="T58" fmla="*/ 22 w 26"/>
                <a:gd name="T59" fmla="*/ 22 h 30"/>
                <a:gd name="T60" fmla="*/ 18 w 26"/>
                <a:gd name="T61" fmla="*/ 22 h 30"/>
                <a:gd name="T62" fmla="*/ 14 w 26"/>
                <a:gd name="T63" fmla="*/ 26 h 30"/>
                <a:gd name="T64" fmla="*/ 14 w 26"/>
                <a:gd name="T65" fmla="*/ 22 h 30"/>
                <a:gd name="T66" fmla="*/ 14 w 26"/>
                <a:gd name="T67" fmla="*/ 30 h 30"/>
                <a:gd name="T68" fmla="*/ 10 w 26"/>
                <a:gd name="T69" fmla="*/ 30 h 30"/>
                <a:gd name="T70" fmla="*/ 10 w 26"/>
                <a:gd name="T71" fmla="*/ 30 h 30"/>
                <a:gd name="T72" fmla="*/ 8 w 26"/>
                <a:gd name="T73" fmla="*/ 30 h 30"/>
                <a:gd name="T74" fmla="*/ 8 w 26"/>
                <a:gd name="T75" fmla="*/ 30 h 30"/>
                <a:gd name="T76" fmla="*/ 4 w 26"/>
                <a:gd name="T77" fmla="*/ 30 h 30"/>
                <a:gd name="T78" fmla="*/ 4 w 26"/>
                <a:gd name="T79" fmla="*/ 30 h 30"/>
                <a:gd name="T80" fmla="*/ 4 w 26"/>
                <a:gd name="T81" fmla="*/ 30 h 30"/>
                <a:gd name="T82" fmla="*/ 0 w 26"/>
                <a:gd name="T83" fmla="*/ 26 h 30"/>
                <a:gd name="T84" fmla="*/ 0 w 26"/>
                <a:gd name="T85" fmla="*/ 30 h 30"/>
                <a:gd name="T86" fmla="*/ 0 w 26"/>
                <a:gd name="T8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30">
                  <a:moveTo>
                    <a:pt x="0" y="30"/>
                  </a:moveTo>
                  <a:lnTo>
                    <a:pt x="0" y="30"/>
                  </a:lnTo>
                  <a:lnTo>
                    <a:pt x="0" y="30"/>
                  </a:lnTo>
                  <a:lnTo>
                    <a:pt x="0" y="30"/>
                  </a:lnTo>
                  <a:lnTo>
                    <a:pt x="0" y="30"/>
                  </a:lnTo>
                  <a:lnTo>
                    <a:pt x="0" y="30"/>
                  </a:lnTo>
                  <a:lnTo>
                    <a:pt x="0" y="26"/>
                  </a:lnTo>
                  <a:lnTo>
                    <a:pt x="0" y="22"/>
                  </a:lnTo>
                  <a:lnTo>
                    <a:pt x="0" y="22"/>
                  </a:lnTo>
                  <a:lnTo>
                    <a:pt x="0" y="22"/>
                  </a:lnTo>
                  <a:lnTo>
                    <a:pt x="0" y="22"/>
                  </a:lnTo>
                  <a:lnTo>
                    <a:pt x="4" y="22"/>
                  </a:lnTo>
                  <a:lnTo>
                    <a:pt x="4" y="22"/>
                  </a:lnTo>
                  <a:lnTo>
                    <a:pt x="4" y="22"/>
                  </a:lnTo>
                  <a:lnTo>
                    <a:pt x="4" y="18"/>
                  </a:lnTo>
                  <a:lnTo>
                    <a:pt x="4" y="18"/>
                  </a:lnTo>
                  <a:lnTo>
                    <a:pt x="4" y="18"/>
                  </a:lnTo>
                  <a:lnTo>
                    <a:pt x="4" y="18"/>
                  </a:lnTo>
                  <a:lnTo>
                    <a:pt x="4" y="18"/>
                  </a:lnTo>
                  <a:lnTo>
                    <a:pt x="4" y="18"/>
                  </a:lnTo>
                  <a:lnTo>
                    <a:pt x="4" y="14"/>
                  </a:lnTo>
                  <a:lnTo>
                    <a:pt x="4" y="14"/>
                  </a:lnTo>
                  <a:lnTo>
                    <a:pt x="4" y="14"/>
                  </a:lnTo>
                  <a:lnTo>
                    <a:pt x="4" y="14"/>
                  </a:lnTo>
                  <a:lnTo>
                    <a:pt x="4" y="10"/>
                  </a:lnTo>
                  <a:lnTo>
                    <a:pt x="4" y="10"/>
                  </a:lnTo>
                  <a:lnTo>
                    <a:pt x="4" y="6"/>
                  </a:lnTo>
                  <a:lnTo>
                    <a:pt x="8" y="6"/>
                  </a:lnTo>
                  <a:lnTo>
                    <a:pt x="8" y="6"/>
                  </a:lnTo>
                  <a:lnTo>
                    <a:pt x="8" y="6"/>
                  </a:lnTo>
                  <a:lnTo>
                    <a:pt x="8" y="6"/>
                  </a:lnTo>
                  <a:lnTo>
                    <a:pt x="8" y="6"/>
                  </a:lnTo>
                  <a:lnTo>
                    <a:pt x="8" y="6"/>
                  </a:lnTo>
                  <a:lnTo>
                    <a:pt x="8" y="6"/>
                  </a:lnTo>
                  <a:lnTo>
                    <a:pt x="8" y="6"/>
                  </a:lnTo>
                  <a:lnTo>
                    <a:pt x="8" y="6"/>
                  </a:lnTo>
                  <a:lnTo>
                    <a:pt x="10" y="6"/>
                  </a:lnTo>
                  <a:lnTo>
                    <a:pt x="10" y="6"/>
                  </a:lnTo>
                  <a:lnTo>
                    <a:pt x="10" y="6"/>
                  </a:lnTo>
                  <a:lnTo>
                    <a:pt x="10" y="6"/>
                  </a:lnTo>
                  <a:lnTo>
                    <a:pt x="10" y="6"/>
                  </a:lnTo>
                  <a:lnTo>
                    <a:pt x="10" y="6"/>
                  </a:lnTo>
                  <a:lnTo>
                    <a:pt x="10" y="6"/>
                  </a:lnTo>
                  <a:lnTo>
                    <a:pt x="10" y="6"/>
                  </a:lnTo>
                  <a:lnTo>
                    <a:pt x="14" y="6"/>
                  </a:lnTo>
                  <a:lnTo>
                    <a:pt x="14" y="6"/>
                  </a:lnTo>
                  <a:lnTo>
                    <a:pt x="14" y="6"/>
                  </a:lnTo>
                  <a:lnTo>
                    <a:pt x="14" y="6"/>
                  </a:lnTo>
                  <a:lnTo>
                    <a:pt x="14" y="6"/>
                  </a:lnTo>
                  <a:lnTo>
                    <a:pt x="18" y="6"/>
                  </a:lnTo>
                  <a:lnTo>
                    <a:pt x="18" y="4"/>
                  </a:lnTo>
                  <a:lnTo>
                    <a:pt x="18" y="4"/>
                  </a:lnTo>
                  <a:lnTo>
                    <a:pt x="18" y="4"/>
                  </a:lnTo>
                  <a:lnTo>
                    <a:pt x="18" y="4"/>
                  </a:lnTo>
                  <a:lnTo>
                    <a:pt x="18" y="0"/>
                  </a:lnTo>
                  <a:lnTo>
                    <a:pt x="22" y="0"/>
                  </a:lnTo>
                  <a:lnTo>
                    <a:pt x="22" y="0"/>
                  </a:lnTo>
                  <a:lnTo>
                    <a:pt x="22" y="0"/>
                  </a:lnTo>
                  <a:lnTo>
                    <a:pt x="22" y="0"/>
                  </a:lnTo>
                  <a:lnTo>
                    <a:pt x="22" y="4"/>
                  </a:lnTo>
                  <a:lnTo>
                    <a:pt x="22" y="4"/>
                  </a:lnTo>
                  <a:lnTo>
                    <a:pt x="22" y="6"/>
                  </a:lnTo>
                  <a:lnTo>
                    <a:pt x="22" y="6"/>
                  </a:lnTo>
                  <a:lnTo>
                    <a:pt x="22" y="6"/>
                  </a:lnTo>
                  <a:lnTo>
                    <a:pt x="26" y="6"/>
                  </a:lnTo>
                  <a:lnTo>
                    <a:pt x="26" y="6"/>
                  </a:lnTo>
                  <a:lnTo>
                    <a:pt x="26" y="10"/>
                  </a:lnTo>
                  <a:lnTo>
                    <a:pt x="26" y="10"/>
                  </a:lnTo>
                  <a:lnTo>
                    <a:pt x="26" y="10"/>
                  </a:lnTo>
                  <a:lnTo>
                    <a:pt x="26" y="14"/>
                  </a:lnTo>
                  <a:lnTo>
                    <a:pt x="26" y="14"/>
                  </a:lnTo>
                  <a:lnTo>
                    <a:pt x="26" y="14"/>
                  </a:lnTo>
                  <a:lnTo>
                    <a:pt x="26" y="18"/>
                  </a:lnTo>
                  <a:lnTo>
                    <a:pt x="26" y="18"/>
                  </a:lnTo>
                  <a:lnTo>
                    <a:pt x="26" y="18"/>
                  </a:lnTo>
                  <a:lnTo>
                    <a:pt x="26" y="22"/>
                  </a:lnTo>
                  <a:lnTo>
                    <a:pt x="26" y="22"/>
                  </a:lnTo>
                  <a:lnTo>
                    <a:pt x="26" y="22"/>
                  </a:lnTo>
                  <a:lnTo>
                    <a:pt x="26" y="22"/>
                  </a:lnTo>
                  <a:lnTo>
                    <a:pt x="26" y="22"/>
                  </a:lnTo>
                  <a:lnTo>
                    <a:pt x="26" y="22"/>
                  </a:lnTo>
                  <a:lnTo>
                    <a:pt x="26" y="22"/>
                  </a:lnTo>
                  <a:lnTo>
                    <a:pt x="26" y="22"/>
                  </a:lnTo>
                  <a:lnTo>
                    <a:pt x="26" y="22"/>
                  </a:lnTo>
                  <a:lnTo>
                    <a:pt x="22" y="22"/>
                  </a:lnTo>
                  <a:lnTo>
                    <a:pt x="22" y="22"/>
                  </a:lnTo>
                  <a:lnTo>
                    <a:pt x="22" y="22"/>
                  </a:lnTo>
                  <a:lnTo>
                    <a:pt x="22" y="22"/>
                  </a:lnTo>
                  <a:lnTo>
                    <a:pt x="22" y="22"/>
                  </a:lnTo>
                  <a:lnTo>
                    <a:pt x="22" y="22"/>
                  </a:lnTo>
                  <a:lnTo>
                    <a:pt x="18" y="22"/>
                  </a:lnTo>
                  <a:lnTo>
                    <a:pt x="18" y="22"/>
                  </a:lnTo>
                  <a:lnTo>
                    <a:pt x="18" y="22"/>
                  </a:lnTo>
                  <a:lnTo>
                    <a:pt x="14" y="26"/>
                  </a:lnTo>
                  <a:lnTo>
                    <a:pt x="14" y="26"/>
                  </a:lnTo>
                  <a:lnTo>
                    <a:pt x="14" y="26"/>
                  </a:lnTo>
                  <a:lnTo>
                    <a:pt x="14" y="22"/>
                  </a:lnTo>
                  <a:lnTo>
                    <a:pt x="14" y="22"/>
                  </a:lnTo>
                  <a:lnTo>
                    <a:pt x="14" y="22"/>
                  </a:lnTo>
                  <a:lnTo>
                    <a:pt x="14" y="22"/>
                  </a:lnTo>
                  <a:lnTo>
                    <a:pt x="14" y="26"/>
                  </a:lnTo>
                  <a:lnTo>
                    <a:pt x="14" y="30"/>
                  </a:lnTo>
                  <a:lnTo>
                    <a:pt x="14" y="30"/>
                  </a:lnTo>
                  <a:lnTo>
                    <a:pt x="10" y="30"/>
                  </a:lnTo>
                  <a:lnTo>
                    <a:pt x="10" y="30"/>
                  </a:lnTo>
                  <a:lnTo>
                    <a:pt x="10" y="30"/>
                  </a:lnTo>
                  <a:lnTo>
                    <a:pt x="10" y="30"/>
                  </a:lnTo>
                  <a:lnTo>
                    <a:pt x="10" y="30"/>
                  </a:lnTo>
                  <a:lnTo>
                    <a:pt x="10" y="30"/>
                  </a:lnTo>
                  <a:lnTo>
                    <a:pt x="8" y="30"/>
                  </a:lnTo>
                  <a:lnTo>
                    <a:pt x="8" y="30"/>
                  </a:lnTo>
                  <a:lnTo>
                    <a:pt x="8" y="30"/>
                  </a:lnTo>
                  <a:lnTo>
                    <a:pt x="8" y="30"/>
                  </a:lnTo>
                  <a:lnTo>
                    <a:pt x="8" y="30"/>
                  </a:lnTo>
                  <a:lnTo>
                    <a:pt x="8" y="30"/>
                  </a:lnTo>
                  <a:lnTo>
                    <a:pt x="8" y="30"/>
                  </a:lnTo>
                  <a:lnTo>
                    <a:pt x="4" y="30"/>
                  </a:lnTo>
                  <a:lnTo>
                    <a:pt x="4" y="30"/>
                  </a:lnTo>
                  <a:lnTo>
                    <a:pt x="4" y="30"/>
                  </a:lnTo>
                  <a:lnTo>
                    <a:pt x="4" y="30"/>
                  </a:lnTo>
                  <a:lnTo>
                    <a:pt x="4" y="30"/>
                  </a:lnTo>
                  <a:lnTo>
                    <a:pt x="4" y="30"/>
                  </a:lnTo>
                  <a:lnTo>
                    <a:pt x="4" y="30"/>
                  </a:lnTo>
                  <a:lnTo>
                    <a:pt x="4" y="30"/>
                  </a:lnTo>
                  <a:lnTo>
                    <a:pt x="4" y="26"/>
                  </a:lnTo>
                  <a:lnTo>
                    <a:pt x="0" y="26"/>
                  </a:lnTo>
                  <a:lnTo>
                    <a:pt x="0" y="26"/>
                  </a:lnTo>
                  <a:lnTo>
                    <a:pt x="0" y="30"/>
                  </a:lnTo>
                  <a:lnTo>
                    <a:pt x="0" y="30"/>
                  </a:lnTo>
                  <a:lnTo>
                    <a:pt x="0" y="30"/>
                  </a:lnTo>
                  <a:lnTo>
                    <a:pt x="0" y="30"/>
                  </a:lnTo>
                  <a:lnTo>
                    <a:pt x="0" y="30"/>
                  </a:lnTo>
                  <a:lnTo>
                    <a:pt x="0" y="3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71" name="Freeform 164"/>
            <p:cNvSpPr>
              <a:spLocks noEditPoints="1"/>
            </p:cNvSpPr>
            <p:nvPr/>
          </p:nvSpPr>
          <p:spPr bwMode="auto">
            <a:xfrm>
              <a:off x="7098059" y="4142137"/>
              <a:ext cx="7536" cy="16999"/>
            </a:xfrm>
            <a:custGeom>
              <a:avLst/>
              <a:gdLst>
                <a:gd name="T0" fmla="*/ 12 w 12"/>
                <a:gd name="T1" fmla="*/ 0 h 26"/>
                <a:gd name="T2" fmla="*/ 12 w 12"/>
                <a:gd name="T3" fmla="*/ 0 h 26"/>
                <a:gd name="T4" fmla="*/ 12 w 12"/>
                <a:gd name="T5" fmla="*/ 0 h 26"/>
                <a:gd name="T6" fmla="*/ 12 w 12"/>
                <a:gd name="T7" fmla="*/ 0 h 26"/>
                <a:gd name="T8" fmla="*/ 12 w 12"/>
                <a:gd name="T9" fmla="*/ 0 h 26"/>
                <a:gd name="T10" fmla="*/ 12 w 12"/>
                <a:gd name="T11" fmla="*/ 0 h 26"/>
                <a:gd name="T12" fmla="*/ 12 w 12"/>
                <a:gd name="T13" fmla="*/ 0 h 26"/>
                <a:gd name="T14" fmla="*/ 12 w 12"/>
                <a:gd name="T15" fmla="*/ 0 h 26"/>
                <a:gd name="T16" fmla="*/ 12 w 12"/>
                <a:gd name="T17" fmla="*/ 0 h 26"/>
                <a:gd name="T18" fmla="*/ 12 w 12"/>
                <a:gd name="T19" fmla="*/ 0 h 26"/>
                <a:gd name="T20" fmla="*/ 12 w 12"/>
                <a:gd name="T21" fmla="*/ 0 h 26"/>
                <a:gd name="T22" fmla="*/ 12 w 12"/>
                <a:gd name="T23" fmla="*/ 0 h 26"/>
                <a:gd name="T24" fmla="*/ 12 w 12"/>
                <a:gd name="T25" fmla="*/ 0 h 26"/>
                <a:gd name="T26" fmla="*/ 0 w 12"/>
                <a:gd name="T27" fmla="*/ 26 h 26"/>
                <a:gd name="T28" fmla="*/ 0 w 12"/>
                <a:gd name="T29" fmla="*/ 26 h 26"/>
                <a:gd name="T30" fmla="*/ 0 w 12"/>
                <a:gd name="T31" fmla="*/ 26 h 26"/>
                <a:gd name="T32" fmla="*/ 0 w 12"/>
                <a:gd name="T33" fmla="*/ 26 h 26"/>
                <a:gd name="T34" fmla="*/ 0 w 12"/>
                <a:gd name="T35" fmla="*/ 22 h 26"/>
                <a:gd name="T36" fmla="*/ 0 w 12"/>
                <a:gd name="T37" fmla="*/ 22 h 26"/>
                <a:gd name="T38" fmla="*/ 0 w 12"/>
                <a:gd name="T39" fmla="*/ 22 h 26"/>
                <a:gd name="T40" fmla="*/ 0 w 12"/>
                <a:gd name="T41" fmla="*/ 22 h 26"/>
                <a:gd name="T42" fmla="*/ 0 w 12"/>
                <a:gd name="T43" fmla="*/ 22 h 26"/>
                <a:gd name="T44" fmla="*/ 0 w 12"/>
                <a:gd name="T45" fmla="*/ 22 h 26"/>
                <a:gd name="T46" fmla="*/ 0 w 12"/>
                <a:gd name="T47" fmla="*/ 22 h 26"/>
                <a:gd name="T48" fmla="*/ 4 w 12"/>
                <a:gd name="T49" fmla="*/ 22 h 26"/>
                <a:gd name="T50" fmla="*/ 4 w 12"/>
                <a:gd name="T51" fmla="*/ 22 h 26"/>
                <a:gd name="T52" fmla="*/ 4 w 12"/>
                <a:gd name="T53" fmla="*/ 22 h 26"/>
                <a:gd name="T54" fmla="*/ 4 w 12"/>
                <a:gd name="T55" fmla="*/ 22 h 26"/>
                <a:gd name="T56" fmla="*/ 4 w 12"/>
                <a:gd name="T57" fmla="*/ 26 h 26"/>
                <a:gd name="T58" fmla="*/ 0 w 12"/>
                <a:gd name="T59" fmla="*/ 26 h 26"/>
                <a:gd name="T60" fmla="*/ 0 w 12"/>
                <a:gd name="T61" fmla="*/ 26 h 26"/>
                <a:gd name="T62" fmla="*/ 0 w 12"/>
                <a:gd name="T63" fmla="*/ 26 h 26"/>
                <a:gd name="T64" fmla="*/ 0 w 12"/>
                <a:gd name="T65" fmla="*/ 26 h 26"/>
                <a:gd name="T66" fmla="*/ 0 w 12"/>
                <a:gd name="T6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26">
                  <a:moveTo>
                    <a:pt x="12" y="0"/>
                  </a:moveTo>
                  <a:lnTo>
                    <a:pt x="12" y="0"/>
                  </a:lnTo>
                  <a:lnTo>
                    <a:pt x="12" y="0"/>
                  </a:lnTo>
                  <a:lnTo>
                    <a:pt x="12" y="0"/>
                  </a:lnTo>
                  <a:lnTo>
                    <a:pt x="12" y="0"/>
                  </a:lnTo>
                  <a:lnTo>
                    <a:pt x="12" y="0"/>
                  </a:lnTo>
                  <a:lnTo>
                    <a:pt x="12" y="0"/>
                  </a:lnTo>
                  <a:lnTo>
                    <a:pt x="12" y="0"/>
                  </a:lnTo>
                  <a:lnTo>
                    <a:pt x="12" y="0"/>
                  </a:lnTo>
                  <a:lnTo>
                    <a:pt x="12" y="0"/>
                  </a:lnTo>
                  <a:lnTo>
                    <a:pt x="12" y="0"/>
                  </a:lnTo>
                  <a:lnTo>
                    <a:pt x="12" y="0"/>
                  </a:lnTo>
                  <a:lnTo>
                    <a:pt x="12" y="0"/>
                  </a:lnTo>
                  <a:close/>
                  <a:moveTo>
                    <a:pt x="0" y="26"/>
                  </a:moveTo>
                  <a:lnTo>
                    <a:pt x="0" y="26"/>
                  </a:lnTo>
                  <a:lnTo>
                    <a:pt x="0" y="26"/>
                  </a:lnTo>
                  <a:lnTo>
                    <a:pt x="0" y="26"/>
                  </a:lnTo>
                  <a:lnTo>
                    <a:pt x="0" y="22"/>
                  </a:lnTo>
                  <a:lnTo>
                    <a:pt x="0" y="22"/>
                  </a:lnTo>
                  <a:lnTo>
                    <a:pt x="0" y="22"/>
                  </a:lnTo>
                  <a:lnTo>
                    <a:pt x="0" y="22"/>
                  </a:lnTo>
                  <a:lnTo>
                    <a:pt x="0" y="22"/>
                  </a:lnTo>
                  <a:lnTo>
                    <a:pt x="0" y="22"/>
                  </a:lnTo>
                  <a:lnTo>
                    <a:pt x="0" y="22"/>
                  </a:lnTo>
                  <a:lnTo>
                    <a:pt x="4" y="22"/>
                  </a:lnTo>
                  <a:lnTo>
                    <a:pt x="4" y="22"/>
                  </a:lnTo>
                  <a:lnTo>
                    <a:pt x="4" y="22"/>
                  </a:lnTo>
                  <a:lnTo>
                    <a:pt x="4" y="22"/>
                  </a:lnTo>
                  <a:lnTo>
                    <a:pt x="4" y="26"/>
                  </a:lnTo>
                  <a:lnTo>
                    <a:pt x="0" y="26"/>
                  </a:lnTo>
                  <a:lnTo>
                    <a:pt x="0" y="26"/>
                  </a:lnTo>
                  <a:lnTo>
                    <a:pt x="0" y="26"/>
                  </a:lnTo>
                  <a:lnTo>
                    <a:pt x="0" y="26"/>
                  </a:lnTo>
                  <a:lnTo>
                    <a:pt x="0" y="2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72" name="Freeform 165"/>
            <p:cNvSpPr>
              <a:spLocks/>
            </p:cNvSpPr>
            <p:nvPr/>
          </p:nvSpPr>
          <p:spPr bwMode="auto">
            <a:xfrm>
              <a:off x="6883289" y="3972151"/>
              <a:ext cx="56518" cy="49688"/>
            </a:xfrm>
            <a:custGeom>
              <a:avLst/>
              <a:gdLst>
                <a:gd name="T0" fmla="*/ 82 w 90"/>
                <a:gd name="T1" fmla="*/ 76 h 76"/>
                <a:gd name="T2" fmla="*/ 78 w 90"/>
                <a:gd name="T3" fmla="*/ 76 h 76"/>
                <a:gd name="T4" fmla="*/ 70 w 90"/>
                <a:gd name="T5" fmla="*/ 76 h 76"/>
                <a:gd name="T6" fmla="*/ 64 w 90"/>
                <a:gd name="T7" fmla="*/ 74 h 76"/>
                <a:gd name="T8" fmla="*/ 60 w 90"/>
                <a:gd name="T9" fmla="*/ 70 h 76"/>
                <a:gd name="T10" fmla="*/ 44 w 90"/>
                <a:gd name="T11" fmla="*/ 70 h 76"/>
                <a:gd name="T12" fmla="*/ 30 w 90"/>
                <a:gd name="T13" fmla="*/ 74 h 76"/>
                <a:gd name="T14" fmla="*/ 22 w 90"/>
                <a:gd name="T15" fmla="*/ 74 h 76"/>
                <a:gd name="T16" fmla="*/ 14 w 90"/>
                <a:gd name="T17" fmla="*/ 76 h 76"/>
                <a:gd name="T18" fmla="*/ 14 w 90"/>
                <a:gd name="T19" fmla="*/ 70 h 76"/>
                <a:gd name="T20" fmla="*/ 22 w 90"/>
                <a:gd name="T21" fmla="*/ 74 h 76"/>
                <a:gd name="T22" fmla="*/ 26 w 90"/>
                <a:gd name="T23" fmla="*/ 74 h 76"/>
                <a:gd name="T24" fmla="*/ 30 w 90"/>
                <a:gd name="T25" fmla="*/ 70 h 76"/>
                <a:gd name="T26" fmla="*/ 30 w 90"/>
                <a:gd name="T27" fmla="*/ 70 h 76"/>
                <a:gd name="T28" fmla="*/ 26 w 90"/>
                <a:gd name="T29" fmla="*/ 70 h 76"/>
                <a:gd name="T30" fmla="*/ 22 w 90"/>
                <a:gd name="T31" fmla="*/ 70 h 76"/>
                <a:gd name="T32" fmla="*/ 14 w 90"/>
                <a:gd name="T33" fmla="*/ 70 h 76"/>
                <a:gd name="T34" fmla="*/ 12 w 90"/>
                <a:gd name="T35" fmla="*/ 74 h 76"/>
                <a:gd name="T36" fmla="*/ 12 w 90"/>
                <a:gd name="T37" fmla="*/ 66 h 76"/>
                <a:gd name="T38" fmla="*/ 26 w 90"/>
                <a:gd name="T39" fmla="*/ 62 h 76"/>
                <a:gd name="T40" fmla="*/ 34 w 90"/>
                <a:gd name="T41" fmla="*/ 58 h 76"/>
                <a:gd name="T42" fmla="*/ 38 w 90"/>
                <a:gd name="T43" fmla="*/ 54 h 76"/>
                <a:gd name="T44" fmla="*/ 42 w 90"/>
                <a:gd name="T45" fmla="*/ 58 h 76"/>
                <a:gd name="T46" fmla="*/ 44 w 90"/>
                <a:gd name="T47" fmla="*/ 62 h 76"/>
                <a:gd name="T48" fmla="*/ 52 w 90"/>
                <a:gd name="T49" fmla="*/ 58 h 76"/>
                <a:gd name="T50" fmla="*/ 56 w 90"/>
                <a:gd name="T51" fmla="*/ 54 h 76"/>
                <a:gd name="T52" fmla="*/ 48 w 90"/>
                <a:gd name="T53" fmla="*/ 54 h 76"/>
                <a:gd name="T54" fmla="*/ 44 w 90"/>
                <a:gd name="T55" fmla="*/ 54 h 76"/>
                <a:gd name="T56" fmla="*/ 42 w 90"/>
                <a:gd name="T57" fmla="*/ 54 h 76"/>
                <a:gd name="T58" fmla="*/ 42 w 90"/>
                <a:gd name="T59" fmla="*/ 52 h 76"/>
                <a:gd name="T60" fmla="*/ 34 w 90"/>
                <a:gd name="T61" fmla="*/ 52 h 76"/>
                <a:gd name="T62" fmla="*/ 30 w 90"/>
                <a:gd name="T63" fmla="*/ 54 h 76"/>
                <a:gd name="T64" fmla="*/ 14 w 90"/>
                <a:gd name="T65" fmla="*/ 54 h 76"/>
                <a:gd name="T66" fmla="*/ 14 w 90"/>
                <a:gd name="T67" fmla="*/ 52 h 76"/>
                <a:gd name="T68" fmla="*/ 14 w 90"/>
                <a:gd name="T69" fmla="*/ 48 h 76"/>
                <a:gd name="T70" fmla="*/ 18 w 90"/>
                <a:gd name="T71" fmla="*/ 44 h 76"/>
                <a:gd name="T72" fmla="*/ 14 w 90"/>
                <a:gd name="T73" fmla="*/ 48 h 76"/>
                <a:gd name="T74" fmla="*/ 12 w 90"/>
                <a:gd name="T75" fmla="*/ 40 h 76"/>
                <a:gd name="T76" fmla="*/ 8 w 90"/>
                <a:gd name="T77" fmla="*/ 36 h 76"/>
                <a:gd name="T78" fmla="*/ 4 w 90"/>
                <a:gd name="T79" fmla="*/ 36 h 76"/>
                <a:gd name="T80" fmla="*/ 8 w 90"/>
                <a:gd name="T81" fmla="*/ 32 h 76"/>
                <a:gd name="T82" fmla="*/ 12 w 90"/>
                <a:gd name="T83" fmla="*/ 22 h 76"/>
                <a:gd name="T84" fmla="*/ 14 w 90"/>
                <a:gd name="T85" fmla="*/ 18 h 76"/>
                <a:gd name="T86" fmla="*/ 18 w 90"/>
                <a:gd name="T87" fmla="*/ 6 h 76"/>
                <a:gd name="T88" fmla="*/ 22 w 90"/>
                <a:gd name="T89" fmla="*/ 2 h 76"/>
                <a:gd name="T90" fmla="*/ 30 w 90"/>
                <a:gd name="T91" fmla="*/ 2 h 76"/>
                <a:gd name="T92" fmla="*/ 38 w 90"/>
                <a:gd name="T93" fmla="*/ 2 h 76"/>
                <a:gd name="T94" fmla="*/ 44 w 90"/>
                <a:gd name="T95" fmla="*/ 2 h 76"/>
                <a:gd name="T96" fmla="*/ 56 w 90"/>
                <a:gd name="T97" fmla="*/ 10 h 76"/>
                <a:gd name="T98" fmla="*/ 60 w 90"/>
                <a:gd name="T99" fmla="*/ 14 h 76"/>
                <a:gd name="T100" fmla="*/ 68 w 90"/>
                <a:gd name="T101" fmla="*/ 26 h 76"/>
                <a:gd name="T102" fmla="*/ 68 w 90"/>
                <a:gd name="T103" fmla="*/ 28 h 76"/>
                <a:gd name="T104" fmla="*/ 74 w 90"/>
                <a:gd name="T105" fmla="*/ 32 h 76"/>
                <a:gd name="T106" fmla="*/ 78 w 90"/>
                <a:gd name="T107" fmla="*/ 40 h 76"/>
                <a:gd name="T108" fmla="*/ 82 w 90"/>
                <a:gd name="T109" fmla="*/ 48 h 76"/>
                <a:gd name="T110" fmla="*/ 78 w 90"/>
                <a:gd name="T111" fmla="*/ 52 h 76"/>
                <a:gd name="T112" fmla="*/ 82 w 90"/>
                <a:gd name="T113" fmla="*/ 58 h 76"/>
                <a:gd name="T114" fmla="*/ 86 w 90"/>
                <a:gd name="T115" fmla="*/ 62 h 76"/>
                <a:gd name="T116" fmla="*/ 90 w 90"/>
                <a:gd name="T117" fmla="*/ 7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76">
                  <a:moveTo>
                    <a:pt x="90" y="74"/>
                  </a:moveTo>
                  <a:lnTo>
                    <a:pt x="90" y="74"/>
                  </a:lnTo>
                  <a:lnTo>
                    <a:pt x="86" y="74"/>
                  </a:lnTo>
                  <a:lnTo>
                    <a:pt x="86" y="74"/>
                  </a:lnTo>
                  <a:lnTo>
                    <a:pt x="86" y="74"/>
                  </a:lnTo>
                  <a:lnTo>
                    <a:pt x="86" y="74"/>
                  </a:lnTo>
                  <a:lnTo>
                    <a:pt x="86" y="76"/>
                  </a:lnTo>
                  <a:lnTo>
                    <a:pt x="82" y="76"/>
                  </a:lnTo>
                  <a:lnTo>
                    <a:pt x="82" y="76"/>
                  </a:lnTo>
                  <a:lnTo>
                    <a:pt x="82" y="76"/>
                  </a:lnTo>
                  <a:lnTo>
                    <a:pt x="82" y="74"/>
                  </a:lnTo>
                  <a:lnTo>
                    <a:pt x="78" y="74"/>
                  </a:lnTo>
                  <a:lnTo>
                    <a:pt x="78" y="76"/>
                  </a:lnTo>
                  <a:lnTo>
                    <a:pt x="78" y="76"/>
                  </a:lnTo>
                  <a:lnTo>
                    <a:pt x="78" y="76"/>
                  </a:lnTo>
                  <a:lnTo>
                    <a:pt x="78" y="76"/>
                  </a:lnTo>
                  <a:lnTo>
                    <a:pt x="74" y="76"/>
                  </a:lnTo>
                  <a:lnTo>
                    <a:pt x="74" y="76"/>
                  </a:lnTo>
                  <a:lnTo>
                    <a:pt x="74" y="76"/>
                  </a:lnTo>
                  <a:lnTo>
                    <a:pt x="74" y="76"/>
                  </a:lnTo>
                  <a:lnTo>
                    <a:pt x="74" y="74"/>
                  </a:lnTo>
                  <a:lnTo>
                    <a:pt x="74" y="74"/>
                  </a:lnTo>
                  <a:lnTo>
                    <a:pt x="70" y="76"/>
                  </a:lnTo>
                  <a:lnTo>
                    <a:pt x="70" y="76"/>
                  </a:lnTo>
                  <a:lnTo>
                    <a:pt x="70" y="74"/>
                  </a:lnTo>
                  <a:lnTo>
                    <a:pt x="68" y="74"/>
                  </a:lnTo>
                  <a:lnTo>
                    <a:pt x="68" y="74"/>
                  </a:lnTo>
                  <a:lnTo>
                    <a:pt x="68" y="74"/>
                  </a:lnTo>
                  <a:lnTo>
                    <a:pt x="68" y="74"/>
                  </a:lnTo>
                  <a:lnTo>
                    <a:pt x="68" y="74"/>
                  </a:lnTo>
                  <a:lnTo>
                    <a:pt x="68" y="74"/>
                  </a:lnTo>
                  <a:lnTo>
                    <a:pt x="64" y="74"/>
                  </a:lnTo>
                  <a:lnTo>
                    <a:pt x="64" y="74"/>
                  </a:lnTo>
                  <a:lnTo>
                    <a:pt x="64" y="74"/>
                  </a:lnTo>
                  <a:lnTo>
                    <a:pt x="64" y="74"/>
                  </a:lnTo>
                  <a:lnTo>
                    <a:pt x="68" y="74"/>
                  </a:lnTo>
                  <a:lnTo>
                    <a:pt x="64" y="70"/>
                  </a:lnTo>
                  <a:lnTo>
                    <a:pt x="64" y="70"/>
                  </a:lnTo>
                  <a:lnTo>
                    <a:pt x="60" y="70"/>
                  </a:lnTo>
                  <a:lnTo>
                    <a:pt x="60" y="70"/>
                  </a:lnTo>
                  <a:lnTo>
                    <a:pt x="56" y="70"/>
                  </a:lnTo>
                  <a:lnTo>
                    <a:pt x="56" y="70"/>
                  </a:lnTo>
                  <a:lnTo>
                    <a:pt x="52" y="70"/>
                  </a:lnTo>
                  <a:lnTo>
                    <a:pt x="52" y="70"/>
                  </a:lnTo>
                  <a:lnTo>
                    <a:pt x="48" y="70"/>
                  </a:lnTo>
                  <a:lnTo>
                    <a:pt x="48" y="70"/>
                  </a:lnTo>
                  <a:lnTo>
                    <a:pt x="44" y="70"/>
                  </a:lnTo>
                  <a:lnTo>
                    <a:pt x="44" y="70"/>
                  </a:lnTo>
                  <a:lnTo>
                    <a:pt x="42" y="70"/>
                  </a:lnTo>
                  <a:lnTo>
                    <a:pt x="42" y="70"/>
                  </a:lnTo>
                  <a:lnTo>
                    <a:pt x="38" y="70"/>
                  </a:lnTo>
                  <a:lnTo>
                    <a:pt x="34" y="70"/>
                  </a:lnTo>
                  <a:lnTo>
                    <a:pt x="34" y="70"/>
                  </a:lnTo>
                  <a:lnTo>
                    <a:pt x="34" y="74"/>
                  </a:lnTo>
                  <a:lnTo>
                    <a:pt x="30" y="74"/>
                  </a:lnTo>
                  <a:lnTo>
                    <a:pt x="30" y="74"/>
                  </a:lnTo>
                  <a:lnTo>
                    <a:pt x="26" y="74"/>
                  </a:lnTo>
                  <a:lnTo>
                    <a:pt x="26" y="74"/>
                  </a:lnTo>
                  <a:lnTo>
                    <a:pt x="26" y="74"/>
                  </a:lnTo>
                  <a:lnTo>
                    <a:pt x="22" y="74"/>
                  </a:lnTo>
                  <a:lnTo>
                    <a:pt x="22" y="74"/>
                  </a:lnTo>
                  <a:lnTo>
                    <a:pt x="22" y="74"/>
                  </a:lnTo>
                  <a:lnTo>
                    <a:pt x="22" y="74"/>
                  </a:lnTo>
                  <a:lnTo>
                    <a:pt x="22" y="74"/>
                  </a:lnTo>
                  <a:lnTo>
                    <a:pt x="22" y="74"/>
                  </a:lnTo>
                  <a:lnTo>
                    <a:pt x="18" y="74"/>
                  </a:lnTo>
                  <a:lnTo>
                    <a:pt x="18" y="76"/>
                  </a:lnTo>
                  <a:lnTo>
                    <a:pt x="14" y="76"/>
                  </a:lnTo>
                  <a:lnTo>
                    <a:pt x="14" y="76"/>
                  </a:lnTo>
                  <a:lnTo>
                    <a:pt x="14" y="76"/>
                  </a:lnTo>
                  <a:lnTo>
                    <a:pt x="14" y="76"/>
                  </a:lnTo>
                  <a:lnTo>
                    <a:pt x="14" y="76"/>
                  </a:lnTo>
                  <a:lnTo>
                    <a:pt x="14" y="76"/>
                  </a:lnTo>
                  <a:lnTo>
                    <a:pt x="14" y="76"/>
                  </a:lnTo>
                  <a:lnTo>
                    <a:pt x="12" y="74"/>
                  </a:lnTo>
                  <a:lnTo>
                    <a:pt x="12" y="74"/>
                  </a:lnTo>
                  <a:lnTo>
                    <a:pt x="12" y="74"/>
                  </a:lnTo>
                  <a:lnTo>
                    <a:pt x="12" y="74"/>
                  </a:lnTo>
                  <a:lnTo>
                    <a:pt x="12" y="74"/>
                  </a:lnTo>
                  <a:lnTo>
                    <a:pt x="14" y="70"/>
                  </a:lnTo>
                  <a:lnTo>
                    <a:pt x="14" y="74"/>
                  </a:lnTo>
                  <a:lnTo>
                    <a:pt x="18" y="74"/>
                  </a:lnTo>
                  <a:lnTo>
                    <a:pt x="18" y="74"/>
                  </a:lnTo>
                  <a:lnTo>
                    <a:pt x="18" y="74"/>
                  </a:lnTo>
                  <a:lnTo>
                    <a:pt x="18" y="74"/>
                  </a:lnTo>
                  <a:lnTo>
                    <a:pt x="18" y="74"/>
                  </a:lnTo>
                  <a:lnTo>
                    <a:pt x="22" y="74"/>
                  </a:lnTo>
                  <a:lnTo>
                    <a:pt x="22" y="74"/>
                  </a:lnTo>
                  <a:lnTo>
                    <a:pt x="22" y="70"/>
                  </a:lnTo>
                  <a:lnTo>
                    <a:pt x="22" y="70"/>
                  </a:lnTo>
                  <a:lnTo>
                    <a:pt x="22" y="74"/>
                  </a:lnTo>
                  <a:lnTo>
                    <a:pt x="26" y="74"/>
                  </a:lnTo>
                  <a:lnTo>
                    <a:pt x="26" y="74"/>
                  </a:lnTo>
                  <a:lnTo>
                    <a:pt x="26" y="74"/>
                  </a:lnTo>
                  <a:lnTo>
                    <a:pt x="26" y="74"/>
                  </a:lnTo>
                  <a:lnTo>
                    <a:pt x="26" y="74"/>
                  </a:lnTo>
                  <a:lnTo>
                    <a:pt x="26" y="74"/>
                  </a:lnTo>
                  <a:lnTo>
                    <a:pt x="30" y="74"/>
                  </a:lnTo>
                  <a:lnTo>
                    <a:pt x="30" y="74"/>
                  </a:lnTo>
                  <a:lnTo>
                    <a:pt x="30" y="74"/>
                  </a:lnTo>
                  <a:lnTo>
                    <a:pt x="30" y="70"/>
                  </a:lnTo>
                  <a:lnTo>
                    <a:pt x="30" y="70"/>
                  </a:lnTo>
                  <a:lnTo>
                    <a:pt x="30" y="70"/>
                  </a:lnTo>
                  <a:lnTo>
                    <a:pt x="30" y="70"/>
                  </a:lnTo>
                  <a:lnTo>
                    <a:pt x="30" y="70"/>
                  </a:lnTo>
                  <a:lnTo>
                    <a:pt x="34" y="70"/>
                  </a:lnTo>
                  <a:lnTo>
                    <a:pt x="34" y="66"/>
                  </a:lnTo>
                  <a:lnTo>
                    <a:pt x="30" y="66"/>
                  </a:lnTo>
                  <a:lnTo>
                    <a:pt x="30" y="70"/>
                  </a:lnTo>
                  <a:lnTo>
                    <a:pt x="30" y="70"/>
                  </a:lnTo>
                  <a:lnTo>
                    <a:pt x="30" y="70"/>
                  </a:lnTo>
                  <a:lnTo>
                    <a:pt x="30" y="70"/>
                  </a:lnTo>
                  <a:lnTo>
                    <a:pt x="30" y="70"/>
                  </a:lnTo>
                  <a:lnTo>
                    <a:pt x="30" y="70"/>
                  </a:lnTo>
                  <a:lnTo>
                    <a:pt x="30" y="74"/>
                  </a:lnTo>
                  <a:lnTo>
                    <a:pt x="30" y="74"/>
                  </a:lnTo>
                  <a:lnTo>
                    <a:pt x="30" y="74"/>
                  </a:lnTo>
                  <a:lnTo>
                    <a:pt x="30" y="74"/>
                  </a:lnTo>
                  <a:lnTo>
                    <a:pt x="26" y="70"/>
                  </a:lnTo>
                  <a:lnTo>
                    <a:pt x="26" y="70"/>
                  </a:lnTo>
                  <a:lnTo>
                    <a:pt x="26" y="74"/>
                  </a:lnTo>
                  <a:lnTo>
                    <a:pt x="26" y="74"/>
                  </a:lnTo>
                  <a:lnTo>
                    <a:pt x="22" y="70"/>
                  </a:lnTo>
                  <a:lnTo>
                    <a:pt x="22" y="70"/>
                  </a:lnTo>
                  <a:lnTo>
                    <a:pt x="22" y="70"/>
                  </a:lnTo>
                  <a:lnTo>
                    <a:pt x="22" y="70"/>
                  </a:lnTo>
                  <a:lnTo>
                    <a:pt x="22" y="70"/>
                  </a:lnTo>
                  <a:lnTo>
                    <a:pt x="22" y="70"/>
                  </a:lnTo>
                  <a:lnTo>
                    <a:pt x="22" y="74"/>
                  </a:lnTo>
                  <a:lnTo>
                    <a:pt x="22" y="70"/>
                  </a:lnTo>
                  <a:lnTo>
                    <a:pt x="18" y="74"/>
                  </a:lnTo>
                  <a:lnTo>
                    <a:pt x="18" y="74"/>
                  </a:lnTo>
                  <a:lnTo>
                    <a:pt x="18" y="74"/>
                  </a:lnTo>
                  <a:lnTo>
                    <a:pt x="18" y="74"/>
                  </a:lnTo>
                  <a:lnTo>
                    <a:pt x="18" y="74"/>
                  </a:lnTo>
                  <a:lnTo>
                    <a:pt x="14" y="70"/>
                  </a:lnTo>
                  <a:lnTo>
                    <a:pt x="14" y="70"/>
                  </a:lnTo>
                  <a:lnTo>
                    <a:pt x="14" y="70"/>
                  </a:lnTo>
                  <a:lnTo>
                    <a:pt x="14" y="70"/>
                  </a:lnTo>
                  <a:lnTo>
                    <a:pt x="14" y="70"/>
                  </a:lnTo>
                  <a:lnTo>
                    <a:pt x="14" y="70"/>
                  </a:lnTo>
                  <a:lnTo>
                    <a:pt x="14" y="70"/>
                  </a:lnTo>
                  <a:lnTo>
                    <a:pt x="14" y="74"/>
                  </a:lnTo>
                  <a:lnTo>
                    <a:pt x="12" y="74"/>
                  </a:lnTo>
                  <a:lnTo>
                    <a:pt x="12" y="74"/>
                  </a:lnTo>
                  <a:lnTo>
                    <a:pt x="12" y="70"/>
                  </a:lnTo>
                  <a:lnTo>
                    <a:pt x="12" y="70"/>
                  </a:lnTo>
                  <a:lnTo>
                    <a:pt x="12" y="66"/>
                  </a:lnTo>
                  <a:lnTo>
                    <a:pt x="12" y="66"/>
                  </a:lnTo>
                  <a:lnTo>
                    <a:pt x="12" y="66"/>
                  </a:lnTo>
                  <a:lnTo>
                    <a:pt x="12" y="66"/>
                  </a:lnTo>
                  <a:lnTo>
                    <a:pt x="12" y="66"/>
                  </a:lnTo>
                  <a:lnTo>
                    <a:pt x="12" y="62"/>
                  </a:lnTo>
                  <a:lnTo>
                    <a:pt x="12" y="62"/>
                  </a:lnTo>
                  <a:lnTo>
                    <a:pt x="14" y="62"/>
                  </a:lnTo>
                  <a:lnTo>
                    <a:pt x="14" y="62"/>
                  </a:lnTo>
                  <a:lnTo>
                    <a:pt x="22" y="62"/>
                  </a:lnTo>
                  <a:lnTo>
                    <a:pt x="26" y="62"/>
                  </a:lnTo>
                  <a:lnTo>
                    <a:pt x="26" y="62"/>
                  </a:lnTo>
                  <a:lnTo>
                    <a:pt x="26" y="62"/>
                  </a:lnTo>
                  <a:lnTo>
                    <a:pt x="26" y="62"/>
                  </a:lnTo>
                  <a:lnTo>
                    <a:pt x="26" y="58"/>
                  </a:lnTo>
                  <a:lnTo>
                    <a:pt x="30" y="58"/>
                  </a:lnTo>
                  <a:lnTo>
                    <a:pt x="34" y="58"/>
                  </a:lnTo>
                  <a:lnTo>
                    <a:pt x="34" y="58"/>
                  </a:lnTo>
                  <a:lnTo>
                    <a:pt x="34" y="58"/>
                  </a:lnTo>
                  <a:lnTo>
                    <a:pt x="34" y="58"/>
                  </a:lnTo>
                  <a:lnTo>
                    <a:pt x="34" y="58"/>
                  </a:lnTo>
                  <a:lnTo>
                    <a:pt x="34" y="58"/>
                  </a:lnTo>
                  <a:lnTo>
                    <a:pt x="34" y="58"/>
                  </a:lnTo>
                  <a:lnTo>
                    <a:pt x="34" y="58"/>
                  </a:lnTo>
                  <a:lnTo>
                    <a:pt x="34" y="54"/>
                  </a:lnTo>
                  <a:lnTo>
                    <a:pt x="34" y="54"/>
                  </a:lnTo>
                  <a:lnTo>
                    <a:pt x="34" y="54"/>
                  </a:lnTo>
                  <a:lnTo>
                    <a:pt x="38" y="54"/>
                  </a:lnTo>
                  <a:lnTo>
                    <a:pt x="38" y="54"/>
                  </a:lnTo>
                  <a:lnTo>
                    <a:pt x="38" y="54"/>
                  </a:lnTo>
                  <a:lnTo>
                    <a:pt x="38" y="54"/>
                  </a:lnTo>
                  <a:lnTo>
                    <a:pt x="38" y="54"/>
                  </a:lnTo>
                  <a:lnTo>
                    <a:pt x="38" y="54"/>
                  </a:lnTo>
                  <a:lnTo>
                    <a:pt x="38" y="58"/>
                  </a:lnTo>
                  <a:lnTo>
                    <a:pt x="38" y="58"/>
                  </a:lnTo>
                  <a:lnTo>
                    <a:pt x="42" y="58"/>
                  </a:lnTo>
                  <a:lnTo>
                    <a:pt x="42" y="58"/>
                  </a:lnTo>
                  <a:lnTo>
                    <a:pt x="42" y="58"/>
                  </a:lnTo>
                  <a:lnTo>
                    <a:pt x="42" y="58"/>
                  </a:lnTo>
                  <a:lnTo>
                    <a:pt x="42" y="58"/>
                  </a:lnTo>
                  <a:lnTo>
                    <a:pt x="42" y="58"/>
                  </a:lnTo>
                  <a:lnTo>
                    <a:pt x="42" y="58"/>
                  </a:lnTo>
                  <a:lnTo>
                    <a:pt x="44" y="58"/>
                  </a:lnTo>
                  <a:lnTo>
                    <a:pt x="44" y="58"/>
                  </a:lnTo>
                  <a:lnTo>
                    <a:pt x="44" y="62"/>
                  </a:lnTo>
                  <a:lnTo>
                    <a:pt x="48" y="62"/>
                  </a:lnTo>
                  <a:lnTo>
                    <a:pt x="48" y="62"/>
                  </a:lnTo>
                  <a:lnTo>
                    <a:pt x="48" y="62"/>
                  </a:lnTo>
                  <a:lnTo>
                    <a:pt x="48" y="62"/>
                  </a:lnTo>
                  <a:lnTo>
                    <a:pt x="48" y="58"/>
                  </a:lnTo>
                  <a:lnTo>
                    <a:pt x="52" y="58"/>
                  </a:lnTo>
                  <a:lnTo>
                    <a:pt x="52" y="58"/>
                  </a:lnTo>
                  <a:lnTo>
                    <a:pt x="52" y="58"/>
                  </a:lnTo>
                  <a:lnTo>
                    <a:pt x="52" y="58"/>
                  </a:lnTo>
                  <a:lnTo>
                    <a:pt x="52" y="58"/>
                  </a:lnTo>
                  <a:lnTo>
                    <a:pt x="52" y="58"/>
                  </a:lnTo>
                  <a:lnTo>
                    <a:pt x="56" y="58"/>
                  </a:lnTo>
                  <a:lnTo>
                    <a:pt x="56" y="58"/>
                  </a:lnTo>
                  <a:lnTo>
                    <a:pt x="56" y="58"/>
                  </a:lnTo>
                  <a:lnTo>
                    <a:pt x="56" y="58"/>
                  </a:lnTo>
                  <a:lnTo>
                    <a:pt x="56" y="54"/>
                  </a:lnTo>
                  <a:lnTo>
                    <a:pt x="52" y="54"/>
                  </a:lnTo>
                  <a:lnTo>
                    <a:pt x="52" y="54"/>
                  </a:lnTo>
                  <a:lnTo>
                    <a:pt x="52" y="54"/>
                  </a:lnTo>
                  <a:lnTo>
                    <a:pt x="52" y="54"/>
                  </a:lnTo>
                  <a:lnTo>
                    <a:pt x="52" y="54"/>
                  </a:lnTo>
                  <a:lnTo>
                    <a:pt x="52" y="54"/>
                  </a:lnTo>
                  <a:lnTo>
                    <a:pt x="48" y="54"/>
                  </a:lnTo>
                  <a:lnTo>
                    <a:pt x="48" y="54"/>
                  </a:lnTo>
                  <a:lnTo>
                    <a:pt x="48" y="54"/>
                  </a:lnTo>
                  <a:lnTo>
                    <a:pt x="48" y="54"/>
                  </a:lnTo>
                  <a:lnTo>
                    <a:pt x="48" y="58"/>
                  </a:lnTo>
                  <a:lnTo>
                    <a:pt x="44" y="58"/>
                  </a:lnTo>
                  <a:lnTo>
                    <a:pt x="44" y="54"/>
                  </a:lnTo>
                  <a:lnTo>
                    <a:pt x="44" y="54"/>
                  </a:lnTo>
                  <a:lnTo>
                    <a:pt x="44" y="54"/>
                  </a:lnTo>
                  <a:lnTo>
                    <a:pt x="44" y="54"/>
                  </a:lnTo>
                  <a:lnTo>
                    <a:pt x="44" y="54"/>
                  </a:lnTo>
                  <a:lnTo>
                    <a:pt x="44" y="54"/>
                  </a:lnTo>
                  <a:lnTo>
                    <a:pt x="44" y="54"/>
                  </a:lnTo>
                  <a:lnTo>
                    <a:pt x="44" y="54"/>
                  </a:lnTo>
                  <a:lnTo>
                    <a:pt x="44" y="54"/>
                  </a:lnTo>
                  <a:lnTo>
                    <a:pt x="44" y="54"/>
                  </a:lnTo>
                  <a:lnTo>
                    <a:pt x="44" y="54"/>
                  </a:lnTo>
                  <a:lnTo>
                    <a:pt x="42" y="54"/>
                  </a:lnTo>
                  <a:lnTo>
                    <a:pt x="42" y="54"/>
                  </a:lnTo>
                  <a:lnTo>
                    <a:pt x="42" y="54"/>
                  </a:lnTo>
                  <a:lnTo>
                    <a:pt x="42" y="54"/>
                  </a:lnTo>
                  <a:lnTo>
                    <a:pt x="42" y="54"/>
                  </a:lnTo>
                  <a:lnTo>
                    <a:pt x="42" y="54"/>
                  </a:lnTo>
                  <a:lnTo>
                    <a:pt x="42" y="52"/>
                  </a:lnTo>
                  <a:lnTo>
                    <a:pt x="42" y="52"/>
                  </a:lnTo>
                  <a:lnTo>
                    <a:pt x="42" y="52"/>
                  </a:lnTo>
                  <a:lnTo>
                    <a:pt x="42" y="52"/>
                  </a:lnTo>
                  <a:lnTo>
                    <a:pt x="42" y="52"/>
                  </a:lnTo>
                  <a:lnTo>
                    <a:pt x="42" y="52"/>
                  </a:lnTo>
                  <a:lnTo>
                    <a:pt x="38" y="52"/>
                  </a:lnTo>
                  <a:lnTo>
                    <a:pt x="38" y="52"/>
                  </a:lnTo>
                  <a:lnTo>
                    <a:pt x="34" y="52"/>
                  </a:lnTo>
                  <a:lnTo>
                    <a:pt x="34" y="52"/>
                  </a:lnTo>
                  <a:lnTo>
                    <a:pt x="34" y="52"/>
                  </a:lnTo>
                  <a:lnTo>
                    <a:pt x="34" y="52"/>
                  </a:lnTo>
                  <a:lnTo>
                    <a:pt x="34" y="52"/>
                  </a:lnTo>
                  <a:lnTo>
                    <a:pt x="34" y="52"/>
                  </a:lnTo>
                  <a:lnTo>
                    <a:pt x="34" y="52"/>
                  </a:lnTo>
                  <a:lnTo>
                    <a:pt x="30" y="52"/>
                  </a:lnTo>
                  <a:lnTo>
                    <a:pt x="30" y="52"/>
                  </a:lnTo>
                  <a:lnTo>
                    <a:pt x="30" y="52"/>
                  </a:lnTo>
                  <a:lnTo>
                    <a:pt x="30" y="54"/>
                  </a:lnTo>
                  <a:lnTo>
                    <a:pt x="30" y="54"/>
                  </a:lnTo>
                  <a:lnTo>
                    <a:pt x="30" y="54"/>
                  </a:lnTo>
                  <a:lnTo>
                    <a:pt x="30" y="54"/>
                  </a:lnTo>
                  <a:lnTo>
                    <a:pt x="30" y="54"/>
                  </a:lnTo>
                  <a:lnTo>
                    <a:pt x="26" y="54"/>
                  </a:lnTo>
                  <a:lnTo>
                    <a:pt x="22" y="54"/>
                  </a:lnTo>
                  <a:lnTo>
                    <a:pt x="22" y="54"/>
                  </a:lnTo>
                  <a:lnTo>
                    <a:pt x="14" y="54"/>
                  </a:lnTo>
                  <a:lnTo>
                    <a:pt x="14" y="54"/>
                  </a:lnTo>
                  <a:lnTo>
                    <a:pt x="14" y="52"/>
                  </a:lnTo>
                  <a:lnTo>
                    <a:pt x="14" y="52"/>
                  </a:lnTo>
                  <a:lnTo>
                    <a:pt x="14" y="52"/>
                  </a:lnTo>
                  <a:lnTo>
                    <a:pt x="14" y="52"/>
                  </a:lnTo>
                  <a:lnTo>
                    <a:pt x="14" y="52"/>
                  </a:lnTo>
                  <a:lnTo>
                    <a:pt x="14" y="52"/>
                  </a:lnTo>
                  <a:lnTo>
                    <a:pt x="14" y="52"/>
                  </a:lnTo>
                  <a:lnTo>
                    <a:pt x="14" y="52"/>
                  </a:lnTo>
                  <a:lnTo>
                    <a:pt x="14" y="48"/>
                  </a:lnTo>
                  <a:lnTo>
                    <a:pt x="14" y="52"/>
                  </a:lnTo>
                  <a:lnTo>
                    <a:pt x="14" y="52"/>
                  </a:lnTo>
                  <a:lnTo>
                    <a:pt x="12" y="52"/>
                  </a:lnTo>
                  <a:lnTo>
                    <a:pt x="12" y="52"/>
                  </a:lnTo>
                  <a:lnTo>
                    <a:pt x="12" y="48"/>
                  </a:lnTo>
                  <a:lnTo>
                    <a:pt x="14" y="48"/>
                  </a:lnTo>
                  <a:lnTo>
                    <a:pt x="14" y="48"/>
                  </a:lnTo>
                  <a:lnTo>
                    <a:pt x="14" y="48"/>
                  </a:lnTo>
                  <a:lnTo>
                    <a:pt x="14" y="48"/>
                  </a:lnTo>
                  <a:lnTo>
                    <a:pt x="14" y="48"/>
                  </a:lnTo>
                  <a:lnTo>
                    <a:pt x="14" y="48"/>
                  </a:lnTo>
                  <a:lnTo>
                    <a:pt x="14" y="48"/>
                  </a:lnTo>
                  <a:lnTo>
                    <a:pt x="14" y="48"/>
                  </a:lnTo>
                  <a:lnTo>
                    <a:pt x="18" y="44"/>
                  </a:lnTo>
                  <a:lnTo>
                    <a:pt x="18" y="44"/>
                  </a:lnTo>
                  <a:lnTo>
                    <a:pt x="18" y="44"/>
                  </a:lnTo>
                  <a:lnTo>
                    <a:pt x="18" y="44"/>
                  </a:lnTo>
                  <a:lnTo>
                    <a:pt x="18" y="44"/>
                  </a:lnTo>
                  <a:lnTo>
                    <a:pt x="14" y="44"/>
                  </a:lnTo>
                  <a:lnTo>
                    <a:pt x="14" y="48"/>
                  </a:lnTo>
                  <a:lnTo>
                    <a:pt x="14" y="48"/>
                  </a:lnTo>
                  <a:lnTo>
                    <a:pt x="14" y="48"/>
                  </a:lnTo>
                  <a:lnTo>
                    <a:pt x="14" y="48"/>
                  </a:lnTo>
                  <a:lnTo>
                    <a:pt x="12" y="48"/>
                  </a:lnTo>
                  <a:lnTo>
                    <a:pt x="12" y="48"/>
                  </a:lnTo>
                  <a:lnTo>
                    <a:pt x="12" y="44"/>
                  </a:lnTo>
                  <a:lnTo>
                    <a:pt x="12" y="44"/>
                  </a:lnTo>
                  <a:lnTo>
                    <a:pt x="12" y="44"/>
                  </a:lnTo>
                  <a:lnTo>
                    <a:pt x="12" y="44"/>
                  </a:lnTo>
                  <a:lnTo>
                    <a:pt x="12" y="40"/>
                  </a:lnTo>
                  <a:lnTo>
                    <a:pt x="12" y="40"/>
                  </a:lnTo>
                  <a:lnTo>
                    <a:pt x="8" y="40"/>
                  </a:lnTo>
                  <a:lnTo>
                    <a:pt x="8" y="40"/>
                  </a:lnTo>
                  <a:lnTo>
                    <a:pt x="8" y="40"/>
                  </a:lnTo>
                  <a:lnTo>
                    <a:pt x="8" y="40"/>
                  </a:lnTo>
                  <a:lnTo>
                    <a:pt x="8" y="40"/>
                  </a:lnTo>
                  <a:lnTo>
                    <a:pt x="8" y="36"/>
                  </a:lnTo>
                  <a:lnTo>
                    <a:pt x="8" y="36"/>
                  </a:lnTo>
                  <a:lnTo>
                    <a:pt x="8" y="36"/>
                  </a:lnTo>
                  <a:lnTo>
                    <a:pt x="8" y="36"/>
                  </a:lnTo>
                  <a:lnTo>
                    <a:pt x="8" y="36"/>
                  </a:lnTo>
                  <a:lnTo>
                    <a:pt x="4" y="36"/>
                  </a:lnTo>
                  <a:lnTo>
                    <a:pt x="4" y="36"/>
                  </a:lnTo>
                  <a:lnTo>
                    <a:pt x="4" y="36"/>
                  </a:lnTo>
                  <a:lnTo>
                    <a:pt x="4" y="36"/>
                  </a:lnTo>
                  <a:lnTo>
                    <a:pt x="4" y="36"/>
                  </a:lnTo>
                  <a:lnTo>
                    <a:pt x="4" y="36"/>
                  </a:lnTo>
                  <a:lnTo>
                    <a:pt x="0" y="36"/>
                  </a:lnTo>
                  <a:lnTo>
                    <a:pt x="4" y="32"/>
                  </a:lnTo>
                  <a:lnTo>
                    <a:pt x="4" y="32"/>
                  </a:lnTo>
                  <a:lnTo>
                    <a:pt x="4" y="32"/>
                  </a:lnTo>
                  <a:lnTo>
                    <a:pt x="4" y="32"/>
                  </a:lnTo>
                  <a:lnTo>
                    <a:pt x="8" y="32"/>
                  </a:lnTo>
                  <a:lnTo>
                    <a:pt x="8" y="32"/>
                  </a:lnTo>
                  <a:lnTo>
                    <a:pt x="8" y="32"/>
                  </a:lnTo>
                  <a:lnTo>
                    <a:pt x="8" y="32"/>
                  </a:lnTo>
                  <a:lnTo>
                    <a:pt x="8" y="32"/>
                  </a:lnTo>
                  <a:lnTo>
                    <a:pt x="12" y="28"/>
                  </a:lnTo>
                  <a:lnTo>
                    <a:pt x="12" y="26"/>
                  </a:lnTo>
                  <a:lnTo>
                    <a:pt x="12" y="26"/>
                  </a:lnTo>
                  <a:lnTo>
                    <a:pt x="12" y="26"/>
                  </a:lnTo>
                  <a:lnTo>
                    <a:pt x="12" y="22"/>
                  </a:lnTo>
                  <a:lnTo>
                    <a:pt x="12" y="22"/>
                  </a:lnTo>
                  <a:lnTo>
                    <a:pt x="14" y="22"/>
                  </a:lnTo>
                  <a:lnTo>
                    <a:pt x="14" y="22"/>
                  </a:lnTo>
                  <a:lnTo>
                    <a:pt x="14" y="22"/>
                  </a:lnTo>
                  <a:lnTo>
                    <a:pt x="14" y="22"/>
                  </a:lnTo>
                  <a:lnTo>
                    <a:pt x="14" y="18"/>
                  </a:lnTo>
                  <a:lnTo>
                    <a:pt x="14" y="18"/>
                  </a:lnTo>
                  <a:lnTo>
                    <a:pt x="14" y="18"/>
                  </a:lnTo>
                  <a:lnTo>
                    <a:pt x="14" y="18"/>
                  </a:lnTo>
                  <a:lnTo>
                    <a:pt x="14" y="14"/>
                  </a:lnTo>
                  <a:lnTo>
                    <a:pt x="14" y="10"/>
                  </a:lnTo>
                  <a:lnTo>
                    <a:pt x="14" y="10"/>
                  </a:lnTo>
                  <a:lnTo>
                    <a:pt x="18" y="10"/>
                  </a:lnTo>
                  <a:lnTo>
                    <a:pt x="18" y="6"/>
                  </a:lnTo>
                  <a:lnTo>
                    <a:pt x="18" y="6"/>
                  </a:lnTo>
                  <a:lnTo>
                    <a:pt x="18" y="6"/>
                  </a:lnTo>
                  <a:lnTo>
                    <a:pt x="18" y="6"/>
                  </a:lnTo>
                  <a:lnTo>
                    <a:pt x="18" y="2"/>
                  </a:lnTo>
                  <a:lnTo>
                    <a:pt x="18" y="2"/>
                  </a:lnTo>
                  <a:lnTo>
                    <a:pt x="22" y="2"/>
                  </a:lnTo>
                  <a:lnTo>
                    <a:pt x="22" y="2"/>
                  </a:lnTo>
                  <a:lnTo>
                    <a:pt x="22" y="2"/>
                  </a:lnTo>
                  <a:lnTo>
                    <a:pt x="22" y="2"/>
                  </a:lnTo>
                  <a:lnTo>
                    <a:pt x="22" y="2"/>
                  </a:lnTo>
                  <a:lnTo>
                    <a:pt x="26" y="2"/>
                  </a:lnTo>
                  <a:lnTo>
                    <a:pt x="26" y="2"/>
                  </a:lnTo>
                  <a:lnTo>
                    <a:pt x="26" y="2"/>
                  </a:lnTo>
                  <a:lnTo>
                    <a:pt x="26" y="2"/>
                  </a:lnTo>
                  <a:lnTo>
                    <a:pt x="26" y="2"/>
                  </a:lnTo>
                  <a:lnTo>
                    <a:pt x="30" y="2"/>
                  </a:lnTo>
                  <a:lnTo>
                    <a:pt x="30" y="2"/>
                  </a:lnTo>
                  <a:lnTo>
                    <a:pt x="30" y="2"/>
                  </a:lnTo>
                  <a:lnTo>
                    <a:pt x="30" y="2"/>
                  </a:lnTo>
                  <a:lnTo>
                    <a:pt x="34" y="2"/>
                  </a:lnTo>
                  <a:lnTo>
                    <a:pt x="34" y="2"/>
                  </a:lnTo>
                  <a:lnTo>
                    <a:pt x="38" y="2"/>
                  </a:lnTo>
                  <a:lnTo>
                    <a:pt x="38" y="2"/>
                  </a:lnTo>
                  <a:lnTo>
                    <a:pt x="38" y="2"/>
                  </a:lnTo>
                  <a:lnTo>
                    <a:pt x="38" y="0"/>
                  </a:lnTo>
                  <a:lnTo>
                    <a:pt x="38" y="2"/>
                  </a:lnTo>
                  <a:lnTo>
                    <a:pt x="38" y="2"/>
                  </a:lnTo>
                  <a:lnTo>
                    <a:pt x="38" y="2"/>
                  </a:lnTo>
                  <a:lnTo>
                    <a:pt x="38" y="2"/>
                  </a:lnTo>
                  <a:lnTo>
                    <a:pt x="42" y="2"/>
                  </a:lnTo>
                  <a:lnTo>
                    <a:pt x="42" y="2"/>
                  </a:lnTo>
                  <a:lnTo>
                    <a:pt x="42" y="2"/>
                  </a:lnTo>
                  <a:lnTo>
                    <a:pt x="44" y="2"/>
                  </a:lnTo>
                  <a:lnTo>
                    <a:pt x="44" y="2"/>
                  </a:lnTo>
                  <a:lnTo>
                    <a:pt x="44" y="2"/>
                  </a:lnTo>
                  <a:lnTo>
                    <a:pt x="48" y="2"/>
                  </a:lnTo>
                  <a:lnTo>
                    <a:pt x="48" y="2"/>
                  </a:lnTo>
                  <a:lnTo>
                    <a:pt x="52" y="6"/>
                  </a:lnTo>
                  <a:lnTo>
                    <a:pt x="52" y="6"/>
                  </a:lnTo>
                  <a:lnTo>
                    <a:pt x="52" y="10"/>
                  </a:lnTo>
                  <a:lnTo>
                    <a:pt x="56" y="10"/>
                  </a:lnTo>
                  <a:lnTo>
                    <a:pt x="56" y="10"/>
                  </a:lnTo>
                  <a:lnTo>
                    <a:pt x="56" y="10"/>
                  </a:lnTo>
                  <a:lnTo>
                    <a:pt x="56" y="10"/>
                  </a:lnTo>
                  <a:lnTo>
                    <a:pt x="56" y="10"/>
                  </a:lnTo>
                  <a:lnTo>
                    <a:pt x="56" y="10"/>
                  </a:lnTo>
                  <a:lnTo>
                    <a:pt x="56" y="10"/>
                  </a:lnTo>
                  <a:lnTo>
                    <a:pt x="60" y="10"/>
                  </a:lnTo>
                  <a:lnTo>
                    <a:pt x="60" y="10"/>
                  </a:lnTo>
                  <a:lnTo>
                    <a:pt x="60" y="14"/>
                  </a:lnTo>
                  <a:lnTo>
                    <a:pt x="64" y="18"/>
                  </a:lnTo>
                  <a:lnTo>
                    <a:pt x="64" y="18"/>
                  </a:lnTo>
                  <a:lnTo>
                    <a:pt x="64" y="22"/>
                  </a:lnTo>
                  <a:lnTo>
                    <a:pt x="64" y="22"/>
                  </a:lnTo>
                  <a:lnTo>
                    <a:pt x="64" y="22"/>
                  </a:lnTo>
                  <a:lnTo>
                    <a:pt x="68" y="22"/>
                  </a:lnTo>
                  <a:lnTo>
                    <a:pt x="68" y="26"/>
                  </a:lnTo>
                  <a:lnTo>
                    <a:pt x="68" y="26"/>
                  </a:lnTo>
                  <a:lnTo>
                    <a:pt x="68" y="26"/>
                  </a:lnTo>
                  <a:lnTo>
                    <a:pt x="68" y="26"/>
                  </a:lnTo>
                  <a:lnTo>
                    <a:pt x="68" y="26"/>
                  </a:lnTo>
                  <a:lnTo>
                    <a:pt x="68" y="26"/>
                  </a:lnTo>
                  <a:lnTo>
                    <a:pt x="68" y="26"/>
                  </a:lnTo>
                  <a:lnTo>
                    <a:pt x="68" y="26"/>
                  </a:lnTo>
                  <a:lnTo>
                    <a:pt x="68" y="26"/>
                  </a:lnTo>
                  <a:lnTo>
                    <a:pt x="68" y="28"/>
                  </a:lnTo>
                  <a:lnTo>
                    <a:pt x="70" y="28"/>
                  </a:lnTo>
                  <a:lnTo>
                    <a:pt x="70" y="28"/>
                  </a:lnTo>
                  <a:lnTo>
                    <a:pt x="70" y="28"/>
                  </a:lnTo>
                  <a:lnTo>
                    <a:pt x="70" y="28"/>
                  </a:lnTo>
                  <a:lnTo>
                    <a:pt x="74" y="28"/>
                  </a:lnTo>
                  <a:lnTo>
                    <a:pt x="74" y="32"/>
                  </a:lnTo>
                  <a:lnTo>
                    <a:pt x="74" y="32"/>
                  </a:lnTo>
                  <a:lnTo>
                    <a:pt x="74" y="32"/>
                  </a:lnTo>
                  <a:lnTo>
                    <a:pt x="74" y="32"/>
                  </a:lnTo>
                  <a:lnTo>
                    <a:pt x="78" y="32"/>
                  </a:lnTo>
                  <a:lnTo>
                    <a:pt x="78" y="36"/>
                  </a:lnTo>
                  <a:lnTo>
                    <a:pt x="78" y="36"/>
                  </a:lnTo>
                  <a:lnTo>
                    <a:pt x="78" y="40"/>
                  </a:lnTo>
                  <a:lnTo>
                    <a:pt x="78" y="40"/>
                  </a:lnTo>
                  <a:lnTo>
                    <a:pt x="78" y="40"/>
                  </a:lnTo>
                  <a:lnTo>
                    <a:pt x="78" y="40"/>
                  </a:lnTo>
                  <a:lnTo>
                    <a:pt x="78" y="44"/>
                  </a:lnTo>
                  <a:lnTo>
                    <a:pt x="82" y="44"/>
                  </a:lnTo>
                  <a:lnTo>
                    <a:pt x="82" y="44"/>
                  </a:lnTo>
                  <a:lnTo>
                    <a:pt x="78" y="48"/>
                  </a:lnTo>
                  <a:lnTo>
                    <a:pt x="78" y="48"/>
                  </a:lnTo>
                  <a:lnTo>
                    <a:pt x="78" y="48"/>
                  </a:lnTo>
                  <a:lnTo>
                    <a:pt x="82" y="48"/>
                  </a:lnTo>
                  <a:lnTo>
                    <a:pt x="82" y="48"/>
                  </a:lnTo>
                  <a:lnTo>
                    <a:pt x="82" y="48"/>
                  </a:lnTo>
                  <a:lnTo>
                    <a:pt x="82" y="52"/>
                  </a:lnTo>
                  <a:lnTo>
                    <a:pt x="82" y="52"/>
                  </a:lnTo>
                  <a:lnTo>
                    <a:pt x="82" y="52"/>
                  </a:lnTo>
                  <a:lnTo>
                    <a:pt x="82" y="52"/>
                  </a:lnTo>
                  <a:lnTo>
                    <a:pt x="82" y="52"/>
                  </a:lnTo>
                  <a:lnTo>
                    <a:pt x="82" y="52"/>
                  </a:lnTo>
                  <a:lnTo>
                    <a:pt x="78" y="52"/>
                  </a:lnTo>
                  <a:lnTo>
                    <a:pt x="78" y="52"/>
                  </a:lnTo>
                  <a:lnTo>
                    <a:pt x="78" y="52"/>
                  </a:lnTo>
                  <a:lnTo>
                    <a:pt x="78" y="54"/>
                  </a:lnTo>
                  <a:lnTo>
                    <a:pt x="78" y="54"/>
                  </a:lnTo>
                  <a:lnTo>
                    <a:pt x="78" y="54"/>
                  </a:lnTo>
                  <a:lnTo>
                    <a:pt x="82" y="54"/>
                  </a:lnTo>
                  <a:lnTo>
                    <a:pt x="82" y="58"/>
                  </a:lnTo>
                  <a:lnTo>
                    <a:pt x="82" y="58"/>
                  </a:lnTo>
                  <a:lnTo>
                    <a:pt x="82" y="58"/>
                  </a:lnTo>
                  <a:lnTo>
                    <a:pt x="82" y="58"/>
                  </a:lnTo>
                  <a:lnTo>
                    <a:pt x="82" y="58"/>
                  </a:lnTo>
                  <a:lnTo>
                    <a:pt x="86" y="58"/>
                  </a:lnTo>
                  <a:lnTo>
                    <a:pt x="86" y="58"/>
                  </a:lnTo>
                  <a:lnTo>
                    <a:pt x="86" y="58"/>
                  </a:lnTo>
                  <a:lnTo>
                    <a:pt x="86" y="58"/>
                  </a:lnTo>
                  <a:lnTo>
                    <a:pt x="86" y="62"/>
                  </a:lnTo>
                  <a:lnTo>
                    <a:pt x="86" y="62"/>
                  </a:lnTo>
                  <a:lnTo>
                    <a:pt x="86" y="62"/>
                  </a:lnTo>
                  <a:lnTo>
                    <a:pt x="86" y="62"/>
                  </a:lnTo>
                  <a:lnTo>
                    <a:pt x="90" y="62"/>
                  </a:lnTo>
                  <a:lnTo>
                    <a:pt x="90" y="66"/>
                  </a:lnTo>
                  <a:lnTo>
                    <a:pt x="90" y="66"/>
                  </a:lnTo>
                  <a:lnTo>
                    <a:pt x="90" y="66"/>
                  </a:lnTo>
                  <a:lnTo>
                    <a:pt x="90" y="70"/>
                  </a:lnTo>
                  <a:lnTo>
                    <a:pt x="90" y="74"/>
                  </a:lnTo>
                  <a:lnTo>
                    <a:pt x="90" y="74"/>
                  </a:lnTo>
                  <a:lnTo>
                    <a:pt x="90" y="74"/>
                  </a:lnTo>
                  <a:lnTo>
                    <a:pt x="90" y="74"/>
                  </a:lnTo>
                  <a:lnTo>
                    <a:pt x="90" y="74"/>
                  </a:lnTo>
                  <a:lnTo>
                    <a:pt x="90" y="7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73" name="Freeform 166"/>
            <p:cNvSpPr>
              <a:spLocks noEditPoints="1"/>
            </p:cNvSpPr>
            <p:nvPr/>
          </p:nvSpPr>
          <p:spPr bwMode="auto">
            <a:xfrm>
              <a:off x="7449728" y="4210131"/>
              <a:ext cx="84149" cy="56226"/>
            </a:xfrm>
            <a:custGeom>
              <a:avLst/>
              <a:gdLst>
                <a:gd name="T0" fmla="*/ 4 w 134"/>
                <a:gd name="T1" fmla="*/ 86 h 86"/>
                <a:gd name="T2" fmla="*/ 4 w 134"/>
                <a:gd name="T3" fmla="*/ 86 h 86"/>
                <a:gd name="T4" fmla="*/ 0 w 134"/>
                <a:gd name="T5" fmla="*/ 86 h 86"/>
                <a:gd name="T6" fmla="*/ 0 w 134"/>
                <a:gd name="T7" fmla="*/ 86 h 86"/>
                <a:gd name="T8" fmla="*/ 0 w 134"/>
                <a:gd name="T9" fmla="*/ 86 h 86"/>
                <a:gd name="T10" fmla="*/ 0 w 134"/>
                <a:gd name="T11" fmla="*/ 86 h 86"/>
                <a:gd name="T12" fmla="*/ 0 w 134"/>
                <a:gd name="T13" fmla="*/ 86 h 86"/>
                <a:gd name="T14" fmla="*/ 0 w 134"/>
                <a:gd name="T15" fmla="*/ 86 h 86"/>
                <a:gd name="T16" fmla="*/ 0 w 134"/>
                <a:gd name="T17" fmla="*/ 86 h 86"/>
                <a:gd name="T18" fmla="*/ 4 w 134"/>
                <a:gd name="T19" fmla="*/ 86 h 86"/>
                <a:gd name="T20" fmla="*/ 4 w 134"/>
                <a:gd name="T21" fmla="*/ 86 h 86"/>
                <a:gd name="T22" fmla="*/ 4 w 134"/>
                <a:gd name="T23" fmla="*/ 86 h 86"/>
                <a:gd name="T24" fmla="*/ 4 w 134"/>
                <a:gd name="T25" fmla="*/ 86 h 86"/>
                <a:gd name="T26" fmla="*/ 4 w 134"/>
                <a:gd name="T27" fmla="*/ 82 h 86"/>
                <a:gd name="T28" fmla="*/ 4 w 134"/>
                <a:gd name="T29" fmla="*/ 82 h 86"/>
                <a:gd name="T30" fmla="*/ 4 w 134"/>
                <a:gd name="T31" fmla="*/ 82 h 86"/>
                <a:gd name="T32" fmla="*/ 8 w 134"/>
                <a:gd name="T33" fmla="*/ 82 h 86"/>
                <a:gd name="T34" fmla="*/ 8 w 134"/>
                <a:gd name="T35" fmla="*/ 86 h 86"/>
                <a:gd name="T36" fmla="*/ 8 w 134"/>
                <a:gd name="T37" fmla="*/ 86 h 86"/>
                <a:gd name="T38" fmla="*/ 4 w 134"/>
                <a:gd name="T39" fmla="*/ 86 h 86"/>
                <a:gd name="T40" fmla="*/ 4 w 134"/>
                <a:gd name="T41" fmla="*/ 86 h 86"/>
                <a:gd name="T42" fmla="*/ 4 w 134"/>
                <a:gd name="T43" fmla="*/ 86 h 86"/>
                <a:gd name="T44" fmla="*/ 4 w 134"/>
                <a:gd name="T45" fmla="*/ 86 h 86"/>
                <a:gd name="T46" fmla="*/ 4 w 134"/>
                <a:gd name="T47" fmla="*/ 86 h 86"/>
                <a:gd name="T48" fmla="*/ 4 w 134"/>
                <a:gd name="T49" fmla="*/ 86 h 86"/>
                <a:gd name="T50" fmla="*/ 4 w 134"/>
                <a:gd name="T51" fmla="*/ 86 h 86"/>
                <a:gd name="T52" fmla="*/ 4 w 134"/>
                <a:gd name="T53" fmla="*/ 86 h 86"/>
                <a:gd name="T54" fmla="*/ 4 w 134"/>
                <a:gd name="T55" fmla="*/ 86 h 86"/>
                <a:gd name="T56" fmla="*/ 4 w 134"/>
                <a:gd name="T57" fmla="*/ 86 h 86"/>
                <a:gd name="T58" fmla="*/ 4 w 134"/>
                <a:gd name="T59" fmla="*/ 86 h 86"/>
                <a:gd name="T60" fmla="*/ 134 w 134"/>
                <a:gd name="T61" fmla="*/ 4 h 86"/>
                <a:gd name="T62" fmla="*/ 134 w 134"/>
                <a:gd name="T63" fmla="*/ 4 h 86"/>
                <a:gd name="T64" fmla="*/ 134 w 134"/>
                <a:gd name="T65" fmla="*/ 4 h 86"/>
                <a:gd name="T66" fmla="*/ 134 w 134"/>
                <a:gd name="T67" fmla="*/ 4 h 86"/>
                <a:gd name="T68" fmla="*/ 130 w 134"/>
                <a:gd name="T69" fmla="*/ 4 h 86"/>
                <a:gd name="T70" fmla="*/ 130 w 134"/>
                <a:gd name="T71" fmla="*/ 0 h 86"/>
                <a:gd name="T72" fmla="*/ 130 w 134"/>
                <a:gd name="T73" fmla="*/ 0 h 86"/>
                <a:gd name="T74" fmla="*/ 134 w 134"/>
                <a:gd name="T75" fmla="*/ 0 h 86"/>
                <a:gd name="T76" fmla="*/ 134 w 134"/>
                <a:gd name="T77" fmla="*/ 4 h 86"/>
                <a:gd name="T78" fmla="*/ 134 w 134"/>
                <a:gd name="T79" fmla="*/ 4 h 86"/>
                <a:gd name="T80" fmla="*/ 134 w 134"/>
                <a:gd name="T81" fmla="*/ 4 h 86"/>
                <a:gd name="T82" fmla="*/ 134 w 134"/>
                <a:gd name="T83" fmla="*/ 4 h 86"/>
                <a:gd name="T84" fmla="*/ 134 w 134"/>
                <a:gd name="T85" fmla="*/ 4 h 86"/>
                <a:gd name="T86" fmla="*/ 134 w 134"/>
                <a:gd name="T87"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4" h="86">
                  <a:moveTo>
                    <a:pt x="4" y="86"/>
                  </a:moveTo>
                  <a:lnTo>
                    <a:pt x="4" y="86"/>
                  </a:lnTo>
                  <a:lnTo>
                    <a:pt x="0" y="86"/>
                  </a:lnTo>
                  <a:lnTo>
                    <a:pt x="0" y="86"/>
                  </a:lnTo>
                  <a:lnTo>
                    <a:pt x="0" y="86"/>
                  </a:lnTo>
                  <a:lnTo>
                    <a:pt x="0" y="86"/>
                  </a:lnTo>
                  <a:lnTo>
                    <a:pt x="0" y="86"/>
                  </a:lnTo>
                  <a:lnTo>
                    <a:pt x="0" y="86"/>
                  </a:lnTo>
                  <a:lnTo>
                    <a:pt x="0" y="86"/>
                  </a:lnTo>
                  <a:lnTo>
                    <a:pt x="4" y="86"/>
                  </a:lnTo>
                  <a:lnTo>
                    <a:pt x="4" y="86"/>
                  </a:lnTo>
                  <a:lnTo>
                    <a:pt x="4" y="86"/>
                  </a:lnTo>
                  <a:lnTo>
                    <a:pt x="4" y="86"/>
                  </a:lnTo>
                  <a:lnTo>
                    <a:pt x="4" y="82"/>
                  </a:lnTo>
                  <a:lnTo>
                    <a:pt x="4" y="82"/>
                  </a:lnTo>
                  <a:lnTo>
                    <a:pt x="4" y="82"/>
                  </a:lnTo>
                  <a:lnTo>
                    <a:pt x="8" y="82"/>
                  </a:lnTo>
                  <a:lnTo>
                    <a:pt x="8" y="86"/>
                  </a:lnTo>
                  <a:lnTo>
                    <a:pt x="8" y="86"/>
                  </a:lnTo>
                  <a:lnTo>
                    <a:pt x="4" y="86"/>
                  </a:lnTo>
                  <a:lnTo>
                    <a:pt x="4" y="86"/>
                  </a:lnTo>
                  <a:lnTo>
                    <a:pt x="4" y="86"/>
                  </a:lnTo>
                  <a:lnTo>
                    <a:pt x="4" y="86"/>
                  </a:lnTo>
                  <a:lnTo>
                    <a:pt x="4" y="86"/>
                  </a:lnTo>
                  <a:lnTo>
                    <a:pt x="4" y="86"/>
                  </a:lnTo>
                  <a:lnTo>
                    <a:pt x="4" y="86"/>
                  </a:lnTo>
                  <a:lnTo>
                    <a:pt x="4" y="86"/>
                  </a:lnTo>
                  <a:lnTo>
                    <a:pt x="4" y="86"/>
                  </a:lnTo>
                  <a:lnTo>
                    <a:pt x="4" y="86"/>
                  </a:lnTo>
                  <a:lnTo>
                    <a:pt x="4" y="86"/>
                  </a:lnTo>
                  <a:close/>
                  <a:moveTo>
                    <a:pt x="134" y="4"/>
                  </a:moveTo>
                  <a:lnTo>
                    <a:pt x="134" y="4"/>
                  </a:lnTo>
                  <a:lnTo>
                    <a:pt x="134" y="4"/>
                  </a:lnTo>
                  <a:lnTo>
                    <a:pt x="134" y="4"/>
                  </a:lnTo>
                  <a:lnTo>
                    <a:pt x="130" y="4"/>
                  </a:lnTo>
                  <a:lnTo>
                    <a:pt x="130" y="0"/>
                  </a:lnTo>
                  <a:lnTo>
                    <a:pt x="130" y="0"/>
                  </a:lnTo>
                  <a:lnTo>
                    <a:pt x="134" y="0"/>
                  </a:lnTo>
                  <a:lnTo>
                    <a:pt x="134" y="4"/>
                  </a:lnTo>
                  <a:lnTo>
                    <a:pt x="134" y="4"/>
                  </a:lnTo>
                  <a:lnTo>
                    <a:pt x="134" y="4"/>
                  </a:lnTo>
                  <a:lnTo>
                    <a:pt x="134" y="4"/>
                  </a:lnTo>
                  <a:lnTo>
                    <a:pt x="134" y="4"/>
                  </a:lnTo>
                  <a:lnTo>
                    <a:pt x="134" y="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74" name="Freeform 167"/>
            <p:cNvSpPr>
              <a:spLocks noEditPoints="1"/>
            </p:cNvSpPr>
            <p:nvPr/>
          </p:nvSpPr>
          <p:spPr bwMode="auto">
            <a:xfrm>
              <a:off x="6923480" y="4049299"/>
              <a:ext cx="25119" cy="35305"/>
            </a:xfrm>
            <a:custGeom>
              <a:avLst/>
              <a:gdLst>
                <a:gd name="T0" fmla="*/ 22 w 40"/>
                <a:gd name="T1" fmla="*/ 50 h 54"/>
                <a:gd name="T2" fmla="*/ 18 w 40"/>
                <a:gd name="T3" fmla="*/ 50 h 54"/>
                <a:gd name="T4" fmla="*/ 10 w 40"/>
                <a:gd name="T5" fmla="*/ 46 h 54"/>
                <a:gd name="T6" fmla="*/ 10 w 40"/>
                <a:gd name="T7" fmla="*/ 42 h 54"/>
                <a:gd name="T8" fmla="*/ 10 w 40"/>
                <a:gd name="T9" fmla="*/ 42 h 54"/>
                <a:gd name="T10" fmla="*/ 14 w 40"/>
                <a:gd name="T11" fmla="*/ 42 h 54"/>
                <a:gd name="T12" fmla="*/ 10 w 40"/>
                <a:gd name="T13" fmla="*/ 42 h 54"/>
                <a:gd name="T14" fmla="*/ 6 w 40"/>
                <a:gd name="T15" fmla="*/ 38 h 54"/>
                <a:gd name="T16" fmla="*/ 4 w 40"/>
                <a:gd name="T17" fmla="*/ 34 h 54"/>
                <a:gd name="T18" fmla="*/ 4 w 40"/>
                <a:gd name="T19" fmla="*/ 30 h 54"/>
                <a:gd name="T20" fmla="*/ 4 w 40"/>
                <a:gd name="T21" fmla="*/ 30 h 54"/>
                <a:gd name="T22" fmla="*/ 0 w 40"/>
                <a:gd name="T23" fmla="*/ 26 h 54"/>
                <a:gd name="T24" fmla="*/ 0 w 40"/>
                <a:gd name="T25" fmla="*/ 26 h 54"/>
                <a:gd name="T26" fmla="*/ 0 w 40"/>
                <a:gd name="T27" fmla="*/ 26 h 54"/>
                <a:gd name="T28" fmla="*/ 4 w 40"/>
                <a:gd name="T29" fmla="*/ 22 h 54"/>
                <a:gd name="T30" fmla="*/ 4 w 40"/>
                <a:gd name="T31" fmla="*/ 22 h 54"/>
                <a:gd name="T32" fmla="*/ 0 w 40"/>
                <a:gd name="T33" fmla="*/ 22 h 54"/>
                <a:gd name="T34" fmla="*/ 0 w 40"/>
                <a:gd name="T35" fmla="*/ 20 h 54"/>
                <a:gd name="T36" fmla="*/ 0 w 40"/>
                <a:gd name="T37" fmla="*/ 16 h 54"/>
                <a:gd name="T38" fmla="*/ 0 w 40"/>
                <a:gd name="T39" fmla="*/ 16 h 54"/>
                <a:gd name="T40" fmla="*/ 0 w 40"/>
                <a:gd name="T41" fmla="*/ 16 h 54"/>
                <a:gd name="T42" fmla="*/ 4 w 40"/>
                <a:gd name="T43" fmla="*/ 12 h 54"/>
                <a:gd name="T44" fmla="*/ 4 w 40"/>
                <a:gd name="T45" fmla="*/ 12 h 54"/>
                <a:gd name="T46" fmla="*/ 6 w 40"/>
                <a:gd name="T47" fmla="*/ 8 h 54"/>
                <a:gd name="T48" fmla="*/ 6 w 40"/>
                <a:gd name="T49" fmla="*/ 4 h 54"/>
                <a:gd name="T50" fmla="*/ 14 w 40"/>
                <a:gd name="T51" fmla="*/ 0 h 54"/>
                <a:gd name="T52" fmla="*/ 14 w 40"/>
                <a:gd name="T53" fmla="*/ 0 h 54"/>
                <a:gd name="T54" fmla="*/ 22 w 40"/>
                <a:gd name="T55" fmla="*/ 0 h 54"/>
                <a:gd name="T56" fmla="*/ 26 w 40"/>
                <a:gd name="T57" fmla="*/ 0 h 54"/>
                <a:gd name="T58" fmla="*/ 30 w 40"/>
                <a:gd name="T59" fmla="*/ 4 h 54"/>
                <a:gd name="T60" fmla="*/ 34 w 40"/>
                <a:gd name="T61" fmla="*/ 8 h 54"/>
                <a:gd name="T62" fmla="*/ 36 w 40"/>
                <a:gd name="T63" fmla="*/ 12 h 54"/>
                <a:gd name="T64" fmla="*/ 34 w 40"/>
                <a:gd name="T65" fmla="*/ 16 h 54"/>
                <a:gd name="T66" fmla="*/ 36 w 40"/>
                <a:gd name="T67" fmla="*/ 16 h 54"/>
                <a:gd name="T68" fmla="*/ 36 w 40"/>
                <a:gd name="T69" fmla="*/ 20 h 54"/>
                <a:gd name="T70" fmla="*/ 36 w 40"/>
                <a:gd name="T71" fmla="*/ 22 h 54"/>
                <a:gd name="T72" fmla="*/ 36 w 40"/>
                <a:gd name="T73" fmla="*/ 26 h 54"/>
                <a:gd name="T74" fmla="*/ 40 w 40"/>
                <a:gd name="T75" fmla="*/ 26 h 54"/>
                <a:gd name="T76" fmla="*/ 40 w 40"/>
                <a:gd name="T77" fmla="*/ 30 h 54"/>
                <a:gd name="T78" fmla="*/ 36 w 40"/>
                <a:gd name="T79" fmla="*/ 30 h 54"/>
                <a:gd name="T80" fmla="*/ 36 w 40"/>
                <a:gd name="T81" fmla="*/ 34 h 54"/>
                <a:gd name="T82" fmla="*/ 34 w 40"/>
                <a:gd name="T83" fmla="*/ 38 h 54"/>
                <a:gd name="T84" fmla="*/ 34 w 40"/>
                <a:gd name="T85" fmla="*/ 42 h 54"/>
                <a:gd name="T86" fmla="*/ 30 w 40"/>
                <a:gd name="T87" fmla="*/ 46 h 54"/>
                <a:gd name="T88" fmla="*/ 30 w 40"/>
                <a:gd name="T89" fmla="*/ 46 h 54"/>
                <a:gd name="T90" fmla="*/ 26 w 40"/>
                <a:gd name="T91" fmla="*/ 50 h 54"/>
                <a:gd name="T92" fmla="*/ 26 w 40"/>
                <a:gd name="T93" fmla="*/ 54 h 54"/>
                <a:gd name="T94" fmla="*/ 22 w 40"/>
                <a:gd name="T95" fmla="*/ 54 h 54"/>
                <a:gd name="T96" fmla="*/ 6 w 40"/>
                <a:gd name="T97" fmla="*/ 38 h 54"/>
                <a:gd name="T98" fmla="*/ 10 w 40"/>
                <a:gd name="T99" fmla="*/ 42 h 54"/>
                <a:gd name="T100" fmla="*/ 6 w 40"/>
                <a:gd name="T101" fmla="*/ 42 h 54"/>
                <a:gd name="T102" fmla="*/ 6 w 40"/>
                <a:gd name="T103" fmla="*/ 42 h 54"/>
                <a:gd name="T104" fmla="*/ 6 w 40"/>
                <a:gd name="T105" fmla="*/ 42 h 54"/>
                <a:gd name="T106" fmla="*/ 4 w 40"/>
                <a:gd name="T107"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 h="54">
                  <a:moveTo>
                    <a:pt x="22" y="54"/>
                  </a:moveTo>
                  <a:lnTo>
                    <a:pt x="22" y="54"/>
                  </a:lnTo>
                  <a:lnTo>
                    <a:pt x="22" y="54"/>
                  </a:lnTo>
                  <a:lnTo>
                    <a:pt x="22" y="50"/>
                  </a:lnTo>
                  <a:lnTo>
                    <a:pt x="22" y="50"/>
                  </a:lnTo>
                  <a:lnTo>
                    <a:pt x="18" y="50"/>
                  </a:lnTo>
                  <a:lnTo>
                    <a:pt x="18" y="50"/>
                  </a:lnTo>
                  <a:lnTo>
                    <a:pt x="18" y="50"/>
                  </a:lnTo>
                  <a:lnTo>
                    <a:pt x="18" y="50"/>
                  </a:lnTo>
                  <a:lnTo>
                    <a:pt x="10" y="46"/>
                  </a:lnTo>
                  <a:lnTo>
                    <a:pt x="10" y="46"/>
                  </a:lnTo>
                  <a:lnTo>
                    <a:pt x="10" y="46"/>
                  </a:lnTo>
                  <a:lnTo>
                    <a:pt x="10" y="46"/>
                  </a:lnTo>
                  <a:lnTo>
                    <a:pt x="10" y="46"/>
                  </a:lnTo>
                  <a:lnTo>
                    <a:pt x="10" y="42"/>
                  </a:lnTo>
                  <a:lnTo>
                    <a:pt x="10" y="42"/>
                  </a:lnTo>
                  <a:lnTo>
                    <a:pt x="10" y="42"/>
                  </a:lnTo>
                  <a:lnTo>
                    <a:pt x="10" y="42"/>
                  </a:lnTo>
                  <a:lnTo>
                    <a:pt x="10" y="42"/>
                  </a:lnTo>
                  <a:lnTo>
                    <a:pt x="10" y="42"/>
                  </a:lnTo>
                  <a:lnTo>
                    <a:pt x="14" y="42"/>
                  </a:lnTo>
                  <a:lnTo>
                    <a:pt x="14" y="42"/>
                  </a:lnTo>
                  <a:lnTo>
                    <a:pt x="14" y="42"/>
                  </a:lnTo>
                  <a:lnTo>
                    <a:pt x="14" y="42"/>
                  </a:lnTo>
                  <a:lnTo>
                    <a:pt x="10" y="42"/>
                  </a:lnTo>
                  <a:lnTo>
                    <a:pt x="10" y="42"/>
                  </a:lnTo>
                  <a:lnTo>
                    <a:pt x="10" y="42"/>
                  </a:lnTo>
                  <a:lnTo>
                    <a:pt x="10" y="42"/>
                  </a:lnTo>
                  <a:lnTo>
                    <a:pt x="10" y="42"/>
                  </a:lnTo>
                  <a:lnTo>
                    <a:pt x="6" y="38"/>
                  </a:lnTo>
                  <a:lnTo>
                    <a:pt x="6" y="38"/>
                  </a:lnTo>
                  <a:lnTo>
                    <a:pt x="6" y="38"/>
                  </a:lnTo>
                  <a:lnTo>
                    <a:pt x="6" y="38"/>
                  </a:lnTo>
                  <a:lnTo>
                    <a:pt x="4" y="38"/>
                  </a:lnTo>
                  <a:lnTo>
                    <a:pt x="4" y="34"/>
                  </a:lnTo>
                  <a:lnTo>
                    <a:pt x="4" y="34"/>
                  </a:lnTo>
                  <a:lnTo>
                    <a:pt x="4" y="34"/>
                  </a:lnTo>
                  <a:lnTo>
                    <a:pt x="4" y="30"/>
                  </a:lnTo>
                  <a:lnTo>
                    <a:pt x="4" y="30"/>
                  </a:lnTo>
                  <a:lnTo>
                    <a:pt x="4" y="30"/>
                  </a:lnTo>
                  <a:lnTo>
                    <a:pt x="4" y="30"/>
                  </a:lnTo>
                  <a:lnTo>
                    <a:pt x="4" y="30"/>
                  </a:lnTo>
                  <a:lnTo>
                    <a:pt x="4" y="30"/>
                  </a:lnTo>
                  <a:lnTo>
                    <a:pt x="4" y="30"/>
                  </a:lnTo>
                  <a:lnTo>
                    <a:pt x="0" y="30"/>
                  </a:lnTo>
                  <a:lnTo>
                    <a:pt x="0" y="30"/>
                  </a:lnTo>
                  <a:lnTo>
                    <a:pt x="0" y="26"/>
                  </a:lnTo>
                  <a:lnTo>
                    <a:pt x="0" y="26"/>
                  </a:lnTo>
                  <a:lnTo>
                    <a:pt x="0" y="26"/>
                  </a:lnTo>
                  <a:lnTo>
                    <a:pt x="0" y="26"/>
                  </a:lnTo>
                  <a:lnTo>
                    <a:pt x="0" y="26"/>
                  </a:lnTo>
                  <a:lnTo>
                    <a:pt x="0" y="26"/>
                  </a:lnTo>
                  <a:lnTo>
                    <a:pt x="0"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0" y="22"/>
                  </a:lnTo>
                  <a:lnTo>
                    <a:pt x="0" y="22"/>
                  </a:lnTo>
                  <a:lnTo>
                    <a:pt x="0" y="22"/>
                  </a:lnTo>
                  <a:lnTo>
                    <a:pt x="0" y="22"/>
                  </a:lnTo>
                  <a:lnTo>
                    <a:pt x="0" y="22"/>
                  </a:lnTo>
                  <a:lnTo>
                    <a:pt x="0" y="20"/>
                  </a:lnTo>
                  <a:lnTo>
                    <a:pt x="0" y="20"/>
                  </a:lnTo>
                  <a:lnTo>
                    <a:pt x="0" y="20"/>
                  </a:lnTo>
                  <a:lnTo>
                    <a:pt x="0" y="20"/>
                  </a:lnTo>
                  <a:lnTo>
                    <a:pt x="0" y="20"/>
                  </a:lnTo>
                  <a:lnTo>
                    <a:pt x="0" y="16"/>
                  </a:lnTo>
                  <a:lnTo>
                    <a:pt x="0" y="16"/>
                  </a:lnTo>
                  <a:lnTo>
                    <a:pt x="0" y="16"/>
                  </a:lnTo>
                  <a:lnTo>
                    <a:pt x="0" y="16"/>
                  </a:lnTo>
                  <a:lnTo>
                    <a:pt x="0" y="16"/>
                  </a:lnTo>
                  <a:lnTo>
                    <a:pt x="0" y="16"/>
                  </a:lnTo>
                  <a:lnTo>
                    <a:pt x="0" y="16"/>
                  </a:lnTo>
                  <a:lnTo>
                    <a:pt x="0" y="16"/>
                  </a:lnTo>
                  <a:lnTo>
                    <a:pt x="0" y="16"/>
                  </a:lnTo>
                  <a:lnTo>
                    <a:pt x="0" y="16"/>
                  </a:lnTo>
                  <a:lnTo>
                    <a:pt x="4" y="16"/>
                  </a:lnTo>
                  <a:lnTo>
                    <a:pt x="4" y="16"/>
                  </a:lnTo>
                  <a:lnTo>
                    <a:pt x="4" y="12"/>
                  </a:lnTo>
                  <a:lnTo>
                    <a:pt x="4" y="12"/>
                  </a:lnTo>
                  <a:lnTo>
                    <a:pt x="4" y="12"/>
                  </a:lnTo>
                  <a:lnTo>
                    <a:pt x="4" y="12"/>
                  </a:lnTo>
                  <a:lnTo>
                    <a:pt x="4" y="12"/>
                  </a:lnTo>
                  <a:lnTo>
                    <a:pt x="4" y="12"/>
                  </a:lnTo>
                  <a:lnTo>
                    <a:pt x="4" y="12"/>
                  </a:lnTo>
                  <a:lnTo>
                    <a:pt x="6" y="8"/>
                  </a:lnTo>
                  <a:lnTo>
                    <a:pt x="6" y="8"/>
                  </a:lnTo>
                  <a:lnTo>
                    <a:pt x="6" y="8"/>
                  </a:lnTo>
                  <a:lnTo>
                    <a:pt x="6" y="4"/>
                  </a:lnTo>
                  <a:lnTo>
                    <a:pt x="6" y="4"/>
                  </a:lnTo>
                  <a:lnTo>
                    <a:pt x="6" y="4"/>
                  </a:lnTo>
                  <a:lnTo>
                    <a:pt x="10" y="0"/>
                  </a:lnTo>
                  <a:lnTo>
                    <a:pt x="10" y="0"/>
                  </a:lnTo>
                  <a:lnTo>
                    <a:pt x="14" y="0"/>
                  </a:lnTo>
                  <a:lnTo>
                    <a:pt x="14" y="0"/>
                  </a:lnTo>
                  <a:lnTo>
                    <a:pt x="14" y="0"/>
                  </a:lnTo>
                  <a:lnTo>
                    <a:pt x="14" y="0"/>
                  </a:lnTo>
                  <a:lnTo>
                    <a:pt x="14" y="0"/>
                  </a:lnTo>
                  <a:lnTo>
                    <a:pt x="14" y="0"/>
                  </a:lnTo>
                  <a:lnTo>
                    <a:pt x="18" y="0"/>
                  </a:lnTo>
                  <a:lnTo>
                    <a:pt x="18" y="0"/>
                  </a:lnTo>
                  <a:lnTo>
                    <a:pt x="18" y="0"/>
                  </a:lnTo>
                  <a:lnTo>
                    <a:pt x="22" y="0"/>
                  </a:lnTo>
                  <a:lnTo>
                    <a:pt x="22" y="0"/>
                  </a:lnTo>
                  <a:lnTo>
                    <a:pt x="22" y="0"/>
                  </a:lnTo>
                  <a:lnTo>
                    <a:pt x="26" y="0"/>
                  </a:lnTo>
                  <a:lnTo>
                    <a:pt x="26" y="0"/>
                  </a:lnTo>
                  <a:lnTo>
                    <a:pt x="30" y="0"/>
                  </a:lnTo>
                  <a:lnTo>
                    <a:pt x="30" y="0"/>
                  </a:lnTo>
                  <a:lnTo>
                    <a:pt x="30" y="0"/>
                  </a:lnTo>
                  <a:lnTo>
                    <a:pt x="30" y="4"/>
                  </a:lnTo>
                  <a:lnTo>
                    <a:pt x="30" y="4"/>
                  </a:lnTo>
                  <a:lnTo>
                    <a:pt x="30" y="4"/>
                  </a:lnTo>
                  <a:lnTo>
                    <a:pt x="34" y="4"/>
                  </a:lnTo>
                  <a:lnTo>
                    <a:pt x="34" y="8"/>
                  </a:lnTo>
                  <a:lnTo>
                    <a:pt x="34" y="8"/>
                  </a:lnTo>
                  <a:lnTo>
                    <a:pt x="34" y="12"/>
                  </a:lnTo>
                  <a:lnTo>
                    <a:pt x="36" y="12"/>
                  </a:lnTo>
                  <a:lnTo>
                    <a:pt x="36" y="12"/>
                  </a:lnTo>
                  <a:lnTo>
                    <a:pt x="34" y="12"/>
                  </a:lnTo>
                  <a:lnTo>
                    <a:pt x="34" y="12"/>
                  </a:lnTo>
                  <a:lnTo>
                    <a:pt x="34" y="16"/>
                  </a:lnTo>
                  <a:lnTo>
                    <a:pt x="34" y="16"/>
                  </a:lnTo>
                  <a:lnTo>
                    <a:pt x="34" y="16"/>
                  </a:lnTo>
                  <a:lnTo>
                    <a:pt x="36" y="16"/>
                  </a:lnTo>
                  <a:lnTo>
                    <a:pt x="36" y="16"/>
                  </a:lnTo>
                  <a:lnTo>
                    <a:pt x="36" y="16"/>
                  </a:lnTo>
                  <a:lnTo>
                    <a:pt x="36" y="16"/>
                  </a:lnTo>
                  <a:lnTo>
                    <a:pt x="36" y="16"/>
                  </a:lnTo>
                  <a:lnTo>
                    <a:pt x="36" y="20"/>
                  </a:lnTo>
                  <a:lnTo>
                    <a:pt x="36" y="20"/>
                  </a:lnTo>
                  <a:lnTo>
                    <a:pt x="36" y="20"/>
                  </a:lnTo>
                  <a:lnTo>
                    <a:pt x="36" y="22"/>
                  </a:lnTo>
                  <a:lnTo>
                    <a:pt x="36" y="22"/>
                  </a:lnTo>
                  <a:lnTo>
                    <a:pt x="36" y="22"/>
                  </a:lnTo>
                  <a:lnTo>
                    <a:pt x="34" y="26"/>
                  </a:lnTo>
                  <a:lnTo>
                    <a:pt x="34" y="26"/>
                  </a:lnTo>
                  <a:lnTo>
                    <a:pt x="36" y="26"/>
                  </a:lnTo>
                  <a:lnTo>
                    <a:pt x="36" y="26"/>
                  </a:lnTo>
                  <a:lnTo>
                    <a:pt x="36" y="26"/>
                  </a:lnTo>
                  <a:lnTo>
                    <a:pt x="36" y="26"/>
                  </a:lnTo>
                  <a:lnTo>
                    <a:pt x="36" y="26"/>
                  </a:lnTo>
                  <a:lnTo>
                    <a:pt x="40" y="26"/>
                  </a:lnTo>
                  <a:lnTo>
                    <a:pt x="40" y="22"/>
                  </a:lnTo>
                  <a:lnTo>
                    <a:pt x="40" y="26"/>
                  </a:lnTo>
                  <a:lnTo>
                    <a:pt x="40" y="26"/>
                  </a:lnTo>
                  <a:lnTo>
                    <a:pt x="40" y="30"/>
                  </a:lnTo>
                  <a:lnTo>
                    <a:pt x="40" y="30"/>
                  </a:lnTo>
                  <a:lnTo>
                    <a:pt x="40" y="30"/>
                  </a:lnTo>
                  <a:lnTo>
                    <a:pt x="36" y="30"/>
                  </a:lnTo>
                  <a:lnTo>
                    <a:pt x="36" y="30"/>
                  </a:lnTo>
                  <a:lnTo>
                    <a:pt x="36" y="30"/>
                  </a:lnTo>
                  <a:lnTo>
                    <a:pt x="36" y="30"/>
                  </a:lnTo>
                  <a:lnTo>
                    <a:pt x="36" y="34"/>
                  </a:lnTo>
                  <a:lnTo>
                    <a:pt x="36" y="34"/>
                  </a:lnTo>
                  <a:lnTo>
                    <a:pt x="36" y="38"/>
                  </a:lnTo>
                  <a:lnTo>
                    <a:pt x="36" y="38"/>
                  </a:lnTo>
                  <a:lnTo>
                    <a:pt x="34" y="38"/>
                  </a:lnTo>
                  <a:lnTo>
                    <a:pt x="34" y="38"/>
                  </a:lnTo>
                  <a:lnTo>
                    <a:pt x="34" y="38"/>
                  </a:lnTo>
                  <a:lnTo>
                    <a:pt x="34" y="38"/>
                  </a:lnTo>
                  <a:lnTo>
                    <a:pt x="34" y="42"/>
                  </a:lnTo>
                  <a:lnTo>
                    <a:pt x="34" y="42"/>
                  </a:lnTo>
                  <a:lnTo>
                    <a:pt x="34" y="42"/>
                  </a:lnTo>
                  <a:lnTo>
                    <a:pt x="34" y="42"/>
                  </a:lnTo>
                  <a:lnTo>
                    <a:pt x="34" y="42"/>
                  </a:lnTo>
                  <a:lnTo>
                    <a:pt x="30" y="46"/>
                  </a:lnTo>
                  <a:lnTo>
                    <a:pt x="30" y="46"/>
                  </a:lnTo>
                  <a:lnTo>
                    <a:pt x="30" y="46"/>
                  </a:lnTo>
                  <a:lnTo>
                    <a:pt x="30" y="46"/>
                  </a:lnTo>
                  <a:lnTo>
                    <a:pt x="30" y="46"/>
                  </a:lnTo>
                  <a:lnTo>
                    <a:pt x="26" y="46"/>
                  </a:lnTo>
                  <a:lnTo>
                    <a:pt x="26" y="46"/>
                  </a:lnTo>
                  <a:lnTo>
                    <a:pt x="26" y="46"/>
                  </a:lnTo>
                  <a:lnTo>
                    <a:pt x="26" y="50"/>
                  </a:lnTo>
                  <a:lnTo>
                    <a:pt x="26" y="50"/>
                  </a:lnTo>
                  <a:lnTo>
                    <a:pt x="26" y="50"/>
                  </a:lnTo>
                  <a:lnTo>
                    <a:pt x="26" y="50"/>
                  </a:lnTo>
                  <a:lnTo>
                    <a:pt x="26" y="54"/>
                  </a:lnTo>
                  <a:lnTo>
                    <a:pt x="22" y="54"/>
                  </a:lnTo>
                  <a:lnTo>
                    <a:pt x="22" y="54"/>
                  </a:lnTo>
                  <a:lnTo>
                    <a:pt x="22" y="54"/>
                  </a:lnTo>
                  <a:lnTo>
                    <a:pt x="22" y="54"/>
                  </a:lnTo>
                  <a:close/>
                  <a:moveTo>
                    <a:pt x="4" y="42"/>
                  </a:moveTo>
                  <a:lnTo>
                    <a:pt x="6" y="38"/>
                  </a:lnTo>
                  <a:lnTo>
                    <a:pt x="6" y="38"/>
                  </a:lnTo>
                  <a:lnTo>
                    <a:pt x="6" y="38"/>
                  </a:lnTo>
                  <a:lnTo>
                    <a:pt x="6" y="38"/>
                  </a:lnTo>
                  <a:lnTo>
                    <a:pt x="6" y="38"/>
                  </a:lnTo>
                  <a:lnTo>
                    <a:pt x="6" y="42"/>
                  </a:lnTo>
                  <a:lnTo>
                    <a:pt x="10" y="42"/>
                  </a:lnTo>
                  <a:lnTo>
                    <a:pt x="10" y="42"/>
                  </a:lnTo>
                  <a:lnTo>
                    <a:pt x="6" y="42"/>
                  </a:lnTo>
                  <a:lnTo>
                    <a:pt x="6" y="42"/>
                  </a:lnTo>
                  <a:lnTo>
                    <a:pt x="6" y="42"/>
                  </a:lnTo>
                  <a:lnTo>
                    <a:pt x="6" y="42"/>
                  </a:lnTo>
                  <a:lnTo>
                    <a:pt x="6" y="42"/>
                  </a:lnTo>
                  <a:lnTo>
                    <a:pt x="6" y="42"/>
                  </a:lnTo>
                  <a:lnTo>
                    <a:pt x="6" y="42"/>
                  </a:lnTo>
                  <a:lnTo>
                    <a:pt x="6" y="42"/>
                  </a:lnTo>
                  <a:lnTo>
                    <a:pt x="6" y="42"/>
                  </a:lnTo>
                  <a:lnTo>
                    <a:pt x="6" y="42"/>
                  </a:lnTo>
                  <a:lnTo>
                    <a:pt x="6" y="42"/>
                  </a:lnTo>
                  <a:lnTo>
                    <a:pt x="4" y="42"/>
                  </a:lnTo>
                  <a:lnTo>
                    <a:pt x="4" y="42"/>
                  </a:lnTo>
                  <a:lnTo>
                    <a:pt x="4" y="42"/>
                  </a:lnTo>
                  <a:lnTo>
                    <a:pt x="4" y="42"/>
                  </a:lnTo>
                  <a:lnTo>
                    <a:pt x="4" y="42"/>
                  </a:lnTo>
                  <a:lnTo>
                    <a:pt x="4" y="4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75" name="Freeform 168"/>
            <p:cNvSpPr>
              <a:spLocks/>
            </p:cNvSpPr>
            <p:nvPr/>
          </p:nvSpPr>
          <p:spPr bwMode="auto">
            <a:xfrm>
              <a:off x="7405770" y="4024455"/>
              <a:ext cx="90429" cy="154295"/>
            </a:xfrm>
            <a:custGeom>
              <a:avLst/>
              <a:gdLst>
                <a:gd name="T0" fmla="*/ 78 w 144"/>
                <a:gd name="T1" fmla="*/ 24 h 236"/>
                <a:gd name="T2" fmla="*/ 92 w 144"/>
                <a:gd name="T3" fmla="*/ 16 h 236"/>
                <a:gd name="T4" fmla="*/ 108 w 144"/>
                <a:gd name="T5" fmla="*/ 12 h 236"/>
                <a:gd name="T6" fmla="*/ 118 w 144"/>
                <a:gd name="T7" fmla="*/ 12 h 236"/>
                <a:gd name="T8" fmla="*/ 134 w 144"/>
                <a:gd name="T9" fmla="*/ 8 h 236"/>
                <a:gd name="T10" fmla="*/ 140 w 144"/>
                <a:gd name="T11" fmla="*/ 4 h 236"/>
                <a:gd name="T12" fmla="*/ 140 w 144"/>
                <a:gd name="T13" fmla="*/ 16 h 236"/>
                <a:gd name="T14" fmla="*/ 140 w 144"/>
                <a:gd name="T15" fmla="*/ 30 h 236"/>
                <a:gd name="T16" fmla="*/ 140 w 144"/>
                <a:gd name="T17" fmla="*/ 30 h 236"/>
                <a:gd name="T18" fmla="*/ 136 w 144"/>
                <a:gd name="T19" fmla="*/ 46 h 236"/>
                <a:gd name="T20" fmla="*/ 130 w 144"/>
                <a:gd name="T21" fmla="*/ 58 h 236"/>
                <a:gd name="T22" fmla="*/ 126 w 144"/>
                <a:gd name="T23" fmla="*/ 68 h 236"/>
                <a:gd name="T24" fmla="*/ 122 w 144"/>
                <a:gd name="T25" fmla="*/ 80 h 236"/>
                <a:gd name="T26" fmla="*/ 114 w 144"/>
                <a:gd name="T27" fmla="*/ 88 h 236"/>
                <a:gd name="T28" fmla="*/ 110 w 144"/>
                <a:gd name="T29" fmla="*/ 102 h 236"/>
                <a:gd name="T30" fmla="*/ 104 w 144"/>
                <a:gd name="T31" fmla="*/ 120 h 236"/>
                <a:gd name="T32" fmla="*/ 96 w 144"/>
                <a:gd name="T33" fmla="*/ 128 h 236"/>
                <a:gd name="T34" fmla="*/ 88 w 144"/>
                <a:gd name="T35" fmla="*/ 140 h 236"/>
                <a:gd name="T36" fmla="*/ 82 w 144"/>
                <a:gd name="T37" fmla="*/ 150 h 236"/>
                <a:gd name="T38" fmla="*/ 74 w 144"/>
                <a:gd name="T39" fmla="*/ 162 h 236"/>
                <a:gd name="T40" fmla="*/ 62 w 144"/>
                <a:gd name="T41" fmla="*/ 170 h 236"/>
                <a:gd name="T42" fmla="*/ 56 w 144"/>
                <a:gd name="T43" fmla="*/ 176 h 236"/>
                <a:gd name="T44" fmla="*/ 44 w 144"/>
                <a:gd name="T45" fmla="*/ 188 h 236"/>
                <a:gd name="T46" fmla="*/ 36 w 144"/>
                <a:gd name="T47" fmla="*/ 196 h 236"/>
                <a:gd name="T48" fmla="*/ 26 w 144"/>
                <a:gd name="T49" fmla="*/ 206 h 236"/>
                <a:gd name="T50" fmla="*/ 18 w 144"/>
                <a:gd name="T51" fmla="*/ 214 h 236"/>
                <a:gd name="T52" fmla="*/ 10 w 144"/>
                <a:gd name="T53" fmla="*/ 226 h 236"/>
                <a:gd name="T54" fmla="*/ 6 w 144"/>
                <a:gd name="T55" fmla="*/ 236 h 236"/>
                <a:gd name="T56" fmla="*/ 0 w 144"/>
                <a:gd name="T57" fmla="*/ 206 h 236"/>
                <a:gd name="T58" fmla="*/ 4 w 144"/>
                <a:gd name="T59" fmla="*/ 154 h 236"/>
                <a:gd name="T60" fmla="*/ 14 w 144"/>
                <a:gd name="T61" fmla="*/ 136 h 236"/>
                <a:gd name="T62" fmla="*/ 26 w 144"/>
                <a:gd name="T63" fmla="*/ 132 h 236"/>
                <a:gd name="T64" fmla="*/ 32 w 144"/>
                <a:gd name="T65" fmla="*/ 124 h 236"/>
                <a:gd name="T66" fmla="*/ 48 w 144"/>
                <a:gd name="T67" fmla="*/ 124 h 236"/>
                <a:gd name="T68" fmla="*/ 62 w 144"/>
                <a:gd name="T69" fmla="*/ 114 h 236"/>
                <a:gd name="T70" fmla="*/ 70 w 144"/>
                <a:gd name="T71" fmla="*/ 102 h 236"/>
                <a:gd name="T72" fmla="*/ 92 w 144"/>
                <a:gd name="T73" fmla="*/ 76 h 236"/>
                <a:gd name="T74" fmla="*/ 82 w 144"/>
                <a:gd name="T75" fmla="*/ 72 h 236"/>
                <a:gd name="T76" fmla="*/ 70 w 144"/>
                <a:gd name="T77" fmla="*/ 64 h 236"/>
                <a:gd name="T78" fmla="*/ 48 w 144"/>
                <a:gd name="T79" fmla="*/ 58 h 236"/>
                <a:gd name="T80" fmla="*/ 32 w 144"/>
                <a:gd name="T81" fmla="*/ 46 h 236"/>
                <a:gd name="T82" fmla="*/ 26 w 144"/>
                <a:gd name="T83" fmla="*/ 34 h 236"/>
                <a:gd name="T84" fmla="*/ 26 w 144"/>
                <a:gd name="T85" fmla="*/ 24 h 236"/>
                <a:gd name="T86" fmla="*/ 30 w 144"/>
                <a:gd name="T87" fmla="*/ 12 h 236"/>
                <a:gd name="T88" fmla="*/ 36 w 144"/>
                <a:gd name="T89" fmla="*/ 24 h 236"/>
                <a:gd name="T90" fmla="*/ 48 w 144"/>
                <a:gd name="T91" fmla="*/ 30 h 236"/>
                <a:gd name="T92" fmla="*/ 56 w 144"/>
                <a:gd name="T93" fmla="*/ 28 h 236"/>
                <a:gd name="T94" fmla="*/ 62 w 144"/>
                <a:gd name="T95" fmla="*/ 2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4" h="236">
                  <a:moveTo>
                    <a:pt x="66" y="24"/>
                  </a:moveTo>
                  <a:lnTo>
                    <a:pt x="70" y="24"/>
                  </a:lnTo>
                  <a:lnTo>
                    <a:pt x="74" y="24"/>
                  </a:lnTo>
                  <a:lnTo>
                    <a:pt x="78" y="24"/>
                  </a:lnTo>
                  <a:lnTo>
                    <a:pt x="82" y="20"/>
                  </a:lnTo>
                  <a:lnTo>
                    <a:pt x="84" y="20"/>
                  </a:lnTo>
                  <a:lnTo>
                    <a:pt x="88" y="16"/>
                  </a:lnTo>
                  <a:lnTo>
                    <a:pt x="92" y="16"/>
                  </a:lnTo>
                  <a:lnTo>
                    <a:pt x="96" y="16"/>
                  </a:lnTo>
                  <a:lnTo>
                    <a:pt x="100" y="16"/>
                  </a:lnTo>
                  <a:lnTo>
                    <a:pt x="104" y="12"/>
                  </a:lnTo>
                  <a:lnTo>
                    <a:pt x="108" y="12"/>
                  </a:lnTo>
                  <a:lnTo>
                    <a:pt x="108" y="16"/>
                  </a:lnTo>
                  <a:lnTo>
                    <a:pt x="110" y="16"/>
                  </a:lnTo>
                  <a:lnTo>
                    <a:pt x="114" y="16"/>
                  </a:lnTo>
                  <a:lnTo>
                    <a:pt x="118" y="12"/>
                  </a:lnTo>
                  <a:lnTo>
                    <a:pt x="122" y="12"/>
                  </a:lnTo>
                  <a:lnTo>
                    <a:pt x="126" y="12"/>
                  </a:lnTo>
                  <a:lnTo>
                    <a:pt x="130" y="8"/>
                  </a:lnTo>
                  <a:lnTo>
                    <a:pt x="134" y="8"/>
                  </a:lnTo>
                  <a:lnTo>
                    <a:pt x="134" y="4"/>
                  </a:lnTo>
                  <a:lnTo>
                    <a:pt x="136" y="0"/>
                  </a:lnTo>
                  <a:lnTo>
                    <a:pt x="136" y="4"/>
                  </a:lnTo>
                  <a:lnTo>
                    <a:pt x="140" y="4"/>
                  </a:lnTo>
                  <a:lnTo>
                    <a:pt x="144" y="4"/>
                  </a:lnTo>
                  <a:lnTo>
                    <a:pt x="140" y="8"/>
                  </a:lnTo>
                  <a:lnTo>
                    <a:pt x="140" y="12"/>
                  </a:lnTo>
                  <a:lnTo>
                    <a:pt x="140" y="16"/>
                  </a:lnTo>
                  <a:lnTo>
                    <a:pt x="140" y="20"/>
                  </a:lnTo>
                  <a:lnTo>
                    <a:pt x="140" y="24"/>
                  </a:lnTo>
                  <a:lnTo>
                    <a:pt x="140" y="28"/>
                  </a:lnTo>
                  <a:lnTo>
                    <a:pt x="140" y="30"/>
                  </a:lnTo>
                  <a:lnTo>
                    <a:pt x="140" y="28"/>
                  </a:lnTo>
                  <a:lnTo>
                    <a:pt x="144" y="28"/>
                  </a:lnTo>
                  <a:lnTo>
                    <a:pt x="144" y="30"/>
                  </a:lnTo>
                  <a:lnTo>
                    <a:pt x="140" y="30"/>
                  </a:lnTo>
                  <a:lnTo>
                    <a:pt x="136" y="30"/>
                  </a:lnTo>
                  <a:lnTo>
                    <a:pt x="136" y="34"/>
                  </a:lnTo>
                  <a:lnTo>
                    <a:pt x="136" y="42"/>
                  </a:lnTo>
                  <a:lnTo>
                    <a:pt x="136" y="46"/>
                  </a:lnTo>
                  <a:lnTo>
                    <a:pt x="136" y="50"/>
                  </a:lnTo>
                  <a:lnTo>
                    <a:pt x="134" y="50"/>
                  </a:lnTo>
                  <a:lnTo>
                    <a:pt x="134" y="54"/>
                  </a:lnTo>
                  <a:lnTo>
                    <a:pt x="130" y="58"/>
                  </a:lnTo>
                  <a:lnTo>
                    <a:pt x="130" y="60"/>
                  </a:lnTo>
                  <a:lnTo>
                    <a:pt x="130" y="64"/>
                  </a:lnTo>
                  <a:lnTo>
                    <a:pt x="126" y="64"/>
                  </a:lnTo>
                  <a:lnTo>
                    <a:pt x="126" y="68"/>
                  </a:lnTo>
                  <a:lnTo>
                    <a:pt x="126" y="72"/>
                  </a:lnTo>
                  <a:lnTo>
                    <a:pt x="122" y="72"/>
                  </a:lnTo>
                  <a:lnTo>
                    <a:pt x="122" y="76"/>
                  </a:lnTo>
                  <a:lnTo>
                    <a:pt x="122" y="80"/>
                  </a:lnTo>
                  <a:lnTo>
                    <a:pt x="118" y="80"/>
                  </a:lnTo>
                  <a:lnTo>
                    <a:pt x="118" y="84"/>
                  </a:lnTo>
                  <a:lnTo>
                    <a:pt x="118" y="88"/>
                  </a:lnTo>
                  <a:lnTo>
                    <a:pt x="114" y="88"/>
                  </a:lnTo>
                  <a:lnTo>
                    <a:pt x="114" y="90"/>
                  </a:lnTo>
                  <a:lnTo>
                    <a:pt x="114" y="94"/>
                  </a:lnTo>
                  <a:lnTo>
                    <a:pt x="110" y="98"/>
                  </a:lnTo>
                  <a:lnTo>
                    <a:pt x="110" y="102"/>
                  </a:lnTo>
                  <a:lnTo>
                    <a:pt x="108" y="110"/>
                  </a:lnTo>
                  <a:lnTo>
                    <a:pt x="108" y="114"/>
                  </a:lnTo>
                  <a:lnTo>
                    <a:pt x="104" y="118"/>
                  </a:lnTo>
                  <a:lnTo>
                    <a:pt x="104" y="120"/>
                  </a:lnTo>
                  <a:lnTo>
                    <a:pt x="100" y="120"/>
                  </a:lnTo>
                  <a:lnTo>
                    <a:pt x="100" y="124"/>
                  </a:lnTo>
                  <a:lnTo>
                    <a:pt x="100" y="128"/>
                  </a:lnTo>
                  <a:lnTo>
                    <a:pt x="96" y="128"/>
                  </a:lnTo>
                  <a:lnTo>
                    <a:pt x="96" y="132"/>
                  </a:lnTo>
                  <a:lnTo>
                    <a:pt x="92" y="136"/>
                  </a:lnTo>
                  <a:lnTo>
                    <a:pt x="92" y="140"/>
                  </a:lnTo>
                  <a:lnTo>
                    <a:pt x="88" y="140"/>
                  </a:lnTo>
                  <a:lnTo>
                    <a:pt x="88" y="144"/>
                  </a:lnTo>
                  <a:lnTo>
                    <a:pt x="84" y="146"/>
                  </a:lnTo>
                  <a:lnTo>
                    <a:pt x="84" y="150"/>
                  </a:lnTo>
                  <a:lnTo>
                    <a:pt x="82" y="150"/>
                  </a:lnTo>
                  <a:lnTo>
                    <a:pt x="78" y="154"/>
                  </a:lnTo>
                  <a:lnTo>
                    <a:pt x="78" y="158"/>
                  </a:lnTo>
                  <a:lnTo>
                    <a:pt x="74" y="158"/>
                  </a:lnTo>
                  <a:lnTo>
                    <a:pt x="74" y="162"/>
                  </a:lnTo>
                  <a:lnTo>
                    <a:pt x="70" y="162"/>
                  </a:lnTo>
                  <a:lnTo>
                    <a:pt x="70" y="166"/>
                  </a:lnTo>
                  <a:lnTo>
                    <a:pt x="66" y="170"/>
                  </a:lnTo>
                  <a:lnTo>
                    <a:pt x="62" y="170"/>
                  </a:lnTo>
                  <a:lnTo>
                    <a:pt x="62" y="174"/>
                  </a:lnTo>
                  <a:lnTo>
                    <a:pt x="58" y="174"/>
                  </a:lnTo>
                  <a:lnTo>
                    <a:pt x="58" y="176"/>
                  </a:lnTo>
                  <a:lnTo>
                    <a:pt x="56" y="176"/>
                  </a:lnTo>
                  <a:lnTo>
                    <a:pt x="52" y="176"/>
                  </a:lnTo>
                  <a:lnTo>
                    <a:pt x="48" y="180"/>
                  </a:lnTo>
                  <a:lnTo>
                    <a:pt x="44" y="184"/>
                  </a:lnTo>
                  <a:lnTo>
                    <a:pt x="44" y="188"/>
                  </a:lnTo>
                  <a:lnTo>
                    <a:pt x="40" y="188"/>
                  </a:lnTo>
                  <a:lnTo>
                    <a:pt x="40" y="192"/>
                  </a:lnTo>
                  <a:lnTo>
                    <a:pt x="36" y="192"/>
                  </a:lnTo>
                  <a:lnTo>
                    <a:pt x="36" y="196"/>
                  </a:lnTo>
                  <a:lnTo>
                    <a:pt x="32" y="200"/>
                  </a:lnTo>
                  <a:lnTo>
                    <a:pt x="30" y="200"/>
                  </a:lnTo>
                  <a:lnTo>
                    <a:pt x="30" y="204"/>
                  </a:lnTo>
                  <a:lnTo>
                    <a:pt x="26" y="206"/>
                  </a:lnTo>
                  <a:lnTo>
                    <a:pt x="26" y="210"/>
                  </a:lnTo>
                  <a:lnTo>
                    <a:pt x="22" y="210"/>
                  </a:lnTo>
                  <a:lnTo>
                    <a:pt x="22" y="214"/>
                  </a:lnTo>
                  <a:lnTo>
                    <a:pt x="18" y="214"/>
                  </a:lnTo>
                  <a:lnTo>
                    <a:pt x="18" y="218"/>
                  </a:lnTo>
                  <a:lnTo>
                    <a:pt x="14" y="222"/>
                  </a:lnTo>
                  <a:lnTo>
                    <a:pt x="14" y="226"/>
                  </a:lnTo>
                  <a:lnTo>
                    <a:pt x="10" y="226"/>
                  </a:lnTo>
                  <a:lnTo>
                    <a:pt x="10" y="230"/>
                  </a:lnTo>
                  <a:lnTo>
                    <a:pt x="10" y="234"/>
                  </a:lnTo>
                  <a:lnTo>
                    <a:pt x="6" y="234"/>
                  </a:lnTo>
                  <a:lnTo>
                    <a:pt x="6" y="236"/>
                  </a:lnTo>
                  <a:lnTo>
                    <a:pt x="4" y="234"/>
                  </a:lnTo>
                  <a:lnTo>
                    <a:pt x="0" y="226"/>
                  </a:lnTo>
                  <a:lnTo>
                    <a:pt x="0" y="222"/>
                  </a:lnTo>
                  <a:lnTo>
                    <a:pt x="0" y="206"/>
                  </a:lnTo>
                  <a:lnTo>
                    <a:pt x="0" y="184"/>
                  </a:lnTo>
                  <a:lnTo>
                    <a:pt x="0" y="170"/>
                  </a:lnTo>
                  <a:lnTo>
                    <a:pt x="0" y="162"/>
                  </a:lnTo>
                  <a:lnTo>
                    <a:pt x="4" y="154"/>
                  </a:lnTo>
                  <a:lnTo>
                    <a:pt x="10" y="144"/>
                  </a:lnTo>
                  <a:lnTo>
                    <a:pt x="10" y="140"/>
                  </a:lnTo>
                  <a:lnTo>
                    <a:pt x="14" y="140"/>
                  </a:lnTo>
                  <a:lnTo>
                    <a:pt x="14" y="136"/>
                  </a:lnTo>
                  <a:lnTo>
                    <a:pt x="18" y="136"/>
                  </a:lnTo>
                  <a:lnTo>
                    <a:pt x="22" y="136"/>
                  </a:lnTo>
                  <a:lnTo>
                    <a:pt x="26" y="136"/>
                  </a:lnTo>
                  <a:lnTo>
                    <a:pt x="26" y="132"/>
                  </a:lnTo>
                  <a:lnTo>
                    <a:pt x="26" y="128"/>
                  </a:lnTo>
                  <a:lnTo>
                    <a:pt x="30" y="128"/>
                  </a:lnTo>
                  <a:lnTo>
                    <a:pt x="32" y="128"/>
                  </a:lnTo>
                  <a:lnTo>
                    <a:pt x="32" y="124"/>
                  </a:lnTo>
                  <a:lnTo>
                    <a:pt x="36" y="124"/>
                  </a:lnTo>
                  <a:lnTo>
                    <a:pt x="40" y="124"/>
                  </a:lnTo>
                  <a:lnTo>
                    <a:pt x="44" y="124"/>
                  </a:lnTo>
                  <a:lnTo>
                    <a:pt x="48" y="124"/>
                  </a:lnTo>
                  <a:lnTo>
                    <a:pt x="56" y="124"/>
                  </a:lnTo>
                  <a:lnTo>
                    <a:pt x="56" y="120"/>
                  </a:lnTo>
                  <a:lnTo>
                    <a:pt x="58" y="118"/>
                  </a:lnTo>
                  <a:lnTo>
                    <a:pt x="62" y="114"/>
                  </a:lnTo>
                  <a:lnTo>
                    <a:pt x="62" y="110"/>
                  </a:lnTo>
                  <a:lnTo>
                    <a:pt x="66" y="106"/>
                  </a:lnTo>
                  <a:lnTo>
                    <a:pt x="70" y="106"/>
                  </a:lnTo>
                  <a:lnTo>
                    <a:pt x="70" y="102"/>
                  </a:lnTo>
                  <a:lnTo>
                    <a:pt x="78" y="94"/>
                  </a:lnTo>
                  <a:lnTo>
                    <a:pt x="82" y="88"/>
                  </a:lnTo>
                  <a:lnTo>
                    <a:pt x="88" y="80"/>
                  </a:lnTo>
                  <a:lnTo>
                    <a:pt x="92" y="76"/>
                  </a:lnTo>
                  <a:lnTo>
                    <a:pt x="96" y="72"/>
                  </a:lnTo>
                  <a:lnTo>
                    <a:pt x="92" y="72"/>
                  </a:lnTo>
                  <a:lnTo>
                    <a:pt x="84" y="72"/>
                  </a:lnTo>
                  <a:lnTo>
                    <a:pt x="82" y="72"/>
                  </a:lnTo>
                  <a:lnTo>
                    <a:pt x="82" y="68"/>
                  </a:lnTo>
                  <a:lnTo>
                    <a:pt x="78" y="68"/>
                  </a:lnTo>
                  <a:lnTo>
                    <a:pt x="74" y="68"/>
                  </a:lnTo>
                  <a:lnTo>
                    <a:pt x="70" y="64"/>
                  </a:lnTo>
                  <a:lnTo>
                    <a:pt x="62" y="64"/>
                  </a:lnTo>
                  <a:lnTo>
                    <a:pt x="58" y="60"/>
                  </a:lnTo>
                  <a:lnTo>
                    <a:pt x="56" y="60"/>
                  </a:lnTo>
                  <a:lnTo>
                    <a:pt x="48" y="58"/>
                  </a:lnTo>
                  <a:lnTo>
                    <a:pt x="40" y="54"/>
                  </a:lnTo>
                  <a:lnTo>
                    <a:pt x="36" y="50"/>
                  </a:lnTo>
                  <a:lnTo>
                    <a:pt x="32" y="50"/>
                  </a:lnTo>
                  <a:lnTo>
                    <a:pt x="32" y="46"/>
                  </a:lnTo>
                  <a:lnTo>
                    <a:pt x="30" y="42"/>
                  </a:lnTo>
                  <a:lnTo>
                    <a:pt x="30" y="38"/>
                  </a:lnTo>
                  <a:lnTo>
                    <a:pt x="26" y="38"/>
                  </a:lnTo>
                  <a:lnTo>
                    <a:pt x="26" y="34"/>
                  </a:lnTo>
                  <a:lnTo>
                    <a:pt x="22" y="30"/>
                  </a:lnTo>
                  <a:lnTo>
                    <a:pt x="22" y="28"/>
                  </a:lnTo>
                  <a:lnTo>
                    <a:pt x="22" y="24"/>
                  </a:lnTo>
                  <a:lnTo>
                    <a:pt x="26" y="24"/>
                  </a:lnTo>
                  <a:lnTo>
                    <a:pt x="26" y="20"/>
                  </a:lnTo>
                  <a:lnTo>
                    <a:pt x="26" y="16"/>
                  </a:lnTo>
                  <a:lnTo>
                    <a:pt x="30" y="16"/>
                  </a:lnTo>
                  <a:lnTo>
                    <a:pt x="30" y="12"/>
                  </a:lnTo>
                  <a:lnTo>
                    <a:pt x="32" y="12"/>
                  </a:lnTo>
                  <a:lnTo>
                    <a:pt x="32" y="16"/>
                  </a:lnTo>
                  <a:lnTo>
                    <a:pt x="36" y="20"/>
                  </a:lnTo>
                  <a:lnTo>
                    <a:pt x="36" y="24"/>
                  </a:lnTo>
                  <a:lnTo>
                    <a:pt x="40" y="24"/>
                  </a:lnTo>
                  <a:lnTo>
                    <a:pt x="44" y="28"/>
                  </a:lnTo>
                  <a:lnTo>
                    <a:pt x="44" y="30"/>
                  </a:lnTo>
                  <a:lnTo>
                    <a:pt x="48" y="30"/>
                  </a:lnTo>
                  <a:lnTo>
                    <a:pt x="52" y="28"/>
                  </a:lnTo>
                  <a:lnTo>
                    <a:pt x="52" y="30"/>
                  </a:lnTo>
                  <a:lnTo>
                    <a:pt x="56" y="30"/>
                  </a:lnTo>
                  <a:lnTo>
                    <a:pt x="56" y="28"/>
                  </a:lnTo>
                  <a:lnTo>
                    <a:pt x="58" y="28"/>
                  </a:lnTo>
                  <a:lnTo>
                    <a:pt x="58" y="24"/>
                  </a:lnTo>
                  <a:lnTo>
                    <a:pt x="58" y="28"/>
                  </a:lnTo>
                  <a:lnTo>
                    <a:pt x="62" y="24"/>
                  </a:lnTo>
                  <a:lnTo>
                    <a:pt x="66" y="24"/>
                  </a:lnTo>
                  <a:lnTo>
                    <a:pt x="66" y="24"/>
                  </a:lnTo>
                  <a:lnTo>
                    <a:pt x="66" y="2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76" name="Freeform 169"/>
            <p:cNvSpPr>
              <a:spLocks/>
            </p:cNvSpPr>
            <p:nvPr/>
          </p:nvSpPr>
          <p:spPr bwMode="auto">
            <a:xfrm>
              <a:off x="7314084" y="4452034"/>
              <a:ext cx="11304" cy="19614"/>
            </a:xfrm>
            <a:custGeom>
              <a:avLst/>
              <a:gdLst>
                <a:gd name="T0" fmla="*/ 0 w 18"/>
                <a:gd name="T1" fmla="*/ 18 h 30"/>
                <a:gd name="T2" fmla="*/ 0 w 18"/>
                <a:gd name="T3" fmla="*/ 22 h 30"/>
                <a:gd name="T4" fmla="*/ 0 w 18"/>
                <a:gd name="T5" fmla="*/ 22 h 30"/>
                <a:gd name="T6" fmla="*/ 0 w 18"/>
                <a:gd name="T7" fmla="*/ 18 h 30"/>
                <a:gd name="T8" fmla="*/ 0 w 18"/>
                <a:gd name="T9" fmla="*/ 18 h 30"/>
                <a:gd name="T10" fmla="*/ 0 w 18"/>
                <a:gd name="T11" fmla="*/ 18 h 30"/>
                <a:gd name="T12" fmla="*/ 0 w 18"/>
                <a:gd name="T13" fmla="*/ 18 h 30"/>
                <a:gd name="T14" fmla="*/ 0 w 18"/>
                <a:gd name="T15" fmla="*/ 14 h 30"/>
                <a:gd name="T16" fmla="*/ 0 w 18"/>
                <a:gd name="T17" fmla="*/ 14 h 30"/>
                <a:gd name="T18" fmla="*/ 0 w 18"/>
                <a:gd name="T19" fmla="*/ 14 h 30"/>
                <a:gd name="T20" fmla="*/ 0 w 18"/>
                <a:gd name="T21" fmla="*/ 14 h 30"/>
                <a:gd name="T22" fmla="*/ 0 w 18"/>
                <a:gd name="T23" fmla="*/ 12 h 30"/>
                <a:gd name="T24" fmla="*/ 4 w 18"/>
                <a:gd name="T25" fmla="*/ 12 h 30"/>
                <a:gd name="T26" fmla="*/ 4 w 18"/>
                <a:gd name="T27" fmla="*/ 12 h 30"/>
                <a:gd name="T28" fmla="*/ 4 w 18"/>
                <a:gd name="T29" fmla="*/ 8 h 30"/>
                <a:gd name="T30" fmla="*/ 4 w 18"/>
                <a:gd name="T31" fmla="*/ 8 h 30"/>
                <a:gd name="T32" fmla="*/ 4 w 18"/>
                <a:gd name="T33" fmla="*/ 8 h 30"/>
                <a:gd name="T34" fmla="*/ 4 w 18"/>
                <a:gd name="T35" fmla="*/ 8 h 30"/>
                <a:gd name="T36" fmla="*/ 4 w 18"/>
                <a:gd name="T37" fmla="*/ 8 h 30"/>
                <a:gd name="T38" fmla="*/ 4 w 18"/>
                <a:gd name="T39" fmla="*/ 4 h 30"/>
                <a:gd name="T40" fmla="*/ 6 w 18"/>
                <a:gd name="T41" fmla="*/ 0 h 30"/>
                <a:gd name="T42" fmla="*/ 6 w 18"/>
                <a:gd name="T43" fmla="*/ 0 h 30"/>
                <a:gd name="T44" fmla="*/ 10 w 18"/>
                <a:gd name="T45" fmla="*/ 4 h 30"/>
                <a:gd name="T46" fmla="*/ 10 w 18"/>
                <a:gd name="T47" fmla="*/ 4 h 30"/>
                <a:gd name="T48" fmla="*/ 14 w 18"/>
                <a:gd name="T49" fmla="*/ 4 h 30"/>
                <a:gd name="T50" fmla="*/ 14 w 18"/>
                <a:gd name="T51" fmla="*/ 4 h 30"/>
                <a:gd name="T52" fmla="*/ 14 w 18"/>
                <a:gd name="T53" fmla="*/ 8 h 30"/>
                <a:gd name="T54" fmla="*/ 14 w 18"/>
                <a:gd name="T55" fmla="*/ 4 h 30"/>
                <a:gd name="T56" fmla="*/ 14 w 18"/>
                <a:gd name="T57" fmla="*/ 8 h 30"/>
                <a:gd name="T58" fmla="*/ 18 w 18"/>
                <a:gd name="T59" fmla="*/ 8 h 30"/>
                <a:gd name="T60" fmla="*/ 18 w 18"/>
                <a:gd name="T61" fmla="*/ 8 h 30"/>
                <a:gd name="T62" fmla="*/ 18 w 18"/>
                <a:gd name="T63" fmla="*/ 12 h 30"/>
                <a:gd name="T64" fmla="*/ 18 w 18"/>
                <a:gd name="T65" fmla="*/ 14 h 30"/>
                <a:gd name="T66" fmla="*/ 18 w 18"/>
                <a:gd name="T67" fmla="*/ 14 h 30"/>
                <a:gd name="T68" fmla="*/ 18 w 18"/>
                <a:gd name="T69" fmla="*/ 14 h 30"/>
                <a:gd name="T70" fmla="*/ 18 w 18"/>
                <a:gd name="T71" fmla="*/ 22 h 30"/>
                <a:gd name="T72" fmla="*/ 18 w 18"/>
                <a:gd name="T73" fmla="*/ 22 h 30"/>
                <a:gd name="T74" fmla="*/ 18 w 18"/>
                <a:gd name="T75" fmla="*/ 22 h 30"/>
                <a:gd name="T76" fmla="*/ 14 w 18"/>
                <a:gd name="T77" fmla="*/ 22 h 30"/>
                <a:gd name="T78" fmla="*/ 14 w 18"/>
                <a:gd name="T79" fmla="*/ 26 h 30"/>
                <a:gd name="T80" fmla="*/ 14 w 18"/>
                <a:gd name="T81" fmla="*/ 26 h 30"/>
                <a:gd name="T82" fmla="*/ 14 w 18"/>
                <a:gd name="T83" fmla="*/ 26 h 30"/>
                <a:gd name="T84" fmla="*/ 14 w 18"/>
                <a:gd name="T85" fmla="*/ 30 h 30"/>
                <a:gd name="T86" fmla="*/ 14 w 18"/>
                <a:gd name="T87" fmla="*/ 30 h 30"/>
                <a:gd name="T88" fmla="*/ 14 w 18"/>
                <a:gd name="T89" fmla="*/ 30 h 30"/>
                <a:gd name="T90" fmla="*/ 14 w 18"/>
                <a:gd name="T91" fmla="*/ 30 h 30"/>
                <a:gd name="T92" fmla="*/ 14 w 18"/>
                <a:gd name="T93" fmla="*/ 30 h 30"/>
                <a:gd name="T94" fmla="*/ 14 w 18"/>
                <a:gd name="T95" fmla="*/ 30 h 30"/>
                <a:gd name="T96" fmla="*/ 10 w 18"/>
                <a:gd name="T97" fmla="*/ 30 h 30"/>
                <a:gd name="T98" fmla="*/ 10 w 18"/>
                <a:gd name="T99" fmla="*/ 30 h 30"/>
                <a:gd name="T100" fmla="*/ 6 w 18"/>
                <a:gd name="T101" fmla="*/ 30 h 30"/>
                <a:gd name="T102" fmla="*/ 6 w 18"/>
                <a:gd name="T103" fmla="*/ 30 h 30"/>
                <a:gd name="T104" fmla="*/ 4 w 18"/>
                <a:gd name="T105" fmla="*/ 30 h 30"/>
                <a:gd name="T106" fmla="*/ 4 w 18"/>
                <a:gd name="T107" fmla="*/ 30 h 30"/>
                <a:gd name="T108" fmla="*/ 4 w 18"/>
                <a:gd name="T109" fmla="*/ 26 h 30"/>
                <a:gd name="T110" fmla="*/ 4 w 18"/>
                <a:gd name="T111" fmla="*/ 22 h 30"/>
                <a:gd name="T112" fmla="*/ 0 w 18"/>
                <a:gd name="T113" fmla="*/ 22 h 30"/>
                <a:gd name="T114" fmla="*/ 0 w 18"/>
                <a:gd name="T115" fmla="*/ 18 h 30"/>
                <a:gd name="T116" fmla="*/ 0 w 18"/>
                <a:gd name="T117" fmla="*/ 18 h 30"/>
                <a:gd name="T118" fmla="*/ 0 w 18"/>
                <a:gd name="T119"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 h="30">
                  <a:moveTo>
                    <a:pt x="0" y="18"/>
                  </a:moveTo>
                  <a:lnTo>
                    <a:pt x="0" y="22"/>
                  </a:lnTo>
                  <a:lnTo>
                    <a:pt x="0" y="22"/>
                  </a:lnTo>
                  <a:lnTo>
                    <a:pt x="0" y="18"/>
                  </a:lnTo>
                  <a:lnTo>
                    <a:pt x="0" y="18"/>
                  </a:lnTo>
                  <a:lnTo>
                    <a:pt x="0" y="18"/>
                  </a:lnTo>
                  <a:lnTo>
                    <a:pt x="0" y="18"/>
                  </a:lnTo>
                  <a:lnTo>
                    <a:pt x="0" y="14"/>
                  </a:lnTo>
                  <a:lnTo>
                    <a:pt x="0" y="14"/>
                  </a:lnTo>
                  <a:lnTo>
                    <a:pt x="0" y="14"/>
                  </a:lnTo>
                  <a:lnTo>
                    <a:pt x="0" y="14"/>
                  </a:lnTo>
                  <a:lnTo>
                    <a:pt x="0" y="12"/>
                  </a:lnTo>
                  <a:lnTo>
                    <a:pt x="4" y="12"/>
                  </a:lnTo>
                  <a:lnTo>
                    <a:pt x="4" y="12"/>
                  </a:lnTo>
                  <a:lnTo>
                    <a:pt x="4" y="8"/>
                  </a:lnTo>
                  <a:lnTo>
                    <a:pt x="4" y="8"/>
                  </a:lnTo>
                  <a:lnTo>
                    <a:pt x="4" y="8"/>
                  </a:lnTo>
                  <a:lnTo>
                    <a:pt x="4" y="8"/>
                  </a:lnTo>
                  <a:lnTo>
                    <a:pt x="4" y="8"/>
                  </a:lnTo>
                  <a:lnTo>
                    <a:pt x="4" y="4"/>
                  </a:lnTo>
                  <a:lnTo>
                    <a:pt x="6" y="0"/>
                  </a:lnTo>
                  <a:lnTo>
                    <a:pt x="6" y="0"/>
                  </a:lnTo>
                  <a:lnTo>
                    <a:pt x="10" y="4"/>
                  </a:lnTo>
                  <a:lnTo>
                    <a:pt x="10" y="4"/>
                  </a:lnTo>
                  <a:lnTo>
                    <a:pt x="14" y="4"/>
                  </a:lnTo>
                  <a:lnTo>
                    <a:pt x="14" y="4"/>
                  </a:lnTo>
                  <a:lnTo>
                    <a:pt x="14" y="8"/>
                  </a:lnTo>
                  <a:lnTo>
                    <a:pt x="14" y="4"/>
                  </a:lnTo>
                  <a:lnTo>
                    <a:pt x="14" y="8"/>
                  </a:lnTo>
                  <a:lnTo>
                    <a:pt x="18" y="8"/>
                  </a:lnTo>
                  <a:lnTo>
                    <a:pt x="18" y="8"/>
                  </a:lnTo>
                  <a:lnTo>
                    <a:pt x="18" y="12"/>
                  </a:lnTo>
                  <a:lnTo>
                    <a:pt x="18" y="14"/>
                  </a:lnTo>
                  <a:lnTo>
                    <a:pt x="18" y="14"/>
                  </a:lnTo>
                  <a:lnTo>
                    <a:pt x="18" y="14"/>
                  </a:lnTo>
                  <a:lnTo>
                    <a:pt x="18" y="22"/>
                  </a:lnTo>
                  <a:lnTo>
                    <a:pt x="18" y="22"/>
                  </a:lnTo>
                  <a:lnTo>
                    <a:pt x="18" y="22"/>
                  </a:lnTo>
                  <a:lnTo>
                    <a:pt x="14" y="22"/>
                  </a:lnTo>
                  <a:lnTo>
                    <a:pt x="14" y="26"/>
                  </a:lnTo>
                  <a:lnTo>
                    <a:pt x="14" y="26"/>
                  </a:lnTo>
                  <a:lnTo>
                    <a:pt x="14" y="26"/>
                  </a:lnTo>
                  <a:lnTo>
                    <a:pt x="14" y="30"/>
                  </a:lnTo>
                  <a:lnTo>
                    <a:pt x="14" y="30"/>
                  </a:lnTo>
                  <a:lnTo>
                    <a:pt x="14" y="30"/>
                  </a:lnTo>
                  <a:lnTo>
                    <a:pt x="14" y="30"/>
                  </a:lnTo>
                  <a:lnTo>
                    <a:pt x="14" y="30"/>
                  </a:lnTo>
                  <a:lnTo>
                    <a:pt x="14" y="30"/>
                  </a:lnTo>
                  <a:lnTo>
                    <a:pt x="10" y="30"/>
                  </a:lnTo>
                  <a:lnTo>
                    <a:pt x="10" y="30"/>
                  </a:lnTo>
                  <a:lnTo>
                    <a:pt x="6" y="30"/>
                  </a:lnTo>
                  <a:lnTo>
                    <a:pt x="6" y="30"/>
                  </a:lnTo>
                  <a:lnTo>
                    <a:pt x="4" y="30"/>
                  </a:lnTo>
                  <a:lnTo>
                    <a:pt x="4" y="30"/>
                  </a:lnTo>
                  <a:lnTo>
                    <a:pt x="4" y="26"/>
                  </a:lnTo>
                  <a:lnTo>
                    <a:pt x="4" y="22"/>
                  </a:lnTo>
                  <a:lnTo>
                    <a:pt x="0" y="22"/>
                  </a:lnTo>
                  <a:lnTo>
                    <a:pt x="0" y="18"/>
                  </a:lnTo>
                  <a:lnTo>
                    <a:pt x="0" y="18"/>
                  </a:lnTo>
                  <a:lnTo>
                    <a:pt x="0" y="1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77" name="Freeform 170"/>
            <p:cNvSpPr>
              <a:spLocks noEditPoints="1"/>
            </p:cNvSpPr>
            <p:nvPr/>
          </p:nvSpPr>
          <p:spPr bwMode="auto">
            <a:xfrm>
              <a:off x="7299013" y="4172212"/>
              <a:ext cx="99221" cy="118990"/>
            </a:xfrm>
            <a:custGeom>
              <a:avLst/>
              <a:gdLst>
                <a:gd name="T0" fmla="*/ 64 w 158"/>
                <a:gd name="T1" fmla="*/ 148 h 182"/>
                <a:gd name="T2" fmla="*/ 52 w 158"/>
                <a:gd name="T3" fmla="*/ 144 h 182"/>
                <a:gd name="T4" fmla="*/ 42 w 158"/>
                <a:gd name="T5" fmla="*/ 136 h 182"/>
                <a:gd name="T6" fmla="*/ 30 w 158"/>
                <a:gd name="T7" fmla="*/ 130 h 182"/>
                <a:gd name="T8" fmla="*/ 22 w 158"/>
                <a:gd name="T9" fmla="*/ 122 h 182"/>
                <a:gd name="T10" fmla="*/ 20 w 158"/>
                <a:gd name="T11" fmla="*/ 110 h 182"/>
                <a:gd name="T12" fmla="*/ 16 w 158"/>
                <a:gd name="T13" fmla="*/ 100 h 182"/>
                <a:gd name="T14" fmla="*/ 4 w 158"/>
                <a:gd name="T15" fmla="*/ 88 h 182"/>
                <a:gd name="T16" fmla="*/ 4 w 158"/>
                <a:gd name="T17" fmla="*/ 74 h 182"/>
                <a:gd name="T18" fmla="*/ 0 w 158"/>
                <a:gd name="T19" fmla="*/ 62 h 182"/>
                <a:gd name="T20" fmla="*/ 12 w 158"/>
                <a:gd name="T21" fmla="*/ 54 h 182"/>
                <a:gd name="T22" fmla="*/ 20 w 158"/>
                <a:gd name="T23" fmla="*/ 44 h 182"/>
                <a:gd name="T24" fmla="*/ 22 w 158"/>
                <a:gd name="T25" fmla="*/ 34 h 182"/>
                <a:gd name="T26" fmla="*/ 20 w 158"/>
                <a:gd name="T27" fmla="*/ 22 h 182"/>
                <a:gd name="T28" fmla="*/ 22 w 158"/>
                <a:gd name="T29" fmla="*/ 10 h 182"/>
                <a:gd name="T30" fmla="*/ 20 w 158"/>
                <a:gd name="T31" fmla="*/ 0 h 182"/>
                <a:gd name="T32" fmla="*/ 34 w 158"/>
                <a:gd name="T33" fmla="*/ 0 h 182"/>
                <a:gd name="T34" fmla="*/ 56 w 158"/>
                <a:gd name="T35" fmla="*/ 0 h 182"/>
                <a:gd name="T36" fmla="*/ 80 w 158"/>
                <a:gd name="T37" fmla="*/ 6 h 182"/>
                <a:gd name="T38" fmla="*/ 98 w 158"/>
                <a:gd name="T39" fmla="*/ 18 h 182"/>
                <a:gd name="T40" fmla="*/ 112 w 158"/>
                <a:gd name="T41" fmla="*/ 30 h 182"/>
                <a:gd name="T42" fmla="*/ 120 w 158"/>
                <a:gd name="T43" fmla="*/ 40 h 182"/>
                <a:gd name="T44" fmla="*/ 132 w 158"/>
                <a:gd name="T45" fmla="*/ 54 h 182"/>
                <a:gd name="T46" fmla="*/ 142 w 158"/>
                <a:gd name="T47" fmla="*/ 66 h 182"/>
                <a:gd name="T48" fmla="*/ 136 w 158"/>
                <a:gd name="T49" fmla="*/ 80 h 182"/>
                <a:gd name="T50" fmla="*/ 140 w 158"/>
                <a:gd name="T51" fmla="*/ 92 h 182"/>
                <a:gd name="T52" fmla="*/ 146 w 158"/>
                <a:gd name="T53" fmla="*/ 104 h 182"/>
                <a:gd name="T54" fmla="*/ 142 w 158"/>
                <a:gd name="T55" fmla="*/ 114 h 182"/>
                <a:gd name="T56" fmla="*/ 142 w 158"/>
                <a:gd name="T57" fmla="*/ 126 h 182"/>
                <a:gd name="T58" fmla="*/ 142 w 158"/>
                <a:gd name="T59" fmla="*/ 134 h 182"/>
                <a:gd name="T60" fmla="*/ 146 w 158"/>
                <a:gd name="T61" fmla="*/ 140 h 182"/>
                <a:gd name="T62" fmla="*/ 150 w 158"/>
                <a:gd name="T63" fmla="*/ 156 h 182"/>
                <a:gd name="T64" fmla="*/ 158 w 158"/>
                <a:gd name="T65" fmla="*/ 156 h 182"/>
                <a:gd name="T66" fmla="*/ 150 w 158"/>
                <a:gd name="T67" fmla="*/ 166 h 182"/>
                <a:gd name="T68" fmla="*/ 142 w 158"/>
                <a:gd name="T69" fmla="*/ 174 h 182"/>
                <a:gd name="T70" fmla="*/ 128 w 158"/>
                <a:gd name="T71" fmla="*/ 178 h 182"/>
                <a:gd name="T72" fmla="*/ 120 w 158"/>
                <a:gd name="T73" fmla="*/ 178 h 182"/>
                <a:gd name="T74" fmla="*/ 116 w 158"/>
                <a:gd name="T75" fmla="*/ 182 h 182"/>
                <a:gd name="T76" fmla="*/ 102 w 158"/>
                <a:gd name="T77" fmla="*/ 182 h 182"/>
                <a:gd name="T78" fmla="*/ 86 w 158"/>
                <a:gd name="T79" fmla="*/ 182 h 182"/>
                <a:gd name="T80" fmla="*/ 80 w 158"/>
                <a:gd name="T81" fmla="*/ 174 h 182"/>
                <a:gd name="T82" fmla="*/ 80 w 158"/>
                <a:gd name="T83" fmla="*/ 164 h 182"/>
                <a:gd name="T84" fmla="*/ 76 w 158"/>
                <a:gd name="T85" fmla="*/ 152 h 182"/>
                <a:gd name="T86" fmla="*/ 72 w 158"/>
                <a:gd name="T87" fmla="*/ 144 h 182"/>
                <a:gd name="T88" fmla="*/ 150 w 158"/>
                <a:gd name="T89" fmla="*/ 70 h 182"/>
                <a:gd name="T90" fmla="*/ 150 w 158"/>
                <a:gd name="T91" fmla="*/ 74 h 182"/>
                <a:gd name="T92" fmla="*/ 142 w 158"/>
                <a:gd name="T93" fmla="*/ 84 h 182"/>
                <a:gd name="T94" fmla="*/ 146 w 158"/>
                <a:gd name="T95" fmla="*/ 88 h 182"/>
                <a:gd name="T96" fmla="*/ 142 w 158"/>
                <a:gd name="T97" fmla="*/ 84 h 182"/>
                <a:gd name="T98" fmla="*/ 150 w 158"/>
                <a:gd name="T99" fmla="*/ 114 h 182"/>
                <a:gd name="T100" fmla="*/ 146 w 158"/>
                <a:gd name="T101" fmla="*/ 11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 h="182">
                  <a:moveTo>
                    <a:pt x="72" y="144"/>
                  </a:moveTo>
                  <a:lnTo>
                    <a:pt x="68" y="144"/>
                  </a:lnTo>
                  <a:lnTo>
                    <a:pt x="68" y="148"/>
                  </a:lnTo>
                  <a:lnTo>
                    <a:pt x="64" y="148"/>
                  </a:lnTo>
                  <a:lnTo>
                    <a:pt x="60" y="148"/>
                  </a:lnTo>
                  <a:lnTo>
                    <a:pt x="60" y="144"/>
                  </a:lnTo>
                  <a:lnTo>
                    <a:pt x="56" y="144"/>
                  </a:lnTo>
                  <a:lnTo>
                    <a:pt x="52" y="144"/>
                  </a:lnTo>
                  <a:lnTo>
                    <a:pt x="50" y="140"/>
                  </a:lnTo>
                  <a:lnTo>
                    <a:pt x="46" y="140"/>
                  </a:lnTo>
                  <a:lnTo>
                    <a:pt x="46" y="136"/>
                  </a:lnTo>
                  <a:lnTo>
                    <a:pt x="42" y="136"/>
                  </a:lnTo>
                  <a:lnTo>
                    <a:pt x="38" y="136"/>
                  </a:lnTo>
                  <a:lnTo>
                    <a:pt x="38" y="134"/>
                  </a:lnTo>
                  <a:lnTo>
                    <a:pt x="34" y="134"/>
                  </a:lnTo>
                  <a:lnTo>
                    <a:pt x="30" y="130"/>
                  </a:lnTo>
                  <a:lnTo>
                    <a:pt x="26" y="130"/>
                  </a:lnTo>
                  <a:lnTo>
                    <a:pt x="22" y="130"/>
                  </a:lnTo>
                  <a:lnTo>
                    <a:pt x="22" y="126"/>
                  </a:lnTo>
                  <a:lnTo>
                    <a:pt x="22" y="122"/>
                  </a:lnTo>
                  <a:lnTo>
                    <a:pt x="22" y="118"/>
                  </a:lnTo>
                  <a:lnTo>
                    <a:pt x="20" y="118"/>
                  </a:lnTo>
                  <a:lnTo>
                    <a:pt x="20" y="114"/>
                  </a:lnTo>
                  <a:lnTo>
                    <a:pt x="20" y="110"/>
                  </a:lnTo>
                  <a:lnTo>
                    <a:pt x="16" y="110"/>
                  </a:lnTo>
                  <a:lnTo>
                    <a:pt x="16" y="108"/>
                  </a:lnTo>
                  <a:lnTo>
                    <a:pt x="16" y="104"/>
                  </a:lnTo>
                  <a:lnTo>
                    <a:pt x="16" y="100"/>
                  </a:lnTo>
                  <a:lnTo>
                    <a:pt x="12" y="100"/>
                  </a:lnTo>
                  <a:lnTo>
                    <a:pt x="8" y="96"/>
                  </a:lnTo>
                  <a:lnTo>
                    <a:pt x="4" y="92"/>
                  </a:lnTo>
                  <a:lnTo>
                    <a:pt x="4" y="88"/>
                  </a:lnTo>
                  <a:lnTo>
                    <a:pt x="4" y="84"/>
                  </a:lnTo>
                  <a:lnTo>
                    <a:pt x="4" y="80"/>
                  </a:lnTo>
                  <a:lnTo>
                    <a:pt x="4" y="78"/>
                  </a:lnTo>
                  <a:lnTo>
                    <a:pt x="4" y="74"/>
                  </a:lnTo>
                  <a:lnTo>
                    <a:pt x="4" y="70"/>
                  </a:lnTo>
                  <a:lnTo>
                    <a:pt x="0" y="70"/>
                  </a:lnTo>
                  <a:lnTo>
                    <a:pt x="0" y="66"/>
                  </a:lnTo>
                  <a:lnTo>
                    <a:pt x="0" y="62"/>
                  </a:lnTo>
                  <a:lnTo>
                    <a:pt x="4" y="62"/>
                  </a:lnTo>
                  <a:lnTo>
                    <a:pt x="4" y="58"/>
                  </a:lnTo>
                  <a:lnTo>
                    <a:pt x="8" y="58"/>
                  </a:lnTo>
                  <a:lnTo>
                    <a:pt x="12" y="54"/>
                  </a:lnTo>
                  <a:lnTo>
                    <a:pt x="16" y="50"/>
                  </a:lnTo>
                  <a:lnTo>
                    <a:pt x="16" y="48"/>
                  </a:lnTo>
                  <a:lnTo>
                    <a:pt x="16" y="44"/>
                  </a:lnTo>
                  <a:lnTo>
                    <a:pt x="20" y="44"/>
                  </a:lnTo>
                  <a:lnTo>
                    <a:pt x="20" y="40"/>
                  </a:lnTo>
                  <a:lnTo>
                    <a:pt x="22" y="40"/>
                  </a:lnTo>
                  <a:lnTo>
                    <a:pt x="22" y="36"/>
                  </a:lnTo>
                  <a:lnTo>
                    <a:pt x="22" y="34"/>
                  </a:lnTo>
                  <a:lnTo>
                    <a:pt x="20" y="34"/>
                  </a:lnTo>
                  <a:lnTo>
                    <a:pt x="16" y="34"/>
                  </a:lnTo>
                  <a:lnTo>
                    <a:pt x="20" y="26"/>
                  </a:lnTo>
                  <a:lnTo>
                    <a:pt x="20" y="22"/>
                  </a:lnTo>
                  <a:lnTo>
                    <a:pt x="22" y="22"/>
                  </a:lnTo>
                  <a:lnTo>
                    <a:pt x="22" y="18"/>
                  </a:lnTo>
                  <a:lnTo>
                    <a:pt x="22" y="14"/>
                  </a:lnTo>
                  <a:lnTo>
                    <a:pt x="22" y="10"/>
                  </a:lnTo>
                  <a:lnTo>
                    <a:pt x="22" y="6"/>
                  </a:lnTo>
                  <a:lnTo>
                    <a:pt x="20" y="6"/>
                  </a:lnTo>
                  <a:lnTo>
                    <a:pt x="20" y="4"/>
                  </a:lnTo>
                  <a:lnTo>
                    <a:pt x="20" y="0"/>
                  </a:lnTo>
                  <a:lnTo>
                    <a:pt x="22" y="0"/>
                  </a:lnTo>
                  <a:lnTo>
                    <a:pt x="26" y="0"/>
                  </a:lnTo>
                  <a:lnTo>
                    <a:pt x="30" y="0"/>
                  </a:lnTo>
                  <a:lnTo>
                    <a:pt x="34" y="0"/>
                  </a:lnTo>
                  <a:lnTo>
                    <a:pt x="46" y="0"/>
                  </a:lnTo>
                  <a:lnTo>
                    <a:pt x="50" y="0"/>
                  </a:lnTo>
                  <a:lnTo>
                    <a:pt x="52" y="0"/>
                  </a:lnTo>
                  <a:lnTo>
                    <a:pt x="56" y="0"/>
                  </a:lnTo>
                  <a:lnTo>
                    <a:pt x="60" y="0"/>
                  </a:lnTo>
                  <a:lnTo>
                    <a:pt x="68" y="0"/>
                  </a:lnTo>
                  <a:lnTo>
                    <a:pt x="76" y="4"/>
                  </a:lnTo>
                  <a:lnTo>
                    <a:pt x="80" y="6"/>
                  </a:lnTo>
                  <a:lnTo>
                    <a:pt x="86" y="10"/>
                  </a:lnTo>
                  <a:lnTo>
                    <a:pt x="90" y="14"/>
                  </a:lnTo>
                  <a:lnTo>
                    <a:pt x="94" y="18"/>
                  </a:lnTo>
                  <a:lnTo>
                    <a:pt x="98" y="18"/>
                  </a:lnTo>
                  <a:lnTo>
                    <a:pt x="98" y="22"/>
                  </a:lnTo>
                  <a:lnTo>
                    <a:pt x="102" y="22"/>
                  </a:lnTo>
                  <a:lnTo>
                    <a:pt x="106" y="26"/>
                  </a:lnTo>
                  <a:lnTo>
                    <a:pt x="112" y="30"/>
                  </a:lnTo>
                  <a:lnTo>
                    <a:pt x="116" y="34"/>
                  </a:lnTo>
                  <a:lnTo>
                    <a:pt x="120" y="34"/>
                  </a:lnTo>
                  <a:lnTo>
                    <a:pt x="120" y="36"/>
                  </a:lnTo>
                  <a:lnTo>
                    <a:pt x="120" y="40"/>
                  </a:lnTo>
                  <a:lnTo>
                    <a:pt x="120" y="44"/>
                  </a:lnTo>
                  <a:lnTo>
                    <a:pt x="124" y="44"/>
                  </a:lnTo>
                  <a:lnTo>
                    <a:pt x="132" y="50"/>
                  </a:lnTo>
                  <a:lnTo>
                    <a:pt x="132" y="54"/>
                  </a:lnTo>
                  <a:lnTo>
                    <a:pt x="136" y="54"/>
                  </a:lnTo>
                  <a:lnTo>
                    <a:pt x="140" y="58"/>
                  </a:lnTo>
                  <a:lnTo>
                    <a:pt x="142" y="62"/>
                  </a:lnTo>
                  <a:lnTo>
                    <a:pt x="142" y="66"/>
                  </a:lnTo>
                  <a:lnTo>
                    <a:pt x="140" y="70"/>
                  </a:lnTo>
                  <a:lnTo>
                    <a:pt x="140" y="74"/>
                  </a:lnTo>
                  <a:lnTo>
                    <a:pt x="140" y="78"/>
                  </a:lnTo>
                  <a:lnTo>
                    <a:pt x="136" y="80"/>
                  </a:lnTo>
                  <a:lnTo>
                    <a:pt x="136" y="84"/>
                  </a:lnTo>
                  <a:lnTo>
                    <a:pt x="136" y="88"/>
                  </a:lnTo>
                  <a:lnTo>
                    <a:pt x="136" y="92"/>
                  </a:lnTo>
                  <a:lnTo>
                    <a:pt x="140" y="92"/>
                  </a:lnTo>
                  <a:lnTo>
                    <a:pt x="142" y="96"/>
                  </a:lnTo>
                  <a:lnTo>
                    <a:pt x="142" y="100"/>
                  </a:lnTo>
                  <a:lnTo>
                    <a:pt x="146" y="100"/>
                  </a:lnTo>
                  <a:lnTo>
                    <a:pt x="146" y="104"/>
                  </a:lnTo>
                  <a:lnTo>
                    <a:pt x="146" y="108"/>
                  </a:lnTo>
                  <a:lnTo>
                    <a:pt x="142" y="108"/>
                  </a:lnTo>
                  <a:lnTo>
                    <a:pt x="142" y="110"/>
                  </a:lnTo>
                  <a:lnTo>
                    <a:pt x="142" y="114"/>
                  </a:lnTo>
                  <a:lnTo>
                    <a:pt x="146" y="114"/>
                  </a:lnTo>
                  <a:lnTo>
                    <a:pt x="146" y="118"/>
                  </a:lnTo>
                  <a:lnTo>
                    <a:pt x="142" y="122"/>
                  </a:lnTo>
                  <a:lnTo>
                    <a:pt x="142" y="126"/>
                  </a:lnTo>
                  <a:lnTo>
                    <a:pt x="142" y="122"/>
                  </a:lnTo>
                  <a:lnTo>
                    <a:pt x="142" y="126"/>
                  </a:lnTo>
                  <a:lnTo>
                    <a:pt x="142" y="130"/>
                  </a:lnTo>
                  <a:lnTo>
                    <a:pt x="142" y="134"/>
                  </a:lnTo>
                  <a:lnTo>
                    <a:pt x="146" y="134"/>
                  </a:lnTo>
                  <a:lnTo>
                    <a:pt x="142" y="134"/>
                  </a:lnTo>
                  <a:lnTo>
                    <a:pt x="146" y="136"/>
                  </a:lnTo>
                  <a:lnTo>
                    <a:pt x="146" y="140"/>
                  </a:lnTo>
                  <a:lnTo>
                    <a:pt x="150" y="144"/>
                  </a:lnTo>
                  <a:lnTo>
                    <a:pt x="150" y="148"/>
                  </a:lnTo>
                  <a:lnTo>
                    <a:pt x="150" y="152"/>
                  </a:lnTo>
                  <a:lnTo>
                    <a:pt x="150" y="156"/>
                  </a:lnTo>
                  <a:lnTo>
                    <a:pt x="154" y="156"/>
                  </a:lnTo>
                  <a:lnTo>
                    <a:pt x="154" y="160"/>
                  </a:lnTo>
                  <a:lnTo>
                    <a:pt x="158" y="160"/>
                  </a:lnTo>
                  <a:lnTo>
                    <a:pt x="158" y="156"/>
                  </a:lnTo>
                  <a:lnTo>
                    <a:pt x="158" y="160"/>
                  </a:lnTo>
                  <a:lnTo>
                    <a:pt x="158" y="164"/>
                  </a:lnTo>
                  <a:lnTo>
                    <a:pt x="154" y="166"/>
                  </a:lnTo>
                  <a:lnTo>
                    <a:pt x="150" y="166"/>
                  </a:lnTo>
                  <a:lnTo>
                    <a:pt x="150" y="170"/>
                  </a:lnTo>
                  <a:lnTo>
                    <a:pt x="146" y="170"/>
                  </a:lnTo>
                  <a:lnTo>
                    <a:pt x="142" y="170"/>
                  </a:lnTo>
                  <a:lnTo>
                    <a:pt x="142" y="174"/>
                  </a:lnTo>
                  <a:lnTo>
                    <a:pt x="140" y="174"/>
                  </a:lnTo>
                  <a:lnTo>
                    <a:pt x="136" y="174"/>
                  </a:lnTo>
                  <a:lnTo>
                    <a:pt x="132" y="178"/>
                  </a:lnTo>
                  <a:lnTo>
                    <a:pt x="128" y="178"/>
                  </a:lnTo>
                  <a:lnTo>
                    <a:pt x="128" y="174"/>
                  </a:lnTo>
                  <a:lnTo>
                    <a:pt x="124" y="174"/>
                  </a:lnTo>
                  <a:lnTo>
                    <a:pt x="124" y="178"/>
                  </a:lnTo>
                  <a:lnTo>
                    <a:pt x="120" y="178"/>
                  </a:lnTo>
                  <a:lnTo>
                    <a:pt x="124" y="178"/>
                  </a:lnTo>
                  <a:lnTo>
                    <a:pt x="124" y="182"/>
                  </a:lnTo>
                  <a:lnTo>
                    <a:pt x="120" y="182"/>
                  </a:lnTo>
                  <a:lnTo>
                    <a:pt x="116" y="182"/>
                  </a:lnTo>
                  <a:lnTo>
                    <a:pt x="112" y="182"/>
                  </a:lnTo>
                  <a:lnTo>
                    <a:pt x="110" y="182"/>
                  </a:lnTo>
                  <a:lnTo>
                    <a:pt x="106" y="182"/>
                  </a:lnTo>
                  <a:lnTo>
                    <a:pt x="102" y="182"/>
                  </a:lnTo>
                  <a:lnTo>
                    <a:pt x="98" y="182"/>
                  </a:lnTo>
                  <a:lnTo>
                    <a:pt x="94" y="178"/>
                  </a:lnTo>
                  <a:lnTo>
                    <a:pt x="90" y="182"/>
                  </a:lnTo>
                  <a:lnTo>
                    <a:pt x="86" y="182"/>
                  </a:lnTo>
                  <a:lnTo>
                    <a:pt x="82" y="182"/>
                  </a:lnTo>
                  <a:lnTo>
                    <a:pt x="82" y="178"/>
                  </a:lnTo>
                  <a:lnTo>
                    <a:pt x="80" y="178"/>
                  </a:lnTo>
                  <a:lnTo>
                    <a:pt x="80" y="174"/>
                  </a:lnTo>
                  <a:lnTo>
                    <a:pt x="76" y="174"/>
                  </a:lnTo>
                  <a:lnTo>
                    <a:pt x="76" y="170"/>
                  </a:lnTo>
                  <a:lnTo>
                    <a:pt x="80" y="166"/>
                  </a:lnTo>
                  <a:lnTo>
                    <a:pt x="80" y="164"/>
                  </a:lnTo>
                  <a:lnTo>
                    <a:pt x="76" y="164"/>
                  </a:lnTo>
                  <a:lnTo>
                    <a:pt x="76" y="160"/>
                  </a:lnTo>
                  <a:lnTo>
                    <a:pt x="76" y="156"/>
                  </a:lnTo>
                  <a:lnTo>
                    <a:pt x="76" y="152"/>
                  </a:lnTo>
                  <a:lnTo>
                    <a:pt x="72" y="152"/>
                  </a:lnTo>
                  <a:lnTo>
                    <a:pt x="72" y="148"/>
                  </a:lnTo>
                  <a:lnTo>
                    <a:pt x="72" y="144"/>
                  </a:lnTo>
                  <a:lnTo>
                    <a:pt x="72" y="144"/>
                  </a:lnTo>
                  <a:lnTo>
                    <a:pt x="72" y="144"/>
                  </a:lnTo>
                  <a:close/>
                  <a:moveTo>
                    <a:pt x="150" y="70"/>
                  </a:moveTo>
                  <a:lnTo>
                    <a:pt x="150" y="66"/>
                  </a:lnTo>
                  <a:lnTo>
                    <a:pt x="150" y="70"/>
                  </a:lnTo>
                  <a:lnTo>
                    <a:pt x="150" y="74"/>
                  </a:lnTo>
                  <a:lnTo>
                    <a:pt x="150" y="78"/>
                  </a:lnTo>
                  <a:lnTo>
                    <a:pt x="146" y="74"/>
                  </a:lnTo>
                  <a:lnTo>
                    <a:pt x="150" y="74"/>
                  </a:lnTo>
                  <a:lnTo>
                    <a:pt x="150" y="70"/>
                  </a:lnTo>
                  <a:lnTo>
                    <a:pt x="150" y="70"/>
                  </a:lnTo>
                  <a:lnTo>
                    <a:pt x="150" y="70"/>
                  </a:lnTo>
                  <a:close/>
                  <a:moveTo>
                    <a:pt x="142" y="84"/>
                  </a:moveTo>
                  <a:lnTo>
                    <a:pt x="142" y="80"/>
                  </a:lnTo>
                  <a:lnTo>
                    <a:pt x="142" y="84"/>
                  </a:lnTo>
                  <a:lnTo>
                    <a:pt x="146" y="84"/>
                  </a:lnTo>
                  <a:lnTo>
                    <a:pt x="146" y="88"/>
                  </a:lnTo>
                  <a:lnTo>
                    <a:pt x="146" y="92"/>
                  </a:lnTo>
                  <a:lnTo>
                    <a:pt x="146" y="88"/>
                  </a:lnTo>
                  <a:lnTo>
                    <a:pt x="142" y="88"/>
                  </a:lnTo>
                  <a:lnTo>
                    <a:pt x="142" y="84"/>
                  </a:lnTo>
                  <a:lnTo>
                    <a:pt x="142" y="84"/>
                  </a:lnTo>
                  <a:lnTo>
                    <a:pt x="142" y="84"/>
                  </a:lnTo>
                  <a:close/>
                  <a:moveTo>
                    <a:pt x="146" y="118"/>
                  </a:moveTo>
                  <a:lnTo>
                    <a:pt x="150" y="114"/>
                  </a:lnTo>
                  <a:lnTo>
                    <a:pt x="150" y="118"/>
                  </a:lnTo>
                  <a:lnTo>
                    <a:pt x="146" y="118"/>
                  </a:lnTo>
                  <a:lnTo>
                    <a:pt x="146" y="118"/>
                  </a:lnTo>
                  <a:lnTo>
                    <a:pt x="146" y="11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78" name="Freeform 171"/>
            <p:cNvSpPr>
              <a:spLocks/>
            </p:cNvSpPr>
            <p:nvPr/>
          </p:nvSpPr>
          <p:spPr bwMode="auto">
            <a:xfrm>
              <a:off x="6889569" y="4006148"/>
              <a:ext cx="28887" cy="6538"/>
            </a:xfrm>
            <a:custGeom>
              <a:avLst/>
              <a:gdLst>
                <a:gd name="T0" fmla="*/ 4 w 46"/>
                <a:gd name="T1" fmla="*/ 6 h 10"/>
                <a:gd name="T2" fmla="*/ 4 w 46"/>
                <a:gd name="T3" fmla="*/ 6 h 10"/>
                <a:gd name="T4" fmla="*/ 4 w 46"/>
                <a:gd name="T5" fmla="*/ 6 h 10"/>
                <a:gd name="T6" fmla="*/ 8 w 46"/>
                <a:gd name="T7" fmla="*/ 10 h 10"/>
                <a:gd name="T8" fmla="*/ 8 w 46"/>
                <a:gd name="T9" fmla="*/ 6 h 10"/>
                <a:gd name="T10" fmla="*/ 12 w 46"/>
                <a:gd name="T11" fmla="*/ 6 h 10"/>
                <a:gd name="T12" fmla="*/ 12 w 46"/>
                <a:gd name="T13" fmla="*/ 6 h 10"/>
                <a:gd name="T14" fmla="*/ 8 w 46"/>
                <a:gd name="T15" fmla="*/ 6 h 10"/>
                <a:gd name="T16" fmla="*/ 12 w 46"/>
                <a:gd name="T17" fmla="*/ 6 h 10"/>
                <a:gd name="T18" fmla="*/ 20 w 46"/>
                <a:gd name="T19" fmla="*/ 6 h 10"/>
                <a:gd name="T20" fmla="*/ 24 w 46"/>
                <a:gd name="T21" fmla="*/ 6 h 10"/>
                <a:gd name="T22" fmla="*/ 24 w 46"/>
                <a:gd name="T23" fmla="*/ 6 h 10"/>
                <a:gd name="T24" fmla="*/ 24 w 46"/>
                <a:gd name="T25" fmla="*/ 2 h 10"/>
                <a:gd name="T26" fmla="*/ 24 w 46"/>
                <a:gd name="T27" fmla="*/ 6 h 10"/>
                <a:gd name="T28" fmla="*/ 20 w 46"/>
                <a:gd name="T29" fmla="*/ 2 h 10"/>
                <a:gd name="T30" fmla="*/ 12 w 46"/>
                <a:gd name="T31" fmla="*/ 6 h 10"/>
                <a:gd name="T32" fmla="*/ 12 w 46"/>
                <a:gd name="T33" fmla="*/ 6 h 10"/>
                <a:gd name="T34" fmla="*/ 8 w 46"/>
                <a:gd name="T35" fmla="*/ 6 h 10"/>
                <a:gd name="T36" fmla="*/ 4 w 46"/>
                <a:gd name="T37" fmla="*/ 6 h 10"/>
                <a:gd name="T38" fmla="*/ 4 w 46"/>
                <a:gd name="T39" fmla="*/ 2 h 10"/>
                <a:gd name="T40" fmla="*/ 12 w 46"/>
                <a:gd name="T41" fmla="*/ 2 h 10"/>
                <a:gd name="T42" fmla="*/ 20 w 46"/>
                <a:gd name="T43" fmla="*/ 2 h 10"/>
                <a:gd name="T44" fmla="*/ 20 w 46"/>
                <a:gd name="T45" fmla="*/ 2 h 10"/>
                <a:gd name="T46" fmla="*/ 20 w 46"/>
                <a:gd name="T47" fmla="*/ 0 h 10"/>
                <a:gd name="T48" fmla="*/ 24 w 46"/>
                <a:gd name="T49" fmla="*/ 0 h 10"/>
                <a:gd name="T50" fmla="*/ 24 w 46"/>
                <a:gd name="T51" fmla="*/ 0 h 10"/>
                <a:gd name="T52" fmla="*/ 26 w 46"/>
                <a:gd name="T53" fmla="*/ 0 h 10"/>
                <a:gd name="T54" fmla="*/ 30 w 46"/>
                <a:gd name="T55" fmla="*/ 0 h 10"/>
                <a:gd name="T56" fmla="*/ 30 w 46"/>
                <a:gd name="T57" fmla="*/ 0 h 10"/>
                <a:gd name="T58" fmla="*/ 30 w 46"/>
                <a:gd name="T59" fmla="*/ 2 h 10"/>
                <a:gd name="T60" fmla="*/ 30 w 46"/>
                <a:gd name="T61" fmla="*/ 2 h 10"/>
                <a:gd name="T62" fmla="*/ 34 w 46"/>
                <a:gd name="T63" fmla="*/ 2 h 10"/>
                <a:gd name="T64" fmla="*/ 34 w 46"/>
                <a:gd name="T65" fmla="*/ 2 h 10"/>
                <a:gd name="T66" fmla="*/ 34 w 46"/>
                <a:gd name="T67" fmla="*/ 2 h 10"/>
                <a:gd name="T68" fmla="*/ 34 w 46"/>
                <a:gd name="T69" fmla="*/ 6 h 10"/>
                <a:gd name="T70" fmla="*/ 38 w 46"/>
                <a:gd name="T71" fmla="*/ 2 h 10"/>
                <a:gd name="T72" fmla="*/ 42 w 46"/>
                <a:gd name="T73" fmla="*/ 2 h 10"/>
                <a:gd name="T74" fmla="*/ 42 w 46"/>
                <a:gd name="T75" fmla="*/ 2 h 10"/>
                <a:gd name="T76" fmla="*/ 46 w 46"/>
                <a:gd name="T77" fmla="*/ 2 h 10"/>
                <a:gd name="T78" fmla="*/ 46 w 46"/>
                <a:gd name="T79" fmla="*/ 6 h 10"/>
                <a:gd name="T80" fmla="*/ 42 w 46"/>
                <a:gd name="T81" fmla="*/ 6 h 10"/>
                <a:gd name="T82" fmla="*/ 42 w 46"/>
                <a:gd name="T83" fmla="*/ 6 h 10"/>
                <a:gd name="T84" fmla="*/ 38 w 46"/>
                <a:gd name="T85" fmla="*/ 10 h 10"/>
                <a:gd name="T86" fmla="*/ 38 w 46"/>
                <a:gd name="T87" fmla="*/ 10 h 10"/>
                <a:gd name="T88" fmla="*/ 34 w 46"/>
                <a:gd name="T89" fmla="*/ 6 h 10"/>
                <a:gd name="T90" fmla="*/ 30 w 46"/>
                <a:gd name="T91" fmla="*/ 6 h 10"/>
                <a:gd name="T92" fmla="*/ 30 w 46"/>
                <a:gd name="T93" fmla="*/ 6 h 10"/>
                <a:gd name="T94" fmla="*/ 26 w 46"/>
                <a:gd name="T95" fmla="*/ 6 h 10"/>
                <a:gd name="T96" fmla="*/ 26 w 46"/>
                <a:gd name="T97" fmla="*/ 2 h 10"/>
                <a:gd name="T98" fmla="*/ 26 w 46"/>
                <a:gd name="T99" fmla="*/ 2 h 10"/>
                <a:gd name="T100" fmla="*/ 24 w 46"/>
                <a:gd name="T101" fmla="*/ 2 h 10"/>
                <a:gd name="T102" fmla="*/ 24 w 46"/>
                <a:gd name="T103" fmla="*/ 6 h 10"/>
                <a:gd name="T104" fmla="*/ 24 w 46"/>
                <a:gd name="T105" fmla="*/ 6 h 10"/>
                <a:gd name="T106" fmla="*/ 20 w 46"/>
                <a:gd name="T107" fmla="*/ 6 h 10"/>
                <a:gd name="T108" fmla="*/ 16 w 46"/>
                <a:gd name="T109" fmla="*/ 10 h 10"/>
                <a:gd name="T110" fmla="*/ 12 w 46"/>
                <a:gd name="T111" fmla="*/ 10 h 10"/>
                <a:gd name="T112" fmla="*/ 0 w 46"/>
                <a:gd name="T113" fmla="*/ 10 h 10"/>
                <a:gd name="T114" fmla="*/ 0 w 46"/>
                <a:gd name="T115" fmla="*/ 6 h 10"/>
                <a:gd name="T116" fmla="*/ 0 w 46"/>
                <a:gd name="T117" fmla="*/ 6 h 10"/>
                <a:gd name="T118" fmla="*/ 4 w 46"/>
                <a:gd name="T119" fmla="*/ 2 h 10"/>
                <a:gd name="T120" fmla="*/ 4 w 46"/>
                <a:gd name="T12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 h="10">
                  <a:moveTo>
                    <a:pt x="4" y="6"/>
                  </a:moveTo>
                  <a:lnTo>
                    <a:pt x="4" y="6"/>
                  </a:lnTo>
                  <a:lnTo>
                    <a:pt x="4" y="6"/>
                  </a:lnTo>
                  <a:lnTo>
                    <a:pt x="4" y="6"/>
                  </a:lnTo>
                  <a:lnTo>
                    <a:pt x="4" y="6"/>
                  </a:lnTo>
                  <a:lnTo>
                    <a:pt x="4" y="6"/>
                  </a:lnTo>
                  <a:lnTo>
                    <a:pt x="4" y="6"/>
                  </a:lnTo>
                  <a:lnTo>
                    <a:pt x="4" y="6"/>
                  </a:lnTo>
                  <a:lnTo>
                    <a:pt x="4" y="6"/>
                  </a:lnTo>
                  <a:lnTo>
                    <a:pt x="4" y="6"/>
                  </a:lnTo>
                  <a:lnTo>
                    <a:pt x="4" y="6"/>
                  </a:lnTo>
                  <a:lnTo>
                    <a:pt x="8" y="10"/>
                  </a:lnTo>
                  <a:lnTo>
                    <a:pt x="8" y="6"/>
                  </a:lnTo>
                  <a:lnTo>
                    <a:pt x="8" y="6"/>
                  </a:lnTo>
                  <a:lnTo>
                    <a:pt x="8" y="6"/>
                  </a:lnTo>
                  <a:lnTo>
                    <a:pt x="8" y="6"/>
                  </a:lnTo>
                  <a:lnTo>
                    <a:pt x="12" y="10"/>
                  </a:lnTo>
                  <a:lnTo>
                    <a:pt x="12" y="6"/>
                  </a:lnTo>
                  <a:lnTo>
                    <a:pt x="12" y="6"/>
                  </a:lnTo>
                  <a:lnTo>
                    <a:pt x="12" y="6"/>
                  </a:lnTo>
                  <a:lnTo>
                    <a:pt x="12" y="6"/>
                  </a:lnTo>
                  <a:lnTo>
                    <a:pt x="8" y="6"/>
                  </a:lnTo>
                  <a:lnTo>
                    <a:pt x="8" y="6"/>
                  </a:lnTo>
                  <a:lnTo>
                    <a:pt x="8" y="6"/>
                  </a:lnTo>
                  <a:lnTo>
                    <a:pt x="12" y="6"/>
                  </a:lnTo>
                  <a:lnTo>
                    <a:pt x="12" y="6"/>
                  </a:lnTo>
                  <a:lnTo>
                    <a:pt x="12" y="6"/>
                  </a:lnTo>
                  <a:lnTo>
                    <a:pt x="12" y="6"/>
                  </a:lnTo>
                  <a:lnTo>
                    <a:pt x="16" y="6"/>
                  </a:lnTo>
                  <a:lnTo>
                    <a:pt x="20" y="6"/>
                  </a:lnTo>
                  <a:lnTo>
                    <a:pt x="20" y="2"/>
                  </a:lnTo>
                  <a:lnTo>
                    <a:pt x="20" y="2"/>
                  </a:lnTo>
                  <a:lnTo>
                    <a:pt x="24" y="6"/>
                  </a:lnTo>
                  <a:lnTo>
                    <a:pt x="24" y="6"/>
                  </a:lnTo>
                  <a:lnTo>
                    <a:pt x="24" y="6"/>
                  </a:lnTo>
                  <a:lnTo>
                    <a:pt x="24" y="6"/>
                  </a:lnTo>
                  <a:lnTo>
                    <a:pt x="24" y="2"/>
                  </a:lnTo>
                  <a:lnTo>
                    <a:pt x="24" y="2"/>
                  </a:lnTo>
                  <a:lnTo>
                    <a:pt x="24" y="2"/>
                  </a:lnTo>
                  <a:lnTo>
                    <a:pt x="24" y="6"/>
                  </a:lnTo>
                  <a:lnTo>
                    <a:pt x="24" y="6"/>
                  </a:lnTo>
                  <a:lnTo>
                    <a:pt x="24" y="6"/>
                  </a:lnTo>
                  <a:lnTo>
                    <a:pt x="20" y="2"/>
                  </a:lnTo>
                  <a:lnTo>
                    <a:pt x="20" y="2"/>
                  </a:lnTo>
                  <a:lnTo>
                    <a:pt x="20" y="2"/>
                  </a:lnTo>
                  <a:lnTo>
                    <a:pt x="16" y="2"/>
                  </a:lnTo>
                  <a:lnTo>
                    <a:pt x="16" y="6"/>
                  </a:lnTo>
                  <a:lnTo>
                    <a:pt x="12" y="6"/>
                  </a:lnTo>
                  <a:lnTo>
                    <a:pt x="12" y="6"/>
                  </a:lnTo>
                  <a:lnTo>
                    <a:pt x="12" y="6"/>
                  </a:lnTo>
                  <a:lnTo>
                    <a:pt x="12" y="6"/>
                  </a:lnTo>
                  <a:lnTo>
                    <a:pt x="8" y="6"/>
                  </a:lnTo>
                  <a:lnTo>
                    <a:pt x="8" y="6"/>
                  </a:lnTo>
                  <a:lnTo>
                    <a:pt x="8" y="6"/>
                  </a:lnTo>
                  <a:lnTo>
                    <a:pt x="8" y="6"/>
                  </a:lnTo>
                  <a:lnTo>
                    <a:pt x="4" y="6"/>
                  </a:lnTo>
                  <a:lnTo>
                    <a:pt x="4" y="6"/>
                  </a:lnTo>
                  <a:lnTo>
                    <a:pt x="4" y="6"/>
                  </a:lnTo>
                  <a:lnTo>
                    <a:pt x="4" y="6"/>
                  </a:lnTo>
                  <a:lnTo>
                    <a:pt x="4" y="2"/>
                  </a:lnTo>
                  <a:lnTo>
                    <a:pt x="4" y="2"/>
                  </a:lnTo>
                  <a:lnTo>
                    <a:pt x="12" y="2"/>
                  </a:lnTo>
                  <a:lnTo>
                    <a:pt x="12" y="2"/>
                  </a:lnTo>
                  <a:lnTo>
                    <a:pt x="16" y="2"/>
                  </a:lnTo>
                  <a:lnTo>
                    <a:pt x="20" y="2"/>
                  </a:lnTo>
                  <a:lnTo>
                    <a:pt x="20" y="2"/>
                  </a:lnTo>
                  <a:lnTo>
                    <a:pt x="20" y="2"/>
                  </a:lnTo>
                  <a:lnTo>
                    <a:pt x="20" y="2"/>
                  </a:lnTo>
                  <a:lnTo>
                    <a:pt x="20" y="2"/>
                  </a:lnTo>
                  <a:lnTo>
                    <a:pt x="20" y="0"/>
                  </a:lnTo>
                  <a:lnTo>
                    <a:pt x="20" y="0"/>
                  </a:lnTo>
                  <a:lnTo>
                    <a:pt x="20" y="0"/>
                  </a:lnTo>
                  <a:lnTo>
                    <a:pt x="24" y="0"/>
                  </a:lnTo>
                  <a:lnTo>
                    <a:pt x="24" y="0"/>
                  </a:lnTo>
                  <a:lnTo>
                    <a:pt x="24" y="0"/>
                  </a:lnTo>
                  <a:lnTo>
                    <a:pt x="24" y="0"/>
                  </a:lnTo>
                  <a:lnTo>
                    <a:pt x="24" y="0"/>
                  </a:lnTo>
                  <a:lnTo>
                    <a:pt x="24" y="0"/>
                  </a:lnTo>
                  <a:lnTo>
                    <a:pt x="24" y="0"/>
                  </a:lnTo>
                  <a:lnTo>
                    <a:pt x="26" y="0"/>
                  </a:lnTo>
                  <a:lnTo>
                    <a:pt x="26" y="0"/>
                  </a:lnTo>
                  <a:lnTo>
                    <a:pt x="30" y="0"/>
                  </a:lnTo>
                  <a:lnTo>
                    <a:pt x="30" y="0"/>
                  </a:lnTo>
                  <a:lnTo>
                    <a:pt x="30" y="0"/>
                  </a:lnTo>
                  <a:lnTo>
                    <a:pt x="30" y="0"/>
                  </a:lnTo>
                  <a:lnTo>
                    <a:pt x="30" y="0"/>
                  </a:lnTo>
                  <a:lnTo>
                    <a:pt x="30" y="0"/>
                  </a:lnTo>
                  <a:lnTo>
                    <a:pt x="30" y="2"/>
                  </a:lnTo>
                  <a:lnTo>
                    <a:pt x="30" y="2"/>
                  </a:lnTo>
                  <a:lnTo>
                    <a:pt x="30" y="2"/>
                  </a:lnTo>
                  <a:lnTo>
                    <a:pt x="30" y="2"/>
                  </a:lnTo>
                  <a:lnTo>
                    <a:pt x="30" y="2"/>
                  </a:lnTo>
                  <a:lnTo>
                    <a:pt x="30" y="2"/>
                  </a:lnTo>
                  <a:lnTo>
                    <a:pt x="34" y="2"/>
                  </a:lnTo>
                  <a:lnTo>
                    <a:pt x="34" y="2"/>
                  </a:lnTo>
                  <a:lnTo>
                    <a:pt x="34" y="2"/>
                  </a:lnTo>
                  <a:lnTo>
                    <a:pt x="34" y="2"/>
                  </a:lnTo>
                  <a:lnTo>
                    <a:pt x="34" y="2"/>
                  </a:lnTo>
                  <a:lnTo>
                    <a:pt x="34" y="2"/>
                  </a:lnTo>
                  <a:lnTo>
                    <a:pt x="34" y="2"/>
                  </a:lnTo>
                  <a:lnTo>
                    <a:pt x="34" y="2"/>
                  </a:lnTo>
                  <a:lnTo>
                    <a:pt x="34" y="2"/>
                  </a:lnTo>
                  <a:lnTo>
                    <a:pt x="34" y="2"/>
                  </a:lnTo>
                  <a:lnTo>
                    <a:pt x="34" y="2"/>
                  </a:lnTo>
                  <a:lnTo>
                    <a:pt x="34" y="6"/>
                  </a:lnTo>
                  <a:lnTo>
                    <a:pt x="38" y="6"/>
                  </a:lnTo>
                  <a:lnTo>
                    <a:pt x="38" y="2"/>
                  </a:lnTo>
                  <a:lnTo>
                    <a:pt x="38" y="2"/>
                  </a:lnTo>
                  <a:lnTo>
                    <a:pt x="38" y="2"/>
                  </a:lnTo>
                  <a:lnTo>
                    <a:pt x="38" y="2"/>
                  </a:lnTo>
                  <a:lnTo>
                    <a:pt x="42" y="2"/>
                  </a:lnTo>
                  <a:lnTo>
                    <a:pt x="42" y="2"/>
                  </a:lnTo>
                  <a:lnTo>
                    <a:pt x="42" y="2"/>
                  </a:lnTo>
                  <a:lnTo>
                    <a:pt x="42" y="2"/>
                  </a:lnTo>
                  <a:lnTo>
                    <a:pt x="42" y="2"/>
                  </a:lnTo>
                  <a:lnTo>
                    <a:pt x="42" y="2"/>
                  </a:lnTo>
                  <a:lnTo>
                    <a:pt x="46" y="2"/>
                  </a:lnTo>
                  <a:lnTo>
                    <a:pt x="46" y="6"/>
                  </a:lnTo>
                  <a:lnTo>
                    <a:pt x="46" y="6"/>
                  </a:lnTo>
                  <a:lnTo>
                    <a:pt x="46" y="6"/>
                  </a:lnTo>
                  <a:lnTo>
                    <a:pt x="46" y="6"/>
                  </a:lnTo>
                  <a:lnTo>
                    <a:pt x="42" y="6"/>
                  </a:lnTo>
                  <a:lnTo>
                    <a:pt x="42" y="6"/>
                  </a:lnTo>
                  <a:lnTo>
                    <a:pt x="42" y="6"/>
                  </a:lnTo>
                  <a:lnTo>
                    <a:pt x="42" y="6"/>
                  </a:lnTo>
                  <a:lnTo>
                    <a:pt x="42" y="6"/>
                  </a:lnTo>
                  <a:lnTo>
                    <a:pt x="42" y="6"/>
                  </a:lnTo>
                  <a:lnTo>
                    <a:pt x="38" y="6"/>
                  </a:lnTo>
                  <a:lnTo>
                    <a:pt x="38" y="10"/>
                  </a:lnTo>
                  <a:lnTo>
                    <a:pt x="38" y="10"/>
                  </a:lnTo>
                  <a:lnTo>
                    <a:pt x="38" y="10"/>
                  </a:lnTo>
                  <a:lnTo>
                    <a:pt x="38" y="10"/>
                  </a:lnTo>
                  <a:lnTo>
                    <a:pt x="34" y="10"/>
                  </a:lnTo>
                  <a:lnTo>
                    <a:pt x="34" y="6"/>
                  </a:lnTo>
                  <a:lnTo>
                    <a:pt x="34" y="6"/>
                  </a:lnTo>
                  <a:lnTo>
                    <a:pt x="30" y="6"/>
                  </a:lnTo>
                  <a:lnTo>
                    <a:pt x="30" y="6"/>
                  </a:lnTo>
                  <a:lnTo>
                    <a:pt x="30" y="6"/>
                  </a:lnTo>
                  <a:lnTo>
                    <a:pt x="30" y="6"/>
                  </a:lnTo>
                  <a:lnTo>
                    <a:pt x="30" y="6"/>
                  </a:lnTo>
                  <a:lnTo>
                    <a:pt x="30" y="6"/>
                  </a:lnTo>
                  <a:lnTo>
                    <a:pt x="30" y="6"/>
                  </a:lnTo>
                  <a:lnTo>
                    <a:pt x="26" y="6"/>
                  </a:lnTo>
                  <a:lnTo>
                    <a:pt x="26" y="6"/>
                  </a:lnTo>
                  <a:lnTo>
                    <a:pt x="26" y="2"/>
                  </a:lnTo>
                  <a:lnTo>
                    <a:pt x="26" y="2"/>
                  </a:lnTo>
                  <a:lnTo>
                    <a:pt x="26" y="2"/>
                  </a:lnTo>
                  <a:lnTo>
                    <a:pt x="26" y="2"/>
                  </a:lnTo>
                  <a:lnTo>
                    <a:pt x="26" y="2"/>
                  </a:lnTo>
                  <a:lnTo>
                    <a:pt x="26" y="2"/>
                  </a:lnTo>
                  <a:lnTo>
                    <a:pt x="24" y="2"/>
                  </a:lnTo>
                  <a:lnTo>
                    <a:pt x="24" y="2"/>
                  </a:lnTo>
                  <a:lnTo>
                    <a:pt x="24" y="2"/>
                  </a:lnTo>
                  <a:lnTo>
                    <a:pt x="24" y="6"/>
                  </a:lnTo>
                  <a:lnTo>
                    <a:pt x="24" y="6"/>
                  </a:lnTo>
                  <a:lnTo>
                    <a:pt x="24" y="6"/>
                  </a:lnTo>
                  <a:lnTo>
                    <a:pt x="24" y="6"/>
                  </a:lnTo>
                  <a:lnTo>
                    <a:pt x="24" y="6"/>
                  </a:lnTo>
                  <a:lnTo>
                    <a:pt x="24" y="6"/>
                  </a:lnTo>
                  <a:lnTo>
                    <a:pt x="24" y="6"/>
                  </a:lnTo>
                  <a:lnTo>
                    <a:pt x="24" y="6"/>
                  </a:lnTo>
                  <a:lnTo>
                    <a:pt x="20" y="6"/>
                  </a:lnTo>
                  <a:lnTo>
                    <a:pt x="16" y="6"/>
                  </a:lnTo>
                  <a:lnTo>
                    <a:pt x="16" y="10"/>
                  </a:lnTo>
                  <a:lnTo>
                    <a:pt x="16" y="10"/>
                  </a:lnTo>
                  <a:lnTo>
                    <a:pt x="16" y="10"/>
                  </a:lnTo>
                  <a:lnTo>
                    <a:pt x="16" y="10"/>
                  </a:lnTo>
                  <a:lnTo>
                    <a:pt x="12" y="10"/>
                  </a:lnTo>
                  <a:lnTo>
                    <a:pt x="4" y="10"/>
                  </a:lnTo>
                  <a:lnTo>
                    <a:pt x="4" y="10"/>
                  </a:lnTo>
                  <a:lnTo>
                    <a:pt x="0" y="10"/>
                  </a:lnTo>
                  <a:lnTo>
                    <a:pt x="0" y="10"/>
                  </a:lnTo>
                  <a:lnTo>
                    <a:pt x="0" y="6"/>
                  </a:lnTo>
                  <a:lnTo>
                    <a:pt x="0" y="6"/>
                  </a:lnTo>
                  <a:lnTo>
                    <a:pt x="0" y="6"/>
                  </a:lnTo>
                  <a:lnTo>
                    <a:pt x="0" y="6"/>
                  </a:lnTo>
                  <a:lnTo>
                    <a:pt x="0" y="6"/>
                  </a:lnTo>
                  <a:lnTo>
                    <a:pt x="4" y="6"/>
                  </a:lnTo>
                  <a:lnTo>
                    <a:pt x="4" y="6"/>
                  </a:lnTo>
                  <a:lnTo>
                    <a:pt x="4" y="2"/>
                  </a:lnTo>
                  <a:lnTo>
                    <a:pt x="4" y="2"/>
                  </a:lnTo>
                  <a:lnTo>
                    <a:pt x="4" y="6"/>
                  </a:lnTo>
                  <a:lnTo>
                    <a:pt x="4" y="6"/>
                  </a:lnTo>
                  <a:lnTo>
                    <a:pt x="4" y="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79" name="Freeform 172"/>
            <p:cNvSpPr>
              <a:spLocks/>
            </p:cNvSpPr>
            <p:nvPr/>
          </p:nvSpPr>
          <p:spPr bwMode="auto">
            <a:xfrm>
              <a:off x="7037773" y="4034915"/>
              <a:ext cx="18839" cy="58841"/>
            </a:xfrm>
            <a:custGeom>
              <a:avLst/>
              <a:gdLst>
                <a:gd name="T0" fmla="*/ 26 w 30"/>
                <a:gd name="T1" fmla="*/ 68 h 90"/>
                <a:gd name="T2" fmla="*/ 26 w 30"/>
                <a:gd name="T3" fmla="*/ 74 h 90"/>
                <a:gd name="T4" fmla="*/ 26 w 30"/>
                <a:gd name="T5" fmla="*/ 78 h 90"/>
                <a:gd name="T6" fmla="*/ 26 w 30"/>
                <a:gd name="T7" fmla="*/ 78 h 90"/>
                <a:gd name="T8" fmla="*/ 30 w 30"/>
                <a:gd name="T9" fmla="*/ 82 h 90"/>
                <a:gd name="T10" fmla="*/ 26 w 30"/>
                <a:gd name="T11" fmla="*/ 86 h 90"/>
                <a:gd name="T12" fmla="*/ 26 w 30"/>
                <a:gd name="T13" fmla="*/ 86 h 90"/>
                <a:gd name="T14" fmla="*/ 24 w 30"/>
                <a:gd name="T15" fmla="*/ 86 h 90"/>
                <a:gd name="T16" fmla="*/ 20 w 30"/>
                <a:gd name="T17" fmla="*/ 86 h 90"/>
                <a:gd name="T18" fmla="*/ 16 w 30"/>
                <a:gd name="T19" fmla="*/ 82 h 90"/>
                <a:gd name="T20" fmla="*/ 16 w 30"/>
                <a:gd name="T21" fmla="*/ 82 h 90"/>
                <a:gd name="T22" fmla="*/ 16 w 30"/>
                <a:gd name="T23" fmla="*/ 78 h 90"/>
                <a:gd name="T24" fmla="*/ 12 w 30"/>
                <a:gd name="T25" fmla="*/ 78 h 90"/>
                <a:gd name="T26" fmla="*/ 12 w 30"/>
                <a:gd name="T27" fmla="*/ 70 h 90"/>
                <a:gd name="T28" fmla="*/ 12 w 30"/>
                <a:gd name="T29" fmla="*/ 68 h 90"/>
                <a:gd name="T30" fmla="*/ 12 w 30"/>
                <a:gd name="T31" fmla="*/ 64 h 90"/>
                <a:gd name="T32" fmla="*/ 12 w 30"/>
                <a:gd name="T33" fmla="*/ 64 h 90"/>
                <a:gd name="T34" fmla="*/ 12 w 30"/>
                <a:gd name="T35" fmla="*/ 52 h 90"/>
                <a:gd name="T36" fmla="*/ 16 w 30"/>
                <a:gd name="T37" fmla="*/ 48 h 90"/>
                <a:gd name="T38" fmla="*/ 12 w 30"/>
                <a:gd name="T39" fmla="*/ 48 h 90"/>
                <a:gd name="T40" fmla="*/ 8 w 30"/>
                <a:gd name="T41" fmla="*/ 42 h 90"/>
                <a:gd name="T42" fmla="*/ 12 w 30"/>
                <a:gd name="T43" fmla="*/ 42 h 90"/>
                <a:gd name="T44" fmla="*/ 12 w 30"/>
                <a:gd name="T45" fmla="*/ 38 h 90"/>
                <a:gd name="T46" fmla="*/ 12 w 30"/>
                <a:gd name="T47" fmla="*/ 30 h 90"/>
                <a:gd name="T48" fmla="*/ 12 w 30"/>
                <a:gd name="T49" fmla="*/ 30 h 90"/>
                <a:gd name="T50" fmla="*/ 8 w 30"/>
                <a:gd name="T51" fmla="*/ 30 h 90"/>
                <a:gd name="T52" fmla="*/ 8 w 30"/>
                <a:gd name="T53" fmla="*/ 26 h 90"/>
                <a:gd name="T54" fmla="*/ 12 w 30"/>
                <a:gd name="T55" fmla="*/ 18 h 90"/>
                <a:gd name="T56" fmla="*/ 8 w 30"/>
                <a:gd name="T57" fmla="*/ 18 h 90"/>
                <a:gd name="T58" fmla="*/ 8 w 30"/>
                <a:gd name="T59" fmla="*/ 16 h 90"/>
                <a:gd name="T60" fmla="*/ 4 w 30"/>
                <a:gd name="T61" fmla="*/ 12 h 90"/>
                <a:gd name="T62" fmla="*/ 4 w 30"/>
                <a:gd name="T63" fmla="*/ 8 h 90"/>
                <a:gd name="T64" fmla="*/ 4 w 30"/>
                <a:gd name="T65" fmla="*/ 4 h 90"/>
                <a:gd name="T66" fmla="*/ 4 w 30"/>
                <a:gd name="T67" fmla="*/ 4 h 90"/>
                <a:gd name="T68" fmla="*/ 4 w 30"/>
                <a:gd name="T69" fmla="*/ 0 h 90"/>
                <a:gd name="T70" fmla="*/ 12 w 30"/>
                <a:gd name="T71" fmla="*/ 4 h 90"/>
                <a:gd name="T72" fmla="*/ 12 w 30"/>
                <a:gd name="T73" fmla="*/ 4 h 90"/>
                <a:gd name="T74" fmla="*/ 16 w 30"/>
                <a:gd name="T75" fmla="*/ 4 h 90"/>
                <a:gd name="T76" fmla="*/ 16 w 30"/>
                <a:gd name="T77" fmla="*/ 8 h 90"/>
                <a:gd name="T78" fmla="*/ 16 w 30"/>
                <a:gd name="T79" fmla="*/ 12 h 90"/>
                <a:gd name="T80" fmla="*/ 16 w 30"/>
                <a:gd name="T81" fmla="*/ 12 h 90"/>
                <a:gd name="T82" fmla="*/ 20 w 30"/>
                <a:gd name="T83" fmla="*/ 18 h 90"/>
                <a:gd name="T84" fmla="*/ 24 w 30"/>
                <a:gd name="T85" fmla="*/ 22 h 90"/>
                <a:gd name="T86" fmla="*/ 24 w 30"/>
                <a:gd name="T87" fmla="*/ 30 h 90"/>
                <a:gd name="T88" fmla="*/ 24 w 30"/>
                <a:gd name="T89" fmla="*/ 30 h 90"/>
                <a:gd name="T90" fmla="*/ 26 w 30"/>
                <a:gd name="T91" fmla="*/ 34 h 90"/>
                <a:gd name="T92" fmla="*/ 26 w 30"/>
                <a:gd name="T93" fmla="*/ 34 h 90"/>
                <a:gd name="T94" fmla="*/ 26 w 30"/>
                <a:gd name="T95" fmla="*/ 42 h 90"/>
                <a:gd name="T96" fmla="*/ 26 w 30"/>
                <a:gd name="T97" fmla="*/ 48 h 90"/>
                <a:gd name="T98" fmla="*/ 26 w 30"/>
                <a:gd name="T99" fmla="*/ 6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 h="90">
                  <a:moveTo>
                    <a:pt x="26" y="64"/>
                  </a:moveTo>
                  <a:lnTo>
                    <a:pt x="26" y="64"/>
                  </a:lnTo>
                  <a:lnTo>
                    <a:pt x="26" y="64"/>
                  </a:lnTo>
                  <a:lnTo>
                    <a:pt x="26" y="68"/>
                  </a:lnTo>
                  <a:lnTo>
                    <a:pt x="26" y="68"/>
                  </a:lnTo>
                  <a:lnTo>
                    <a:pt x="26" y="70"/>
                  </a:lnTo>
                  <a:lnTo>
                    <a:pt x="26" y="70"/>
                  </a:lnTo>
                  <a:lnTo>
                    <a:pt x="26" y="74"/>
                  </a:lnTo>
                  <a:lnTo>
                    <a:pt x="26" y="74"/>
                  </a:lnTo>
                  <a:lnTo>
                    <a:pt x="26" y="74"/>
                  </a:lnTo>
                  <a:lnTo>
                    <a:pt x="26" y="74"/>
                  </a:lnTo>
                  <a:lnTo>
                    <a:pt x="26" y="78"/>
                  </a:lnTo>
                  <a:lnTo>
                    <a:pt x="26" y="78"/>
                  </a:lnTo>
                  <a:lnTo>
                    <a:pt x="26" y="78"/>
                  </a:lnTo>
                  <a:lnTo>
                    <a:pt x="26" y="78"/>
                  </a:lnTo>
                  <a:lnTo>
                    <a:pt x="26" y="78"/>
                  </a:lnTo>
                  <a:lnTo>
                    <a:pt x="26" y="78"/>
                  </a:lnTo>
                  <a:lnTo>
                    <a:pt x="26" y="78"/>
                  </a:lnTo>
                  <a:lnTo>
                    <a:pt x="30" y="82"/>
                  </a:lnTo>
                  <a:lnTo>
                    <a:pt x="30" y="82"/>
                  </a:lnTo>
                  <a:lnTo>
                    <a:pt x="30" y="86"/>
                  </a:lnTo>
                  <a:lnTo>
                    <a:pt x="30" y="86"/>
                  </a:lnTo>
                  <a:lnTo>
                    <a:pt x="30" y="86"/>
                  </a:lnTo>
                  <a:lnTo>
                    <a:pt x="26" y="86"/>
                  </a:lnTo>
                  <a:lnTo>
                    <a:pt x="26" y="86"/>
                  </a:lnTo>
                  <a:lnTo>
                    <a:pt x="26" y="86"/>
                  </a:lnTo>
                  <a:lnTo>
                    <a:pt x="26" y="86"/>
                  </a:lnTo>
                  <a:lnTo>
                    <a:pt x="26" y="86"/>
                  </a:lnTo>
                  <a:lnTo>
                    <a:pt x="26" y="86"/>
                  </a:lnTo>
                  <a:lnTo>
                    <a:pt x="24" y="86"/>
                  </a:lnTo>
                  <a:lnTo>
                    <a:pt x="24" y="86"/>
                  </a:lnTo>
                  <a:lnTo>
                    <a:pt x="24" y="86"/>
                  </a:lnTo>
                  <a:lnTo>
                    <a:pt x="24" y="90"/>
                  </a:lnTo>
                  <a:lnTo>
                    <a:pt x="24" y="86"/>
                  </a:lnTo>
                  <a:lnTo>
                    <a:pt x="24" y="86"/>
                  </a:lnTo>
                  <a:lnTo>
                    <a:pt x="20" y="86"/>
                  </a:lnTo>
                  <a:lnTo>
                    <a:pt x="20" y="86"/>
                  </a:lnTo>
                  <a:lnTo>
                    <a:pt x="20" y="86"/>
                  </a:lnTo>
                  <a:lnTo>
                    <a:pt x="20" y="82"/>
                  </a:lnTo>
                  <a:lnTo>
                    <a:pt x="16" y="82"/>
                  </a:lnTo>
                  <a:lnTo>
                    <a:pt x="16" y="82"/>
                  </a:lnTo>
                  <a:lnTo>
                    <a:pt x="16" y="82"/>
                  </a:lnTo>
                  <a:lnTo>
                    <a:pt x="16" y="82"/>
                  </a:lnTo>
                  <a:lnTo>
                    <a:pt x="16" y="82"/>
                  </a:lnTo>
                  <a:lnTo>
                    <a:pt x="16" y="82"/>
                  </a:lnTo>
                  <a:lnTo>
                    <a:pt x="16" y="78"/>
                  </a:lnTo>
                  <a:lnTo>
                    <a:pt x="16" y="78"/>
                  </a:lnTo>
                  <a:lnTo>
                    <a:pt x="16" y="78"/>
                  </a:lnTo>
                  <a:lnTo>
                    <a:pt x="16" y="78"/>
                  </a:lnTo>
                  <a:lnTo>
                    <a:pt x="12" y="78"/>
                  </a:lnTo>
                  <a:lnTo>
                    <a:pt x="12" y="78"/>
                  </a:lnTo>
                  <a:lnTo>
                    <a:pt x="12" y="78"/>
                  </a:lnTo>
                  <a:lnTo>
                    <a:pt x="12" y="78"/>
                  </a:lnTo>
                  <a:lnTo>
                    <a:pt x="12" y="74"/>
                  </a:lnTo>
                  <a:lnTo>
                    <a:pt x="12" y="74"/>
                  </a:lnTo>
                  <a:lnTo>
                    <a:pt x="12" y="70"/>
                  </a:lnTo>
                  <a:lnTo>
                    <a:pt x="12" y="70"/>
                  </a:lnTo>
                  <a:lnTo>
                    <a:pt x="12" y="68"/>
                  </a:lnTo>
                  <a:lnTo>
                    <a:pt x="12" y="68"/>
                  </a:lnTo>
                  <a:lnTo>
                    <a:pt x="12" y="68"/>
                  </a:lnTo>
                  <a:lnTo>
                    <a:pt x="12" y="68"/>
                  </a:lnTo>
                  <a:lnTo>
                    <a:pt x="12" y="68"/>
                  </a:lnTo>
                  <a:lnTo>
                    <a:pt x="12" y="68"/>
                  </a:lnTo>
                  <a:lnTo>
                    <a:pt x="12" y="64"/>
                  </a:lnTo>
                  <a:lnTo>
                    <a:pt x="12" y="64"/>
                  </a:lnTo>
                  <a:lnTo>
                    <a:pt x="12" y="64"/>
                  </a:lnTo>
                  <a:lnTo>
                    <a:pt x="12" y="64"/>
                  </a:lnTo>
                  <a:lnTo>
                    <a:pt x="12" y="64"/>
                  </a:lnTo>
                  <a:lnTo>
                    <a:pt x="12" y="60"/>
                  </a:lnTo>
                  <a:lnTo>
                    <a:pt x="12" y="56"/>
                  </a:lnTo>
                  <a:lnTo>
                    <a:pt x="12" y="52"/>
                  </a:lnTo>
                  <a:lnTo>
                    <a:pt x="12" y="52"/>
                  </a:lnTo>
                  <a:lnTo>
                    <a:pt x="12" y="52"/>
                  </a:lnTo>
                  <a:lnTo>
                    <a:pt x="16" y="52"/>
                  </a:lnTo>
                  <a:lnTo>
                    <a:pt x="16" y="52"/>
                  </a:lnTo>
                  <a:lnTo>
                    <a:pt x="16" y="48"/>
                  </a:lnTo>
                  <a:lnTo>
                    <a:pt x="16" y="48"/>
                  </a:lnTo>
                  <a:lnTo>
                    <a:pt x="16" y="48"/>
                  </a:lnTo>
                  <a:lnTo>
                    <a:pt x="12" y="48"/>
                  </a:lnTo>
                  <a:lnTo>
                    <a:pt x="12" y="48"/>
                  </a:lnTo>
                  <a:lnTo>
                    <a:pt x="12" y="44"/>
                  </a:lnTo>
                  <a:lnTo>
                    <a:pt x="12" y="44"/>
                  </a:lnTo>
                  <a:lnTo>
                    <a:pt x="12" y="44"/>
                  </a:lnTo>
                  <a:lnTo>
                    <a:pt x="8" y="42"/>
                  </a:lnTo>
                  <a:lnTo>
                    <a:pt x="8" y="42"/>
                  </a:lnTo>
                  <a:lnTo>
                    <a:pt x="12" y="42"/>
                  </a:lnTo>
                  <a:lnTo>
                    <a:pt x="12" y="42"/>
                  </a:lnTo>
                  <a:lnTo>
                    <a:pt x="12" y="42"/>
                  </a:lnTo>
                  <a:lnTo>
                    <a:pt x="12" y="42"/>
                  </a:lnTo>
                  <a:lnTo>
                    <a:pt x="12" y="42"/>
                  </a:lnTo>
                  <a:lnTo>
                    <a:pt x="12" y="38"/>
                  </a:lnTo>
                  <a:lnTo>
                    <a:pt x="12" y="38"/>
                  </a:lnTo>
                  <a:lnTo>
                    <a:pt x="12" y="34"/>
                  </a:lnTo>
                  <a:lnTo>
                    <a:pt x="12" y="34"/>
                  </a:lnTo>
                  <a:lnTo>
                    <a:pt x="12" y="34"/>
                  </a:lnTo>
                  <a:lnTo>
                    <a:pt x="12" y="30"/>
                  </a:lnTo>
                  <a:lnTo>
                    <a:pt x="12" y="30"/>
                  </a:lnTo>
                  <a:lnTo>
                    <a:pt x="12" y="30"/>
                  </a:lnTo>
                  <a:lnTo>
                    <a:pt x="12" y="30"/>
                  </a:lnTo>
                  <a:lnTo>
                    <a:pt x="12" y="30"/>
                  </a:lnTo>
                  <a:lnTo>
                    <a:pt x="8" y="30"/>
                  </a:lnTo>
                  <a:lnTo>
                    <a:pt x="8" y="30"/>
                  </a:lnTo>
                  <a:lnTo>
                    <a:pt x="8" y="30"/>
                  </a:lnTo>
                  <a:lnTo>
                    <a:pt x="8" y="30"/>
                  </a:lnTo>
                  <a:lnTo>
                    <a:pt x="8" y="30"/>
                  </a:lnTo>
                  <a:lnTo>
                    <a:pt x="8" y="30"/>
                  </a:lnTo>
                  <a:lnTo>
                    <a:pt x="8" y="30"/>
                  </a:lnTo>
                  <a:lnTo>
                    <a:pt x="8" y="26"/>
                  </a:lnTo>
                  <a:lnTo>
                    <a:pt x="8" y="26"/>
                  </a:lnTo>
                  <a:lnTo>
                    <a:pt x="8" y="18"/>
                  </a:lnTo>
                  <a:lnTo>
                    <a:pt x="12" y="18"/>
                  </a:lnTo>
                  <a:lnTo>
                    <a:pt x="12" y="18"/>
                  </a:lnTo>
                  <a:lnTo>
                    <a:pt x="8" y="18"/>
                  </a:lnTo>
                  <a:lnTo>
                    <a:pt x="8" y="18"/>
                  </a:lnTo>
                  <a:lnTo>
                    <a:pt x="8" y="18"/>
                  </a:lnTo>
                  <a:lnTo>
                    <a:pt x="8" y="18"/>
                  </a:lnTo>
                  <a:lnTo>
                    <a:pt x="8" y="16"/>
                  </a:lnTo>
                  <a:lnTo>
                    <a:pt x="8" y="16"/>
                  </a:lnTo>
                  <a:lnTo>
                    <a:pt x="8" y="16"/>
                  </a:lnTo>
                  <a:lnTo>
                    <a:pt x="8" y="16"/>
                  </a:lnTo>
                  <a:lnTo>
                    <a:pt x="4" y="12"/>
                  </a:lnTo>
                  <a:lnTo>
                    <a:pt x="4" y="12"/>
                  </a:lnTo>
                  <a:lnTo>
                    <a:pt x="4" y="12"/>
                  </a:lnTo>
                  <a:lnTo>
                    <a:pt x="4" y="12"/>
                  </a:lnTo>
                  <a:lnTo>
                    <a:pt x="4" y="12"/>
                  </a:lnTo>
                  <a:lnTo>
                    <a:pt x="4" y="8"/>
                  </a:lnTo>
                  <a:lnTo>
                    <a:pt x="4" y="8"/>
                  </a:lnTo>
                  <a:lnTo>
                    <a:pt x="4" y="8"/>
                  </a:lnTo>
                  <a:lnTo>
                    <a:pt x="4" y="8"/>
                  </a:lnTo>
                  <a:lnTo>
                    <a:pt x="4" y="4"/>
                  </a:lnTo>
                  <a:lnTo>
                    <a:pt x="4" y="4"/>
                  </a:lnTo>
                  <a:lnTo>
                    <a:pt x="4" y="4"/>
                  </a:lnTo>
                  <a:lnTo>
                    <a:pt x="4" y="0"/>
                  </a:lnTo>
                  <a:lnTo>
                    <a:pt x="4" y="0"/>
                  </a:lnTo>
                  <a:lnTo>
                    <a:pt x="4" y="4"/>
                  </a:lnTo>
                  <a:lnTo>
                    <a:pt x="4" y="4"/>
                  </a:lnTo>
                  <a:lnTo>
                    <a:pt x="0" y="0"/>
                  </a:lnTo>
                  <a:lnTo>
                    <a:pt x="0" y="0"/>
                  </a:lnTo>
                  <a:lnTo>
                    <a:pt x="0" y="0"/>
                  </a:lnTo>
                  <a:lnTo>
                    <a:pt x="4" y="0"/>
                  </a:lnTo>
                  <a:lnTo>
                    <a:pt x="4" y="0"/>
                  </a:lnTo>
                  <a:lnTo>
                    <a:pt x="8" y="4"/>
                  </a:lnTo>
                  <a:lnTo>
                    <a:pt x="8" y="4"/>
                  </a:lnTo>
                  <a:lnTo>
                    <a:pt x="12" y="4"/>
                  </a:lnTo>
                  <a:lnTo>
                    <a:pt x="12" y="4"/>
                  </a:lnTo>
                  <a:lnTo>
                    <a:pt x="12" y="4"/>
                  </a:lnTo>
                  <a:lnTo>
                    <a:pt x="12" y="4"/>
                  </a:lnTo>
                  <a:lnTo>
                    <a:pt x="12" y="4"/>
                  </a:lnTo>
                  <a:lnTo>
                    <a:pt x="16" y="4"/>
                  </a:lnTo>
                  <a:lnTo>
                    <a:pt x="16" y="4"/>
                  </a:lnTo>
                  <a:lnTo>
                    <a:pt x="16" y="4"/>
                  </a:lnTo>
                  <a:lnTo>
                    <a:pt x="16" y="4"/>
                  </a:lnTo>
                  <a:lnTo>
                    <a:pt x="16" y="4"/>
                  </a:lnTo>
                  <a:lnTo>
                    <a:pt x="16" y="8"/>
                  </a:lnTo>
                  <a:lnTo>
                    <a:pt x="16" y="8"/>
                  </a:lnTo>
                  <a:lnTo>
                    <a:pt x="16" y="8"/>
                  </a:lnTo>
                  <a:lnTo>
                    <a:pt x="16" y="8"/>
                  </a:lnTo>
                  <a:lnTo>
                    <a:pt x="16" y="8"/>
                  </a:lnTo>
                  <a:lnTo>
                    <a:pt x="16" y="8"/>
                  </a:lnTo>
                  <a:lnTo>
                    <a:pt x="16" y="12"/>
                  </a:lnTo>
                  <a:lnTo>
                    <a:pt x="16" y="12"/>
                  </a:lnTo>
                  <a:lnTo>
                    <a:pt x="16" y="12"/>
                  </a:lnTo>
                  <a:lnTo>
                    <a:pt x="16" y="12"/>
                  </a:lnTo>
                  <a:lnTo>
                    <a:pt x="16" y="12"/>
                  </a:lnTo>
                  <a:lnTo>
                    <a:pt x="16" y="16"/>
                  </a:lnTo>
                  <a:lnTo>
                    <a:pt x="20" y="18"/>
                  </a:lnTo>
                  <a:lnTo>
                    <a:pt x="20" y="18"/>
                  </a:lnTo>
                  <a:lnTo>
                    <a:pt x="20" y="18"/>
                  </a:lnTo>
                  <a:lnTo>
                    <a:pt x="24" y="18"/>
                  </a:lnTo>
                  <a:lnTo>
                    <a:pt x="24" y="18"/>
                  </a:lnTo>
                  <a:lnTo>
                    <a:pt x="24" y="22"/>
                  </a:lnTo>
                  <a:lnTo>
                    <a:pt x="24" y="22"/>
                  </a:lnTo>
                  <a:lnTo>
                    <a:pt x="24" y="26"/>
                  </a:lnTo>
                  <a:lnTo>
                    <a:pt x="24" y="26"/>
                  </a:lnTo>
                  <a:lnTo>
                    <a:pt x="24" y="30"/>
                  </a:lnTo>
                  <a:lnTo>
                    <a:pt x="24" y="30"/>
                  </a:lnTo>
                  <a:lnTo>
                    <a:pt x="24" y="30"/>
                  </a:lnTo>
                  <a:lnTo>
                    <a:pt x="24" y="30"/>
                  </a:lnTo>
                  <a:lnTo>
                    <a:pt x="24" y="30"/>
                  </a:lnTo>
                  <a:lnTo>
                    <a:pt x="24" y="30"/>
                  </a:lnTo>
                  <a:lnTo>
                    <a:pt x="24" y="34"/>
                  </a:lnTo>
                  <a:lnTo>
                    <a:pt x="24" y="34"/>
                  </a:lnTo>
                  <a:lnTo>
                    <a:pt x="24" y="34"/>
                  </a:lnTo>
                  <a:lnTo>
                    <a:pt x="26" y="34"/>
                  </a:lnTo>
                  <a:lnTo>
                    <a:pt x="26" y="34"/>
                  </a:lnTo>
                  <a:lnTo>
                    <a:pt x="26" y="34"/>
                  </a:lnTo>
                  <a:lnTo>
                    <a:pt x="26" y="34"/>
                  </a:lnTo>
                  <a:lnTo>
                    <a:pt x="26" y="34"/>
                  </a:lnTo>
                  <a:lnTo>
                    <a:pt x="26" y="38"/>
                  </a:lnTo>
                  <a:lnTo>
                    <a:pt x="26" y="38"/>
                  </a:lnTo>
                  <a:lnTo>
                    <a:pt x="26" y="42"/>
                  </a:lnTo>
                  <a:lnTo>
                    <a:pt x="26" y="42"/>
                  </a:lnTo>
                  <a:lnTo>
                    <a:pt x="26" y="44"/>
                  </a:lnTo>
                  <a:lnTo>
                    <a:pt x="26" y="48"/>
                  </a:lnTo>
                  <a:lnTo>
                    <a:pt x="26" y="48"/>
                  </a:lnTo>
                  <a:lnTo>
                    <a:pt x="26" y="48"/>
                  </a:lnTo>
                  <a:lnTo>
                    <a:pt x="26" y="56"/>
                  </a:lnTo>
                  <a:lnTo>
                    <a:pt x="26" y="60"/>
                  </a:lnTo>
                  <a:lnTo>
                    <a:pt x="26" y="64"/>
                  </a:lnTo>
                  <a:lnTo>
                    <a:pt x="26" y="64"/>
                  </a:lnTo>
                  <a:lnTo>
                    <a:pt x="26" y="64"/>
                  </a:lnTo>
                  <a:lnTo>
                    <a:pt x="26" y="64"/>
                  </a:lnTo>
                  <a:lnTo>
                    <a:pt x="26" y="6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80" name="Freeform 173"/>
            <p:cNvSpPr>
              <a:spLocks noEditPoints="1"/>
            </p:cNvSpPr>
            <p:nvPr/>
          </p:nvSpPr>
          <p:spPr bwMode="auto">
            <a:xfrm>
              <a:off x="7105595" y="3727633"/>
              <a:ext cx="37679" cy="88916"/>
            </a:xfrm>
            <a:custGeom>
              <a:avLst/>
              <a:gdLst>
                <a:gd name="T0" fmla="*/ 40 w 60"/>
                <a:gd name="T1" fmla="*/ 12 h 136"/>
                <a:gd name="T2" fmla="*/ 44 w 60"/>
                <a:gd name="T3" fmla="*/ 12 h 136"/>
                <a:gd name="T4" fmla="*/ 44 w 60"/>
                <a:gd name="T5" fmla="*/ 8 h 136"/>
                <a:gd name="T6" fmla="*/ 48 w 60"/>
                <a:gd name="T7" fmla="*/ 8 h 136"/>
                <a:gd name="T8" fmla="*/ 48 w 60"/>
                <a:gd name="T9" fmla="*/ 14 h 136"/>
                <a:gd name="T10" fmla="*/ 48 w 60"/>
                <a:gd name="T11" fmla="*/ 18 h 136"/>
                <a:gd name="T12" fmla="*/ 44 w 60"/>
                <a:gd name="T13" fmla="*/ 18 h 136"/>
                <a:gd name="T14" fmla="*/ 44 w 60"/>
                <a:gd name="T15" fmla="*/ 30 h 136"/>
                <a:gd name="T16" fmla="*/ 48 w 60"/>
                <a:gd name="T17" fmla="*/ 34 h 136"/>
                <a:gd name="T18" fmla="*/ 52 w 60"/>
                <a:gd name="T19" fmla="*/ 34 h 136"/>
                <a:gd name="T20" fmla="*/ 52 w 60"/>
                <a:gd name="T21" fmla="*/ 42 h 136"/>
                <a:gd name="T22" fmla="*/ 48 w 60"/>
                <a:gd name="T23" fmla="*/ 52 h 136"/>
                <a:gd name="T24" fmla="*/ 44 w 60"/>
                <a:gd name="T25" fmla="*/ 56 h 136"/>
                <a:gd name="T26" fmla="*/ 38 w 60"/>
                <a:gd name="T27" fmla="*/ 60 h 136"/>
                <a:gd name="T28" fmla="*/ 38 w 60"/>
                <a:gd name="T29" fmla="*/ 64 h 136"/>
                <a:gd name="T30" fmla="*/ 40 w 60"/>
                <a:gd name="T31" fmla="*/ 72 h 136"/>
                <a:gd name="T32" fmla="*/ 44 w 60"/>
                <a:gd name="T33" fmla="*/ 72 h 136"/>
                <a:gd name="T34" fmla="*/ 48 w 60"/>
                <a:gd name="T35" fmla="*/ 74 h 136"/>
                <a:gd name="T36" fmla="*/ 52 w 60"/>
                <a:gd name="T37" fmla="*/ 72 h 136"/>
                <a:gd name="T38" fmla="*/ 52 w 60"/>
                <a:gd name="T39" fmla="*/ 74 h 136"/>
                <a:gd name="T40" fmla="*/ 56 w 60"/>
                <a:gd name="T41" fmla="*/ 78 h 136"/>
                <a:gd name="T42" fmla="*/ 60 w 60"/>
                <a:gd name="T43" fmla="*/ 82 h 136"/>
                <a:gd name="T44" fmla="*/ 60 w 60"/>
                <a:gd name="T45" fmla="*/ 90 h 136"/>
                <a:gd name="T46" fmla="*/ 60 w 60"/>
                <a:gd name="T47" fmla="*/ 94 h 136"/>
                <a:gd name="T48" fmla="*/ 48 w 60"/>
                <a:gd name="T49" fmla="*/ 102 h 136"/>
                <a:gd name="T50" fmla="*/ 44 w 60"/>
                <a:gd name="T51" fmla="*/ 106 h 136"/>
                <a:gd name="T52" fmla="*/ 38 w 60"/>
                <a:gd name="T53" fmla="*/ 108 h 136"/>
                <a:gd name="T54" fmla="*/ 40 w 60"/>
                <a:gd name="T55" fmla="*/ 124 h 136"/>
                <a:gd name="T56" fmla="*/ 34 w 60"/>
                <a:gd name="T57" fmla="*/ 132 h 136"/>
                <a:gd name="T58" fmla="*/ 30 w 60"/>
                <a:gd name="T59" fmla="*/ 124 h 136"/>
                <a:gd name="T60" fmla="*/ 22 w 60"/>
                <a:gd name="T61" fmla="*/ 102 h 136"/>
                <a:gd name="T62" fmla="*/ 14 w 60"/>
                <a:gd name="T63" fmla="*/ 90 h 136"/>
                <a:gd name="T64" fmla="*/ 10 w 60"/>
                <a:gd name="T65" fmla="*/ 82 h 136"/>
                <a:gd name="T66" fmla="*/ 4 w 60"/>
                <a:gd name="T67" fmla="*/ 78 h 136"/>
                <a:gd name="T68" fmla="*/ 4 w 60"/>
                <a:gd name="T69" fmla="*/ 68 h 136"/>
                <a:gd name="T70" fmla="*/ 4 w 60"/>
                <a:gd name="T71" fmla="*/ 64 h 136"/>
                <a:gd name="T72" fmla="*/ 4 w 60"/>
                <a:gd name="T73" fmla="*/ 60 h 136"/>
                <a:gd name="T74" fmla="*/ 10 w 60"/>
                <a:gd name="T75" fmla="*/ 52 h 136"/>
                <a:gd name="T76" fmla="*/ 10 w 60"/>
                <a:gd name="T77" fmla="*/ 48 h 136"/>
                <a:gd name="T78" fmla="*/ 14 w 60"/>
                <a:gd name="T79" fmla="*/ 42 h 136"/>
                <a:gd name="T80" fmla="*/ 14 w 60"/>
                <a:gd name="T81" fmla="*/ 34 h 136"/>
                <a:gd name="T82" fmla="*/ 10 w 60"/>
                <a:gd name="T83" fmla="*/ 30 h 136"/>
                <a:gd name="T84" fmla="*/ 14 w 60"/>
                <a:gd name="T85" fmla="*/ 22 h 136"/>
                <a:gd name="T86" fmla="*/ 10 w 60"/>
                <a:gd name="T87" fmla="*/ 14 h 136"/>
                <a:gd name="T88" fmla="*/ 10 w 60"/>
                <a:gd name="T89" fmla="*/ 14 h 136"/>
                <a:gd name="T90" fmla="*/ 18 w 60"/>
                <a:gd name="T91" fmla="*/ 8 h 136"/>
                <a:gd name="T92" fmla="*/ 22 w 60"/>
                <a:gd name="T93" fmla="*/ 8 h 136"/>
                <a:gd name="T94" fmla="*/ 22 w 60"/>
                <a:gd name="T95" fmla="*/ 4 h 136"/>
                <a:gd name="T96" fmla="*/ 34 w 60"/>
                <a:gd name="T97" fmla="*/ 0 h 136"/>
                <a:gd name="T98" fmla="*/ 34 w 60"/>
                <a:gd name="T99" fmla="*/ 4 h 136"/>
                <a:gd name="T100" fmla="*/ 40 w 60"/>
                <a:gd name="T101" fmla="*/ 4 h 136"/>
                <a:gd name="T102" fmla="*/ 40 w 60"/>
                <a:gd name="T103" fmla="*/ 8 h 136"/>
                <a:gd name="T104" fmla="*/ 52 w 60"/>
                <a:gd name="T105" fmla="*/ 52 h 136"/>
                <a:gd name="T106" fmla="*/ 56 w 60"/>
                <a:gd name="T107" fmla="*/ 48 h 136"/>
                <a:gd name="T108" fmla="*/ 52 w 60"/>
                <a:gd name="T109" fmla="*/ 52 h 136"/>
                <a:gd name="T110" fmla="*/ 48 w 60"/>
                <a:gd name="T111" fmla="*/ 68 h 136"/>
                <a:gd name="T112" fmla="*/ 48 w 60"/>
                <a:gd name="T113" fmla="*/ 68 h 136"/>
                <a:gd name="T114" fmla="*/ 48 w 60"/>
                <a:gd name="T115" fmla="*/ 68 h 136"/>
                <a:gd name="T116" fmla="*/ 52 w 60"/>
                <a:gd name="T117" fmla="*/ 68 h 136"/>
                <a:gd name="T118" fmla="*/ 48 w 60"/>
                <a:gd name="T119" fmla="*/ 7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 h="136">
                  <a:moveTo>
                    <a:pt x="40" y="8"/>
                  </a:moveTo>
                  <a:lnTo>
                    <a:pt x="40" y="8"/>
                  </a:lnTo>
                  <a:lnTo>
                    <a:pt x="40" y="12"/>
                  </a:lnTo>
                  <a:lnTo>
                    <a:pt x="40" y="12"/>
                  </a:lnTo>
                  <a:lnTo>
                    <a:pt x="40" y="12"/>
                  </a:lnTo>
                  <a:lnTo>
                    <a:pt x="40" y="12"/>
                  </a:lnTo>
                  <a:lnTo>
                    <a:pt x="40" y="12"/>
                  </a:lnTo>
                  <a:lnTo>
                    <a:pt x="40" y="12"/>
                  </a:lnTo>
                  <a:lnTo>
                    <a:pt x="40" y="12"/>
                  </a:lnTo>
                  <a:lnTo>
                    <a:pt x="40" y="12"/>
                  </a:lnTo>
                  <a:lnTo>
                    <a:pt x="40" y="12"/>
                  </a:lnTo>
                  <a:lnTo>
                    <a:pt x="40" y="12"/>
                  </a:lnTo>
                  <a:lnTo>
                    <a:pt x="40" y="12"/>
                  </a:lnTo>
                  <a:lnTo>
                    <a:pt x="44" y="12"/>
                  </a:lnTo>
                  <a:lnTo>
                    <a:pt x="44" y="12"/>
                  </a:lnTo>
                  <a:lnTo>
                    <a:pt x="44" y="12"/>
                  </a:lnTo>
                  <a:lnTo>
                    <a:pt x="44" y="12"/>
                  </a:lnTo>
                  <a:lnTo>
                    <a:pt x="44" y="12"/>
                  </a:lnTo>
                  <a:lnTo>
                    <a:pt x="44" y="12"/>
                  </a:lnTo>
                  <a:lnTo>
                    <a:pt x="44" y="12"/>
                  </a:lnTo>
                  <a:lnTo>
                    <a:pt x="44" y="8"/>
                  </a:lnTo>
                  <a:lnTo>
                    <a:pt x="44" y="8"/>
                  </a:lnTo>
                  <a:lnTo>
                    <a:pt x="44" y="8"/>
                  </a:lnTo>
                  <a:lnTo>
                    <a:pt x="48" y="8"/>
                  </a:lnTo>
                  <a:lnTo>
                    <a:pt x="48" y="8"/>
                  </a:lnTo>
                  <a:lnTo>
                    <a:pt x="48" y="8"/>
                  </a:lnTo>
                  <a:lnTo>
                    <a:pt x="48" y="8"/>
                  </a:lnTo>
                  <a:lnTo>
                    <a:pt x="48" y="8"/>
                  </a:lnTo>
                  <a:lnTo>
                    <a:pt x="52" y="4"/>
                  </a:lnTo>
                  <a:lnTo>
                    <a:pt x="52" y="8"/>
                  </a:lnTo>
                  <a:lnTo>
                    <a:pt x="52" y="8"/>
                  </a:lnTo>
                  <a:lnTo>
                    <a:pt x="52" y="12"/>
                  </a:lnTo>
                  <a:lnTo>
                    <a:pt x="52" y="12"/>
                  </a:lnTo>
                  <a:lnTo>
                    <a:pt x="52" y="12"/>
                  </a:lnTo>
                  <a:lnTo>
                    <a:pt x="48" y="14"/>
                  </a:lnTo>
                  <a:lnTo>
                    <a:pt x="48" y="14"/>
                  </a:lnTo>
                  <a:lnTo>
                    <a:pt x="48" y="14"/>
                  </a:lnTo>
                  <a:lnTo>
                    <a:pt x="48" y="14"/>
                  </a:lnTo>
                  <a:lnTo>
                    <a:pt x="48" y="14"/>
                  </a:lnTo>
                  <a:lnTo>
                    <a:pt x="48" y="18"/>
                  </a:lnTo>
                  <a:lnTo>
                    <a:pt x="48" y="18"/>
                  </a:lnTo>
                  <a:lnTo>
                    <a:pt x="48" y="18"/>
                  </a:lnTo>
                  <a:lnTo>
                    <a:pt x="44" y="18"/>
                  </a:lnTo>
                  <a:lnTo>
                    <a:pt x="44" y="18"/>
                  </a:lnTo>
                  <a:lnTo>
                    <a:pt x="44" y="18"/>
                  </a:lnTo>
                  <a:lnTo>
                    <a:pt x="44" y="18"/>
                  </a:lnTo>
                  <a:lnTo>
                    <a:pt x="44" y="18"/>
                  </a:lnTo>
                  <a:lnTo>
                    <a:pt x="44" y="18"/>
                  </a:lnTo>
                  <a:lnTo>
                    <a:pt x="44" y="18"/>
                  </a:lnTo>
                  <a:lnTo>
                    <a:pt x="44" y="22"/>
                  </a:lnTo>
                  <a:lnTo>
                    <a:pt x="44" y="22"/>
                  </a:lnTo>
                  <a:lnTo>
                    <a:pt x="44" y="22"/>
                  </a:lnTo>
                  <a:lnTo>
                    <a:pt x="44" y="26"/>
                  </a:lnTo>
                  <a:lnTo>
                    <a:pt x="44" y="26"/>
                  </a:lnTo>
                  <a:lnTo>
                    <a:pt x="44" y="30"/>
                  </a:lnTo>
                  <a:lnTo>
                    <a:pt x="44" y="30"/>
                  </a:lnTo>
                  <a:lnTo>
                    <a:pt x="48" y="30"/>
                  </a:lnTo>
                  <a:lnTo>
                    <a:pt x="48" y="30"/>
                  </a:lnTo>
                  <a:lnTo>
                    <a:pt x="48" y="30"/>
                  </a:lnTo>
                  <a:lnTo>
                    <a:pt x="48" y="30"/>
                  </a:lnTo>
                  <a:lnTo>
                    <a:pt x="48" y="30"/>
                  </a:lnTo>
                  <a:lnTo>
                    <a:pt x="48" y="34"/>
                  </a:lnTo>
                  <a:lnTo>
                    <a:pt x="48" y="34"/>
                  </a:lnTo>
                  <a:lnTo>
                    <a:pt x="48" y="34"/>
                  </a:lnTo>
                  <a:lnTo>
                    <a:pt x="52" y="34"/>
                  </a:lnTo>
                  <a:lnTo>
                    <a:pt x="52" y="34"/>
                  </a:lnTo>
                  <a:lnTo>
                    <a:pt x="52" y="34"/>
                  </a:lnTo>
                  <a:lnTo>
                    <a:pt x="52" y="34"/>
                  </a:lnTo>
                  <a:lnTo>
                    <a:pt x="52" y="34"/>
                  </a:lnTo>
                  <a:lnTo>
                    <a:pt x="52" y="34"/>
                  </a:lnTo>
                  <a:lnTo>
                    <a:pt x="52" y="38"/>
                  </a:lnTo>
                  <a:lnTo>
                    <a:pt x="52" y="38"/>
                  </a:lnTo>
                  <a:lnTo>
                    <a:pt x="52" y="38"/>
                  </a:lnTo>
                  <a:lnTo>
                    <a:pt x="52" y="42"/>
                  </a:lnTo>
                  <a:lnTo>
                    <a:pt x="52" y="42"/>
                  </a:lnTo>
                  <a:lnTo>
                    <a:pt x="52" y="42"/>
                  </a:lnTo>
                  <a:lnTo>
                    <a:pt x="52" y="42"/>
                  </a:lnTo>
                  <a:lnTo>
                    <a:pt x="52" y="42"/>
                  </a:lnTo>
                  <a:lnTo>
                    <a:pt x="52" y="42"/>
                  </a:lnTo>
                  <a:lnTo>
                    <a:pt x="52" y="44"/>
                  </a:lnTo>
                  <a:lnTo>
                    <a:pt x="52" y="44"/>
                  </a:lnTo>
                  <a:lnTo>
                    <a:pt x="48" y="48"/>
                  </a:lnTo>
                  <a:lnTo>
                    <a:pt x="48" y="48"/>
                  </a:lnTo>
                  <a:lnTo>
                    <a:pt x="48" y="52"/>
                  </a:lnTo>
                  <a:lnTo>
                    <a:pt x="48" y="52"/>
                  </a:lnTo>
                  <a:lnTo>
                    <a:pt x="48" y="52"/>
                  </a:lnTo>
                  <a:lnTo>
                    <a:pt x="44" y="52"/>
                  </a:lnTo>
                  <a:lnTo>
                    <a:pt x="44" y="52"/>
                  </a:lnTo>
                  <a:lnTo>
                    <a:pt x="44" y="52"/>
                  </a:lnTo>
                  <a:lnTo>
                    <a:pt x="44" y="52"/>
                  </a:lnTo>
                  <a:lnTo>
                    <a:pt x="44" y="56"/>
                  </a:lnTo>
                  <a:lnTo>
                    <a:pt x="40" y="56"/>
                  </a:lnTo>
                  <a:lnTo>
                    <a:pt x="40" y="56"/>
                  </a:lnTo>
                  <a:lnTo>
                    <a:pt x="40" y="56"/>
                  </a:lnTo>
                  <a:lnTo>
                    <a:pt x="40" y="56"/>
                  </a:lnTo>
                  <a:lnTo>
                    <a:pt x="38" y="56"/>
                  </a:lnTo>
                  <a:lnTo>
                    <a:pt x="38" y="60"/>
                  </a:lnTo>
                  <a:lnTo>
                    <a:pt x="38" y="60"/>
                  </a:lnTo>
                  <a:lnTo>
                    <a:pt x="38" y="60"/>
                  </a:lnTo>
                  <a:lnTo>
                    <a:pt x="38" y="60"/>
                  </a:lnTo>
                  <a:lnTo>
                    <a:pt x="38" y="60"/>
                  </a:lnTo>
                  <a:lnTo>
                    <a:pt x="38" y="64"/>
                  </a:lnTo>
                  <a:lnTo>
                    <a:pt x="38" y="64"/>
                  </a:lnTo>
                  <a:lnTo>
                    <a:pt x="38" y="64"/>
                  </a:lnTo>
                  <a:lnTo>
                    <a:pt x="38" y="64"/>
                  </a:lnTo>
                  <a:lnTo>
                    <a:pt x="38" y="64"/>
                  </a:lnTo>
                  <a:lnTo>
                    <a:pt x="38" y="64"/>
                  </a:lnTo>
                  <a:lnTo>
                    <a:pt x="40" y="68"/>
                  </a:lnTo>
                  <a:lnTo>
                    <a:pt x="40" y="68"/>
                  </a:lnTo>
                  <a:lnTo>
                    <a:pt x="40" y="68"/>
                  </a:lnTo>
                  <a:lnTo>
                    <a:pt x="40" y="72"/>
                  </a:lnTo>
                  <a:lnTo>
                    <a:pt x="40" y="72"/>
                  </a:lnTo>
                  <a:lnTo>
                    <a:pt x="40" y="72"/>
                  </a:lnTo>
                  <a:lnTo>
                    <a:pt x="44" y="72"/>
                  </a:lnTo>
                  <a:lnTo>
                    <a:pt x="44" y="72"/>
                  </a:lnTo>
                  <a:lnTo>
                    <a:pt x="44" y="72"/>
                  </a:lnTo>
                  <a:lnTo>
                    <a:pt x="44" y="72"/>
                  </a:lnTo>
                  <a:lnTo>
                    <a:pt x="44" y="72"/>
                  </a:lnTo>
                  <a:lnTo>
                    <a:pt x="44" y="72"/>
                  </a:lnTo>
                  <a:lnTo>
                    <a:pt x="48" y="68"/>
                  </a:lnTo>
                  <a:lnTo>
                    <a:pt x="48" y="68"/>
                  </a:lnTo>
                  <a:lnTo>
                    <a:pt x="48" y="72"/>
                  </a:lnTo>
                  <a:lnTo>
                    <a:pt x="48" y="72"/>
                  </a:lnTo>
                  <a:lnTo>
                    <a:pt x="48" y="72"/>
                  </a:lnTo>
                  <a:lnTo>
                    <a:pt x="48" y="72"/>
                  </a:lnTo>
                  <a:lnTo>
                    <a:pt x="48" y="74"/>
                  </a:lnTo>
                  <a:lnTo>
                    <a:pt x="48" y="74"/>
                  </a:lnTo>
                  <a:lnTo>
                    <a:pt x="48" y="72"/>
                  </a:lnTo>
                  <a:lnTo>
                    <a:pt x="48" y="72"/>
                  </a:lnTo>
                  <a:lnTo>
                    <a:pt x="48" y="72"/>
                  </a:lnTo>
                  <a:lnTo>
                    <a:pt x="48" y="72"/>
                  </a:lnTo>
                  <a:lnTo>
                    <a:pt x="48" y="72"/>
                  </a:lnTo>
                  <a:lnTo>
                    <a:pt x="52" y="72"/>
                  </a:lnTo>
                  <a:lnTo>
                    <a:pt x="52" y="72"/>
                  </a:lnTo>
                  <a:lnTo>
                    <a:pt x="52" y="72"/>
                  </a:lnTo>
                  <a:lnTo>
                    <a:pt x="52" y="72"/>
                  </a:lnTo>
                  <a:lnTo>
                    <a:pt x="52" y="72"/>
                  </a:lnTo>
                  <a:lnTo>
                    <a:pt x="52" y="72"/>
                  </a:lnTo>
                  <a:lnTo>
                    <a:pt x="52" y="72"/>
                  </a:lnTo>
                  <a:lnTo>
                    <a:pt x="52" y="74"/>
                  </a:lnTo>
                  <a:lnTo>
                    <a:pt x="52" y="74"/>
                  </a:lnTo>
                  <a:lnTo>
                    <a:pt x="52" y="74"/>
                  </a:lnTo>
                  <a:lnTo>
                    <a:pt x="52" y="78"/>
                  </a:lnTo>
                  <a:lnTo>
                    <a:pt x="52" y="78"/>
                  </a:lnTo>
                  <a:lnTo>
                    <a:pt x="56" y="78"/>
                  </a:lnTo>
                  <a:lnTo>
                    <a:pt x="56" y="78"/>
                  </a:lnTo>
                  <a:lnTo>
                    <a:pt x="56" y="78"/>
                  </a:lnTo>
                  <a:lnTo>
                    <a:pt x="60" y="78"/>
                  </a:lnTo>
                  <a:lnTo>
                    <a:pt x="60" y="78"/>
                  </a:lnTo>
                  <a:lnTo>
                    <a:pt x="60" y="78"/>
                  </a:lnTo>
                  <a:lnTo>
                    <a:pt x="60" y="78"/>
                  </a:lnTo>
                  <a:lnTo>
                    <a:pt x="60" y="82"/>
                  </a:lnTo>
                  <a:lnTo>
                    <a:pt x="60" y="82"/>
                  </a:lnTo>
                  <a:lnTo>
                    <a:pt x="60" y="82"/>
                  </a:lnTo>
                  <a:lnTo>
                    <a:pt x="60" y="82"/>
                  </a:lnTo>
                  <a:lnTo>
                    <a:pt x="60" y="86"/>
                  </a:lnTo>
                  <a:lnTo>
                    <a:pt x="60" y="90"/>
                  </a:lnTo>
                  <a:lnTo>
                    <a:pt x="60" y="90"/>
                  </a:lnTo>
                  <a:lnTo>
                    <a:pt x="60" y="90"/>
                  </a:lnTo>
                  <a:lnTo>
                    <a:pt x="60" y="90"/>
                  </a:lnTo>
                  <a:lnTo>
                    <a:pt x="60" y="90"/>
                  </a:lnTo>
                  <a:lnTo>
                    <a:pt x="60" y="90"/>
                  </a:lnTo>
                  <a:lnTo>
                    <a:pt x="60" y="90"/>
                  </a:lnTo>
                  <a:lnTo>
                    <a:pt x="60" y="94"/>
                  </a:lnTo>
                  <a:lnTo>
                    <a:pt x="60" y="94"/>
                  </a:lnTo>
                  <a:lnTo>
                    <a:pt x="60" y="94"/>
                  </a:lnTo>
                  <a:lnTo>
                    <a:pt x="60" y="94"/>
                  </a:lnTo>
                  <a:lnTo>
                    <a:pt x="60" y="94"/>
                  </a:lnTo>
                  <a:lnTo>
                    <a:pt x="56" y="94"/>
                  </a:lnTo>
                  <a:lnTo>
                    <a:pt x="56" y="94"/>
                  </a:lnTo>
                  <a:lnTo>
                    <a:pt x="52" y="98"/>
                  </a:lnTo>
                  <a:lnTo>
                    <a:pt x="52" y="98"/>
                  </a:lnTo>
                  <a:lnTo>
                    <a:pt x="52" y="98"/>
                  </a:lnTo>
                  <a:lnTo>
                    <a:pt x="48" y="98"/>
                  </a:lnTo>
                  <a:lnTo>
                    <a:pt x="48" y="102"/>
                  </a:lnTo>
                  <a:lnTo>
                    <a:pt x="48" y="102"/>
                  </a:lnTo>
                  <a:lnTo>
                    <a:pt x="48" y="102"/>
                  </a:lnTo>
                  <a:lnTo>
                    <a:pt x="48" y="102"/>
                  </a:lnTo>
                  <a:lnTo>
                    <a:pt x="44" y="106"/>
                  </a:lnTo>
                  <a:lnTo>
                    <a:pt x="44" y="106"/>
                  </a:lnTo>
                  <a:lnTo>
                    <a:pt x="44" y="106"/>
                  </a:lnTo>
                  <a:lnTo>
                    <a:pt x="44" y="106"/>
                  </a:lnTo>
                  <a:lnTo>
                    <a:pt x="44" y="106"/>
                  </a:lnTo>
                  <a:lnTo>
                    <a:pt x="44" y="106"/>
                  </a:lnTo>
                  <a:lnTo>
                    <a:pt x="40" y="106"/>
                  </a:lnTo>
                  <a:lnTo>
                    <a:pt x="40" y="106"/>
                  </a:lnTo>
                  <a:lnTo>
                    <a:pt x="40" y="106"/>
                  </a:lnTo>
                  <a:lnTo>
                    <a:pt x="40" y="106"/>
                  </a:lnTo>
                  <a:lnTo>
                    <a:pt x="38" y="108"/>
                  </a:lnTo>
                  <a:lnTo>
                    <a:pt x="38" y="112"/>
                  </a:lnTo>
                  <a:lnTo>
                    <a:pt x="40" y="112"/>
                  </a:lnTo>
                  <a:lnTo>
                    <a:pt x="40" y="116"/>
                  </a:lnTo>
                  <a:lnTo>
                    <a:pt x="40" y="120"/>
                  </a:lnTo>
                  <a:lnTo>
                    <a:pt x="40" y="120"/>
                  </a:lnTo>
                  <a:lnTo>
                    <a:pt x="40" y="124"/>
                  </a:lnTo>
                  <a:lnTo>
                    <a:pt x="40" y="124"/>
                  </a:lnTo>
                  <a:lnTo>
                    <a:pt x="40" y="124"/>
                  </a:lnTo>
                  <a:lnTo>
                    <a:pt x="38" y="128"/>
                  </a:lnTo>
                  <a:lnTo>
                    <a:pt x="38" y="132"/>
                  </a:lnTo>
                  <a:lnTo>
                    <a:pt x="38" y="132"/>
                  </a:lnTo>
                  <a:lnTo>
                    <a:pt x="34" y="132"/>
                  </a:lnTo>
                  <a:lnTo>
                    <a:pt x="34" y="132"/>
                  </a:lnTo>
                  <a:lnTo>
                    <a:pt x="34" y="132"/>
                  </a:lnTo>
                  <a:lnTo>
                    <a:pt x="34" y="132"/>
                  </a:lnTo>
                  <a:lnTo>
                    <a:pt x="30" y="136"/>
                  </a:lnTo>
                  <a:lnTo>
                    <a:pt x="30" y="136"/>
                  </a:lnTo>
                  <a:lnTo>
                    <a:pt x="30" y="132"/>
                  </a:lnTo>
                  <a:lnTo>
                    <a:pt x="30" y="128"/>
                  </a:lnTo>
                  <a:lnTo>
                    <a:pt x="30" y="128"/>
                  </a:lnTo>
                  <a:lnTo>
                    <a:pt x="30" y="124"/>
                  </a:lnTo>
                  <a:lnTo>
                    <a:pt x="26" y="120"/>
                  </a:lnTo>
                  <a:lnTo>
                    <a:pt x="26" y="116"/>
                  </a:lnTo>
                  <a:lnTo>
                    <a:pt x="26" y="108"/>
                  </a:lnTo>
                  <a:lnTo>
                    <a:pt x="26" y="108"/>
                  </a:lnTo>
                  <a:lnTo>
                    <a:pt x="26" y="102"/>
                  </a:lnTo>
                  <a:lnTo>
                    <a:pt x="22" y="102"/>
                  </a:lnTo>
                  <a:lnTo>
                    <a:pt x="22" y="102"/>
                  </a:lnTo>
                  <a:lnTo>
                    <a:pt x="22" y="98"/>
                  </a:lnTo>
                  <a:lnTo>
                    <a:pt x="22" y="98"/>
                  </a:lnTo>
                  <a:lnTo>
                    <a:pt x="18" y="94"/>
                  </a:lnTo>
                  <a:lnTo>
                    <a:pt x="14" y="94"/>
                  </a:lnTo>
                  <a:lnTo>
                    <a:pt x="14" y="94"/>
                  </a:lnTo>
                  <a:lnTo>
                    <a:pt x="14" y="90"/>
                  </a:lnTo>
                  <a:lnTo>
                    <a:pt x="14" y="90"/>
                  </a:lnTo>
                  <a:lnTo>
                    <a:pt x="14" y="90"/>
                  </a:lnTo>
                  <a:lnTo>
                    <a:pt x="14" y="86"/>
                  </a:lnTo>
                  <a:lnTo>
                    <a:pt x="14" y="86"/>
                  </a:lnTo>
                  <a:lnTo>
                    <a:pt x="14" y="86"/>
                  </a:lnTo>
                  <a:lnTo>
                    <a:pt x="14" y="86"/>
                  </a:lnTo>
                  <a:lnTo>
                    <a:pt x="10" y="86"/>
                  </a:lnTo>
                  <a:lnTo>
                    <a:pt x="10" y="82"/>
                  </a:lnTo>
                  <a:lnTo>
                    <a:pt x="10" y="78"/>
                  </a:lnTo>
                  <a:lnTo>
                    <a:pt x="10" y="78"/>
                  </a:lnTo>
                  <a:lnTo>
                    <a:pt x="6" y="78"/>
                  </a:lnTo>
                  <a:lnTo>
                    <a:pt x="4" y="78"/>
                  </a:lnTo>
                  <a:lnTo>
                    <a:pt x="4" y="78"/>
                  </a:lnTo>
                  <a:lnTo>
                    <a:pt x="4" y="78"/>
                  </a:lnTo>
                  <a:lnTo>
                    <a:pt x="4" y="78"/>
                  </a:lnTo>
                  <a:lnTo>
                    <a:pt x="4" y="74"/>
                  </a:lnTo>
                  <a:lnTo>
                    <a:pt x="4" y="74"/>
                  </a:lnTo>
                  <a:lnTo>
                    <a:pt x="4" y="74"/>
                  </a:lnTo>
                  <a:lnTo>
                    <a:pt x="4" y="74"/>
                  </a:lnTo>
                  <a:lnTo>
                    <a:pt x="4" y="72"/>
                  </a:lnTo>
                  <a:lnTo>
                    <a:pt x="4" y="72"/>
                  </a:lnTo>
                  <a:lnTo>
                    <a:pt x="4" y="68"/>
                  </a:lnTo>
                  <a:lnTo>
                    <a:pt x="0" y="68"/>
                  </a:lnTo>
                  <a:lnTo>
                    <a:pt x="0" y="64"/>
                  </a:lnTo>
                  <a:lnTo>
                    <a:pt x="0" y="64"/>
                  </a:lnTo>
                  <a:lnTo>
                    <a:pt x="0" y="64"/>
                  </a:lnTo>
                  <a:lnTo>
                    <a:pt x="4" y="64"/>
                  </a:lnTo>
                  <a:lnTo>
                    <a:pt x="4" y="64"/>
                  </a:lnTo>
                  <a:lnTo>
                    <a:pt x="4" y="64"/>
                  </a:lnTo>
                  <a:lnTo>
                    <a:pt x="4" y="60"/>
                  </a:lnTo>
                  <a:lnTo>
                    <a:pt x="4" y="60"/>
                  </a:lnTo>
                  <a:lnTo>
                    <a:pt x="4" y="60"/>
                  </a:lnTo>
                  <a:lnTo>
                    <a:pt x="4" y="60"/>
                  </a:lnTo>
                  <a:lnTo>
                    <a:pt x="4" y="60"/>
                  </a:lnTo>
                  <a:lnTo>
                    <a:pt x="4" y="60"/>
                  </a:lnTo>
                  <a:lnTo>
                    <a:pt x="4" y="60"/>
                  </a:lnTo>
                  <a:lnTo>
                    <a:pt x="6" y="60"/>
                  </a:lnTo>
                  <a:lnTo>
                    <a:pt x="6" y="56"/>
                  </a:lnTo>
                  <a:lnTo>
                    <a:pt x="6" y="56"/>
                  </a:lnTo>
                  <a:lnTo>
                    <a:pt x="6" y="56"/>
                  </a:lnTo>
                  <a:lnTo>
                    <a:pt x="6" y="56"/>
                  </a:lnTo>
                  <a:lnTo>
                    <a:pt x="6" y="52"/>
                  </a:lnTo>
                  <a:lnTo>
                    <a:pt x="10" y="52"/>
                  </a:lnTo>
                  <a:lnTo>
                    <a:pt x="10" y="52"/>
                  </a:lnTo>
                  <a:lnTo>
                    <a:pt x="10" y="52"/>
                  </a:lnTo>
                  <a:lnTo>
                    <a:pt x="10" y="52"/>
                  </a:lnTo>
                  <a:lnTo>
                    <a:pt x="10" y="52"/>
                  </a:lnTo>
                  <a:lnTo>
                    <a:pt x="10" y="52"/>
                  </a:lnTo>
                  <a:lnTo>
                    <a:pt x="10" y="48"/>
                  </a:lnTo>
                  <a:lnTo>
                    <a:pt x="10" y="48"/>
                  </a:lnTo>
                  <a:lnTo>
                    <a:pt x="10" y="48"/>
                  </a:lnTo>
                  <a:lnTo>
                    <a:pt x="10" y="48"/>
                  </a:lnTo>
                  <a:lnTo>
                    <a:pt x="10" y="48"/>
                  </a:lnTo>
                  <a:lnTo>
                    <a:pt x="10" y="44"/>
                  </a:lnTo>
                  <a:lnTo>
                    <a:pt x="14" y="42"/>
                  </a:lnTo>
                  <a:lnTo>
                    <a:pt x="14" y="42"/>
                  </a:lnTo>
                  <a:lnTo>
                    <a:pt x="14" y="42"/>
                  </a:lnTo>
                  <a:lnTo>
                    <a:pt x="14" y="38"/>
                  </a:lnTo>
                  <a:lnTo>
                    <a:pt x="14" y="38"/>
                  </a:lnTo>
                  <a:lnTo>
                    <a:pt x="14" y="38"/>
                  </a:lnTo>
                  <a:lnTo>
                    <a:pt x="14" y="38"/>
                  </a:lnTo>
                  <a:lnTo>
                    <a:pt x="14" y="38"/>
                  </a:lnTo>
                  <a:lnTo>
                    <a:pt x="14" y="38"/>
                  </a:lnTo>
                  <a:lnTo>
                    <a:pt x="14" y="34"/>
                  </a:lnTo>
                  <a:lnTo>
                    <a:pt x="14" y="34"/>
                  </a:lnTo>
                  <a:lnTo>
                    <a:pt x="14" y="34"/>
                  </a:lnTo>
                  <a:lnTo>
                    <a:pt x="14" y="34"/>
                  </a:lnTo>
                  <a:lnTo>
                    <a:pt x="14" y="30"/>
                  </a:lnTo>
                  <a:lnTo>
                    <a:pt x="10" y="30"/>
                  </a:lnTo>
                  <a:lnTo>
                    <a:pt x="10" y="30"/>
                  </a:lnTo>
                  <a:lnTo>
                    <a:pt x="10" y="30"/>
                  </a:lnTo>
                  <a:lnTo>
                    <a:pt x="10" y="30"/>
                  </a:lnTo>
                  <a:lnTo>
                    <a:pt x="10" y="30"/>
                  </a:lnTo>
                  <a:lnTo>
                    <a:pt x="10" y="26"/>
                  </a:lnTo>
                  <a:lnTo>
                    <a:pt x="10" y="26"/>
                  </a:lnTo>
                  <a:lnTo>
                    <a:pt x="10" y="26"/>
                  </a:lnTo>
                  <a:lnTo>
                    <a:pt x="10" y="26"/>
                  </a:lnTo>
                  <a:lnTo>
                    <a:pt x="14" y="22"/>
                  </a:lnTo>
                  <a:lnTo>
                    <a:pt x="14" y="22"/>
                  </a:lnTo>
                  <a:lnTo>
                    <a:pt x="14" y="18"/>
                  </a:lnTo>
                  <a:lnTo>
                    <a:pt x="14" y="18"/>
                  </a:lnTo>
                  <a:lnTo>
                    <a:pt x="14" y="18"/>
                  </a:lnTo>
                  <a:lnTo>
                    <a:pt x="14" y="18"/>
                  </a:lnTo>
                  <a:lnTo>
                    <a:pt x="14" y="18"/>
                  </a:lnTo>
                  <a:lnTo>
                    <a:pt x="10" y="14"/>
                  </a:lnTo>
                  <a:lnTo>
                    <a:pt x="10" y="18"/>
                  </a:lnTo>
                  <a:lnTo>
                    <a:pt x="10" y="14"/>
                  </a:lnTo>
                  <a:lnTo>
                    <a:pt x="10" y="14"/>
                  </a:lnTo>
                  <a:lnTo>
                    <a:pt x="10" y="14"/>
                  </a:lnTo>
                  <a:lnTo>
                    <a:pt x="10" y="14"/>
                  </a:lnTo>
                  <a:lnTo>
                    <a:pt x="10" y="14"/>
                  </a:lnTo>
                  <a:lnTo>
                    <a:pt x="10" y="14"/>
                  </a:lnTo>
                  <a:lnTo>
                    <a:pt x="14" y="14"/>
                  </a:lnTo>
                  <a:lnTo>
                    <a:pt x="14" y="14"/>
                  </a:lnTo>
                  <a:lnTo>
                    <a:pt x="14" y="12"/>
                  </a:lnTo>
                  <a:lnTo>
                    <a:pt x="14" y="12"/>
                  </a:lnTo>
                  <a:lnTo>
                    <a:pt x="18" y="12"/>
                  </a:lnTo>
                  <a:lnTo>
                    <a:pt x="18" y="8"/>
                  </a:lnTo>
                  <a:lnTo>
                    <a:pt x="18" y="8"/>
                  </a:lnTo>
                  <a:lnTo>
                    <a:pt x="18" y="8"/>
                  </a:lnTo>
                  <a:lnTo>
                    <a:pt x="18" y="8"/>
                  </a:lnTo>
                  <a:lnTo>
                    <a:pt x="22" y="8"/>
                  </a:lnTo>
                  <a:lnTo>
                    <a:pt x="22" y="8"/>
                  </a:lnTo>
                  <a:lnTo>
                    <a:pt x="22" y="8"/>
                  </a:lnTo>
                  <a:lnTo>
                    <a:pt x="22" y="8"/>
                  </a:lnTo>
                  <a:lnTo>
                    <a:pt x="22" y="8"/>
                  </a:lnTo>
                  <a:lnTo>
                    <a:pt x="22" y="8"/>
                  </a:lnTo>
                  <a:lnTo>
                    <a:pt x="22" y="8"/>
                  </a:lnTo>
                  <a:lnTo>
                    <a:pt x="22" y="4"/>
                  </a:lnTo>
                  <a:lnTo>
                    <a:pt x="22" y="4"/>
                  </a:lnTo>
                  <a:lnTo>
                    <a:pt x="22" y="4"/>
                  </a:lnTo>
                  <a:lnTo>
                    <a:pt x="22" y="4"/>
                  </a:lnTo>
                  <a:lnTo>
                    <a:pt x="22" y="4"/>
                  </a:lnTo>
                  <a:lnTo>
                    <a:pt x="26" y="4"/>
                  </a:lnTo>
                  <a:lnTo>
                    <a:pt x="26" y="4"/>
                  </a:lnTo>
                  <a:lnTo>
                    <a:pt x="30" y="0"/>
                  </a:lnTo>
                  <a:lnTo>
                    <a:pt x="34" y="0"/>
                  </a:lnTo>
                  <a:lnTo>
                    <a:pt x="34" y="0"/>
                  </a:lnTo>
                  <a:lnTo>
                    <a:pt x="34" y="0"/>
                  </a:lnTo>
                  <a:lnTo>
                    <a:pt x="34" y="0"/>
                  </a:lnTo>
                  <a:lnTo>
                    <a:pt x="34" y="4"/>
                  </a:lnTo>
                  <a:lnTo>
                    <a:pt x="34" y="4"/>
                  </a:lnTo>
                  <a:lnTo>
                    <a:pt x="34" y="4"/>
                  </a:lnTo>
                  <a:lnTo>
                    <a:pt x="34" y="4"/>
                  </a:lnTo>
                  <a:lnTo>
                    <a:pt x="34" y="4"/>
                  </a:lnTo>
                  <a:lnTo>
                    <a:pt x="34" y="4"/>
                  </a:lnTo>
                  <a:lnTo>
                    <a:pt x="34" y="4"/>
                  </a:lnTo>
                  <a:lnTo>
                    <a:pt x="38" y="4"/>
                  </a:lnTo>
                  <a:lnTo>
                    <a:pt x="38" y="4"/>
                  </a:lnTo>
                  <a:lnTo>
                    <a:pt x="38" y="4"/>
                  </a:lnTo>
                  <a:lnTo>
                    <a:pt x="34" y="4"/>
                  </a:lnTo>
                  <a:lnTo>
                    <a:pt x="38" y="4"/>
                  </a:lnTo>
                  <a:lnTo>
                    <a:pt x="38" y="4"/>
                  </a:lnTo>
                  <a:lnTo>
                    <a:pt x="40" y="4"/>
                  </a:lnTo>
                  <a:lnTo>
                    <a:pt x="40" y="4"/>
                  </a:lnTo>
                  <a:lnTo>
                    <a:pt x="40" y="4"/>
                  </a:lnTo>
                  <a:lnTo>
                    <a:pt x="40" y="4"/>
                  </a:lnTo>
                  <a:lnTo>
                    <a:pt x="38" y="4"/>
                  </a:lnTo>
                  <a:lnTo>
                    <a:pt x="40" y="4"/>
                  </a:lnTo>
                  <a:lnTo>
                    <a:pt x="40" y="4"/>
                  </a:lnTo>
                  <a:lnTo>
                    <a:pt x="40" y="8"/>
                  </a:lnTo>
                  <a:lnTo>
                    <a:pt x="40" y="8"/>
                  </a:lnTo>
                  <a:lnTo>
                    <a:pt x="40" y="8"/>
                  </a:lnTo>
                  <a:lnTo>
                    <a:pt x="40" y="8"/>
                  </a:lnTo>
                  <a:lnTo>
                    <a:pt x="40" y="8"/>
                  </a:lnTo>
                  <a:lnTo>
                    <a:pt x="40" y="8"/>
                  </a:lnTo>
                  <a:close/>
                  <a:moveTo>
                    <a:pt x="52" y="52"/>
                  </a:moveTo>
                  <a:lnTo>
                    <a:pt x="52" y="52"/>
                  </a:lnTo>
                  <a:lnTo>
                    <a:pt x="52" y="52"/>
                  </a:lnTo>
                  <a:lnTo>
                    <a:pt x="52" y="48"/>
                  </a:lnTo>
                  <a:lnTo>
                    <a:pt x="56" y="48"/>
                  </a:lnTo>
                  <a:lnTo>
                    <a:pt x="56" y="48"/>
                  </a:lnTo>
                  <a:lnTo>
                    <a:pt x="56" y="48"/>
                  </a:lnTo>
                  <a:lnTo>
                    <a:pt x="56" y="48"/>
                  </a:lnTo>
                  <a:lnTo>
                    <a:pt x="56" y="48"/>
                  </a:lnTo>
                  <a:lnTo>
                    <a:pt x="56" y="48"/>
                  </a:lnTo>
                  <a:lnTo>
                    <a:pt x="56" y="48"/>
                  </a:lnTo>
                  <a:lnTo>
                    <a:pt x="52" y="48"/>
                  </a:lnTo>
                  <a:lnTo>
                    <a:pt x="52" y="48"/>
                  </a:lnTo>
                  <a:lnTo>
                    <a:pt x="52" y="52"/>
                  </a:lnTo>
                  <a:lnTo>
                    <a:pt x="52" y="52"/>
                  </a:lnTo>
                  <a:lnTo>
                    <a:pt x="52" y="52"/>
                  </a:lnTo>
                  <a:lnTo>
                    <a:pt x="52" y="52"/>
                  </a:lnTo>
                  <a:close/>
                  <a:moveTo>
                    <a:pt x="48" y="72"/>
                  </a:moveTo>
                  <a:lnTo>
                    <a:pt x="48" y="72"/>
                  </a:lnTo>
                  <a:lnTo>
                    <a:pt x="48" y="72"/>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48" y="68"/>
                  </a:lnTo>
                  <a:lnTo>
                    <a:pt x="52" y="68"/>
                  </a:lnTo>
                  <a:lnTo>
                    <a:pt x="52" y="68"/>
                  </a:lnTo>
                  <a:lnTo>
                    <a:pt x="52" y="68"/>
                  </a:lnTo>
                  <a:lnTo>
                    <a:pt x="52" y="68"/>
                  </a:lnTo>
                  <a:lnTo>
                    <a:pt x="52" y="68"/>
                  </a:lnTo>
                  <a:lnTo>
                    <a:pt x="52" y="68"/>
                  </a:lnTo>
                  <a:lnTo>
                    <a:pt x="52" y="68"/>
                  </a:lnTo>
                  <a:lnTo>
                    <a:pt x="52" y="68"/>
                  </a:lnTo>
                  <a:lnTo>
                    <a:pt x="48" y="72"/>
                  </a:lnTo>
                  <a:lnTo>
                    <a:pt x="48" y="72"/>
                  </a:lnTo>
                  <a:lnTo>
                    <a:pt x="48" y="72"/>
                  </a:lnTo>
                  <a:lnTo>
                    <a:pt x="48" y="72"/>
                  </a:lnTo>
                  <a:lnTo>
                    <a:pt x="48" y="7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81" name="Freeform 174"/>
            <p:cNvSpPr>
              <a:spLocks/>
            </p:cNvSpPr>
            <p:nvPr/>
          </p:nvSpPr>
          <p:spPr bwMode="auto">
            <a:xfrm>
              <a:off x="7301525" y="4113370"/>
              <a:ext cx="50238" cy="64072"/>
            </a:xfrm>
            <a:custGeom>
              <a:avLst/>
              <a:gdLst>
                <a:gd name="T0" fmla="*/ 42 w 80"/>
                <a:gd name="T1" fmla="*/ 90 h 98"/>
                <a:gd name="T2" fmla="*/ 22 w 80"/>
                <a:gd name="T3" fmla="*/ 90 h 98"/>
                <a:gd name="T4" fmla="*/ 16 w 80"/>
                <a:gd name="T5" fmla="*/ 90 h 98"/>
                <a:gd name="T6" fmla="*/ 12 w 80"/>
                <a:gd name="T7" fmla="*/ 94 h 98"/>
                <a:gd name="T8" fmla="*/ 8 w 80"/>
                <a:gd name="T9" fmla="*/ 98 h 98"/>
                <a:gd name="T10" fmla="*/ 4 w 80"/>
                <a:gd name="T11" fmla="*/ 98 h 98"/>
                <a:gd name="T12" fmla="*/ 4 w 80"/>
                <a:gd name="T13" fmla="*/ 98 h 98"/>
                <a:gd name="T14" fmla="*/ 0 w 80"/>
                <a:gd name="T15" fmla="*/ 98 h 98"/>
                <a:gd name="T16" fmla="*/ 0 w 80"/>
                <a:gd name="T17" fmla="*/ 90 h 98"/>
                <a:gd name="T18" fmla="*/ 4 w 80"/>
                <a:gd name="T19" fmla="*/ 82 h 98"/>
                <a:gd name="T20" fmla="*/ 4 w 80"/>
                <a:gd name="T21" fmla="*/ 74 h 98"/>
                <a:gd name="T22" fmla="*/ 4 w 80"/>
                <a:gd name="T23" fmla="*/ 70 h 98"/>
                <a:gd name="T24" fmla="*/ 8 w 80"/>
                <a:gd name="T25" fmla="*/ 64 h 98"/>
                <a:gd name="T26" fmla="*/ 8 w 80"/>
                <a:gd name="T27" fmla="*/ 60 h 98"/>
                <a:gd name="T28" fmla="*/ 8 w 80"/>
                <a:gd name="T29" fmla="*/ 56 h 98"/>
                <a:gd name="T30" fmla="*/ 12 w 80"/>
                <a:gd name="T31" fmla="*/ 52 h 98"/>
                <a:gd name="T32" fmla="*/ 16 w 80"/>
                <a:gd name="T33" fmla="*/ 52 h 98"/>
                <a:gd name="T34" fmla="*/ 22 w 80"/>
                <a:gd name="T35" fmla="*/ 40 h 98"/>
                <a:gd name="T36" fmla="*/ 22 w 80"/>
                <a:gd name="T37" fmla="*/ 34 h 98"/>
                <a:gd name="T38" fmla="*/ 20 w 80"/>
                <a:gd name="T39" fmla="*/ 34 h 98"/>
                <a:gd name="T40" fmla="*/ 20 w 80"/>
                <a:gd name="T41" fmla="*/ 30 h 98"/>
                <a:gd name="T42" fmla="*/ 20 w 80"/>
                <a:gd name="T43" fmla="*/ 22 h 98"/>
                <a:gd name="T44" fmla="*/ 20 w 80"/>
                <a:gd name="T45" fmla="*/ 18 h 98"/>
                <a:gd name="T46" fmla="*/ 20 w 80"/>
                <a:gd name="T47" fmla="*/ 10 h 98"/>
                <a:gd name="T48" fmla="*/ 20 w 80"/>
                <a:gd name="T49" fmla="*/ 10 h 98"/>
                <a:gd name="T50" fmla="*/ 26 w 80"/>
                <a:gd name="T51" fmla="*/ 6 h 98"/>
                <a:gd name="T52" fmla="*/ 34 w 80"/>
                <a:gd name="T53" fmla="*/ 6 h 98"/>
                <a:gd name="T54" fmla="*/ 34 w 80"/>
                <a:gd name="T55" fmla="*/ 10 h 98"/>
                <a:gd name="T56" fmla="*/ 38 w 80"/>
                <a:gd name="T57" fmla="*/ 10 h 98"/>
                <a:gd name="T58" fmla="*/ 42 w 80"/>
                <a:gd name="T59" fmla="*/ 6 h 98"/>
                <a:gd name="T60" fmla="*/ 46 w 80"/>
                <a:gd name="T61" fmla="*/ 6 h 98"/>
                <a:gd name="T62" fmla="*/ 50 w 80"/>
                <a:gd name="T63" fmla="*/ 6 h 98"/>
                <a:gd name="T64" fmla="*/ 56 w 80"/>
                <a:gd name="T65" fmla="*/ 6 h 98"/>
                <a:gd name="T66" fmla="*/ 64 w 80"/>
                <a:gd name="T67" fmla="*/ 0 h 98"/>
                <a:gd name="T68" fmla="*/ 68 w 80"/>
                <a:gd name="T69" fmla="*/ 6 h 98"/>
                <a:gd name="T70" fmla="*/ 72 w 80"/>
                <a:gd name="T71" fmla="*/ 10 h 98"/>
                <a:gd name="T72" fmla="*/ 72 w 80"/>
                <a:gd name="T73" fmla="*/ 18 h 98"/>
                <a:gd name="T74" fmla="*/ 76 w 80"/>
                <a:gd name="T75" fmla="*/ 22 h 98"/>
                <a:gd name="T76" fmla="*/ 76 w 80"/>
                <a:gd name="T77" fmla="*/ 26 h 98"/>
                <a:gd name="T78" fmla="*/ 76 w 80"/>
                <a:gd name="T79" fmla="*/ 34 h 98"/>
                <a:gd name="T80" fmla="*/ 80 w 80"/>
                <a:gd name="T81" fmla="*/ 40 h 98"/>
                <a:gd name="T82" fmla="*/ 76 w 80"/>
                <a:gd name="T83" fmla="*/ 44 h 98"/>
                <a:gd name="T84" fmla="*/ 76 w 80"/>
                <a:gd name="T85" fmla="*/ 48 h 98"/>
                <a:gd name="T86" fmla="*/ 76 w 80"/>
                <a:gd name="T87" fmla="*/ 52 h 98"/>
                <a:gd name="T88" fmla="*/ 76 w 80"/>
                <a:gd name="T89" fmla="*/ 52 h 98"/>
                <a:gd name="T90" fmla="*/ 72 w 80"/>
                <a:gd name="T91" fmla="*/ 56 h 98"/>
                <a:gd name="T92" fmla="*/ 72 w 80"/>
                <a:gd name="T93" fmla="*/ 60 h 98"/>
                <a:gd name="T94" fmla="*/ 64 w 80"/>
                <a:gd name="T95" fmla="*/ 66 h 98"/>
                <a:gd name="T96" fmla="*/ 64 w 80"/>
                <a:gd name="T97" fmla="*/ 70 h 98"/>
                <a:gd name="T98" fmla="*/ 64 w 80"/>
                <a:gd name="T99" fmla="*/ 78 h 98"/>
                <a:gd name="T100" fmla="*/ 56 w 80"/>
                <a:gd name="T101" fmla="*/ 90 h 98"/>
                <a:gd name="T102" fmla="*/ 52 w 80"/>
                <a:gd name="T103"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98">
                  <a:moveTo>
                    <a:pt x="50" y="90"/>
                  </a:moveTo>
                  <a:lnTo>
                    <a:pt x="46" y="90"/>
                  </a:lnTo>
                  <a:lnTo>
                    <a:pt x="46" y="90"/>
                  </a:lnTo>
                  <a:lnTo>
                    <a:pt x="46" y="90"/>
                  </a:lnTo>
                  <a:lnTo>
                    <a:pt x="42" y="90"/>
                  </a:lnTo>
                  <a:lnTo>
                    <a:pt x="30" y="90"/>
                  </a:lnTo>
                  <a:lnTo>
                    <a:pt x="30" y="90"/>
                  </a:lnTo>
                  <a:lnTo>
                    <a:pt x="26" y="90"/>
                  </a:lnTo>
                  <a:lnTo>
                    <a:pt x="26" y="90"/>
                  </a:lnTo>
                  <a:lnTo>
                    <a:pt x="22" y="90"/>
                  </a:lnTo>
                  <a:lnTo>
                    <a:pt x="20" y="90"/>
                  </a:lnTo>
                  <a:lnTo>
                    <a:pt x="20" y="90"/>
                  </a:lnTo>
                  <a:lnTo>
                    <a:pt x="16" y="90"/>
                  </a:lnTo>
                  <a:lnTo>
                    <a:pt x="16" y="90"/>
                  </a:lnTo>
                  <a:lnTo>
                    <a:pt x="16" y="90"/>
                  </a:lnTo>
                  <a:lnTo>
                    <a:pt x="16" y="90"/>
                  </a:lnTo>
                  <a:lnTo>
                    <a:pt x="16" y="90"/>
                  </a:lnTo>
                  <a:lnTo>
                    <a:pt x="12" y="90"/>
                  </a:lnTo>
                  <a:lnTo>
                    <a:pt x="12" y="94"/>
                  </a:lnTo>
                  <a:lnTo>
                    <a:pt x="12" y="94"/>
                  </a:lnTo>
                  <a:lnTo>
                    <a:pt x="12" y="94"/>
                  </a:lnTo>
                  <a:lnTo>
                    <a:pt x="12" y="94"/>
                  </a:lnTo>
                  <a:lnTo>
                    <a:pt x="12" y="98"/>
                  </a:lnTo>
                  <a:lnTo>
                    <a:pt x="8" y="98"/>
                  </a:lnTo>
                  <a:lnTo>
                    <a:pt x="8" y="98"/>
                  </a:lnTo>
                  <a:lnTo>
                    <a:pt x="8" y="98"/>
                  </a:lnTo>
                  <a:lnTo>
                    <a:pt x="8" y="98"/>
                  </a:lnTo>
                  <a:lnTo>
                    <a:pt x="8" y="98"/>
                  </a:lnTo>
                  <a:lnTo>
                    <a:pt x="4" y="98"/>
                  </a:lnTo>
                  <a:lnTo>
                    <a:pt x="4" y="98"/>
                  </a:lnTo>
                  <a:lnTo>
                    <a:pt x="4" y="98"/>
                  </a:lnTo>
                  <a:lnTo>
                    <a:pt x="4" y="98"/>
                  </a:lnTo>
                  <a:lnTo>
                    <a:pt x="4" y="98"/>
                  </a:lnTo>
                  <a:lnTo>
                    <a:pt x="4" y="98"/>
                  </a:lnTo>
                  <a:lnTo>
                    <a:pt x="4" y="98"/>
                  </a:lnTo>
                  <a:lnTo>
                    <a:pt x="4" y="98"/>
                  </a:lnTo>
                  <a:lnTo>
                    <a:pt x="0" y="98"/>
                  </a:lnTo>
                  <a:lnTo>
                    <a:pt x="0" y="98"/>
                  </a:lnTo>
                  <a:lnTo>
                    <a:pt x="0" y="98"/>
                  </a:lnTo>
                  <a:lnTo>
                    <a:pt x="0" y="98"/>
                  </a:lnTo>
                  <a:lnTo>
                    <a:pt x="0" y="94"/>
                  </a:lnTo>
                  <a:lnTo>
                    <a:pt x="0" y="94"/>
                  </a:lnTo>
                  <a:lnTo>
                    <a:pt x="0" y="90"/>
                  </a:lnTo>
                  <a:lnTo>
                    <a:pt x="0" y="90"/>
                  </a:lnTo>
                  <a:lnTo>
                    <a:pt x="0" y="90"/>
                  </a:lnTo>
                  <a:lnTo>
                    <a:pt x="0" y="86"/>
                  </a:lnTo>
                  <a:lnTo>
                    <a:pt x="0" y="86"/>
                  </a:lnTo>
                  <a:lnTo>
                    <a:pt x="0" y="82"/>
                  </a:lnTo>
                  <a:lnTo>
                    <a:pt x="4" y="82"/>
                  </a:lnTo>
                  <a:lnTo>
                    <a:pt x="4" y="82"/>
                  </a:lnTo>
                  <a:lnTo>
                    <a:pt x="4" y="82"/>
                  </a:lnTo>
                  <a:lnTo>
                    <a:pt x="4" y="78"/>
                  </a:lnTo>
                  <a:lnTo>
                    <a:pt x="4" y="74"/>
                  </a:lnTo>
                  <a:lnTo>
                    <a:pt x="4" y="74"/>
                  </a:lnTo>
                  <a:lnTo>
                    <a:pt x="4" y="74"/>
                  </a:lnTo>
                  <a:lnTo>
                    <a:pt x="4" y="70"/>
                  </a:lnTo>
                  <a:lnTo>
                    <a:pt x="4" y="70"/>
                  </a:lnTo>
                  <a:lnTo>
                    <a:pt x="4" y="70"/>
                  </a:lnTo>
                  <a:lnTo>
                    <a:pt x="4" y="70"/>
                  </a:lnTo>
                  <a:lnTo>
                    <a:pt x="4" y="70"/>
                  </a:lnTo>
                  <a:lnTo>
                    <a:pt x="4" y="66"/>
                  </a:lnTo>
                  <a:lnTo>
                    <a:pt x="4" y="66"/>
                  </a:lnTo>
                  <a:lnTo>
                    <a:pt x="8" y="66"/>
                  </a:lnTo>
                  <a:lnTo>
                    <a:pt x="8" y="64"/>
                  </a:lnTo>
                  <a:lnTo>
                    <a:pt x="8" y="64"/>
                  </a:lnTo>
                  <a:lnTo>
                    <a:pt x="8" y="64"/>
                  </a:lnTo>
                  <a:lnTo>
                    <a:pt x="8" y="60"/>
                  </a:lnTo>
                  <a:lnTo>
                    <a:pt x="8" y="60"/>
                  </a:lnTo>
                  <a:lnTo>
                    <a:pt x="8" y="60"/>
                  </a:lnTo>
                  <a:lnTo>
                    <a:pt x="8" y="60"/>
                  </a:lnTo>
                  <a:lnTo>
                    <a:pt x="8" y="60"/>
                  </a:lnTo>
                  <a:lnTo>
                    <a:pt x="8" y="60"/>
                  </a:lnTo>
                  <a:lnTo>
                    <a:pt x="8" y="56"/>
                  </a:lnTo>
                  <a:lnTo>
                    <a:pt x="8" y="56"/>
                  </a:lnTo>
                  <a:lnTo>
                    <a:pt x="8" y="56"/>
                  </a:lnTo>
                  <a:lnTo>
                    <a:pt x="8" y="56"/>
                  </a:lnTo>
                  <a:lnTo>
                    <a:pt x="12" y="56"/>
                  </a:lnTo>
                  <a:lnTo>
                    <a:pt x="12" y="56"/>
                  </a:lnTo>
                  <a:lnTo>
                    <a:pt x="12" y="56"/>
                  </a:lnTo>
                  <a:lnTo>
                    <a:pt x="12" y="52"/>
                  </a:lnTo>
                  <a:lnTo>
                    <a:pt x="12" y="52"/>
                  </a:lnTo>
                  <a:lnTo>
                    <a:pt x="12" y="52"/>
                  </a:lnTo>
                  <a:lnTo>
                    <a:pt x="16" y="52"/>
                  </a:lnTo>
                  <a:lnTo>
                    <a:pt x="16" y="52"/>
                  </a:lnTo>
                  <a:lnTo>
                    <a:pt x="16" y="52"/>
                  </a:lnTo>
                  <a:lnTo>
                    <a:pt x="16" y="48"/>
                  </a:lnTo>
                  <a:lnTo>
                    <a:pt x="16" y="48"/>
                  </a:lnTo>
                  <a:lnTo>
                    <a:pt x="16" y="48"/>
                  </a:lnTo>
                  <a:lnTo>
                    <a:pt x="20" y="44"/>
                  </a:lnTo>
                  <a:lnTo>
                    <a:pt x="22" y="40"/>
                  </a:lnTo>
                  <a:lnTo>
                    <a:pt x="22" y="36"/>
                  </a:lnTo>
                  <a:lnTo>
                    <a:pt x="26" y="36"/>
                  </a:lnTo>
                  <a:lnTo>
                    <a:pt x="26" y="36"/>
                  </a:lnTo>
                  <a:lnTo>
                    <a:pt x="22" y="34"/>
                  </a:lnTo>
                  <a:lnTo>
                    <a:pt x="22" y="34"/>
                  </a:lnTo>
                  <a:lnTo>
                    <a:pt x="22" y="34"/>
                  </a:lnTo>
                  <a:lnTo>
                    <a:pt x="22" y="30"/>
                  </a:lnTo>
                  <a:lnTo>
                    <a:pt x="22" y="30"/>
                  </a:lnTo>
                  <a:lnTo>
                    <a:pt x="20" y="34"/>
                  </a:lnTo>
                  <a:lnTo>
                    <a:pt x="20" y="34"/>
                  </a:lnTo>
                  <a:lnTo>
                    <a:pt x="20" y="34"/>
                  </a:lnTo>
                  <a:lnTo>
                    <a:pt x="20" y="34"/>
                  </a:lnTo>
                  <a:lnTo>
                    <a:pt x="20" y="30"/>
                  </a:lnTo>
                  <a:lnTo>
                    <a:pt x="20" y="30"/>
                  </a:lnTo>
                  <a:lnTo>
                    <a:pt x="20" y="30"/>
                  </a:lnTo>
                  <a:lnTo>
                    <a:pt x="20" y="26"/>
                  </a:lnTo>
                  <a:lnTo>
                    <a:pt x="20" y="26"/>
                  </a:lnTo>
                  <a:lnTo>
                    <a:pt x="20" y="26"/>
                  </a:lnTo>
                  <a:lnTo>
                    <a:pt x="20" y="22"/>
                  </a:lnTo>
                  <a:lnTo>
                    <a:pt x="20" y="22"/>
                  </a:lnTo>
                  <a:lnTo>
                    <a:pt x="20" y="22"/>
                  </a:lnTo>
                  <a:lnTo>
                    <a:pt x="20" y="22"/>
                  </a:lnTo>
                  <a:lnTo>
                    <a:pt x="20" y="22"/>
                  </a:lnTo>
                  <a:lnTo>
                    <a:pt x="20" y="22"/>
                  </a:lnTo>
                  <a:lnTo>
                    <a:pt x="20" y="18"/>
                  </a:lnTo>
                  <a:lnTo>
                    <a:pt x="20" y="18"/>
                  </a:lnTo>
                  <a:lnTo>
                    <a:pt x="20" y="14"/>
                  </a:lnTo>
                  <a:lnTo>
                    <a:pt x="20" y="14"/>
                  </a:lnTo>
                  <a:lnTo>
                    <a:pt x="20" y="14"/>
                  </a:lnTo>
                  <a:lnTo>
                    <a:pt x="20" y="10"/>
                  </a:lnTo>
                  <a:lnTo>
                    <a:pt x="20" y="10"/>
                  </a:lnTo>
                  <a:lnTo>
                    <a:pt x="20" y="10"/>
                  </a:lnTo>
                  <a:lnTo>
                    <a:pt x="20" y="10"/>
                  </a:lnTo>
                  <a:lnTo>
                    <a:pt x="20" y="10"/>
                  </a:lnTo>
                  <a:lnTo>
                    <a:pt x="20" y="10"/>
                  </a:lnTo>
                  <a:lnTo>
                    <a:pt x="22" y="10"/>
                  </a:lnTo>
                  <a:lnTo>
                    <a:pt x="22" y="6"/>
                  </a:lnTo>
                  <a:lnTo>
                    <a:pt x="22" y="6"/>
                  </a:lnTo>
                  <a:lnTo>
                    <a:pt x="26" y="6"/>
                  </a:lnTo>
                  <a:lnTo>
                    <a:pt x="26" y="6"/>
                  </a:lnTo>
                  <a:lnTo>
                    <a:pt x="26" y="10"/>
                  </a:lnTo>
                  <a:lnTo>
                    <a:pt x="30" y="10"/>
                  </a:lnTo>
                  <a:lnTo>
                    <a:pt x="30" y="6"/>
                  </a:lnTo>
                  <a:lnTo>
                    <a:pt x="30" y="6"/>
                  </a:lnTo>
                  <a:lnTo>
                    <a:pt x="34" y="6"/>
                  </a:lnTo>
                  <a:lnTo>
                    <a:pt x="34" y="6"/>
                  </a:lnTo>
                  <a:lnTo>
                    <a:pt x="34" y="6"/>
                  </a:lnTo>
                  <a:lnTo>
                    <a:pt x="34" y="10"/>
                  </a:lnTo>
                  <a:lnTo>
                    <a:pt x="34" y="10"/>
                  </a:lnTo>
                  <a:lnTo>
                    <a:pt x="34" y="10"/>
                  </a:lnTo>
                  <a:lnTo>
                    <a:pt x="38" y="10"/>
                  </a:lnTo>
                  <a:lnTo>
                    <a:pt x="38" y="10"/>
                  </a:lnTo>
                  <a:lnTo>
                    <a:pt x="38" y="10"/>
                  </a:lnTo>
                  <a:lnTo>
                    <a:pt x="38" y="10"/>
                  </a:lnTo>
                  <a:lnTo>
                    <a:pt x="38" y="10"/>
                  </a:lnTo>
                  <a:lnTo>
                    <a:pt x="38" y="10"/>
                  </a:lnTo>
                  <a:lnTo>
                    <a:pt x="38" y="10"/>
                  </a:lnTo>
                  <a:lnTo>
                    <a:pt x="38" y="10"/>
                  </a:lnTo>
                  <a:lnTo>
                    <a:pt x="38" y="10"/>
                  </a:lnTo>
                  <a:lnTo>
                    <a:pt x="42" y="6"/>
                  </a:lnTo>
                  <a:lnTo>
                    <a:pt x="42" y="6"/>
                  </a:lnTo>
                  <a:lnTo>
                    <a:pt x="46" y="6"/>
                  </a:lnTo>
                  <a:lnTo>
                    <a:pt x="46" y="6"/>
                  </a:lnTo>
                  <a:lnTo>
                    <a:pt x="46" y="6"/>
                  </a:lnTo>
                  <a:lnTo>
                    <a:pt x="46" y="6"/>
                  </a:lnTo>
                  <a:lnTo>
                    <a:pt x="50" y="6"/>
                  </a:lnTo>
                  <a:lnTo>
                    <a:pt x="50" y="6"/>
                  </a:lnTo>
                  <a:lnTo>
                    <a:pt x="50" y="6"/>
                  </a:lnTo>
                  <a:lnTo>
                    <a:pt x="50" y="6"/>
                  </a:lnTo>
                  <a:lnTo>
                    <a:pt x="50" y="6"/>
                  </a:lnTo>
                  <a:lnTo>
                    <a:pt x="52" y="6"/>
                  </a:lnTo>
                  <a:lnTo>
                    <a:pt x="52" y="6"/>
                  </a:lnTo>
                  <a:lnTo>
                    <a:pt x="52" y="6"/>
                  </a:lnTo>
                  <a:lnTo>
                    <a:pt x="56" y="6"/>
                  </a:lnTo>
                  <a:lnTo>
                    <a:pt x="56" y="6"/>
                  </a:lnTo>
                  <a:lnTo>
                    <a:pt x="56" y="6"/>
                  </a:lnTo>
                  <a:lnTo>
                    <a:pt x="64" y="0"/>
                  </a:lnTo>
                  <a:lnTo>
                    <a:pt x="64" y="0"/>
                  </a:lnTo>
                  <a:lnTo>
                    <a:pt x="64" y="0"/>
                  </a:lnTo>
                  <a:lnTo>
                    <a:pt x="64" y="0"/>
                  </a:lnTo>
                  <a:lnTo>
                    <a:pt x="64" y="2"/>
                  </a:lnTo>
                  <a:lnTo>
                    <a:pt x="68" y="2"/>
                  </a:lnTo>
                  <a:lnTo>
                    <a:pt x="68" y="6"/>
                  </a:lnTo>
                  <a:lnTo>
                    <a:pt x="68" y="6"/>
                  </a:lnTo>
                  <a:lnTo>
                    <a:pt x="68" y="6"/>
                  </a:lnTo>
                  <a:lnTo>
                    <a:pt x="68" y="6"/>
                  </a:lnTo>
                  <a:lnTo>
                    <a:pt x="72" y="10"/>
                  </a:lnTo>
                  <a:lnTo>
                    <a:pt x="72" y="10"/>
                  </a:lnTo>
                  <a:lnTo>
                    <a:pt x="72" y="10"/>
                  </a:lnTo>
                  <a:lnTo>
                    <a:pt x="72" y="10"/>
                  </a:lnTo>
                  <a:lnTo>
                    <a:pt x="72" y="14"/>
                  </a:lnTo>
                  <a:lnTo>
                    <a:pt x="72" y="14"/>
                  </a:lnTo>
                  <a:lnTo>
                    <a:pt x="72" y="18"/>
                  </a:lnTo>
                  <a:lnTo>
                    <a:pt x="72" y="18"/>
                  </a:lnTo>
                  <a:lnTo>
                    <a:pt x="72" y="18"/>
                  </a:lnTo>
                  <a:lnTo>
                    <a:pt x="72" y="18"/>
                  </a:lnTo>
                  <a:lnTo>
                    <a:pt x="72" y="18"/>
                  </a:lnTo>
                  <a:lnTo>
                    <a:pt x="72" y="22"/>
                  </a:lnTo>
                  <a:lnTo>
                    <a:pt x="72" y="22"/>
                  </a:lnTo>
                  <a:lnTo>
                    <a:pt x="76" y="22"/>
                  </a:lnTo>
                  <a:lnTo>
                    <a:pt x="76" y="22"/>
                  </a:lnTo>
                  <a:lnTo>
                    <a:pt x="76" y="22"/>
                  </a:lnTo>
                  <a:lnTo>
                    <a:pt x="76" y="22"/>
                  </a:lnTo>
                  <a:lnTo>
                    <a:pt x="76" y="26"/>
                  </a:lnTo>
                  <a:lnTo>
                    <a:pt x="76" y="26"/>
                  </a:lnTo>
                  <a:lnTo>
                    <a:pt x="76" y="26"/>
                  </a:lnTo>
                  <a:lnTo>
                    <a:pt x="76" y="30"/>
                  </a:lnTo>
                  <a:lnTo>
                    <a:pt x="76" y="30"/>
                  </a:lnTo>
                  <a:lnTo>
                    <a:pt x="76" y="30"/>
                  </a:lnTo>
                  <a:lnTo>
                    <a:pt x="76" y="34"/>
                  </a:lnTo>
                  <a:lnTo>
                    <a:pt x="76" y="34"/>
                  </a:lnTo>
                  <a:lnTo>
                    <a:pt x="80" y="34"/>
                  </a:lnTo>
                  <a:lnTo>
                    <a:pt x="80" y="34"/>
                  </a:lnTo>
                  <a:lnTo>
                    <a:pt x="80" y="36"/>
                  </a:lnTo>
                  <a:lnTo>
                    <a:pt x="80" y="40"/>
                  </a:lnTo>
                  <a:lnTo>
                    <a:pt x="80" y="44"/>
                  </a:lnTo>
                  <a:lnTo>
                    <a:pt x="80" y="44"/>
                  </a:lnTo>
                  <a:lnTo>
                    <a:pt x="80" y="44"/>
                  </a:lnTo>
                  <a:lnTo>
                    <a:pt x="80" y="44"/>
                  </a:lnTo>
                  <a:lnTo>
                    <a:pt x="76" y="44"/>
                  </a:lnTo>
                  <a:lnTo>
                    <a:pt x="76" y="44"/>
                  </a:lnTo>
                  <a:lnTo>
                    <a:pt x="76" y="48"/>
                  </a:lnTo>
                  <a:lnTo>
                    <a:pt x="76" y="48"/>
                  </a:lnTo>
                  <a:lnTo>
                    <a:pt x="76" y="48"/>
                  </a:lnTo>
                  <a:lnTo>
                    <a:pt x="76" y="48"/>
                  </a:lnTo>
                  <a:lnTo>
                    <a:pt x="76" y="48"/>
                  </a:lnTo>
                  <a:lnTo>
                    <a:pt x="76" y="48"/>
                  </a:lnTo>
                  <a:lnTo>
                    <a:pt x="76" y="48"/>
                  </a:lnTo>
                  <a:lnTo>
                    <a:pt x="76" y="52"/>
                  </a:lnTo>
                  <a:lnTo>
                    <a:pt x="76" y="52"/>
                  </a:lnTo>
                  <a:lnTo>
                    <a:pt x="76" y="52"/>
                  </a:lnTo>
                  <a:lnTo>
                    <a:pt x="76" y="52"/>
                  </a:lnTo>
                  <a:lnTo>
                    <a:pt x="76" y="52"/>
                  </a:lnTo>
                  <a:lnTo>
                    <a:pt x="76" y="52"/>
                  </a:lnTo>
                  <a:lnTo>
                    <a:pt x="76" y="52"/>
                  </a:lnTo>
                  <a:lnTo>
                    <a:pt x="72" y="52"/>
                  </a:lnTo>
                  <a:lnTo>
                    <a:pt x="72" y="52"/>
                  </a:lnTo>
                  <a:lnTo>
                    <a:pt x="72" y="52"/>
                  </a:lnTo>
                  <a:lnTo>
                    <a:pt x="72" y="56"/>
                  </a:lnTo>
                  <a:lnTo>
                    <a:pt x="72" y="56"/>
                  </a:lnTo>
                  <a:lnTo>
                    <a:pt x="72" y="56"/>
                  </a:lnTo>
                  <a:lnTo>
                    <a:pt x="72" y="56"/>
                  </a:lnTo>
                  <a:lnTo>
                    <a:pt x="72" y="56"/>
                  </a:lnTo>
                  <a:lnTo>
                    <a:pt x="72" y="60"/>
                  </a:lnTo>
                  <a:lnTo>
                    <a:pt x="72" y="60"/>
                  </a:lnTo>
                  <a:lnTo>
                    <a:pt x="68" y="64"/>
                  </a:lnTo>
                  <a:lnTo>
                    <a:pt x="68" y="64"/>
                  </a:lnTo>
                  <a:lnTo>
                    <a:pt x="68" y="64"/>
                  </a:lnTo>
                  <a:lnTo>
                    <a:pt x="68" y="64"/>
                  </a:lnTo>
                  <a:lnTo>
                    <a:pt x="64" y="66"/>
                  </a:lnTo>
                  <a:lnTo>
                    <a:pt x="64" y="66"/>
                  </a:lnTo>
                  <a:lnTo>
                    <a:pt x="64" y="70"/>
                  </a:lnTo>
                  <a:lnTo>
                    <a:pt x="64" y="70"/>
                  </a:lnTo>
                  <a:lnTo>
                    <a:pt x="64" y="70"/>
                  </a:lnTo>
                  <a:lnTo>
                    <a:pt x="64" y="70"/>
                  </a:lnTo>
                  <a:lnTo>
                    <a:pt x="64" y="70"/>
                  </a:lnTo>
                  <a:lnTo>
                    <a:pt x="64" y="74"/>
                  </a:lnTo>
                  <a:lnTo>
                    <a:pt x="64" y="74"/>
                  </a:lnTo>
                  <a:lnTo>
                    <a:pt x="64" y="74"/>
                  </a:lnTo>
                  <a:lnTo>
                    <a:pt x="64" y="78"/>
                  </a:lnTo>
                  <a:lnTo>
                    <a:pt x="64" y="82"/>
                  </a:lnTo>
                  <a:lnTo>
                    <a:pt x="64" y="90"/>
                  </a:lnTo>
                  <a:lnTo>
                    <a:pt x="64" y="90"/>
                  </a:lnTo>
                  <a:lnTo>
                    <a:pt x="64" y="90"/>
                  </a:lnTo>
                  <a:lnTo>
                    <a:pt x="56" y="90"/>
                  </a:lnTo>
                  <a:lnTo>
                    <a:pt x="56" y="90"/>
                  </a:lnTo>
                  <a:lnTo>
                    <a:pt x="56" y="90"/>
                  </a:lnTo>
                  <a:lnTo>
                    <a:pt x="52" y="90"/>
                  </a:lnTo>
                  <a:lnTo>
                    <a:pt x="52" y="90"/>
                  </a:lnTo>
                  <a:lnTo>
                    <a:pt x="52" y="90"/>
                  </a:lnTo>
                  <a:lnTo>
                    <a:pt x="50" y="90"/>
                  </a:lnTo>
                  <a:lnTo>
                    <a:pt x="50" y="90"/>
                  </a:lnTo>
                  <a:lnTo>
                    <a:pt x="50" y="90"/>
                  </a:lnTo>
                  <a:lnTo>
                    <a:pt x="50" y="9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82" name="Freeform 175"/>
            <p:cNvSpPr>
              <a:spLocks/>
            </p:cNvSpPr>
            <p:nvPr/>
          </p:nvSpPr>
          <p:spPr bwMode="auto">
            <a:xfrm>
              <a:off x="6887057" y="3845316"/>
              <a:ext cx="75358" cy="81070"/>
            </a:xfrm>
            <a:custGeom>
              <a:avLst/>
              <a:gdLst>
                <a:gd name="T0" fmla="*/ 0 w 120"/>
                <a:gd name="T1" fmla="*/ 120 h 124"/>
                <a:gd name="T2" fmla="*/ 0 w 120"/>
                <a:gd name="T3" fmla="*/ 112 h 124"/>
                <a:gd name="T4" fmla="*/ 4 w 120"/>
                <a:gd name="T5" fmla="*/ 108 h 124"/>
                <a:gd name="T6" fmla="*/ 4 w 120"/>
                <a:gd name="T7" fmla="*/ 104 h 124"/>
                <a:gd name="T8" fmla="*/ 8 w 120"/>
                <a:gd name="T9" fmla="*/ 96 h 124"/>
                <a:gd name="T10" fmla="*/ 12 w 120"/>
                <a:gd name="T11" fmla="*/ 96 h 124"/>
                <a:gd name="T12" fmla="*/ 12 w 120"/>
                <a:gd name="T13" fmla="*/ 94 h 124"/>
                <a:gd name="T14" fmla="*/ 12 w 120"/>
                <a:gd name="T15" fmla="*/ 90 h 124"/>
                <a:gd name="T16" fmla="*/ 16 w 120"/>
                <a:gd name="T17" fmla="*/ 86 h 124"/>
                <a:gd name="T18" fmla="*/ 16 w 120"/>
                <a:gd name="T19" fmla="*/ 82 h 124"/>
                <a:gd name="T20" fmla="*/ 16 w 120"/>
                <a:gd name="T21" fmla="*/ 78 h 124"/>
                <a:gd name="T22" fmla="*/ 16 w 120"/>
                <a:gd name="T23" fmla="*/ 78 h 124"/>
                <a:gd name="T24" fmla="*/ 20 w 120"/>
                <a:gd name="T25" fmla="*/ 74 h 124"/>
                <a:gd name="T26" fmla="*/ 20 w 120"/>
                <a:gd name="T27" fmla="*/ 70 h 124"/>
                <a:gd name="T28" fmla="*/ 20 w 120"/>
                <a:gd name="T29" fmla="*/ 70 h 124"/>
                <a:gd name="T30" fmla="*/ 20 w 120"/>
                <a:gd name="T31" fmla="*/ 70 h 124"/>
                <a:gd name="T32" fmla="*/ 20 w 120"/>
                <a:gd name="T33" fmla="*/ 66 h 124"/>
                <a:gd name="T34" fmla="*/ 28 w 120"/>
                <a:gd name="T35" fmla="*/ 64 h 124"/>
                <a:gd name="T36" fmla="*/ 28 w 120"/>
                <a:gd name="T37" fmla="*/ 60 h 124"/>
                <a:gd name="T38" fmla="*/ 30 w 120"/>
                <a:gd name="T39" fmla="*/ 56 h 124"/>
                <a:gd name="T40" fmla="*/ 34 w 120"/>
                <a:gd name="T41" fmla="*/ 52 h 124"/>
                <a:gd name="T42" fmla="*/ 34 w 120"/>
                <a:gd name="T43" fmla="*/ 48 h 124"/>
                <a:gd name="T44" fmla="*/ 34 w 120"/>
                <a:gd name="T45" fmla="*/ 40 h 124"/>
                <a:gd name="T46" fmla="*/ 34 w 120"/>
                <a:gd name="T47" fmla="*/ 34 h 124"/>
                <a:gd name="T48" fmla="*/ 38 w 120"/>
                <a:gd name="T49" fmla="*/ 34 h 124"/>
                <a:gd name="T50" fmla="*/ 38 w 120"/>
                <a:gd name="T51" fmla="*/ 30 h 124"/>
                <a:gd name="T52" fmla="*/ 38 w 120"/>
                <a:gd name="T53" fmla="*/ 30 h 124"/>
                <a:gd name="T54" fmla="*/ 42 w 120"/>
                <a:gd name="T55" fmla="*/ 26 h 124"/>
                <a:gd name="T56" fmla="*/ 42 w 120"/>
                <a:gd name="T57" fmla="*/ 26 h 124"/>
                <a:gd name="T58" fmla="*/ 46 w 120"/>
                <a:gd name="T59" fmla="*/ 22 h 124"/>
                <a:gd name="T60" fmla="*/ 50 w 120"/>
                <a:gd name="T61" fmla="*/ 18 h 124"/>
                <a:gd name="T62" fmla="*/ 54 w 120"/>
                <a:gd name="T63" fmla="*/ 14 h 124"/>
                <a:gd name="T64" fmla="*/ 54 w 120"/>
                <a:gd name="T65" fmla="*/ 10 h 124"/>
                <a:gd name="T66" fmla="*/ 54 w 120"/>
                <a:gd name="T67" fmla="*/ 6 h 124"/>
                <a:gd name="T68" fmla="*/ 58 w 120"/>
                <a:gd name="T69" fmla="*/ 4 h 124"/>
                <a:gd name="T70" fmla="*/ 58 w 120"/>
                <a:gd name="T71" fmla="*/ 0 h 124"/>
                <a:gd name="T72" fmla="*/ 102 w 120"/>
                <a:gd name="T73" fmla="*/ 0 h 124"/>
                <a:gd name="T74" fmla="*/ 106 w 120"/>
                <a:gd name="T75" fmla="*/ 0 h 124"/>
                <a:gd name="T76" fmla="*/ 120 w 120"/>
                <a:gd name="T77" fmla="*/ 0 h 124"/>
                <a:gd name="T78" fmla="*/ 120 w 120"/>
                <a:gd name="T79" fmla="*/ 14 h 124"/>
                <a:gd name="T80" fmla="*/ 120 w 120"/>
                <a:gd name="T81" fmla="*/ 30 h 124"/>
                <a:gd name="T82" fmla="*/ 106 w 120"/>
                <a:gd name="T83" fmla="*/ 30 h 124"/>
                <a:gd name="T84" fmla="*/ 102 w 120"/>
                <a:gd name="T85" fmla="*/ 30 h 124"/>
                <a:gd name="T86" fmla="*/ 84 w 120"/>
                <a:gd name="T87" fmla="*/ 30 h 124"/>
                <a:gd name="T88" fmla="*/ 72 w 120"/>
                <a:gd name="T89" fmla="*/ 36 h 124"/>
                <a:gd name="T90" fmla="*/ 72 w 120"/>
                <a:gd name="T91" fmla="*/ 44 h 124"/>
                <a:gd name="T92" fmla="*/ 72 w 120"/>
                <a:gd name="T93" fmla="*/ 60 h 124"/>
                <a:gd name="T94" fmla="*/ 72 w 120"/>
                <a:gd name="T95" fmla="*/ 78 h 124"/>
                <a:gd name="T96" fmla="*/ 64 w 120"/>
                <a:gd name="T97" fmla="*/ 78 h 124"/>
                <a:gd name="T98" fmla="*/ 60 w 120"/>
                <a:gd name="T99" fmla="*/ 86 h 124"/>
                <a:gd name="T100" fmla="*/ 58 w 120"/>
                <a:gd name="T101" fmla="*/ 90 h 124"/>
                <a:gd name="T102" fmla="*/ 58 w 120"/>
                <a:gd name="T103" fmla="*/ 96 h 124"/>
                <a:gd name="T104" fmla="*/ 60 w 120"/>
                <a:gd name="T105" fmla="*/ 104 h 124"/>
                <a:gd name="T106" fmla="*/ 46 w 120"/>
                <a:gd name="T107" fmla="*/ 116 h 124"/>
                <a:gd name="T108" fmla="*/ 34 w 120"/>
                <a:gd name="T109" fmla="*/ 116 h 124"/>
                <a:gd name="T110" fmla="*/ 20 w 120"/>
                <a:gd name="T111" fmla="*/ 116 h 124"/>
                <a:gd name="T112" fmla="*/ 4 w 120"/>
                <a:gd name="T113" fmla="*/ 116 h 124"/>
                <a:gd name="T114" fmla="*/ 0 w 120"/>
                <a:gd name="T115" fmla="*/ 120 h 124"/>
                <a:gd name="T116" fmla="*/ 0 w 120"/>
                <a:gd name="T1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0" h="124">
                  <a:moveTo>
                    <a:pt x="0" y="124"/>
                  </a:moveTo>
                  <a:lnTo>
                    <a:pt x="0" y="124"/>
                  </a:lnTo>
                  <a:lnTo>
                    <a:pt x="0" y="124"/>
                  </a:lnTo>
                  <a:lnTo>
                    <a:pt x="0" y="120"/>
                  </a:lnTo>
                  <a:lnTo>
                    <a:pt x="0" y="120"/>
                  </a:lnTo>
                  <a:lnTo>
                    <a:pt x="0" y="116"/>
                  </a:lnTo>
                  <a:lnTo>
                    <a:pt x="0" y="112"/>
                  </a:lnTo>
                  <a:lnTo>
                    <a:pt x="0" y="112"/>
                  </a:lnTo>
                  <a:lnTo>
                    <a:pt x="0" y="112"/>
                  </a:lnTo>
                  <a:lnTo>
                    <a:pt x="4" y="112"/>
                  </a:lnTo>
                  <a:lnTo>
                    <a:pt x="4" y="108"/>
                  </a:lnTo>
                  <a:lnTo>
                    <a:pt x="4" y="108"/>
                  </a:lnTo>
                  <a:lnTo>
                    <a:pt x="4" y="108"/>
                  </a:lnTo>
                  <a:lnTo>
                    <a:pt x="4" y="104"/>
                  </a:lnTo>
                  <a:lnTo>
                    <a:pt x="4" y="104"/>
                  </a:lnTo>
                  <a:lnTo>
                    <a:pt x="4" y="104"/>
                  </a:lnTo>
                  <a:lnTo>
                    <a:pt x="4" y="100"/>
                  </a:lnTo>
                  <a:lnTo>
                    <a:pt x="8" y="96"/>
                  </a:lnTo>
                  <a:lnTo>
                    <a:pt x="8" y="96"/>
                  </a:lnTo>
                  <a:lnTo>
                    <a:pt x="8" y="96"/>
                  </a:lnTo>
                  <a:lnTo>
                    <a:pt x="8" y="96"/>
                  </a:lnTo>
                  <a:lnTo>
                    <a:pt x="8" y="96"/>
                  </a:lnTo>
                  <a:lnTo>
                    <a:pt x="8" y="96"/>
                  </a:lnTo>
                  <a:lnTo>
                    <a:pt x="12" y="96"/>
                  </a:lnTo>
                  <a:lnTo>
                    <a:pt x="12" y="96"/>
                  </a:lnTo>
                  <a:lnTo>
                    <a:pt x="12" y="94"/>
                  </a:lnTo>
                  <a:lnTo>
                    <a:pt x="12" y="94"/>
                  </a:lnTo>
                  <a:lnTo>
                    <a:pt x="12" y="94"/>
                  </a:lnTo>
                  <a:lnTo>
                    <a:pt x="12" y="90"/>
                  </a:lnTo>
                  <a:lnTo>
                    <a:pt x="12" y="90"/>
                  </a:lnTo>
                  <a:lnTo>
                    <a:pt x="12" y="90"/>
                  </a:lnTo>
                  <a:lnTo>
                    <a:pt x="12" y="90"/>
                  </a:lnTo>
                  <a:lnTo>
                    <a:pt x="12" y="90"/>
                  </a:lnTo>
                  <a:lnTo>
                    <a:pt x="12" y="86"/>
                  </a:lnTo>
                  <a:lnTo>
                    <a:pt x="12" y="86"/>
                  </a:lnTo>
                  <a:lnTo>
                    <a:pt x="16" y="86"/>
                  </a:lnTo>
                  <a:lnTo>
                    <a:pt x="16" y="86"/>
                  </a:lnTo>
                  <a:lnTo>
                    <a:pt x="16" y="86"/>
                  </a:lnTo>
                  <a:lnTo>
                    <a:pt x="16" y="86"/>
                  </a:lnTo>
                  <a:lnTo>
                    <a:pt x="16" y="82"/>
                  </a:lnTo>
                  <a:lnTo>
                    <a:pt x="16" y="82"/>
                  </a:lnTo>
                  <a:lnTo>
                    <a:pt x="16" y="82"/>
                  </a:lnTo>
                  <a:lnTo>
                    <a:pt x="16" y="78"/>
                  </a:lnTo>
                  <a:lnTo>
                    <a:pt x="16" y="78"/>
                  </a:lnTo>
                  <a:lnTo>
                    <a:pt x="16" y="78"/>
                  </a:lnTo>
                  <a:lnTo>
                    <a:pt x="16" y="78"/>
                  </a:lnTo>
                  <a:lnTo>
                    <a:pt x="16" y="78"/>
                  </a:lnTo>
                  <a:lnTo>
                    <a:pt x="16" y="78"/>
                  </a:lnTo>
                  <a:lnTo>
                    <a:pt x="16" y="74"/>
                  </a:lnTo>
                  <a:lnTo>
                    <a:pt x="16" y="74"/>
                  </a:lnTo>
                  <a:lnTo>
                    <a:pt x="20" y="74"/>
                  </a:lnTo>
                  <a:lnTo>
                    <a:pt x="20" y="74"/>
                  </a:lnTo>
                  <a:lnTo>
                    <a:pt x="20" y="74"/>
                  </a:lnTo>
                  <a:lnTo>
                    <a:pt x="20" y="70"/>
                  </a:lnTo>
                  <a:lnTo>
                    <a:pt x="20" y="70"/>
                  </a:lnTo>
                  <a:lnTo>
                    <a:pt x="20" y="70"/>
                  </a:lnTo>
                  <a:lnTo>
                    <a:pt x="20" y="66"/>
                  </a:lnTo>
                  <a:lnTo>
                    <a:pt x="20" y="70"/>
                  </a:lnTo>
                  <a:lnTo>
                    <a:pt x="20" y="70"/>
                  </a:lnTo>
                  <a:lnTo>
                    <a:pt x="20" y="70"/>
                  </a:lnTo>
                  <a:lnTo>
                    <a:pt x="20" y="70"/>
                  </a:lnTo>
                  <a:lnTo>
                    <a:pt x="20" y="70"/>
                  </a:lnTo>
                  <a:lnTo>
                    <a:pt x="16" y="74"/>
                  </a:lnTo>
                  <a:lnTo>
                    <a:pt x="20" y="70"/>
                  </a:lnTo>
                  <a:lnTo>
                    <a:pt x="20" y="70"/>
                  </a:lnTo>
                  <a:lnTo>
                    <a:pt x="20" y="70"/>
                  </a:lnTo>
                  <a:lnTo>
                    <a:pt x="20" y="66"/>
                  </a:lnTo>
                  <a:lnTo>
                    <a:pt x="20" y="66"/>
                  </a:lnTo>
                  <a:lnTo>
                    <a:pt x="24" y="66"/>
                  </a:lnTo>
                  <a:lnTo>
                    <a:pt x="24" y="64"/>
                  </a:lnTo>
                  <a:lnTo>
                    <a:pt x="24" y="64"/>
                  </a:lnTo>
                  <a:lnTo>
                    <a:pt x="28" y="64"/>
                  </a:lnTo>
                  <a:lnTo>
                    <a:pt x="28" y="60"/>
                  </a:lnTo>
                  <a:lnTo>
                    <a:pt x="28" y="60"/>
                  </a:lnTo>
                  <a:lnTo>
                    <a:pt x="28" y="60"/>
                  </a:lnTo>
                  <a:lnTo>
                    <a:pt x="28" y="60"/>
                  </a:lnTo>
                  <a:lnTo>
                    <a:pt x="28" y="60"/>
                  </a:lnTo>
                  <a:lnTo>
                    <a:pt x="28" y="60"/>
                  </a:lnTo>
                  <a:lnTo>
                    <a:pt x="30" y="56"/>
                  </a:lnTo>
                  <a:lnTo>
                    <a:pt x="30" y="56"/>
                  </a:lnTo>
                  <a:lnTo>
                    <a:pt x="30" y="56"/>
                  </a:lnTo>
                  <a:lnTo>
                    <a:pt x="30" y="56"/>
                  </a:lnTo>
                  <a:lnTo>
                    <a:pt x="30" y="56"/>
                  </a:lnTo>
                  <a:lnTo>
                    <a:pt x="34" y="52"/>
                  </a:lnTo>
                  <a:lnTo>
                    <a:pt x="34" y="48"/>
                  </a:lnTo>
                  <a:lnTo>
                    <a:pt x="34" y="48"/>
                  </a:lnTo>
                  <a:lnTo>
                    <a:pt x="34" y="48"/>
                  </a:lnTo>
                  <a:lnTo>
                    <a:pt x="34" y="48"/>
                  </a:lnTo>
                  <a:lnTo>
                    <a:pt x="34" y="44"/>
                  </a:lnTo>
                  <a:lnTo>
                    <a:pt x="34" y="44"/>
                  </a:lnTo>
                  <a:lnTo>
                    <a:pt x="34" y="40"/>
                  </a:lnTo>
                  <a:lnTo>
                    <a:pt x="34" y="40"/>
                  </a:lnTo>
                  <a:lnTo>
                    <a:pt x="34" y="40"/>
                  </a:lnTo>
                  <a:lnTo>
                    <a:pt x="34" y="36"/>
                  </a:lnTo>
                  <a:lnTo>
                    <a:pt x="34" y="36"/>
                  </a:lnTo>
                  <a:lnTo>
                    <a:pt x="34" y="34"/>
                  </a:lnTo>
                  <a:lnTo>
                    <a:pt x="38" y="34"/>
                  </a:lnTo>
                  <a:lnTo>
                    <a:pt x="38" y="34"/>
                  </a:lnTo>
                  <a:lnTo>
                    <a:pt x="38" y="34"/>
                  </a:lnTo>
                  <a:lnTo>
                    <a:pt x="38" y="34"/>
                  </a:lnTo>
                  <a:lnTo>
                    <a:pt x="38" y="34"/>
                  </a:lnTo>
                  <a:lnTo>
                    <a:pt x="38" y="30"/>
                  </a:lnTo>
                  <a:lnTo>
                    <a:pt x="38" y="30"/>
                  </a:lnTo>
                  <a:lnTo>
                    <a:pt x="38" y="30"/>
                  </a:lnTo>
                  <a:lnTo>
                    <a:pt x="38" y="30"/>
                  </a:lnTo>
                  <a:lnTo>
                    <a:pt x="38" y="30"/>
                  </a:lnTo>
                  <a:lnTo>
                    <a:pt x="38" y="30"/>
                  </a:lnTo>
                  <a:lnTo>
                    <a:pt x="38" y="30"/>
                  </a:lnTo>
                  <a:lnTo>
                    <a:pt x="38" y="26"/>
                  </a:lnTo>
                  <a:lnTo>
                    <a:pt x="38" y="26"/>
                  </a:lnTo>
                  <a:lnTo>
                    <a:pt x="38" y="26"/>
                  </a:lnTo>
                  <a:lnTo>
                    <a:pt x="42" y="26"/>
                  </a:lnTo>
                  <a:lnTo>
                    <a:pt x="42" y="26"/>
                  </a:lnTo>
                  <a:lnTo>
                    <a:pt x="42" y="26"/>
                  </a:lnTo>
                  <a:lnTo>
                    <a:pt x="42" y="26"/>
                  </a:lnTo>
                  <a:lnTo>
                    <a:pt x="42" y="26"/>
                  </a:lnTo>
                  <a:lnTo>
                    <a:pt x="42" y="22"/>
                  </a:lnTo>
                  <a:lnTo>
                    <a:pt x="42" y="22"/>
                  </a:lnTo>
                  <a:lnTo>
                    <a:pt x="46" y="22"/>
                  </a:lnTo>
                  <a:lnTo>
                    <a:pt x="46" y="22"/>
                  </a:lnTo>
                  <a:lnTo>
                    <a:pt x="46" y="22"/>
                  </a:lnTo>
                  <a:lnTo>
                    <a:pt x="50" y="18"/>
                  </a:lnTo>
                  <a:lnTo>
                    <a:pt x="50" y="18"/>
                  </a:lnTo>
                  <a:lnTo>
                    <a:pt x="50" y="18"/>
                  </a:lnTo>
                  <a:lnTo>
                    <a:pt x="50" y="18"/>
                  </a:lnTo>
                  <a:lnTo>
                    <a:pt x="54" y="18"/>
                  </a:lnTo>
                  <a:lnTo>
                    <a:pt x="54" y="14"/>
                  </a:lnTo>
                  <a:lnTo>
                    <a:pt x="54" y="14"/>
                  </a:lnTo>
                  <a:lnTo>
                    <a:pt x="54" y="14"/>
                  </a:lnTo>
                  <a:lnTo>
                    <a:pt x="54" y="10"/>
                  </a:lnTo>
                  <a:lnTo>
                    <a:pt x="54" y="10"/>
                  </a:lnTo>
                  <a:lnTo>
                    <a:pt x="54" y="10"/>
                  </a:lnTo>
                  <a:lnTo>
                    <a:pt x="54" y="10"/>
                  </a:lnTo>
                  <a:lnTo>
                    <a:pt x="54" y="10"/>
                  </a:lnTo>
                  <a:lnTo>
                    <a:pt x="54" y="10"/>
                  </a:lnTo>
                  <a:lnTo>
                    <a:pt x="54" y="6"/>
                  </a:lnTo>
                  <a:lnTo>
                    <a:pt x="54" y="6"/>
                  </a:lnTo>
                  <a:lnTo>
                    <a:pt x="54" y="6"/>
                  </a:lnTo>
                  <a:lnTo>
                    <a:pt x="58" y="6"/>
                  </a:lnTo>
                  <a:lnTo>
                    <a:pt x="58" y="4"/>
                  </a:lnTo>
                  <a:lnTo>
                    <a:pt x="58" y="4"/>
                  </a:lnTo>
                  <a:lnTo>
                    <a:pt x="58" y="0"/>
                  </a:lnTo>
                  <a:lnTo>
                    <a:pt x="58" y="0"/>
                  </a:lnTo>
                  <a:lnTo>
                    <a:pt x="58" y="0"/>
                  </a:lnTo>
                  <a:lnTo>
                    <a:pt x="60" y="0"/>
                  </a:lnTo>
                  <a:lnTo>
                    <a:pt x="98" y="0"/>
                  </a:lnTo>
                  <a:lnTo>
                    <a:pt x="102" y="0"/>
                  </a:lnTo>
                  <a:lnTo>
                    <a:pt x="102" y="0"/>
                  </a:lnTo>
                  <a:lnTo>
                    <a:pt x="102" y="0"/>
                  </a:lnTo>
                  <a:lnTo>
                    <a:pt x="102" y="0"/>
                  </a:lnTo>
                  <a:lnTo>
                    <a:pt x="102" y="0"/>
                  </a:lnTo>
                  <a:lnTo>
                    <a:pt x="106" y="0"/>
                  </a:lnTo>
                  <a:lnTo>
                    <a:pt x="106" y="0"/>
                  </a:lnTo>
                  <a:lnTo>
                    <a:pt x="114" y="0"/>
                  </a:lnTo>
                  <a:lnTo>
                    <a:pt x="114" y="0"/>
                  </a:lnTo>
                  <a:lnTo>
                    <a:pt x="120" y="0"/>
                  </a:lnTo>
                  <a:lnTo>
                    <a:pt x="120" y="4"/>
                  </a:lnTo>
                  <a:lnTo>
                    <a:pt x="120" y="4"/>
                  </a:lnTo>
                  <a:lnTo>
                    <a:pt x="120" y="6"/>
                  </a:lnTo>
                  <a:lnTo>
                    <a:pt x="120" y="14"/>
                  </a:lnTo>
                  <a:lnTo>
                    <a:pt x="120" y="14"/>
                  </a:lnTo>
                  <a:lnTo>
                    <a:pt x="120" y="22"/>
                  </a:lnTo>
                  <a:lnTo>
                    <a:pt x="120" y="30"/>
                  </a:lnTo>
                  <a:lnTo>
                    <a:pt x="120" y="30"/>
                  </a:lnTo>
                  <a:lnTo>
                    <a:pt x="120" y="30"/>
                  </a:lnTo>
                  <a:lnTo>
                    <a:pt x="110" y="30"/>
                  </a:lnTo>
                  <a:lnTo>
                    <a:pt x="110" y="30"/>
                  </a:lnTo>
                  <a:lnTo>
                    <a:pt x="106" y="30"/>
                  </a:lnTo>
                  <a:lnTo>
                    <a:pt x="106" y="30"/>
                  </a:lnTo>
                  <a:lnTo>
                    <a:pt x="102" y="30"/>
                  </a:lnTo>
                  <a:lnTo>
                    <a:pt x="102" y="30"/>
                  </a:lnTo>
                  <a:lnTo>
                    <a:pt x="102" y="30"/>
                  </a:lnTo>
                  <a:lnTo>
                    <a:pt x="102" y="30"/>
                  </a:lnTo>
                  <a:lnTo>
                    <a:pt x="94" y="30"/>
                  </a:lnTo>
                  <a:lnTo>
                    <a:pt x="90" y="30"/>
                  </a:lnTo>
                  <a:lnTo>
                    <a:pt x="84" y="30"/>
                  </a:lnTo>
                  <a:lnTo>
                    <a:pt x="80" y="30"/>
                  </a:lnTo>
                  <a:lnTo>
                    <a:pt x="72" y="30"/>
                  </a:lnTo>
                  <a:lnTo>
                    <a:pt x="72" y="36"/>
                  </a:lnTo>
                  <a:lnTo>
                    <a:pt x="72" y="36"/>
                  </a:lnTo>
                  <a:lnTo>
                    <a:pt x="72" y="36"/>
                  </a:lnTo>
                  <a:lnTo>
                    <a:pt x="72" y="44"/>
                  </a:lnTo>
                  <a:lnTo>
                    <a:pt x="72" y="44"/>
                  </a:lnTo>
                  <a:lnTo>
                    <a:pt x="72" y="44"/>
                  </a:lnTo>
                  <a:lnTo>
                    <a:pt x="72" y="52"/>
                  </a:lnTo>
                  <a:lnTo>
                    <a:pt x="72" y="52"/>
                  </a:lnTo>
                  <a:lnTo>
                    <a:pt x="72" y="52"/>
                  </a:lnTo>
                  <a:lnTo>
                    <a:pt x="72" y="60"/>
                  </a:lnTo>
                  <a:lnTo>
                    <a:pt x="72" y="60"/>
                  </a:lnTo>
                  <a:lnTo>
                    <a:pt x="72" y="66"/>
                  </a:lnTo>
                  <a:lnTo>
                    <a:pt x="72" y="70"/>
                  </a:lnTo>
                  <a:lnTo>
                    <a:pt x="72" y="78"/>
                  </a:lnTo>
                  <a:lnTo>
                    <a:pt x="72" y="78"/>
                  </a:lnTo>
                  <a:lnTo>
                    <a:pt x="72" y="78"/>
                  </a:lnTo>
                  <a:lnTo>
                    <a:pt x="68" y="78"/>
                  </a:lnTo>
                  <a:lnTo>
                    <a:pt x="64" y="78"/>
                  </a:lnTo>
                  <a:lnTo>
                    <a:pt x="64" y="78"/>
                  </a:lnTo>
                  <a:lnTo>
                    <a:pt x="64" y="82"/>
                  </a:lnTo>
                  <a:lnTo>
                    <a:pt x="64" y="82"/>
                  </a:lnTo>
                  <a:lnTo>
                    <a:pt x="60" y="86"/>
                  </a:lnTo>
                  <a:lnTo>
                    <a:pt x="58" y="86"/>
                  </a:lnTo>
                  <a:lnTo>
                    <a:pt x="58" y="86"/>
                  </a:lnTo>
                  <a:lnTo>
                    <a:pt x="58" y="90"/>
                  </a:lnTo>
                  <a:lnTo>
                    <a:pt x="58" y="90"/>
                  </a:lnTo>
                  <a:lnTo>
                    <a:pt x="58" y="94"/>
                  </a:lnTo>
                  <a:lnTo>
                    <a:pt x="58" y="94"/>
                  </a:lnTo>
                  <a:lnTo>
                    <a:pt x="58" y="94"/>
                  </a:lnTo>
                  <a:lnTo>
                    <a:pt x="58" y="96"/>
                  </a:lnTo>
                  <a:lnTo>
                    <a:pt x="58" y="96"/>
                  </a:lnTo>
                  <a:lnTo>
                    <a:pt x="58" y="100"/>
                  </a:lnTo>
                  <a:lnTo>
                    <a:pt x="58" y="100"/>
                  </a:lnTo>
                  <a:lnTo>
                    <a:pt x="60" y="104"/>
                  </a:lnTo>
                  <a:lnTo>
                    <a:pt x="60" y="112"/>
                  </a:lnTo>
                  <a:lnTo>
                    <a:pt x="60" y="116"/>
                  </a:lnTo>
                  <a:lnTo>
                    <a:pt x="54" y="116"/>
                  </a:lnTo>
                  <a:lnTo>
                    <a:pt x="46" y="116"/>
                  </a:lnTo>
                  <a:lnTo>
                    <a:pt x="42" y="116"/>
                  </a:lnTo>
                  <a:lnTo>
                    <a:pt x="42" y="116"/>
                  </a:lnTo>
                  <a:lnTo>
                    <a:pt x="38" y="116"/>
                  </a:lnTo>
                  <a:lnTo>
                    <a:pt x="34" y="116"/>
                  </a:lnTo>
                  <a:lnTo>
                    <a:pt x="30" y="116"/>
                  </a:lnTo>
                  <a:lnTo>
                    <a:pt x="28" y="116"/>
                  </a:lnTo>
                  <a:lnTo>
                    <a:pt x="20" y="116"/>
                  </a:lnTo>
                  <a:lnTo>
                    <a:pt x="20" y="116"/>
                  </a:lnTo>
                  <a:lnTo>
                    <a:pt x="16" y="116"/>
                  </a:lnTo>
                  <a:lnTo>
                    <a:pt x="16" y="116"/>
                  </a:lnTo>
                  <a:lnTo>
                    <a:pt x="8" y="116"/>
                  </a:lnTo>
                  <a:lnTo>
                    <a:pt x="4" y="116"/>
                  </a:lnTo>
                  <a:lnTo>
                    <a:pt x="4" y="116"/>
                  </a:lnTo>
                  <a:lnTo>
                    <a:pt x="4" y="120"/>
                  </a:lnTo>
                  <a:lnTo>
                    <a:pt x="0" y="120"/>
                  </a:lnTo>
                  <a:lnTo>
                    <a:pt x="0" y="120"/>
                  </a:lnTo>
                  <a:lnTo>
                    <a:pt x="0" y="124"/>
                  </a:lnTo>
                  <a:lnTo>
                    <a:pt x="0" y="124"/>
                  </a:lnTo>
                  <a:lnTo>
                    <a:pt x="0" y="124"/>
                  </a:lnTo>
                  <a:lnTo>
                    <a:pt x="0" y="124"/>
                  </a:lnTo>
                  <a:lnTo>
                    <a:pt x="0" y="12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83" name="Freeform 176"/>
            <p:cNvSpPr>
              <a:spLocks/>
            </p:cNvSpPr>
            <p:nvPr/>
          </p:nvSpPr>
          <p:spPr bwMode="auto">
            <a:xfrm>
              <a:off x="7233703" y="4251974"/>
              <a:ext cx="105501" cy="112452"/>
            </a:xfrm>
            <a:custGeom>
              <a:avLst/>
              <a:gdLst>
                <a:gd name="T0" fmla="*/ 120 w 168"/>
                <a:gd name="T1" fmla="*/ 130 h 172"/>
                <a:gd name="T2" fmla="*/ 108 w 168"/>
                <a:gd name="T3" fmla="*/ 130 h 172"/>
                <a:gd name="T4" fmla="*/ 98 w 168"/>
                <a:gd name="T5" fmla="*/ 138 h 172"/>
                <a:gd name="T6" fmla="*/ 90 w 168"/>
                <a:gd name="T7" fmla="*/ 148 h 172"/>
                <a:gd name="T8" fmla="*/ 84 w 168"/>
                <a:gd name="T9" fmla="*/ 160 h 172"/>
                <a:gd name="T10" fmla="*/ 72 w 168"/>
                <a:gd name="T11" fmla="*/ 168 h 172"/>
                <a:gd name="T12" fmla="*/ 60 w 168"/>
                <a:gd name="T13" fmla="*/ 168 h 172"/>
                <a:gd name="T14" fmla="*/ 54 w 168"/>
                <a:gd name="T15" fmla="*/ 168 h 172"/>
                <a:gd name="T16" fmla="*/ 42 w 168"/>
                <a:gd name="T17" fmla="*/ 160 h 172"/>
                <a:gd name="T18" fmla="*/ 28 w 168"/>
                <a:gd name="T19" fmla="*/ 164 h 172"/>
                <a:gd name="T20" fmla="*/ 8 w 168"/>
                <a:gd name="T21" fmla="*/ 148 h 172"/>
                <a:gd name="T22" fmla="*/ 4 w 168"/>
                <a:gd name="T23" fmla="*/ 138 h 172"/>
                <a:gd name="T24" fmla="*/ 0 w 168"/>
                <a:gd name="T25" fmla="*/ 116 h 172"/>
                <a:gd name="T26" fmla="*/ 0 w 168"/>
                <a:gd name="T27" fmla="*/ 96 h 172"/>
                <a:gd name="T28" fmla="*/ 16 w 168"/>
                <a:gd name="T29" fmla="*/ 82 h 172"/>
                <a:gd name="T30" fmla="*/ 30 w 168"/>
                <a:gd name="T31" fmla="*/ 82 h 172"/>
                <a:gd name="T32" fmla="*/ 30 w 168"/>
                <a:gd name="T33" fmla="*/ 62 h 172"/>
                <a:gd name="T34" fmla="*/ 30 w 168"/>
                <a:gd name="T35" fmla="*/ 48 h 172"/>
                <a:gd name="T36" fmla="*/ 38 w 168"/>
                <a:gd name="T37" fmla="*/ 48 h 172"/>
                <a:gd name="T38" fmla="*/ 42 w 168"/>
                <a:gd name="T39" fmla="*/ 56 h 172"/>
                <a:gd name="T40" fmla="*/ 50 w 168"/>
                <a:gd name="T41" fmla="*/ 60 h 172"/>
                <a:gd name="T42" fmla="*/ 64 w 168"/>
                <a:gd name="T43" fmla="*/ 62 h 172"/>
                <a:gd name="T44" fmla="*/ 76 w 168"/>
                <a:gd name="T45" fmla="*/ 60 h 172"/>
                <a:gd name="T46" fmla="*/ 84 w 168"/>
                <a:gd name="T47" fmla="*/ 70 h 172"/>
                <a:gd name="T48" fmla="*/ 94 w 168"/>
                <a:gd name="T49" fmla="*/ 78 h 172"/>
                <a:gd name="T50" fmla="*/ 102 w 168"/>
                <a:gd name="T51" fmla="*/ 90 h 172"/>
                <a:gd name="T52" fmla="*/ 112 w 168"/>
                <a:gd name="T53" fmla="*/ 90 h 172"/>
                <a:gd name="T54" fmla="*/ 112 w 168"/>
                <a:gd name="T55" fmla="*/ 78 h 172"/>
                <a:gd name="T56" fmla="*/ 108 w 168"/>
                <a:gd name="T57" fmla="*/ 70 h 172"/>
                <a:gd name="T58" fmla="*/ 98 w 168"/>
                <a:gd name="T59" fmla="*/ 66 h 172"/>
                <a:gd name="T60" fmla="*/ 94 w 168"/>
                <a:gd name="T61" fmla="*/ 56 h 172"/>
                <a:gd name="T62" fmla="*/ 98 w 168"/>
                <a:gd name="T63" fmla="*/ 44 h 172"/>
                <a:gd name="T64" fmla="*/ 98 w 168"/>
                <a:gd name="T65" fmla="*/ 30 h 172"/>
                <a:gd name="T66" fmla="*/ 98 w 168"/>
                <a:gd name="T67" fmla="*/ 14 h 172"/>
                <a:gd name="T68" fmla="*/ 102 w 168"/>
                <a:gd name="T69" fmla="*/ 4 h 172"/>
                <a:gd name="T70" fmla="*/ 120 w 168"/>
                <a:gd name="T71" fmla="*/ 0 h 172"/>
                <a:gd name="T72" fmla="*/ 128 w 168"/>
                <a:gd name="T73" fmla="*/ 6 h 172"/>
                <a:gd name="T74" fmla="*/ 142 w 168"/>
                <a:gd name="T75" fmla="*/ 10 h 172"/>
                <a:gd name="T76" fmla="*/ 150 w 168"/>
                <a:gd name="T77" fmla="*/ 18 h 172"/>
                <a:gd name="T78" fmla="*/ 162 w 168"/>
                <a:gd name="T79" fmla="*/ 26 h 172"/>
                <a:gd name="T80" fmla="*/ 162 w 168"/>
                <a:gd name="T81" fmla="*/ 32 h 172"/>
                <a:gd name="T82" fmla="*/ 166 w 168"/>
                <a:gd name="T83" fmla="*/ 44 h 172"/>
                <a:gd name="T84" fmla="*/ 166 w 168"/>
                <a:gd name="T85" fmla="*/ 52 h 172"/>
                <a:gd name="T86" fmla="*/ 162 w 168"/>
                <a:gd name="T87" fmla="*/ 66 h 172"/>
                <a:gd name="T88" fmla="*/ 158 w 168"/>
                <a:gd name="T89" fmla="*/ 74 h 172"/>
                <a:gd name="T90" fmla="*/ 158 w 168"/>
                <a:gd name="T91" fmla="*/ 90 h 172"/>
                <a:gd name="T92" fmla="*/ 158 w 168"/>
                <a:gd name="T93" fmla="*/ 100 h 172"/>
                <a:gd name="T94" fmla="*/ 146 w 168"/>
                <a:gd name="T95" fmla="*/ 108 h 172"/>
                <a:gd name="T96" fmla="*/ 136 w 168"/>
                <a:gd name="T97" fmla="*/ 112 h 172"/>
                <a:gd name="T98" fmla="*/ 124 w 168"/>
                <a:gd name="T99" fmla="*/ 116 h 172"/>
                <a:gd name="T100" fmla="*/ 120 w 168"/>
                <a:gd name="T101" fmla="*/ 11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8" h="172">
                  <a:moveTo>
                    <a:pt x="120" y="118"/>
                  </a:moveTo>
                  <a:lnTo>
                    <a:pt x="120" y="122"/>
                  </a:lnTo>
                  <a:lnTo>
                    <a:pt x="120" y="126"/>
                  </a:lnTo>
                  <a:lnTo>
                    <a:pt x="120" y="130"/>
                  </a:lnTo>
                  <a:lnTo>
                    <a:pt x="116" y="130"/>
                  </a:lnTo>
                  <a:lnTo>
                    <a:pt x="112" y="126"/>
                  </a:lnTo>
                  <a:lnTo>
                    <a:pt x="112" y="130"/>
                  </a:lnTo>
                  <a:lnTo>
                    <a:pt x="108" y="130"/>
                  </a:lnTo>
                  <a:lnTo>
                    <a:pt x="104" y="130"/>
                  </a:lnTo>
                  <a:lnTo>
                    <a:pt x="102" y="134"/>
                  </a:lnTo>
                  <a:lnTo>
                    <a:pt x="102" y="138"/>
                  </a:lnTo>
                  <a:lnTo>
                    <a:pt x="98" y="138"/>
                  </a:lnTo>
                  <a:lnTo>
                    <a:pt x="98" y="142"/>
                  </a:lnTo>
                  <a:lnTo>
                    <a:pt x="98" y="146"/>
                  </a:lnTo>
                  <a:lnTo>
                    <a:pt x="94" y="146"/>
                  </a:lnTo>
                  <a:lnTo>
                    <a:pt x="90" y="148"/>
                  </a:lnTo>
                  <a:lnTo>
                    <a:pt x="88" y="148"/>
                  </a:lnTo>
                  <a:lnTo>
                    <a:pt x="88" y="152"/>
                  </a:lnTo>
                  <a:lnTo>
                    <a:pt x="84" y="156"/>
                  </a:lnTo>
                  <a:lnTo>
                    <a:pt x="84" y="160"/>
                  </a:lnTo>
                  <a:lnTo>
                    <a:pt x="80" y="160"/>
                  </a:lnTo>
                  <a:lnTo>
                    <a:pt x="80" y="164"/>
                  </a:lnTo>
                  <a:lnTo>
                    <a:pt x="76" y="168"/>
                  </a:lnTo>
                  <a:lnTo>
                    <a:pt x="72" y="168"/>
                  </a:lnTo>
                  <a:lnTo>
                    <a:pt x="72" y="172"/>
                  </a:lnTo>
                  <a:lnTo>
                    <a:pt x="68" y="172"/>
                  </a:lnTo>
                  <a:lnTo>
                    <a:pt x="64" y="168"/>
                  </a:lnTo>
                  <a:lnTo>
                    <a:pt x="60" y="168"/>
                  </a:lnTo>
                  <a:lnTo>
                    <a:pt x="60" y="172"/>
                  </a:lnTo>
                  <a:lnTo>
                    <a:pt x="58" y="172"/>
                  </a:lnTo>
                  <a:lnTo>
                    <a:pt x="58" y="168"/>
                  </a:lnTo>
                  <a:lnTo>
                    <a:pt x="54" y="168"/>
                  </a:lnTo>
                  <a:lnTo>
                    <a:pt x="50" y="168"/>
                  </a:lnTo>
                  <a:lnTo>
                    <a:pt x="46" y="164"/>
                  </a:lnTo>
                  <a:lnTo>
                    <a:pt x="46" y="160"/>
                  </a:lnTo>
                  <a:lnTo>
                    <a:pt x="42" y="160"/>
                  </a:lnTo>
                  <a:lnTo>
                    <a:pt x="38" y="160"/>
                  </a:lnTo>
                  <a:lnTo>
                    <a:pt x="34" y="160"/>
                  </a:lnTo>
                  <a:lnTo>
                    <a:pt x="30" y="160"/>
                  </a:lnTo>
                  <a:lnTo>
                    <a:pt x="28" y="164"/>
                  </a:lnTo>
                  <a:lnTo>
                    <a:pt x="24" y="164"/>
                  </a:lnTo>
                  <a:lnTo>
                    <a:pt x="20" y="160"/>
                  </a:lnTo>
                  <a:lnTo>
                    <a:pt x="12" y="152"/>
                  </a:lnTo>
                  <a:lnTo>
                    <a:pt x="8" y="148"/>
                  </a:lnTo>
                  <a:lnTo>
                    <a:pt x="8" y="146"/>
                  </a:lnTo>
                  <a:lnTo>
                    <a:pt x="4" y="146"/>
                  </a:lnTo>
                  <a:lnTo>
                    <a:pt x="4" y="142"/>
                  </a:lnTo>
                  <a:lnTo>
                    <a:pt x="4" y="138"/>
                  </a:lnTo>
                  <a:lnTo>
                    <a:pt x="0" y="138"/>
                  </a:lnTo>
                  <a:lnTo>
                    <a:pt x="0" y="134"/>
                  </a:lnTo>
                  <a:lnTo>
                    <a:pt x="0" y="126"/>
                  </a:lnTo>
                  <a:lnTo>
                    <a:pt x="0" y="116"/>
                  </a:lnTo>
                  <a:lnTo>
                    <a:pt x="0" y="112"/>
                  </a:lnTo>
                  <a:lnTo>
                    <a:pt x="0" y="108"/>
                  </a:lnTo>
                  <a:lnTo>
                    <a:pt x="0" y="100"/>
                  </a:lnTo>
                  <a:lnTo>
                    <a:pt x="0" y="96"/>
                  </a:lnTo>
                  <a:lnTo>
                    <a:pt x="0" y="90"/>
                  </a:lnTo>
                  <a:lnTo>
                    <a:pt x="0" y="82"/>
                  </a:lnTo>
                  <a:lnTo>
                    <a:pt x="8" y="82"/>
                  </a:lnTo>
                  <a:lnTo>
                    <a:pt x="16" y="82"/>
                  </a:lnTo>
                  <a:lnTo>
                    <a:pt x="20" y="82"/>
                  </a:lnTo>
                  <a:lnTo>
                    <a:pt x="24" y="82"/>
                  </a:lnTo>
                  <a:lnTo>
                    <a:pt x="28" y="82"/>
                  </a:lnTo>
                  <a:lnTo>
                    <a:pt x="30" y="82"/>
                  </a:lnTo>
                  <a:lnTo>
                    <a:pt x="30" y="78"/>
                  </a:lnTo>
                  <a:lnTo>
                    <a:pt x="30" y="74"/>
                  </a:lnTo>
                  <a:lnTo>
                    <a:pt x="30" y="70"/>
                  </a:lnTo>
                  <a:lnTo>
                    <a:pt x="30" y="62"/>
                  </a:lnTo>
                  <a:lnTo>
                    <a:pt x="30" y="60"/>
                  </a:lnTo>
                  <a:lnTo>
                    <a:pt x="30" y="56"/>
                  </a:lnTo>
                  <a:lnTo>
                    <a:pt x="30" y="52"/>
                  </a:lnTo>
                  <a:lnTo>
                    <a:pt x="30" y="48"/>
                  </a:lnTo>
                  <a:lnTo>
                    <a:pt x="30" y="44"/>
                  </a:lnTo>
                  <a:lnTo>
                    <a:pt x="30" y="48"/>
                  </a:lnTo>
                  <a:lnTo>
                    <a:pt x="34" y="48"/>
                  </a:lnTo>
                  <a:lnTo>
                    <a:pt x="38" y="48"/>
                  </a:lnTo>
                  <a:lnTo>
                    <a:pt x="38" y="52"/>
                  </a:lnTo>
                  <a:lnTo>
                    <a:pt x="34" y="56"/>
                  </a:lnTo>
                  <a:lnTo>
                    <a:pt x="38" y="56"/>
                  </a:lnTo>
                  <a:lnTo>
                    <a:pt x="42" y="56"/>
                  </a:lnTo>
                  <a:lnTo>
                    <a:pt x="46" y="52"/>
                  </a:lnTo>
                  <a:lnTo>
                    <a:pt x="50" y="52"/>
                  </a:lnTo>
                  <a:lnTo>
                    <a:pt x="50" y="56"/>
                  </a:lnTo>
                  <a:lnTo>
                    <a:pt x="50" y="60"/>
                  </a:lnTo>
                  <a:lnTo>
                    <a:pt x="54" y="60"/>
                  </a:lnTo>
                  <a:lnTo>
                    <a:pt x="58" y="62"/>
                  </a:lnTo>
                  <a:lnTo>
                    <a:pt x="60" y="62"/>
                  </a:lnTo>
                  <a:lnTo>
                    <a:pt x="64" y="62"/>
                  </a:lnTo>
                  <a:lnTo>
                    <a:pt x="68" y="66"/>
                  </a:lnTo>
                  <a:lnTo>
                    <a:pt x="72" y="66"/>
                  </a:lnTo>
                  <a:lnTo>
                    <a:pt x="72" y="62"/>
                  </a:lnTo>
                  <a:lnTo>
                    <a:pt x="76" y="60"/>
                  </a:lnTo>
                  <a:lnTo>
                    <a:pt x="76" y="62"/>
                  </a:lnTo>
                  <a:lnTo>
                    <a:pt x="80" y="62"/>
                  </a:lnTo>
                  <a:lnTo>
                    <a:pt x="80" y="66"/>
                  </a:lnTo>
                  <a:lnTo>
                    <a:pt x="84" y="70"/>
                  </a:lnTo>
                  <a:lnTo>
                    <a:pt x="88" y="70"/>
                  </a:lnTo>
                  <a:lnTo>
                    <a:pt x="90" y="74"/>
                  </a:lnTo>
                  <a:lnTo>
                    <a:pt x="94" y="74"/>
                  </a:lnTo>
                  <a:lnTo>
                    <a:pt x="94" y="78"/>
                  </a:lnTo>
                  <a:lnTo>
                    <a:pt x="94" y="82"/>
                  </a:lnTo>
                  <a:lnTo>
                    <a:pt x="98" y="82"/>
                  </a:lnTo>
                  <a:lnTo>
                    <a:pt x="102" y="86"/>
                  </a:lnTo>
                  <a:lnTo>
                    <a:pt x="102" y="90"/>
                  </a:lnTo>
                  <a:lnTo>
                    <a:pt x="104" y="90"/>
                  </a:lnTo>
                  <a:lnTo>
                    <a:pt x="108" y="90"/>
                  </a:lnTo>
                  <a:lnTo>
                    <a:pt x="108" y="86"/>
                  </a:lnTo>
                  <a:lnTo>
                    <a:pt x="112" y="90"/>
                  </a:lnTo>
                  <a:lnTo>
                    <a:pt x="108" y="90"/>
                  </a:lnTo>
                  <a:lnTo>
                    <a:pt x="112" y="90"/>
                  </a:lnTo>
                  <a:lnTo>
                    <a:pt x="112" y="86"/>
                  </a:lnTo>
                  <a:lnTo>
                    <a:pt x="112" y="78"/>
                  </a:lnTo>
                  <a:lnTo>
                    <a:pt x="112" y="74"/>
                  </a:lnTo>
                  <a:lnTo>
                    <a:pt x="112" y="70"/>
                  </a:lnTo>
                  <a:lnTo>
                    <a:pt x="112" y="66"/>
                  </a:lnTo>
                  <a:lnTo>
                    <a:pt x="108" y="70"/>
                  </a:lnTo>
                  <a:lnTo>
                    <a:pt x="108" y="74"/>
                  </a:lnTo>
                  <a:lnTo>
                    <a:pt x="104" y="70"/>
                  </a:lnTo>
                  <a:lnTo>
                    <a:pt x="102" y="70"/>
                  </a:lnTo>
                  <a:lnTo>
                    <a:pt x="98" y="66"/>
                  </a:lnTo>
                  <a:lnTo>
                    <a:pt x="98" y="62"/>
                  </a:lnTo>
                  <a:lnTo>
                    <a:pt x="94" y="62"/>
                  </a:lnTo>
                  <a:lnTo>
                    <a:pt x="94" y="60"/>
                  </a:lnTo>
                  <a:lnTo>
                    <a:pt x="94" y="56"/>
                  </a:lnTo>
                  <a:lnTo>
                    <a:pt x="94" y="52"/>
                  </a:lnTo>
                  <a:lnTo>
                    <a:pt x="94" y="48"/>
                  </a:lnTo>
                  <a:lnTo>
                    <a:pt x="94" y="44"/>
                  </a:lnTo>
                  <a:lnTo>
                    <a:pt x="98" y="44"/>
                  </a:lnTo>
                  <a:lnTo>
                    <a:pt x="98" y="40"/>
                  </a:lnTo>
                  <a:lnTo>
                    <a:pt x="98" y="36"/>
                  </a:lnTo>
                  <a:lnTo>
                    <a:pt x="98" y="32"/>
                  </a:lnTo>
                  <a:lnTo>
                    <a:pt x="98" y="30"/>
                  </a:lnTo>
                  <a:lnTo>
                    <a:pt x="98" y="26"/>
                  </a:lnTo>
                  <a:lnTo>
                    <a:pt x="94" y="22"/>
                  </a:lnTo>
                  <a:lnTo>
                    <a:pt x="94" y="18"/>
                  </a:lnTo>
                  <a:lnTo>
                    <a:pt x="98" y="14"/>
                  </a:lnTo>
                  <a:lnTo>
                    <a:pt x="98" y="10"/>
                  </a:lnTo>
                  <a:lnTo>
                    <a:pt x="102" y="10"/>
                  </a:lnTo>
                  <a:lnTo>
                    <a:pt x="102" y="6"/>
                  </a:lnTo>
                  <a:lnTo>
                    <a:pt x="102" y="4"/>
                  </a:lnTo>
                  <a:lnTo>
                    <a:pt x="104" y="4"/>
                  </a:lnTo>
                  <a:lnTo>
                    <a:pt x="108" y="4"/>
                  </a:lnTo>
                  <a:lnTo>
                    <a:pt x="116" y="4"/>
                  </a:lnTo>
                  <a:lnTo>
                    <a:pt x="120" y="0"/>
                  </a:lnTo>
                  <a:lnTo>
                    <a:pt x="124" y="0"/>
                  </a:lnTo>
                  <a:lnTo>
                    <a:pt x="128" y="0"/>
                  </a:lnTo>
                  <a:lnTo>
                    <a:pt x="128" y="4"/>
                  </a:lnTo>
                  <a:lnTo>
                    <a:pt x="128" y="6"/>
                  </a:lnTo>
                  <a:lnTo>
                    <a:pt x="132" y="6"/>
                  </a:lnTo>
                  <a:lnTo>
                    <a:pt x="136" y="6"/>
                  </a:lnTo>
                  <a:lnTo>
                    <a:pt x="138" y="10"/>
                  </a:lnTo>
                  <a:lnTo>
                    <a:pt x="142" y="10"/>
                  </a:lnTo>
                  <a:lnTo>
                    <a:pt x="142" y="14"/>
                  </a:lnTo>
                  <a:lnTo>
                    <a:pt x="146" y="14"/>
                  </a:lnTo>
                  <a:lnTo>
                    <a:pt x="150" y="14"/>
                  </a:lnTo>
                  <a:lnTo>
                    <a:pt x="150" y="18"/>
                  </a:lnTo>
                  <a:lnTo>
                    <a:pt x="154" y="18"/>
                  </a:lnTo>
                  <a:lnTo>
                    <a:pt x="158" y="22"/>
                  </a:lnTo>
                  <a:lnTo>
                    <a:pt x="158" y="26"/>
                  </a:lnTo>
                  <a:lnTo>
                    <a:pt x="162" y="26"/>
                  </a:lnTo>
                  <a:lnTo>
                    <a:pt x="162" y="30"/>
                  </a:lnTo>
                  <a:lnTo>
                    <a:pt x="166" y="30"/>
                  </a:lnTo>
                  <a:lnTo>
                    <a:pt x="162" y="30"/>
                  </a:lnTo>
                  <a:lnTo>
                    <a:pt x="162" y="32"/>
                  </a:lnTo>
                  <a:lnTo>
                    <a:pt x="166" y="32"/>
                  </a:lnTo>
                  <a:lnTo>
                    <a:pt x="166" y="36"/>
                  </a:lnTo>
                  <a:lnTo>
                    <a:pt x="168" y="40"/>
                  </a:lnTo>
                  <a:lnTo>
                    <a:pt x="166" y="44"/>
                  </a:lnTo>
                  <a:lnTo>
                    <a:pt x="162" y="44"/>
                  </a:lnTo>
                  <a:lnTo>
                    <a:pt x="162" y="48"/>
                  </a:lnTo>
                  <a:lnTo>
                    <a:pt x="166" y="48"/>
                  </a:lnTo>
                  <a:lnTo>
                    <a:pt x="166" y="52"/>
                  </a:lnTo>
                  <a:lnTo>
                    <a:pt x="162" y="56"/>
                  </a:lnTo>
                  <a:lnTo>
                    <a:pt x="162" y="60"/>
                  </a:lnTo>
                  <a:lnTo>
                    <a:pt x="162" y="62"/>
                  </a:lnTo>
                  <a:lnTo>
                    <a:pt x="162" y="66"/>
                  </a:lnTo>
                  <a:lnTo>
                    <a:pt x="166" y="70"/>
                  </a:lnTo>
                  <a:lnTo>
                    <a:pt x="166" y="74"/>
                  </a:lnTo>
                  <a:lnTo>
                    <a:pt x="162" y="74"/>
                  </a:lnTo>
                  <a:lnTo>
                    <a:pt x="158" y="74"/>
                  </a:lnTo>
                  <a:lnTo>
                    <a:pt x="158" y="78"/>
                  </a:lnTo>
                  <a:lnTo>
                    <a:pt x="158" y="82"/>
                  </a:lnTo>
                  <a:lnTo>
                    <a:pt x="158" y="86"/>
                  </a:lnTo>
                  <a:lnTo>
                    <a:pt x="158" y="90"/>
                  </a:lnTo>
                  <a:lnTo>
                    <a:pt x="158" y="92"/>
                  </a:lnTo>
                  <a:lnTo>
                    <a:pt x="154" y="92"/>
                  </a:lnTo>
                  <a:lnTo>
                    <a:pt x="158" y="96"/>
                  </a:lnTo>
                  <a:lnTo>
                    <a:pt x="158" y="100"/>
                  </a:lnTo>
                  <a:lnTo>
                    <a:pt x="162" y="100"/>
                  </a:lnTo>
                  <a:lnTo>
                    <a:pt x="158" y="100"/>
                  </a:lnTo>
                  <a:lnTo>
                    <a:pt x="150" y="104"/>
                  </a:lnTo>
                  <a:lnTo>
                    <a:pt x="146" y="108"/>
                  </a:lnTo>
                  <a:lnTo>
                    <a:pt x="142" y="108"/>
                  </a:lnTo>
                  <a:lnTo>
                    <a:pt x="138" y="108"/>
                  </a:lnTo>
                  <a:lnTo>
                    <a:pt x="138" y="112"/>
                  </a:lnTo>
                  <a:lnTo>
                    <a:pt x="136" y="112"/>
                  </a:lnTo>
                  <a:lnTo>
                    <a:pt x="132" y="112"/>
                  </a:lnTo>
                  <a:lnTo>
                    <a:pt x="128" y="112"/>
                  </a:lnTo>
                  <a:lnTo>
                    <a:pt x="128" y="116"/>
                  </a:lnTo>
                  <a:lnTo>
                    <a:pt x="124" y="116"/>
                  </a:lnTo>
                  <a:lnTo>
                    <a:pt x="120" y="116"/>
                  </a:lnTo>
                  <a:lnTo>
                    <a:pt x="120" y="118"/>
                  </a:lnTo>
                  <a:lnTo>
                    <a:pt x="120" y="118"/>
                  </a:lnTo>
                  <a:lnTo>
                    <a:pt x="120" y="11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84" name="Freeform 177"/>
            <p:cNvSpPr>
              <a:spLocks/>
            </p:cNvSpPr>
            <p:nvPr/>
          </p:nvSpPr>
          <p:spPr bwMode="auto">
            <a:xfrm>
              <a:off x="7265102" y="4335659"/>
              <a:ext cx="70334" cy="79763"/>
            </a:xfrm>
            <a:custGeom>
              <a:avLst/>
              <a:gdLst>
                <a:gd name="T0" fmla="*/ 88 w 112"/>
                <a:gd name="T1" fmla="*/ 114 h 122"/>
                <a:gd name="T2" fmla="*/ 84 w 112"/>
                <a:gd name="T3" fmla="*/ 118 h 122"/>
                <a:gd name="T4" fmla="*/ 82 w 112"/>
                <a:gd name="T5" fmla="*/ 118 h 122"/>
                <a:gd name="T6" fmla="*/ 74 w 112"/>
                <a:gd name="T7" fmla="*/ 118 h 122"/>
                <a:gd name="T8" fmla="*/ 70 w 112"/>
                <a:gd name="T9" fmla="*/ 118 h 122"/>
                <a:gd name="T10" fmla="*/ 62 w 112"/>
                <a:gd name="T11" fmla="*/ 114 h 122"/>
                <a:gd name="T12" fmla="*/ 54 w 112"/>
                <a:gd name="T13" fmla="*/ 114 h 122"/>
                <a:gd name="T14" fmla="*/ 52 w 112"/>
                <a:gd name="T15" fmla="*/ 114 h 122"/>
                <a:gd name="T16" fmla="*/ 52 w 112"/>
                <a:gd name="T17" fmla="*/ 110 h 122"/>
                <a:gd name="T18" fmla="*/ 52 w 112"/>
                <a:gd name="T19" fmla="*/ 108 h 122"/>
                <a:gd name="T20" fmla="*/ 44 w 112"/>
                <a:gd name="T21" fmla="*/ 108 h 122"/>
                <a:gd name="T22" fmla="*/ 40 w 112"/>
                <a:gd name="T23" fmla="*/ 108 h 122"/>
                <a:gd name="T24" fmla="*/ 38 w 112"/>
                <a:gd name="T25" fmla="*/ 104 h 122"/>
                <a:gd name="T26" fmla="*/ 34 w 112"/>
                <a:gd name="T27" fmla="*/ 96 h 122"/>
                <a:gd name="T28" fmla="*/ 34 w 112"/>
                <a:gd name="T29" fmla="*/ 92 h 122"/>
                <a:gd name="T30" fmla="*/ 30 w 112"/>
                <a:gd name="T31" fmla="*/ 84 h 122"/>
                <a:gd name="T32" fmla="*/ 30 w 112"/>
                <a:gd name="T33" fmla="*/ 84 h 122"/>
                <a:gd name="T34" fmla="*/ 26 w 112"/>
                <a:gd name="T35" fmla="*/ 78 h 122"/>
                <a:gd name="T36" fmla="*/ 18 w 112"/>
                <a:gd name="T37" fmla="*/ 74 h 122"/>
                <a:gd name="T38" fmla="*/ 14 w 112"/>
                <a:gd name="T39" fmla="*/ 70 h 122"/>
                <a:gd name="T40" fmla="*/ 12 w 112"/>
                <a:gd name="T41" fmla="*/ 66 h 122"/>
                <a:gd name="T42" fmla="*/ 12 w 112"/>
                <a:gd name="T43" fmla="*/ 58 h 122"/>
                <a:gd name="T44" fmla="*/ 8 w 112"/>
                <a:gd name="T45" fmla="*/ 52 h 122"/>
                <a:gd name="T46" fmla="*/ 4 w 112"/>
                <a:gd name="T47" fmla="*/ 48 h 122"/>
                <a:gd name="T48" fmla="*/ 0 w 112"/>
                <a:gd name="T49" fmla="*/ 44 h 122"/>
                <a:gd name="T50" fmla="*/ 0 w 112"/>
                <a:gd name="T51" fmla="*/ 40 h 122"/>
                <a:gd name="T52" fmla="*/ 4 w 112"/>
                <a:gd name="T53" fmla="*/ 40 h 122"/>
                <a:gd name="T54" fmla="*/ 12 w 112"/>
                <a:gd name="T55" fmla="*/ 44 h 122"/>
                <a:gd name="T56" fmla="*/ 14 w 112"/>
                <a:gd name="T57" fmla="*/ 40 h 122"/>
                <a:gd name="T58" fmla="*/ 22 w 112"/>
                <a:gd name="T59" fmla="*/ 44 h 122"/>
                <a:gd name="T60" fmla="*/ 26 w 112"/>
                <a:gd name="T61" fmla="*/ 40 h 122"/>
                <a:gd name="T62" fmla="*/ 38 w 112"/>
                <a:gd name="T63" fmla="*/ 26 h 122"/>
                <a:gd name="T64" fmla="*/ 48 w 112"/>
                <a:gd name="T65" fmla="*/ 18 h 122"/>
                <a:gd name="T66" fmla="*/ 48 w 112"/>
                <a:gd name="T67" fmla="*/ 10 h 122"/>
                <a:gd name="T68" fmla="*/ 52 w 112"/>
                <a:gd name="T69" fmla="*/ 6 h 122"/>
                <a:gd name="T70" fmla="*/ 62 w 112"/>
                <a:gd name="T71" fmla="*/ 2 h 122"/>
                <a:gd name="T72" fmla="*/ 70 w 112"/>
                <a:gd name="T73" fmla="*/ 2 h 122"/>
                <a:gd name="T74" fmla="*/ 78 w 112"/>
                <a:gd name="T75" fmla="*/ 6 h 122"/>
                <a:gd name="T76" fmla="*/ 84 w 112"/>
                <a:gd name="T77" fmla="*/ 10 h 122"/>
                <a:gd name="T78" fmla="*/ 88 w 112"/>
                <a:gd name="T79" fmla="*/ 10 h 122"/>
                <a:gd name="T80" fmla="*/ 96 w 112"/>
                <a:gd name="T81" fmla="*/ 14 h 122"/>
                <a:gd name="T82" fmla="*/ 100 w 112"/>
                <a:gd name="T83" fmla="*/ 14 h 122"/>
                <a:gd name="T84" fmla="*/ 104 w 112"/>
                <a:gd name="T85" fmla="*/ 22 h 122"/>
                <a:gd name="T86" fmla="*/ 108 w 112"/>
                <a:gd name="T87" fmla="*/ 22 h 122"/>
                <a:gd name="T88" fmla="*/ 108 w 112"/>
                <a:gd name="T89" fmla="*/ 26 h 122"/>
                <a:gd name="T90" fmla="*/ 108 w 112"/>
                <a:gd name="T91" fmla="*/ 28 h 122"/>
                <a:gd name="T92" fmla="*/ 108 w 112"/>
                <a:gd name="T93" fmla="*/ 32 h 122"/>
                <a:gd name="T94" fmla="*/ 108 w 112"/>
                <a:gd name="T95" fmla="*/ 40 h 122"/>
                <a:gd name="T96" fmla="*/ 108 w 112"/>
                <a:gd name="T97" fmla="*/ 44 h 122"/>
                <a:gd name="T98" fmla="*/ 108 w 112"/>
                <a:gd name="T99" fmla="*/ 52 h 122"/>
                <a:gd name="T100" fmla="*/ 108 w 112"/>
                <a:gd name="T101" fmla="*/ 54 h 122"/>
                <a:gd name="T102" fmla="*/ 104 w 112"/>
                <a:gd name="T103" fmla="*/ 54 h 122"/>
                <a:gd name="T104" fmla="*/ 108 w 112"/>
                <a:gd name="T105" fmla="*/ 58 h 122"/>
                <a:gd name="T106" fmla="*/ 108 w 112"/>
                <a:gd name="T107" fmla="*/ 70 h 122"/>
                <a:gd name="T108" fmla="*/ 108 w 112"/>
                <a:gd name="T109" fmla="*/ 78 h 122"/>
                <a:gd name="T110" fmla="*/ 104 w 112"/>
                <a:gd name="T111" fmla="*/ 84 h 122"/>
                <a:gd name="T112" fmla="*/ 100 w 112"/>
                <a:gd name="T113" fmla="*/ 92 h 122"/>
                <a:gd name="T114" fmla="*/ 100 w 112"/>
                <a:gd name="T115" fmla="*/ 10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2" h="122">
                  <a:moveTo>
                    <a:pt x="100" y="100"/>
                  </a:moveTo>
                  <a:lnTo>
                    <a:pt x="100" y="100"/>
                  </a:lnTo>
                  <a:lnTo>
                    <a:pt x="100" y="100"/>
                  </a:lnTo>
                  <a:lnTo>
                    <a:pt x="100" y="100"/>
                  </a:lnTo>
                  <a:lnTo>
                    <a:pt x="92" y="110"/>
                  </a:lnTo>
                  <a:lnTo>
                    <a:pt x="88" y="114"/>
                  </a:lnTo>
                  <a:lnTo>
                    <a:pt x="84" y="118"/>
                  </a:lnTo>
                  <a:lnTo>
                    <a:pt x="84" y="118"/>
                  </a:lnTo>
                  <a:lnTo>
                    <a:pt x="84" y="118"/>
                  </a:lnTo>
                  <a:lnTo>
                    <a:pt x="84" y="122"/>
                  </a:lnTo>
                  <a:lnTo>
                    <a:pt x="84" y="118"/>
                  </a:lnTo>
                  <a:lnTo>
                    <a:pt x="84" y="118"/>
                  </a:lnTo>
                  <a:lnTo>
                    <a:pt x="82" y="118"/>
                  </a:lnTo>
                  <a:lnTo>
                    <a:pt x="82" y="118"/>
                  </a:lnTo>
                  <a:lnTo>
                    <a:pt x="82" y="118"/>
                  </a:lnTo>
                  <a:lnTo>
                    <a:pt x="82" y="118"/>
                  </a:lnTo>
                  <a:lnTo>
                    <a:pt x="82" y="118"/>
                  </a:lnTo>
                  <a:lnTo>
                    <a:pt x="82" y="118"/>
                  </a:lnTo>
                  <a:lnTo>
                    <a:pt x="78" y="118"/>
                  </a:lnTo>
                  <a:lnTo>
                    <a:pt x="78" y="118"/>
                  </a:lnTo>
                  <a:lnTo>
                    <a:pt x="78" y="118"/>
                  </a:lnTo>
                  <a:lnTo>
                    <a:pt x="78" y="118"/>
                  </a:lnTo>
                  <a:lnTo>
                    <a:pt x="78" y="118"/>
                  </a:lnTo>
                  <a:lnTo>
                    <a:pt x="74" y="118"/>
                  </a:lnTo>
                  <a:lnTo>
                    <a:pt x="74" y="118"/>
                  </a:lnTo>
                  <a:lnTo>
                    <a:pt x="74" y="118"/>
                  </a:lnTo>
                  <a:lnTo>
                    <a:pt x="74" y="118"/>
                  </a:lnTo>
                  <a:lnTo>
                    <a:pt x="74" y="118"/>
                  </a:lnTo>
                  <a:lnTo>
                    <a:pt x="70" y="118"/>
                  </a:lnTo>
                  <a:lnTo>
                    <a:pt x="70" y="118"/>
                  </a:lnTo>
                  <a:lnTo>
                    <a:pt x="70" y="118"/>
                  </a:lnTo>
                  <a:lnTo>
                    <a:pt x="66" y="118"/>
                  </a:lnTo>
                  <a:lnTo>
                    <a:pt x="66" y="114"/>
                  </a:lnTo>
                  <a:lnTo>
                    <a:pt x="62" y="114"/>
                  </a:lnTo>
                  <a:lnTo>
                    <a:pt x="62" y="114"/>
                  </a:lnTo>
                  <a:lnTo>
                    <a:pt x="62" y="114"/>
                  </a:lnTo>
                  <a:lnTo>
                    <a:pt x="62" y="114"/>
                  </a:lnTo>
                  <a:lnTo>
                    <a:pt x="62" y="114"/>
                  </a:lnTo>
                  <a:lnTo>
                    <a:pt x="58" y="114"/>
                  </a:lnTo>
                  <a:lnTo>
                    <a:pt x="54" y="114"/>
                  </a:lnTo>
                  <a:lnTo>
                    <a:pt x="54" y="114"/>
                  </a:lnTo>
                  <a:lnTo>
                    <a:pt x="54" y="114"/>
                  </a:lnTo>
                  <a:lnTo>
                    <a:pt x="54" y="114"/>
                  </a:lnTo>
                  <a:lnTo>
                    <a:pt x="54" y="114"/>
                  </a:lnTo>
                  <a:lnTo>
                    <a:pt x="54" y="114"/>
                  </a:lnTo>
                  <a:lnTo>
                    <a:pt x="54" y="114"/>
                  </a:lnTo>
                  <a:lnTo>
                    <a:pt x="52" y="114"/>
                  </a:lnTo>
                  <a:lnTo>
                    <a:pt x="52" y="114"/>
                  </a:lnTo>
                  <a:lnTo>
                    <a:pt x="52" y="114"/>
                  </a:lnTo>
                  <a:lnTo>
                    <a:pt x="52" y="114"/>
                  </a:lnTo>
                  <a:lnTo>
                    <a:pt x="52" y="114"/>
                  </a:lnTo>
                  <a:lnTo>
                    <a:pt x="52" y="110"/>
                  </a:lnTo>
                  <a:lnTo>
                    <a:pt x="52" y="110"/>
                  </a:lnTo>
                  <a:lnTo>
                    <a:pt x="52" y="110"/>
                  </a:lnTo>
                  <a:lnTo>
                    <a:pt x="52" y="110"/>
                  </a:lnTo>
                  <a:lnTo>
                    <a:pt x="52" y="110"/>
                  </a:lnTo>
                  <a:lnTo>
                    <a:pt x="52" y="110"/>
                  </a:lnTo>
                  <a:lnTo>
                    <a:pt x="52" y="108"/>
                  </a:lnTo>
                  <a:lnTo>
                    <a:pt x="52" y="108"/>
                  </a:lnTo>
                  <a:lnTo>
                    <a:pt x="52" y="108"/>
                  </a:lnTo>
                  <a:lnTo>
                    <a:pt x="52" y="108"/>
                  </a:lnTo>
                  <a:lnTo>
                    <a:pt x="48" y="108"/>
                  </a:lnTo>
                  <a:lnTo>
                    <a:pt x="44" y="108"/>
                  </a:lnTo>
                  <a:lnTo>
                    <a:pt x="44" y="108"/>
                  </a:lnTo>
                  <a:lnTo>
                    <a:pt x="44" y="108"/>
                  </a:lnTo>
                  <a:lnTo>
                    <a:pt x="44" y="108"/>
                  </a:lnTo>
                  <a:lnTo>
                    <a:pt x="44" y="108"/>
                  </a:lnTo>
                  <a:lnTo>
                    <a:pt x="44" y="108"/>
                  </a:lnTo>
                  <a:lnTo>
                    <a:pt x="44" y="108"/>
                  </a:lnTo>
                  <a:lnTo>
                    <a:pt x="40" y="108"/>
                  </a:lnTo>
                  <a:lnTo>
                    <a:pt x="40" y="108"/>
                  </a:lnTo>
                  <a:lnTo>
                    <a:pt x="40" y="108"/>
                  </a:lnTo>
                  <a:lnTo>
                    <a:pt x="40" y="108"/>
                  </a:lnTo>
                  <a:lnTo>
                    <a:pt x="38" y="108"/>
                  </a:lnTo>
                  <a:lnTo>
                    <a:pt x="38" y="104"/>
                  </a:lnTo>
                  <a:lnTo>
                    <a:pt x="38" y="104"/>
                  </a:lnTo>
                  <a:lnTo>
                    <a:pt x="38" y="104"/>
                  </a:lnTo>
                  <a:lnTo>
                    <a:pt x="38" y="104"/>
                  </a:lnTo>
                  <a:lnTo>
                    <a:pt x="38" y="104"/>
                  </a:lnTo>
                  <a:lnTo>
                    <a:pt x="38" y="100"/>
                  </a:lnTo>
                  <a:lnTo>
                    <a:pt x="38" y="100"/>
                  </a:lnTo>
                  <a:lnTo>
                    <a:pt x="34" y="100"/>
                  </a:lnTo>
                  <a:lnTo>
                    <a:pt x="34" y="100"/>
                  </a:lnTo>
                  <a:lnTo>
                    <a:pt x="34" y="96"/>
                  </a:lnTo>
                  <a:lnTo>
                    <a:pt x="34" y="96"/>
                  </a:lnTo>
                  <a:lnTo>
                    <a:pt x="34" y="92"/>
                  </a:lnTo>
                  <a:lnTo>
                    <a:pt x="34" y="92"/>
                  </a:lnTo>
                  <a:lnTo>
                    <a:pt x="34" y="92"/>
                  </a:lnTo>
                  <a:lnTo>
                    <a:pt x="34" y="92"/>
                  </a:lnTo>
                  <a:lnTo>
                    <a:pt x="34" y="92"/>
                  </a:lnTo>
                  <a:lnTo>
                    <a:pt x="34" y="88"/>
                  </a:lnTo>
                  <a:lnTo>
                    <a:pt x="34" y="84"/>
                  </a:lnTo>
                  <a:lnTo>
                    <a:pt x="34" y="84"/>
                  </a:lnTo>
                  <a:lnTo>
                    <a:pt x="34" y="84"/>
                  </a:lnTo>
                  <a:lnTo>
                    <a:pt x="30" y="84"/>
                  </a:lnTo>
                  <a:lnTo>
                    <a:pt x="30" y="84"/>
                  </a:lnTo>
                  <a:lnTo>
                    <a:pt x="30" y="84"/>
                  </a:lnTo>
                  <a:lnTo>
                    <a:pt x="30" y="84"/>
                  </a:lnTo>
                  <a:lnTo>
                    <a:pt x="30" y="84"/>
                  </a:lnTo>
                  <a:lnTo>
                    <a:pt x="30" y="84"/>
                  </a:lnTo>
                  <a:lnTo>
                    <a:pt x="30" y="84"/>
                  </a:lnTo>
                  <a:lnTo>
                    <a:pt x="30" y="84"/>
                  </a:lnTo>
                  <a:lnTo>
                    <a:pt x="30" y="84"/>
                  </a:lnTo>
                  <a:lnTo>
                    <a:pt x="30" y="80"/>
                  </a:lnTo>
                  <a:lnTo>
                    <a:pt x="30" y="80"/>
                  </a:lnTo>
                  <a:lnTo>
                    <a:pt x="26" y="80"/>
                  </a:lnTo>
                  <a:lnTo>
                    <a:pt x="26" y="78"/>
                  </a:lnTo>
                  <a:lnTo>
                    <a:pt x="26" y="78"/>
                  </a:lnTo>
                  <a:lnTo>
                    <a:pt x="22" y="78"/>
                  </a:lnTo>
                  <a:lnTo>
                    <a:pt x="18" y="78"/>
                  </a:lnTo>
                  <a:lnTo>
                    <a:pt x="18" y="74"/>
                  </a:lnTo>
                  <a:lnTo>
                    <a:pt x="18" y="74"/>
                  </a:lnTo>
                  <a:lnTo>
                    <a:pt x="18" y="74"/>
                  </a:lnTo>
                  <a:lnTo>
                    <a:pt x="18" y="74"/>
                  </a:lnTo>
                  <a:lnTo>
                    <a:pt x="18" y="74"/>
                  </a:lnTo>
                  <a:lnTo>
                    <a:pt x="18" y="74"/>
                  </a:lnTo>
                  <a:lnTo>
                    <a:pt x="18" y="74"/>
                  </a:lnTo>
                  <a:lnTo>
                    <a:pt x="14" y="74"/>
                  </a:lnTo>
                  <a:lnTo>
                    <a:pt x="14" y="70"/>
                  </a:lnTo>
                  <a:lnTo>
                    <a:pt x="14" y="70"/>
                  </a:lnTo>
                  <a:lnTo>
                    <a:pt x="14" y="70"/>
                  </a:lnTo>
                  <a:lnTo>
                    <a:pt x="12" y="70"/>
                  </a:lnTo>
                  <a:lnTo>
                    <a:pt x="12" y="70"/>
                  </a:lnTo>
                  <a:lnTo>
                    <a:pt x="12" y="70"/>
                  </a:lnTo>
                  <a:lnTo>
                    <a:pt x="12" y="66"/>
                  </a:lnTo>
                  <a:lnTo>
                    <a:pt x="12" y="66"/>
                  </a:lnTo>
                  <a:lnTo>
                    <a:pt x="12" y="62"/>
                  </a:lnTo>
                  <a:lnTo>
                    <a:pt x="12" y="62"/>
                  </a:lnTo>
                  <a:lnTo>
                    <a:pt x="12" y="62"/>
                  </a:lnTo>
                  <a:lnTo>
                    <a:pt x="12" y="62"/>
                  </a:lnTo>
                  <a:lnTo>
                    <a:pt x="12" y="58"/>
                  </a:lnTo>
                  <a:lnTo>
                    <a:pt x="12" y="58"/>
                  </a:lnTo>
                  <a:lnTo>
                    <a:pt x="12" y="58"/>
                  </a:lnTo>
                  <a:lnTo>
                    <a:pt x="12" y="58"/>
                  </a:lnTo>
                  <a:lnTo>
                    <a:pt x="8" y="58"/>
                  </a:lnTo>
                  <a:lnTo>
                    <a:pt x="8" y="58"/>
                  </a:lnTo>
                  <a:lnTo>
                    <a:pt x="8" y="54"/>
                  </a:lnTo>
                  <a:lnTo>
                    <a:pt x="8" y="52"/>
                  </a:lnTo>
                  <a:lnTo>
                    <a:pt x="4" y="52"/>
                  </a:lnTo>
                  <a:lnTo>
                    <a:pt x="4" y="52"/>
                  </a:lnTo>
                  <a:lnTo>
                    <a:pt x="4" y="52"/>
                  </a:lnTo>
                  <a:lnTo>
                    <a:pt x="4" y="48"/>
                  </a:lnTo>
                  <a:lnTo>
                    <a:pt x="4" y="48"/>
                  </a:lnTo>
                  <a:lnTo>
                    <a:pt x="4" y="48"/>
                  </a:lnTo>
                  <a:lnTo>
                    <a:pt x="4" y="48"/>
                  </a:lnTo>
                  <a:lnTo>
                    <a:pt x="4" y="48"/>
                  </a:lnTo>
                  <a:lnTo>
                    <a:pt x="0" y="44"/>
                  </a:lnTo>
                  <a:lnTo>
                    <a:pt x="0" y="44"/>
                  </a:lnTo>
                  <a:lnTo>
                    <a:pt x="0" y="44"/>
                  </a:lnTo>
                  <a:lnTo>
                    <a:pt x="0" y="44"/>
                  </a:lnTo>
                  <a:lnTo>
                    <a:pt x="0" y="40"/>
                  </a:lnTo>
                  <a:lnTo>
                    <a:pt x="0" y="40"/>
                  </a:lnTo>
                  <a:lnTo>
                    <a:pt x="0" y="40"/>
                  </a:lnTo>
                  <a:lnTo>
                    <a:pt x="0" y="40"/>
                  </a:lnTo>
                  <a:lnTo>
                    <a:pt x="0" y="40"/>
                  </a:lnTo>
                  <a:lnTo>
                    <a:pt x="0" y="40"/>
                  </a:lnTo>
                  <a:lnTo>
                    <a:pt x="0" y="40"/>
                  </a:lnTo>
                  <a:lnTo>
                    <a:pt x="4" y="40"/>
                  </a:lnTo>
                  <a:lnTo>
                    <a:pt x="4" y="40"/>
                  </a:lnTo>
                  <a:lnTo>
                    <a:pt x="4" y="40"/>
                  </a:lnTo>
                  <a:lnTo>
                    <a:pt x="4" y="40"/>
                  </a:lnTo>
                  <a:lnTo>
                    <a:pt x="4" y="40"/>
                  </a:lnTo>
                  <a:lnTo>
                    <a:pt x="8" y="40"/>
                  </a:lnTo>
                  <a:lnTo>
                    <a:pt x="8" y="40"/>
                  </a:lnTo>
                  <a:lnTo>
                    <a:pt x="8" y="40"/>
                  </a:lnTo>
                  <a:lnTo>
                    <a:pt x="8" y="44"/>
                  </a:lnTo>
                  <a:lnTo>
                    <a:pt x="8" y="44"/>
                  </a:lnTo>
                  <a:lnTo>
                    <a:pt x="12" y="44"/>
                  </a:lnTo>
                  <a:lnTo>
                    <a:pt x="12" y="40"/>
                  </a:lnTo>
                  <a:lnTo>
                    <a:pt x="12" y="40"/>
                  </a:lnTo>
                  <a:lnTo>
                    <a:pt x="12" y="40"/>
                  </a:lnTo>
                  <a:lnTo>
                    <a:pt x="14" y="40"/>
                  </a:lnTo>
                  <a:lnTo>
                    <a:pt x="14" y="40"/>
                  </a:lnTo>
                  <a:lnTo>
                    <a:pt x="14" y="40"/>
                  </a:lnTo>
                  <a:lnTo>
                    <a:pt x="18" y="44"/>
                  </a:lnTo>
                  <a:lnTo>
                    <a:pt x="18" y="44"/>
                  </a:lnTo>
                  <a:lnTo>
                    <a:pt x="18" y="44"/>
                  </a:lnTo>
                  <a:lnTo>
                    <a:pt x="18" y="44"/>
                  </a:lnTo>
                  <a:lnTo>
                    <a:pt x="18" y="44"/>
                  </a:lnTo>
                  <a:lnTo>
                    <a:pt x="22" y="44"/>
                  </a:lnTo>
                  <a:lnTo>
                    <a:pt x="22" y="44"/>
                  </a:lnTo>
                  <a:lnTo>
                    <a:pt x="22" y="44"/>
                  </a:lnTo>
                  <a:lnTo>
                    <a:pt x="22" y="40"/>
                  </a:lnTo>
                  <a:lnTo>
                    <a:pt x="26" y="40"/>
                  </a:lnTo>
                  <a:lnTo>
                    <a:pt x="26" y="40"/>
                  </a:lnTo>
                  <a:lnTo>
                    <a:pt x="26" y="40"/>
                  </a:lnTo>
                  <a:lnTo>
                    <a:pt x="30" y="36"/>
                  </a:lnTo>
                  <a:lnTo>
                    <a:pt x="30" y="32"/>
                  </a:lnTo>
                  <a:lnTo>
                    <a:pt x="34" y="32"/>
                  </a:lnTo>
                  <a:lnTo>
                    <a:pt x="34" y="28"/>
                  </a:lnTo>
                  <a:lnTo>
                    <a:pt x="34" y="28"/>
                  </a:lnTo>
                  <a:lnTo>
                    <a:pt x="38" y="26"/>
                  </a:lnTo>
                  <a:lnTo>
                    <a:pt x="38" y="26"/>
                  </a:lnTo>
                  <a:lnTo>
                    <a:pt x="38" y="22"/>
                  </a:lnTo>
                  <a:lnTo>
                    <a:pt x="40" y="22"/>
                  </a:lnTo>
                  <a:lnTo>
                    <a:pt x="40" y="22"/>
                  </a:lnTo>
                  <a:lnTo>
                    <a:pt x="44" y="18"/>
                  </a:lnTo>
                  <a:lnTo>
                    <a:pt x="48" y="18"/>
                  </a:lnTo>
                  <a:lnTo>
                    <a:pt x="48" y="14"/>
                  </a:lnTo>
                  <a:lnTo>
                    <a:pt x="48" y="14"/>
                  </a:lnTo>
                  <a:lnTo>
                    <a:pt x="48" y="14"/>
                  </a:lnTo>
                  <a:lnTo>
                    <a:pt x="48" y="14"/>
                  </a:lnTo>
                  <a:lnTo>
                    <a:pt x="48" y="14"/>
                  </a:lnTo>
                  <a:lnTo>
                    <a:pt x="48" y="10"/>
                  </a:lnTo>
                  <a:lnTo>
                    <a:pt x="52" y="10"/>
                  </a:lnTo>
                  <a:lnTo>
                    <a:pt x="52" y="6"/>
                  </a:lnTo>
                  <a:lnTo>
                    <a:pt x="52" y="6"/>
                  </a:lnTo>
                  <a:lnTo>
                    <a:pt x="52" y="6"/>
                  </a:lnTo>
                  <a:lnTo>
                    <a:pt x="52" y="6"/>
                  </a:lnTo>
                  <a:lnTo>
                    <a:pt x="52" y="6"/>
                  </a:lnTo>
                  <a:lnTo>
                    <a:pt x="54" y="2"/>
                  </a:lnTo>
                  <a:lnTo>
                    <a:pt x="54" y="2"/>
                  </a:lnTo>
                  <a:lnTo>
                    <a:pt x="58" y="2"/>
                  </a:lnTo>
                  <a:lnTo>
                    <a:pt x="58" y="2"/>
                  </a:lnTo>
                  <a:lnTo>
                    <a:pt x="58" y="2"/>
                  </a:lnTo>
                  <a:lnTo>
                    <a:pt x="62" y="2"/>
                  </a:lnTo>
                  <a:lnTo>
                    <a:pt x="62" y="2"/>
                  </a:lnTo>
                  <a:lnTo>
                    <a:pt x="62" y="2"/>
                  </a:lnTo>
                  <a:lnTo>
                    <a:pt x="62" y="0"/>
                  </a:lnTo>
                  <a:lnTo>
                    <a:pt x="66" y="2"/>
                  </a:lnTo>
                  <a:lnTo>
                    <a:pt x="70" y="2"/>
                  </a:lnTo>
                  <a:lnTo>
                    <a:pt x="70" y="2"/>
                  </a:lnTo>
                  <a:lnTo>
                    <a:pt x="70" y="2"/>
                  </a:lnTo>
                  <a:lnTo>
                    <a:pt x="70" y="2"/>
                  </a:lnTo>
                  <a:lnTo>
                    <a:pt x="70" y="2"/>
                  </a:lnTo>
                  <a:lnTo>
                    <a:pt x="70" y="2"/>
                  </a:lnTo>
                  <a:lnTo>
                    <a:pt x="70" y="6"/>
                  </a:lnTo>
                  <a:lnTo>
                    <a:pt x="78" y="6"/>
                  </a:lnTo>
                  <a:lnTo>
                    <a:pt x="82" y="6"/>
                  </a:lnTo>
                  <a:lnTo>
                    <a:pt x="82" y="6"/>
                  </a:lnTo>
                  <a:lnTo>
                    <a:pt x="84" y="6"/>
                  </a:lnTo>
                  <a:lnTo>
                    <a:pt x="84" y="6"/>
                  </a:lnTo>
                  <a:lnTo>
                    <a:pt x="84" y="10"/>
                  </a:lnTo>
                  <a:lnTo>
                    <a:pt x="84" y="10"/>
                  </a:lnTo>
                  <a:lnTo>
                    <a:pt x="84" y="10"/>
                  </a:lnTo>
                  <a:lnTo>
                    <a:pt x="84" y="10"/>
                  </a:lnTo>
                  <a:lnTo>
                    <a:pt x="88" y="10"/>
                  </a:lnTo>
                  <a:lnTo>
                    <a:pt x="88" y="10"/>
                  </a:lnTo>
                  <a:lnTo>
                    <a:pt x="88" y="10"/>
                  </a:lnTo>
                  <a:lnTo>
                    <a:pt x="88" y="10"/>
                  </a:lnTo>
                  <a:lnTo>
                    <a:pt x="88" y="10"/>
                  </a:lnTo>
                  <a:lnTo>
                    <a:pt x="92" y="10"/>
                  </a:lnTo>
                  <a:lnTo>
                    <a:pt x="92" y="14"/>
                  </a:lnTo>
                  <a:lnTo>
                    <a:pt x="92" y="14"/>
                  </a:lnTo>
                  <a:lnTo>
                    <a:pt x="92" y="14"/>
                  </a:lnTo>
                  <a:lnTo>
                    <a:pt x="96" y="14"/>
                  </a:lnTo>
                  <a:lnTo>
                    <a:pt x="96" y="14"/>
                  </a:lnTo>
                  <a:lnTo>
                    <a:pt x="96" y="14"/>
                  </a:lnTo>
                  <a:lnTo>
                    <a:pt x="96" y="14"/>
                  </a:lnTo>
                  <a:lnTo>
                    <a:pt x="96" y="14"/>
                  </a:lnTo>
                  <a:lnTo>
                    <a:pt x="100" y="14"/>
                  </a:lnTo>
                  <a:lnTo>
                    <a:pt x="100" y="14"/>
                  </a:lnTo>
                  <a:lnTo>
                    <a:pt x="100" y="14"/>
                  </a:lnTo>
                  <a:lnTo>
                    <a:pt x="100" y="18"/>
                  </a:lnTo>
                  <a:lnTo>
                    <a:pt x="104" y="18"/>
                  </a:lnTo>
                  <a:lnTo>
                    <a:pt x="104" y="18"/>
                  </a:lnTo>
                  <a:lnTo>
                    <a:pt x="104" y="22"/>
                  </a:lnTo>
                  <a:lnTo>
                    <a:pt x="104" y="22"/>
                  </a:lnTo>
                  <a:lnTo>
                    <a:pt x="104" y="22"/>
                  </a:lnTo>
                  <a:lnTo>
                    <a:pt x="108" y="22"/>
                  </a:lnTo>
                  <a:lnTo>
                    <a:pt x="108" y="22"/>
                  </a:lnTo>
                  <a:lnTo>
                    <a:pt x="108" y="22"/>
                  </a:lnTo>
                  <a:lnTo>
                    <a:pt x="108" y="22"/>
                  </a:lnTo>
                  <a:lnTo>
                    <a:pt x="108" y="22"/>
                  </a:lnTo>
                  <a:lnTo>
                    <a:pt x="108" y="22"/>
                  </a:lnTo>
                  <a:lnTo>
                    <a:pt x="108" y="22"/>
                  </a:lnTo>
                  <a:lnTo>
                    <a:pt x="108" y="22"/>
                  </a:lnTo>
                  <a:lnTo>
                    <a:pt x="108" y="22"/>
                  </a:lnTo>
                  <a:lnTo>
                    <a:pt x="108" y="22"/>
                  </a:lnTo>
                  <a:lnTo>
                    <a:pt x="108" y="26"/>
                  </a:lnTo>
                  <a:lnTo>
                    <a:pt x="108" y="26"/>
                  </a:lnTo>
                  <a:lnTo>
                    <a:pt x="108" y="26"/>
                  </a:lnTo>
                  <a:lnTo>
                    <a:pt x="108" y="28"/>
                  </a:lnTo>
                  <a:lnTo>
                    <a:pt x="108" y="28"/>
                  </a:lnTo>
                  <a:lnTo>
                    <a:pt x="108" y="28"/>
                  </a:lnTo>
                  <a:lnTo>
                    <a:pt x="108" y="28"/>
                  </a:lnTo>
                  <a:lnTo>
                    <a:pt x="108" y="28"/>
                  </a:lnTo>
                  <a:lnTo>
                    <a:pt x="108" y="28"/>
                  </a:lnTo>
                  <a:lnTo>
                    <a:pt x="108" y="28"/>
                  </a:lnTo>
                  <a:lnTo>
                    <a:pt x="108" y="32"/>
                  </a:lnTo>
                  <a:lnTo>
                    <a:pt x="108" y="32"/>
                  </a:lnTo>
                  <a:lnTo>
                    <a:pt x="108" y="32"/>
                  </a:lnTo>
                  <a:lnTo>
                    <a:pt x="108" y="36"/>
                  </a:lnTo>
                  <a:lnTo>
                    <a:pt x="108" y="36"/>
                  </a:lnTo>
                  <a:lnTo>
                    <a:pt x="108" y="36"/>
                  </a:lnTo>
                  <a:lnTo>
                    <a:pt x="108" y="36"/>
                  </a:lnTo>
                  <a:lnTo>
                    <a:pt x="108" y="36"/>
                  </a:lnTo>
                  <a:lnTo>
                    <a:pt x="108" y="40"/>
                  </a:lnTo>
                  <a:lnTo>
                    <a:pt x="108" y="40"/>
                  </a:lnTo>
                  <a:lnTo>
                    <a:pt x="108" y="44"/>
                  </a:lnTo>
                  <a:lnTo>
                    <a:pt x="108" y="44"/>
                  </a:lnTo>
                  <a:lnTo>
                    <a:pt x="108" y="44"/>
                  </a:lnTo>
                  <a:lnTo>
                    <a:pt x="108" y="44"/>
                  </a:lnTo>
                  <a:lnTo>
                    <a:pt x="108" y="44"/>
                  </a:lnTo>
                  <a:lnTo>
                    <a:pt x="108" y="48"/>
                  </a:lnTo>
                  <a:lnTo>
                    <a:pt x="108" y="48"/>
                  </a:lnTo>
                  <a:lnTo>
                    <a:pt x="108" y="48"/>
                  </a:lnTo>
                  <a:lnTo>
                    <a:pt x="108" y="48"/>
                  </a:lnTo>
                  <a:lnTo>
                    <a:pt x="112" y="48"/>
                  </a:lnTo>
                  <a:lnTo>
                    <a:pt x="108" y="52"/>
                  </a:lnTo>
                  <a:lnTo>
                    <a:pt x="108" y="52"/>
                  </a:lnTo>
                  <a:lnTo>
                    <a:pt x="108" y="52"/>
                  </a:lnTo>
                  <a:lnTo>
                    <a:pt x="108" y="52"/>
                  </a:lnTo>
                  <a:lnTo>
                    <a:pt x="108" y="52"/>
                  </a:lnTo>
                  <a:lnTo>
                    <a:pt x="108" y="52"/>
                  </a:lnTo>
                  <a:lnTo>
                    <a:pt x="108" y="54"/>
                  </a:lnTo>
                  <a:lnTo>
                    <a:pt x="108" y="54"/>
                  </a:lnTo>
                  <a:lnTo>
                    <a:pt x="108" y="54"/>
                  </a:lnTo>
                  <a:lnTo>
                    <a:pt x="108" y="54"/>
                  </a:lnTo>
                  <a:lnTo>
                    <a:pt x="108" y="54"/>
                  </a:lnTo>
                  <a:lnTo>
                    <a:pt x="108" y="54"/>
                  </a:lnTo>
                  <a:lnTo>
                    <a:pt x="104" y="54"/>
                  </a:lnTo>
                  <a:lnTo>
                    <a:pt x="104" y="58"/>
                  </a:lnTo>
                  <a:lnTo>
                    <a:pt x="104" y="58"/>
                  </a:lnTo>
                  <a:lnTo>
                    <a:pt x="104" y="58"/>
                  </a:lnTo>
                  <a:lnTo>
                    <a:pt x="104" y="58"/>
                  </a:lnTo>
                  <a:lnTo>
                    <a:pt x="104" y="58"/>
                  </a:lnTo>
                  <a:lnTo>
                    <a:pt x="108" y="58"/>
                  </a:lnTo>
                  <a:lnTo>
                    <a:pt x="108" y="62"/>
                  </a:lnTo>
                  <a:lnTo>
                    <a:pt x="108" y="66"/>
                  </a:lnTo>
                  <a:lnTo>
                    <a:pt x="108" y="66"/>
                  </a:lnTo>
                  <a:lnTo>
                    <a:pt x="104" y="66"/>
                  </a:lnTo>
                  <a:lnTo>
                    <a:pt x="104" y="70"/>
                  </a:lnTo>
                  <a:lnTo>
                    <a:pt x="108" y="70"/>
                  </a:lnTo>
                  <a:lnTo>
                    <a:pt x="108" y="70"/>
                  </a:lnTo>
                  <a:lnTo>
                    <a:pt x="108" y="70"/>
                  </a:lnTo>
                  <a:lnTo>
                    <a:pt x="108" y="70"/>
                  </a:lnTo>
                  <a:lnTo>
                    <a:pt x="108" y="74"/>
                  </a:lnTo>
                  <a:lnTo>
                    <a:pt x="108" y="74"/>
                  </a:lnTo>
                  <a:lnTo>
                    <a:pt x="108" y="78"/>
                  </a:lnTo>
                  <a:lnTo>
                    <a:pt x="108" y="78"/>
                  </a:lnTo>
                  <a:lnTo>
                    <a:pt x="108" y="80"/>
                  </a:lnTo>
                  <a:lnTo>
                    <a:pt x="108" y="80"/>
                  </a:lnTo>
                  <a:lnTo>
                    <a:pt x="108" y="80"/>
                  </a:lnTo>
                  <a:lnTo>
                    <a:pt x="108" y="80"/>
                  </a:lnTo>
                  <a:lnTo>
                    <a:pt x="104" y="84"/>
                  </a:lnTo>
                  <a:lnTo>
                    <a:pt x="104" y="88"/>
                  </a:lnTo>
                  <a:lnTo>
                    <a:pt x="104" y="88"/>
                  </a:lnTo>
                  <a:lnTo>
                    <a:pt x="100" y="88"/>
                  </a:lnTo>
                  <a:lnTo>
                    <a:pt x="100" y="88"/>
                  </a:lnTo>
                  <a:lnTo>
                    <a:pt x="100" y="92"/>
                  </a:lnTo>
                  <a:lnTo>
                    <a:pt x="100" y="92"/>
                  </a:lnTo>
                  <a:lnTo>
                    <a:pt x="100" y="92"/>
                  </a:lnTo>
                  <a:lnTo>
                    <a:pt x="100" y="96"/>
                  </a:lnTo>
                  <a:lnTo>
                    <a:pt x="100" y="96"/>
                  </a:lnTo>
                  <a:lnTo>
                    <a:pt x="100" y="96"/>
                  </a:lnTo>
                  <a:lnTo>
                    <a:pt x="100" y="100"/>
                  </a:lnTo>
                  <a:lnTo>
                    <a:pt x="100" y="100"/>
                  </a:lnTo>
                  <a:lnTo>
                    <a:pt x="100" y="100"/>
                  </a:lnTo>
                  <a:lnTo>
                    <a:pt x="100" y="100"/>
                  </a:lnTo>
                  <a:lnTo>
                    <a:pt x="100" y="10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85" name="Freeform 178"/>
            <p:cNvSpPr>
              <a:spLocks noEditPoints="1"/>
            </p:cNvSpPr>
            <p:nvPr/>
          </p:nvSpPr>
          <p:spPr bwMode="auto">
            <a:xfrm>
              <a:off x="6387185" y="4406269"/>
              <a:ext cx="175835" cy="421042"/>
            </a:xfrm>
            <a:custGeom>
              <a:avLst/>
              <a:gdLst>
                <a:gd name="T0" fmla="*/ 28 w 280"/>
                <a:gd name="T1" fmla="*/ 328 h 644"/>
                <a:gd name="T2" fmla="*/ 38 w 280"/>
                <a:gd name="T3" fmla="*/ 304 h 644"/>
                <a:gd name="T4" fmla="*/ 38 w 280"/>
                <a:gd name="T5" fmla="*/ 272 h 644"/>
                <a:gd name="T6" fmla="*/ 46 w 280"/>
                <a:gd name="T7" fmla="*/ 242 h 644"/>
                <a:gd name="T8" fmla="*/ 54 w 280"/>
                <a:gd name="T9" fmla="*/ 208 h 644"/>
                <a:gd name="T10" fmla="*/ 42 w 280"/>
                <a:gd name="T11" fmla="*/ 174 h 644"/>
                <a:gd name="T12" fmla="*/ 54 w 280"/>
                <a:gd name="T13" fmla="*/ 144 h 644"/>
                <a:gd name="T14" fmla="*/ 60 w 280"/>
                <a:gd name="T15" fmla="*/ 114 h 644"/>
                <a:gd name="T16" fmla="*/ 72 w 280"/>
                <a:gd name="T17" fmla="*/ 84 h 644"/>
                <a:gd name="T18" fmla="*/ 76 w 280"/>
                <a:gd name="T19" fmla="*/ 48 h 644"/>
                <a:gd name="T20" fmla="*/ 90 w 280"/>
                <a:gd name="T21" fmla="*/ 22 h 644"/>
                <a:gd name="T22" fmla="*/ 106 w 280"/>
                <a:gd name="T23" fmla="*/ 4 h 644"/>
                <a:gd name="T24" fmla="*/ 130 w 280"/>
                <a:gd name="T25" fmla="*/ 22 h 644"/>
                <a:gd name="T26" fmla="*/ 156 w 280"/>
                <a:gd name="T27" fmla="*/ 10 h 644"/>
                <a:gd name="T28" fmla="*/ 176 w 280"/>
                <a:gd name="T29" fmla="*/ 36 h 644"/>
                <a:gd name="T30" fmla="*/ 208 w 280"/>
                <a:gd name="T31" fmla="*/ 56 h 644"/>
                <a:gd name="T32" fmla="*/ 220 w 280"/>
                <a:gd name="T33" fmla="*/ 78 h 644"/>
                <a:gd name="T34" fmla="*/ 224 w 280"/>
                <a:gd name="T35" fmla="*/ 100 h 644"/>
                <a:gd name="T36" fmla="*/ 254 w 280"/>
                <a:gd name="T37" fmla="*/ 100 h 644"/>
                <a:gd name="T38" fmla="*/ 272 w 280"/>
                <a:gd name="T39" fmla="*/ 70 h 644"/>
                <a:gd name="T40" fmla="*/ 276 w 280"/>
                <a:gd name="T41" fmla="*/ 96 h 644"/>
                <a:gd name="T42" fmla="*/ 250 w 280"/>
                <a:gd name="T43" fmla="*/ 114 h 644"/>
                <a:gd name="T44" fmla="*/ 238 w 280"/>
                <a:gd name="T45" fmla="*/ 136 h 644"/>
                <a:gd name="T46" fmla="*/ 220 w 280"/>
                <a:gd name="T47" fmla="*/ 170 h 644"/>
                <a:gd name="T48" fmla="*/ 216 w 280"/>
                <a:gd name="T49" fmla="*/ 200 h 644"/>
                <a:gd name="T50" fmla="*/ 216 w 280"/>
                <a:gd name="T51" fmla="*/ 234 h 644"/>
                <a:gd name="T52" fmla="*/ 230 w 280"/>
                <a:gd name="T53" fmla="*/ 264 h 644"/>
                <a:gd name="T54" fmla="*/ 228 w 280"/>
                <a:gd name="T55" fmla="*/ 294 h 644"/>
                <a:gd name="T56" fmla="*/ 194 w 280"/>
                <a:gd name="T57" fmla="*/ 316 h 644"/>
                <a:gd name="T58" fmla="*/ 156 w 280"/>
                <a:gd name="T59" fmla="*/ 312 h 644"/>
                <a:gd name="T60" fmla="*/ 160 w 280"/>
                <a:gd name="T61" fmla="*/ 330 h 644"/>
                <a:gd name="T62" fmla="*/ 152 w 280"/>
                <a:gd name="T63" fmla="*/ 358 h 644"/>
                <a:gd name="T64" fmla="*/ 122 w 280"/>
                <a:gd name="T65" fmla="*/ 350 h 644"/>
                <a:gd name="T66" fmla="*/ 126 w 280"/>
                <a:gd name="T67" fmla="*/ 380 h 644"/>
                <a:gd name="T68" fmla="*/ 142 w 280"/>
                <a:gd name="T69" fmla="*/ 386 h 644"/>
                <a:gd name="T70" fmla="*/ 126 w 280"/>
                <a:gd name="T71" fmla="*/ 394 h 644"/>
                <a:gd name="T72" fmla="*/ 120 w 280"/>
                <a:gd name="T73" fmla="*/ 414 h 644"/>
                <a:gd name="T74" fmla="*/ 98 w 280"/>
                <a:gd name="T75" fmla="*/ 440 h 644"/>
                <a:gd name="T76" fmla="*/ 86 w 280"/>
                <a:gd name="T77" fmla="*/ 470 h 644"/>
                <a:gd name="T78" fmla="*/ 108 w 280"/>
                <a:gd name="T79" fmla="*/ 490 h 644"/>
                <a:gd name="T80" fmla="*/ 90 w 280"/>
                <a:gd name="T81" fmla="*/ 510 h 644"/>
                <a:gd name="T82" fmla="*/ 82 w 280"/>
                <a:gd name="T83" fmla="*/ 536 h 644"/>
                <a:gd name="T84" fmla="*/ 76 w 280"/>
                <a:gd name="T85" fmla="*/ 540 h 644"/>
                <a:gd name="T86" fmla="*/ 64 w 280"/>
                <a:gd name="T87" fmla="*/ 566 h 644"/>
                <a:gd name="T88" fmla="*/ 72 w 280"/>
                <a:gd name="T89" fmla="*/ 584 h 644"/>
                <a:gd name="T90" fmla="*/ 34 w 280"/>
                <a:gd name="T91" fmla="*/ 580 h 644"/>
                <a:gd name="T92" fmla="*/ 16 w 280"/>
                <a:gd name="T93" fmla="*/ 550 h 644"/>
                <a:gd name="T94" fmla="*/ 0 w 280"/>
                <a:gd name="T95" fmla="*/ 536 h 644"/>
                <a:gd name="T96" fmla="*/ 16 w 280"/>
                <a:gd name="T97" fmla="*/ 512 h 644"/>
                <a:gd name="T98" fmla="*/ 20 w 280"/>
                <a:gd name="T99" fmla="*/ 488 h 644"/>
                <a:gd name="T100" fmla="*/ 28 w 280"/>
                <a:gd name="T101" fmla="*/ 458 h 644"/>
                <a:gd name="T102" fmla="*/ 24 w 280"/>
                <a:gd name="T103" fmla="*/ 432 h 644"/>
                <a:gd name="T104" fmla="*/ 24 w 280"/>
                <a:gd name="T105" fmla="*/ 416 h 644"/>
                <a:gd name="T106" fmla="*/ 20 w 280"/>
                <a:gd name="T107" fmla="*/ 394 h 644"/>
                <a:gd name="T108" fmla="*/ 24 w 280"/>
                <a:gd name="T109" fmla="*/ 364 h 644"/>
                <a:gd name="T110" fmla="*/ 72 w 280"/>
                <a:gd name="T111" fmla="*/ 592 h 644"/>
                <a:gd name="T112" fmla="*/ 80 w 280"/>
                <a:gd name="T113" fmla="*/ 614 h 644"/>
                <a:gd name="T114" fmla="*/ 108 w 280"/>
                <a:gd name="T115" fmla="*/ 636 h 644"/>
                <a:gd name="T116" fmla="*/ 94 w 280"/>
                <a:gd name="T117" fmla="*/ 640 h 644"/>
                <a:gd name="T118" fmla="*/ 72 w 280"/>
                <a:gd name="T119" fmla="*/ 610 h 644"/>
                <a:gd name="T120" fmla="*/ 126 w 280"/>
                <a:gd name="T121" fmla="*/ 636 h 644"/>
                <a:gd name="T122" fmla="*/ 126 w 280"/>
                <a:gd name="T123" fmla="*/ 64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0" h="644">
                  <a:moveTo>
                    <a:pt x="24" y="358"/>
                  </a:moveTo>
                  <a:lnTo>
                    <a:pt x="24" y="354"/>
                  </a:lnTo>
                  <a:lnTo>
                    <a:pt x="24" y="350"/>
                  </a:lnTo>
                  <a:lnTo>
                    <a:pt x="24" y="346"/>
                  </a:lnTo>
                  <a:lnTo>
                    <a:pt x="28" y="346"/>
                  </a:lnTo>
                  <a:lnTo>
                    <a:pt x="28" y="342"/>
                  </a:lnTo>
                  <a:lnTo>
                    <a:pt x="24" y="342"/>
                  </a:lnTo>
                  <a:lnTo>
                    <a:pt x="28" y="338"/>
                  </a:lnTo>
                  <a:lnTo>
                    <a:pt x="28" y="334"/>
                  </a:lnTo>
                  <a:lnTo>
                    <a:pt x="28" y="330"/>
                  </a:lnTo>
                  <a:lnTo>
                    <a:pt x="28" y="328"/>
                  </a:lnTo>
                  <a:lnTo>
                    <a:pt x="28" y="330"/>
                  </a:lnTo>
                  <a:lnTo>
                    <a:pt x="30" y="330"/>
                  </a:lnTo>
                  <a:lnTo>
                    <a:pt x="30" y="328"/>
                  </a:lnTo>
                  <a:lnTo>
                    <a:pt x="30" y="324"/>
                  </a:lnTo>
                  <a:lnTo>
                    <a:pt x="30" y="320"/>
                  </a:lnTo>
                  <a:lnTo>
                    <a:pt x="30" y="316"/>
                  </a:lnTo>
                  <a:lnTo>
                    <a:pt x="34" y="316"/>
                  </a:lnTo>
                  <a:lnTo>
                    <a:pt x="34" y="312"/>
                  </a:lnTo>
                  <a:lnTo>
                    <a:pt x="38" y="312"/>
                  </a:lnTo>
                  <a:lnTo>
                    <a:pt x="38" y="308"/>
                  </a:lnTo>
                  <a:lnTo>
                    <a:pt x="38" y="304"/>
                  </a:lnTo>
                  <a:lnTo>
                    <a:pt x="38" y="302"/>
                  </a:lnTo>
                  <a:lnTo>
                    <a:pt x="34" y="298"/>
                  </a:lnTo>
                  <a:lnTo>
                    <a:pt x="34" y="294"/>
                  </a:lnTo>
                  <a:lnTo>
                    <a:pt x="34" y="290"/>
                  </a:lnTo>
                  <a:lnTo>
                    <a:pt x="34" y="286"/>
                  </a:lnTo>
                  <a:lnTo>
                    <a:pt x="34" y="282"/>
                  </a:lnTo>
                  <a:lnTo>
                    <a:pt x="34" y="278"/>
                  </a:lnTo>
                  <a:lnTo>
                    <a:pt x="34" y="274"/>
                  </a:lnTo>
                  <a:lnTo>
                    <a:pt x="34" y="272"/>
                  </a:lnTo>
                  <a:lnTo>
                    <a:pt x="38" y="268"/>
                  </a:lnTo>
                  <a:lnTo>
                    <a:pt x="38" y="272"/>
                  </a:lnTo>
                  <a:lnTo>
                    <a:pt x="42" y="268"/>
                  </a:lnTo>
                  <a:lnTo>
                    <a:pt x="42" y="264"/>
                  </a:lnTo>
                  <a:lnTo>
                    <a:pt x="46" y="264"/>
                  </a:lnTo>
                  <a:lnTo>
                    <a:pt x="46" y="260"/>
                  </a:lnTo>
                  <a:lnTo>
                    <a:pt x="46" y="256"/>
                  </a:lnTo>
                  <a:lnTo>
                    <a:pt x="46" y="252"/>
                  </a:lnTo>
                  <a:lnTo>
                    <a:pt x="46" y="248"/>
                  </a:lnTo>
                  <a:lnTo>
                    <a:pt x="42" y="248"/>
                  </a:lnTo>
                  <a:lnTo>
                    <a:pt x="42" y="246"/>
                  </a:lnTo>
                  <a:lnTo>
                    <a:pt x="46" y="246"/>
                  </a:lnTo>
                  <a:lnTo>
                    <a:pt x="46" y="242"/>
                  </a:lnTo>
                  <a:lnTo>
                    <a:pt x="46" y="238"/>
                  </a:lnTo>
                  <a:lnTo>
                    <a:pt x="46" y="234"/>
                  </a:lnTo>
                  <a:lnTo>
                    <a:pt x="50" y="234"/>
                  </a:lnTo>
                  <a:lnTo>
                    <a:pt x="50" y="230"/>
                  </a:lnTo>
                  <a:lnTo>
                    <a:pt x="50" y="226"/>
                  </a:lnTo>
                  <a:lnTo>
                    <a:pt x="54" y="226"/>
                  </a:lnTo>
                  <a:lnTo>
                    <a:pt x="54" y="222"/>
                  </a:lnTo>
                  <a:lnTo>
                    <a:pt x="54" y="218"/>
                  </a:lnTo>
                  <a:lnTo>
                    <a:pt x="54" y="216"/>
                  </a:lnTo>
                  <a:lnTo>
                    <a:pt x="54" y="212"/>
                  </a:lnTo>
                  <a:lnTo>
                    <a:pt x="54" y="208"/>
                  </a:lnTo>
                  <a:lnTo>
                    <a:pt x="50" y="208"/>
                  </a:lnTo>
                  <a:lnTo>
                    <a:pt x="50" y="204"/>
                  </a:lnTo>
                  <a:lnTo>
                    <a:pt x="50" y="200"/>
                  </a:lnTo>
                  <a:lnTo>
                    <a:pt x="50" y="196"/>
                  </a:lnTo>
                  <a:lnTo>
                    <a:pt x="50" y="192"/>
                  </a:lnTo>
                  <a:lnTo>
                    <a:pt x="46" y="192"/>
                  </a:lnTo>
                  <a:lnTo>
                    <a:pt x="46" y="190"/>
                  </a:lnTo>
                  <a:lnTo>
                    <a:pt x="46" y="186"/>
                  </a:lnTo>
                  <a:lnTo>
                    <a:pt x="46" y="182"/>
                  </a:lnTo>
                  <a:lnTo>
                    <a:pt x="42" y="178"/>
                  </a:lnTo>
                  <a:lnTo>
                    <a:pt x="42" y="174"/>
                  </a:lnTo>
                  <a:lnTo>
                    <a:pt x="42" y="170"/>
                  </a:lnTo>
                  <a:lnTo>
                    <a:pt x="46" y="170"/>
                  </a:lnTo>
                  <a:lnTo>
                    <a:pt x="46" y="166"/>
                  </a:lnTo>
                  <a:lnTo>
                    <a:pt x="46" y="162"/>
                  </a:lnTo>
                  <a:lnTo>
                    <a:pt x="46" y="160"/>
                  </a:lnTo>
                  <a:lnTo>
                    <a:pt x="50" y="160"/>
                  </a:lnTo>
                  <a:lnTo>
                    <a:pt x="50" y="156"/>
                  </a:lnTo>
                  <a:lnTo>
                    <a:pt x="54" y="156"/>
                  </a:lnTo>
                  <a:lnTo>
                    <a:pt x="54" y="152"/>
                  </a:lnTo>
                  <a:lnTo>
                    <a:pt x="54" y="148"/>
                  </a:lnTo>
                  <a:lnTo>
                    <a:pt x="54" y="144"/>
                  </a:lnTo>
                  <a:lnTo>
                    <a:pt x="50" y="140"/>
                  </a:lnTo>
                  <a:lnTo>
                    <a:pt x="54" y="140"/>
                  </a:lnTo>
                  <a:lnTo>
                    <a:pt x="50" y="140"/>
                  </a:lnTo>
                  <a:lnTo>
                    <a:pt x="50" y="136"/>
                  </a:lnTo>
                  <a:lnTo>
                    <a:pt x="54" y="134"/>
                  </a:lnTo>
                  <a:lnTo>
                    <a:pt x="54" y="130"/>
                  </a:lnTo>
                  <a:lnTo>
                    <a:pt x="54" y="126"/>
                  </a:lnTo>
                  <a:lnTo>
                    <a:pt x="54" y="122"/>
                  </a:lnTo>
                  <a:lnTo>
                    <a:pt x="56" y="122"/>
                  </a:lnTo>
                  <a:lnTo>
                    <a:pt x="56" y="118"/>
                  </a:lnTo>
                  <a:lnTo>
                    <a:pt x="60" y="114"/>
                  </a:lnTo>
                  <a:lnTo>
                    <a:pt x="60" y="110"/>
                  </a:lnTo>
                  <a:lnTo>
                    <a:pt x="64" y="110"/>
                  </a:lnTo>
                  <a:lnTo>
                    <a:pt x="64" y="106"/>
                  </a:lnTo>
                  <a:lnTo>
                    <a:pt x="64" y="104"/>
                  </a:lnTo>
                  <a:lnTo>
                    <a:pt x="68" y="100"/>
                  </a:lnTo>
                  <a:lnTo>
                    <a:pt x="68" y="96"/>
                  </a:lnTo>
                  <a:lnTo>
                    <a:pt x="72" y="96"/>
                  </a:lnTo>
                  <a:lnTo>
                    <a:pt x="76" y="96"/>
                  </a:lnTo>
                  <a:lnTo>
                    <a:pt x="76" y="92"/>
                  </a:lnTo>
                  <a:lnTo>
                    <a:pt x="72" y="88"/>
                  </a:lnTo>
                  <a:lnTo>
                    <a:pt x="72" y="84"/>
                  </a:lnTo>
                  <a:lnTo>
                    <a:pt x="72" y="82"/>
                  </a:lnTo>
                  <a:lnTo>
                    <a:pt x="72" y="78"/>
                  </a:lnTo>
                  <a:lnTo>
                    <a:pt x="72" y="74"/>
                  </a:lnTo>
                  <a:lnTo>
                    <a:pt x="72" y="70"/>
                  </a:lnTo>
                  <a:lnTo>
                    <a:pt x="72" y="66"/>
                  </a:lnTo>
                  <a:lnTo>
                    <a:pt x="72" y="64"/>
                  </a:lnTo>
                  <a:lnTo>
                    <a:pt x="76" y="60"/>
                  </a:lnTo>
                  <a:lnTo>
                    <a:pt x="72" y="56"/>
                  </a:lnTo>
                  <a:lnTo>
                    <a:pt x="72" y="52"/>
                  </a:lnTo>
                  <a:lnTo>
                    <a:pt x="72" y="48"/>
                  </a:lnTo>
                  <a:lnTo>
                    <a:pt x="76" y="48"/>
                  </a:lnTo>
                  <a:lnTo>
                    <a:pt x="80" y="44"/>
                  </a:lnTo>
                  <a:lnTo>
                    <a:pt x="82" y="44"/>
                  </a:lnTo>
                  <a:lnTo>
                    <a:pt x="86" y="44"/>
                  </a:lnTo>
                  <a:lnTo>
                    <a:pt x="86" y="40"/>
                  </a:lnTo>
                  <a:lnTo>
                    <a:pt x="90" y="36"/>
                  </a:lnTo>
                  <a:lnTo>
                    <a:pt x="90" y="34"/>
                  </a:lnTo>
                  <a:lnTo>
                    <a:pt x="90" y="30"/>
                  </a:lnTo>
                  <a:lnTo>
                    <a:pt x="90" y="26"/>
                  </a:lnTo>
                  <a:lnTo>
                    <a:pt x="94" y="26"/>
                  </a:lnTo>
                  <a:lnTo>
                    <a:pt x="94" y="22"/>
                  </a:lnTo>
                  <a:lnTo>
                    <a:pt x="90" y="22"/>
                  </a:lnTo>
                  <a:lnTo>
                    <a:pt x="90" y="18"/>
                  </a:lnTo>
                  <a:lnTo>
                    <a:pt x="94" y="18"/>
                  </a:lnTo>
                  <a:lnTo>
                    <a:pt x="94" y="14"/>
                  </a:lnTo>
                  <a:lnTo>
                    <a:pt x="98" y="14"/>
                  </a:lnTo>
                  <a:lnTo>
                    <a:pt x="98" y="10"/>
                  </a:lnTo>
                  <a:lnTo>
                    <a:pt x="98" y="6"/>
                  </a:lnTo>
                  <a:lnTo>
                    <a:pt x="102" y="6"/>
                  </a:lnTo>
                  <a:lnTo>
                    <a:pt x="102" y="4"/>
                  </a:lnTo>
                  <a:lnTo>
                    <a:pt x="106" y="4"/>
                  </a:lnTo>
                  <a:lnTo>
                    <a:pt x="106" y="0"/>
                  </a:lnTo>
                  <a:lnTo>
                    <a:pt x="106" y="4"/>
                  </a:lnTo>
                  <a:lnTo>
                    <a:pt x="108" y="4"/>
                  </a:lnTo>
                  <a:lnTo>
                    <a:pt x="108" y="6"/>
                  </a:lnTo>
                  <a:lnTo>
                    <a:pt x="112" y="6"/>
                  </a:lnTo>
                  <a:lnTo>
                    <a:pt x="120" y="6"/>
                  </a:lnTo>
                  <a:lnTo>
                    <a:pt x="122" y="6"/>
                  </a:lnTo>
                  <a:lnTo>
                    <a:pt x="126" y="6"/>
                  </a:lnTo>
                  <a:lnTo>
                    <a:pt x="126" y="10"/>
                  </a:lnTo>
                  <a:lnTo>
                    <a:pt x="126" y="14"/>
                  </a:lnTo>
                  <a:lnTo>
                    <a:pt x="126" y="18"/>
                  </a:lnTo>
                  <a:lnTo>
                    <a:pt x="130" y="18"/>
                  </a:lnTo>
                  <a:lnTo>
                    <a:pt x="130" y="22"/>
                  </a:lnTo>
                  <a:lnTo>
                    <a:pt x="130" y="18"/>
                  </a:lnTo>
                  <a:lnTo>
                    <a:pt x="130" y="14"/>
                  </a:lnTo>
                  <a:lnTo>
                    <a:pt x="134" y="10"/>
                  </a:lnTo>
                  <a:lnTo>
                    <a:pt x="134" y="6"/>
                  </a:lnTo>
                  <a:lnTo>
                    <a:pt x="138" y="6"/>
                  </a:lnTo>
                  <a:lnTo>
                    <a:pt x="142" y="6"/>
                  </a:lnTo>
                  <a:lnTo>
                    <a:pt x="146" y="6"/>
                  </a:lnTo>
                  <a:lnTo>
                    <a:pt x="150" y="6"/>
                  </a:lnTo>
                  <a:lnTo>
                    <a:pt x="152" y="6"/>
                  </a:lnTo>
                  <a:lnTo>
                    <a:pt x="152" y="10"/>
                  </a:lnTo>
                  <a:lnTo>
                    <a:pt x="156" y="10"/>
                  </a:lnTo>
                  <a:lnTo>
                    <a:pt x="156" y="14"/>
                  </a:lnTo>
                  <a:lnTo>
                    <a:pt x="160" y="14"/>
                  </a:lnTo>
                  <a:lnTo>
                    <a:pt x="160" y="18"/>
                  </a:lnTo>
                  <a:lnTo>
                    <a:pt x="164" y="22"/>
                  </a:lnTo>
                  <a:lnTo>
                    <a:pt x="164" y="26"/>
                  </a:lnTo>
                  <a:lnTo>
                    <a:pt x="168" y="26"/>
                  </a:lnTo>
                  <a:lnTo>
                    <a:pt x="168" y="30"/>
                  </a:lnTo>
                  <a:lnTo>
                    <a:pt x="172" y="30"/>
                  </a:lnTo>
                  <a:lnTo>
                    <a:pt x="172" y="34"/>
                  </a:lnTo>
                  <a:lnTo>
                    <a:pt x="176" y="34"/>
                  </a:lnTo>
                  <a:lnTo>
                    <a:pt x="176" y="36"/>
                  </a:lnTo>
                  <a:lnTo>
                    <a:pt x="178" y="36"/>
                  </a:lnTo>
                  <a:lnTo>
                    <a:pt x="182" y="36"/>
                  </a:lnTo>
                  <a:lnTo>
                    <a:pt x="182" y="40"/>
                  </a:lnTo>
                  <a:lnTo>
                    <a:pt x="186" y="40"/>
                  </a:lnTo>
                  <a:lnTo>
                    <a:pt x="190" y="40"/>
                  </a:lnTo>
                  <a:lnTo>
                    <a:pt x="198" y="44"/>
                  </a:lnTo>
                  <a:lnTo>
                    <a:pt x="198" y="48"/>
                  </a:lnTo>
                  <a:lnTo>
                    <a:pt x="202" y="48"/>
                  </a:lnTo>
                  <a:lnTo>
                    <a:pt x="202" y="52"/>
                  </a:lnTo>
                  <a:lnTo>
                    <a:pt x="204" y="52"/>
                  </a:lnTo>
                  <a:lnTo>
                    <a:pt x="208" y="56"/>
                  </a:lnTo>
                  <a:lnTo>
                    <a:pt x="212" y="56"/>
                  </a:lnTo>
                  <a:lnTo>
                    <a:pt x="216" y="60"/>
                  </a:lnTo>
                  <a:lnTo>
                    <a:pt x="220" y="60"/>
                  </a:lnTo>
                  <a:lnTo>
                    <a:pt x="224" y="64"/>
                  </a:lnTo>
                  <a:lnTo>
                    <a:pt x="224" y="66"/>
                  </a:lnTo>
                  <a:lnTo>
                    <a:pt x="228" y="66"/>
                  </a:lnTo>
                  <a:lnTo>
                    <a:pt x="228" y="70"/>
                  </a:lnTo>
                  <a:lnTo>
                    <a:pt x="224" y="70"/>
                  </a:lnTo>
                  <a:lnTo>
                    <a:pt x="224" y="74"/>
                  </a:lnTo>
                  <a:lnTo>
                    <a:pt x="220" y="74"/>
                  </a:lnTo>
                  <a:lnTo>
                    <a:pt x="220" y="78"/>
                  </a:lnTo>
                  <a:lnTo>
                    <a:pt x="216" y="82"/>
                  </a:lnTo>
                  <a:lnTo>
                    <a:pt x="216" y="84"/>
                  </a:lnTo>
                  <a:lnTo>
                    <a:pt x="216" y="88"/>
                  </a:lnTo>
                  <a:lnTo>
                    <a:pt x="216" y="92"/>
                  </a:lnTo>
                  <a:lnTo>
                    <a:pt x="212" y="92"/>
                  </a:lnTo>
                  <a:lnTo>
                    <a:pt x="212" y="96"/>
                  </a:lnTo>
                  <a:lnTo>
                    <a:pt x="208" y="96"/>
                  </a:lnTo>
                  <a:lnTo>
                    <a:pt x="212" y="100"/>
                  </a:lnTo>
                  <a:lnTo>
                    <a:pt x="216" y="100"/>
                  </a:lnTo>
                  <a:lnTo>
                    <a:pt x="220" y="100"/>
                  </a:lnTo>
                  <a:lnTo>
                    <a:pt x="224" y="100"/>
                  </a:lnTo>
                  <a:lnTo>
                    <a:pt x="228" y="104"/>
                  </a:lnTo>
                  <a:lnTo>
                    <a:pt x="230" y="104"/>
                  </a:lnTo>
                  <a:lnTo>
                    <a:pt x="234" y="104"/>
                  </a:lnTo>
                  <a:lnTo>
                    <a:pt x="238" y="104"/>
                  </a:lnTo>
                  <a:lnTo>
                    <a:pt x="242" y="104"/>
                  </a:lnTo>
                  <a:lnTo>
                    <a:pt x="242" y="100"/>
                  </a:lnTo>
                  <a:lnTo>
                    <a:pt x="246" y="100"/>
                  </a:lnTo>
                  <a:lnTo>
                    <a:pt x="250" y="100"/>
                  </a:lnTo>
                  <a:lnTo>
                    <a:pt x="250" y="104"/>
                  </a:lnTo>
                  <a:lnTo>
                    <a:pt x="254" y="104"/>
                  </a:lnTo>
                  <a:lnTo>
                    <a:pt x="254" y="100"/>
                  </a:lnTo>
                  <a:lnTo>
                    <a:pt x="254" y="96"/>
                  </a:lnTo>
                  <a:lnTo>
                    <a:pt x="258" y="92"/>
                  </a:lnTo>
                  <a:lnTo>
                    <a:pt x="260" y="92"/>
                  </a:lnTo>
                  <a:lnTo>
                    <a:pt x="260" y="88"/>
                  </a:lnTo>
                  <a:lnTo>
                    <a:pt x="264" y="88"/>
                  </a:lnTo>
                  <a:lnTo>
                    <a:pt x="264" y="84"/>
                  </a:lnTo>
                  <a:lnTo>
                    <a:pt x="268" y="82"/>
                  </a:lnTo>
                  <a:lnTo>
                    <a:pt x="268" y="78"/>
                  </a:lnTo>
                  <a:lnTo>
                    <a:pt x="268" y="74"/>
                  </a:lnTo>
                  <a:lnTo>
                    <a:pt x="268" y="70"/>
                  </a:lnTo>
                  <a:lnTo>
                    <a:pt x="272" y="70"/>
                  </a:lnTo>
                  <a:lnTo>
                    <a:pt x="272" y="66"/>
                  </a:lnTo>
                  <a:lnTo>
                    <a:pt x="276" y="66"/>
                  </a:lnTo>
                  <a:lnTo>
                    <a:pt x="280" y="70"/>
                  </a:lnTo>
                  <a:lnTo>
                    <a:pt x="280" y="74"/>
                  </a:lnTo>
                  <a:lnTo>
                    <a:pt x="280" y="78"/>
                  </a:lnTo>
                  <a:lnTo>
                    <a:pt x="280" y="82"/>
                  </a:lnTo>
                  <a:lnTo>
                    <a:pt x="280" y="84"/>
                  </a:lnTo>
                  <a:lnTo>
                    <a:pt x="280" y="88"/>
                  </a:lnTo>
                  <a:lnTo>
                    <a:pt x="280" y="92"/>
                  </a:lnTo>
                  <a:lnTo>
                    <a:pt x="280" y="96"/>
                  </a:lnTo>
                  <a:lnTo>
                    <a:pt x="276" y="96"/>
                  </a:lnTo>
                  <a:lnTo>
                    <a:pt x="276" y="100"/>
                  </a:lnTo>
                  <a:lnTo>
                    <a:pt x="272" y="100"/>
                  </a:lnTo>
                  <a:lnTo>
                    <a:pt x="272" y="104"/>
                  </a:lnTo>
                  <a:lnTo>
                    <a:pt x="268" y="104"/>
                  </a:lnTo>
                  <a:lnTo>
                    <a:pt x="264" y="104"/>
                  </a:lnTo>
                  <a:lnTo>
                    <a:pt x="264" y="106"/>
                  </a:lnTo>
                  <a:lnTo>
                    <a:pt x="260" y="110"/>
                  </a:lnTo>
                  <a:lnTo>
                    <a:pt x="258" y="110"/>
                  </a:lnTo>
                  <a:lnTo>
                    <a:pt x="258" y="114"/>
                  </a:lnTo>
                  <a:lnTo>
                    <a:pt x="254" y="114"/>
                  </a:lnTo>
                  <a:lnTo>
                    <a:pt x="250" y="114"/>
                  </a:lnTo>
                  <a:lnTo>
                    <a:pt x="250" y="118"/>
                  </a:lnTo>
                  <a:lnTo>
                    <a:pt x="254" y="118"/>
                  </a:lnTo>
                  <a:lnTo>
                    <a:pt x="250" y="118"/>
                  </a:lnTo>
                  <a:lnTo>
                    <a:pt x="250" y="122"/>
                  </a:lnTo>
                  <a:lnTo>
                    <a:pt x="246" y="122"/>
                  </a:lnTo>
                  <a:lnTo>
                    <a:pt x="246" y="126"/>
                  </a:lnTo>
                  <a:lnTo>
                    <a:pt x="242" y="126"/>
                  </a:lnTo>
                  <a:lnTo>
                    <a:pt x="242" y="130"/>
                  </a:lnTo>
                  <a:lnTo>
                    <a:pt x="242" y="134"/>
                  </a:lnTo>
                  <a:lnTo>
                    <a:pt x="238" y="134"/>
                  </a:lnTo>
                  <a:lnTo>
                    <a:pt x="238" y="136"/>
                  </a:lnTo>
                  <a:lnTo>
                    <a:pt x="234" y="140"/>
                  </a:lnTo>
                  <a:lnTo>
                    <a:pt x="234" y="144"/>
                  </a:lnTo>
                  <a:lnTo>
                    <a:pt x="230" y="144"/>
                  </a:lnTo>
                  <a:lnTo>
                    <a:pt x="228" y="148"/>
                  </a:lnTo>
                  <a:lnTo>
                    <a:pt x="228" y="152"/>
                  </a:lnTo>
                  <a:lnTo>
                    <a:pt x="224" y="152"/>
                  </a:lnTo>
                  <a:lnTo>
                    <a:pt x="224" y="156"/>
                  </a:lnTo>
                  <a:lnTo>
                    <a:pt x="220" y="160"/>
                  </a:lnTo>
                  <a:lnTo>
                    <a:pt x="224" y="162"/>
                  </a:lnTo>
                  <a:lnTo>
                    <a:pt x="220" y="166"/>
                  </a:lnTo>
                  <a:lnTo>
                    <a:pt x="220" y="170"/>
                  </a:lnTo>
                  <a:lnTo>
                    <a:pt x="220" y="174"/>
                  </a:lnTo>
                  <a:lnTo>
                    <a:pt x="220" y="178"/>
                  </a:lnTo>
                  <a:lnTo>
                    <a:pt x="220" y="182"/>
                  </a:lnTo>
                  <a:lnTo>
                    <a:pt x="216" y="182"/>
                  </a:lnTo>
                  <a:lnTo>
                    <a:pt x="216" y="186"/>
                  </a:lnTo>
                  <a:lnTo>
                    <a:pt x="216" y="190"/>
                  </a:lnTo>
                  <a:lnTo>
                    <a:pt x="220" y="190"/>
                  </a:lnTo>
                  <a:lnTo>
                    <a:pt x="220" y="192"/>
                  </a:lnTo>
                  <a:lnTo>
                    <a:pt x="216" y="192"/>
                  </a:lnTo>
                  <a:lnTo>
                    <a:pt x="216" y="196"/>
                  </a:lnTo>
                  <a:lnTo>
                    <a:pt x="216" y="200"/>
                  </a:lnTo>
                  <a:lnTo>
                    <a:pt x="216" y="204"/>
                  </a:lnTo>
                  <a:lnTo>
                    <a:pt x="212" y="204"/>
                  </a:lnTo>
                  <a:lnTo>
                    <a:pt x="212" y="208"/>
                  </a:lnTo>
                  <a:lnTo>
                    <a:pt x="212" y="212"/>
                  </a:lnTo>
                  <a:lnTo>
                    <a:pt x="212" y="216"/>
                  </a:lnTo>
                  <a:lnTo>
                    <a:pt x="212" y="218"/>
                  </a:lnTo>
                  <a:lnTo>
                    <a:pt x="212" y="222"/>
                  </a:lnTo>
                  <a:lnTo>
                    <a:pt x="212" y="226"/>
                  </a:lnTo>
                  <a:lnTo>
                    <a:pt x="212" y="230"/>
                  </a:lnTo>
                  <a:lnTo>
                    <a:pt x="212" y="234"/>
                  </a:lnTo>
                  <a:lnTo>
                    <a:pt x="216" y="234"/>
                  </a:lnTo>
                  <a:lnTo>
                    <a:pt x="216" y="238"/>
                  </a:lnTo>
                  <a:lnTo>
                    <a:pt x="220" y="238"/>
                  </a:lnTo>
                  <a:lnTo>
                    <a:pt x="224" y="238"/>
                  </a:lnTo>
                  <a:lnTo>
                    <a:pt x="228" y="242"/>
                  </a:lnTo>
                  <a:lnTo>
                    <a:pt x="228" y="246"/>
                  </a:lnTo>
                  <a:lnTo>
                    <a:pt x="230" y="246"/>
                  </a:lnTo>
                  <a:lnTo>
                    <a:pt x="230" y="248"/>
                  </a:lnTo>
                  <a:lnTo>
                    <a:pt x="230" y="252"/>
                  </a:lnTo>
                  <a:lnTo>
                    <a:pt x="228" y="256"/>
                  </a:lnTo>
                  <a:lnTo>
                    <a:pt x="228" y="260"/>
                  </a:lnTo>
                  <a:lnTo>
                    <a:pt x="230" y="264"/>
                  </a:lnTo>
                  <a:lnTo>
                    <a:pt x="230" y="268"/>
                  </a:lnTo>
                  <a:lnTo>
                    <a:pt x="234" y="268"/>
                  </a:lnTo>
                  <a:lnTo>
                    <a:pt x="238" y="268"/>
                  </a:lnTo>
                  <a:lnTo>
                    <a:pt x="238" y="272"/>
                  </a:lnTo>
                  <a:lnTo>
                    <a:pt x="238" y="274"/>
                  </a:lnTo>
                  <a:lnTo>
                    <a:pt x="238" y="278"/>
                  </a:lnTo>
                  <a:lnTo>
                    <a:pt x="234" y="282"/>
                  </a:lnTo>
                  <a:lnTo>
                    <a:pt x="234" y="286"/>
                  </a:lnTo>
                  <a:lnTo>
                    <a:pt x="230" y="286"/>
                  </a:lnTo>
                  <a:lnTo>
                    <a:pt x="230" y="290"/>
                  </a:lnTo>
                  <a:lnTo>
                    <a:pt x="228" y="294"/>
                  </a:lnTo>
                  <a:lnTo>
                    <a:pt x="228" y="298"/>
                  </a:lnTo>
                  <a:lnTo>
                    <a:pt x="228" y="302"/>
                  </a:lnTo>
                  <a:lnTo>
                    <a:pt x="224" y="302"/>
                  </a:lnTo>
                  <a:lnTo>
                    <a:pt x="224" y="304"/>
                  </a:lnTo>
                  <a:lnTo>
                    <a:pt x="216" y="304"/>
                  </a:lnTo>
                  <a:lnTo>
                    <a:pt x="216" y="308"/>
                  </a:lnTo>
                  <a:lnTo>
                    <a:pt x="208" y="308"/>
                  </a:lnTo>
                  <a:lnTo>
                    <a:pt x="204" y="312"/>
                  </a:lnTo>
                  <a:lnTo>
                    <a:pt x="202" y="312"/>
                  </a:lnTo>
                  <a:lnTo>
                    <a:pt x="198" y="312"/>
                  </a:lnTo>
                  <a:lnTo>
                    <a:pt x="194" y="316"/>
                  </a:lnTo>
                  <a:lnTo>
                    <a:pt x="190" y="316"/>
                  </a:lnTo>
                  <a:lnTo>
                    <a:pt x="186" y="316"/>
                  </a:lnTo>
                  <a:lnTo>
                    <a:pt x="182" y="316"/>
                  </a:lnTo>
                  <a:lnTo>
                    <a:pt x="178" y="316"/>
                  </a:lnTo>
                  <a:lnTo>
                    <a:pt x="176" y="316"/>
                  </a:lnTo>
                  <a:lnTo>
                    <a:pt x="172" y="316"/>
                  </a:lnTo>
                  <a:lnTo>
                    <a:pt x="168" y="316"/>
                  </a:lnTo>
                  <a:lnTo>
                    <a:pt x="164" y="316"/>
                  </a:lnTo>
                  <a:lnTo>
                    <a:pt x="160" y="316"/>
                  </a:lnTo>
                  <a:lnTo>
                    <a:pt x="160" y="312"/>
                  </a:lnTo>
                  <a:lnTo>
                    <a:pt x="156" y="312"/>
                  </a:lnTo>
                  <a:lnTo>
                    <a:pt x="156" y="316"/>
                  </a:lnTo>
                  <a:lnTo>
                    <a:pt x="160" y="316"/>
                  </a:lnTo>
                  <a:lnTo>
                    <a:pt x="160" y="320"/>
                  </a:lnTo>
                  <a:lnTo>
                    <a:pt x="156" y="320"/>
                  </a:lnTo>
                  <a:lnTo>
                    <a:pt x="156" y="324"/>
                  </a:lnTo>
                  <a:lnTo>
                    <a:pt x="160" y="324"/>
                  </a:lnTo>
                  <a:lnTo>
                    <a:pt x="164" y="324"/>
                  </a:lnTo>
                  <a:lnTo>
                    <a:pt x="164" y="328"/>
                  </a:lnTo>
                  <a:lnTo>
                    <a:pt x="160" y="324"/>
                  </a:lnTo>
                  <a:lnTo>
                    <a:pt x="160" y="328"/>
                  </a:lnTo>
                  <a:lnTo>
                    <a:pt x="160" y="330"/>
                  </a:lnTo>
                  <a:lnTo>
                    <a:pt x="160" y="334"/>
                  </a:lnTo>
                  <a:lnTo>
                    <a:pt x="156" y="338"/>
                  </a:lnTo>
                  <a:lnTo>
                    <a:pt x="156" y="342"/>
                  </a:lnTo>
                  <a:lnTo>
                    <a:pt x="156" y="346"/>
                  </a:lnTo>
                  <a:lnTo>
                    <a:pt x="160" y="346"/>
                  </a:lnTo>
                  <a:lnTo>
                    <a:pt x="160" y="350"/>
                  </a:lnTo>
                  <a:lnTo>
                    <a:pt x="156" y="350"/>
                  </a:lnTo>
                  <a:lnTo>
                    <a:pt x="160" y="350"/>
                  </a:lnTo>
                  <a:lnTo>
                    <a:pt x="160" y="354"/>
                  </a:lnTo>
                  <a:lnTo>
                    <a:pt x="156" y="354"/>
                  </a:lnTo>
                  <a:lnTo>
                    <a:pt x="152" y="358"/>
                  </a:lnTo>
                  <a:lnTo>
                    <a:pt x="150" y="358"/>
                  </a:lnTo>
                  <a:lnTo>
                    <a:pt x="150" y="360"/>
                  </a:lnTo>
                  <a:lnTo>
                    <a:pt x="146" y="360"/>
                  </a:lnTo>
                  <a:lnTo>
                    <a:pt x="142" y="360"/>
                  </a:lnTo>
                  <a:lnTo>
                    <a:pt x="138" y="360"/>
                  </a:lnTo>
                  <a:lnTo>
                    <a:pt x="138" y="358"/>
                  </a:lnTo>
                  <a:lnTo>
                    <a:pt x="134" y="358"/>
                  </a:lnTo>
                  <a:lnTo>
                    <a:pt x="130" y="358"/>
                  </a:lnTo>
                  <a:lnTo>
                    <a:pt x="126" y="354"/>
                  </a:lnTo>
                  <a:lnTo>
                    <a:pt x="122" y="354"/>
                  </a:lnTo>
                  <a:lnTo>
                    <a:pt x="122" y="350"/>
                  </a:lnTo>
                  <a:lnTo>
                    <a:pt x="120" y="350"/>
                  </a:lnTo>
                  <a:lnTo>
                    <a:pt x="120" y="354"/>
                  </a:lnTo>
                  <a:lnTo>
                    <a:pt x="120" y="358"/>
                  </a:lnTo>
                  <a:lnTo>
                    <a:pt x="120" y="360"/>
                  </a:lnTo>
                  <a:lnTo>
                    <a:pt x="120" y="364"/>
                  </a:lnTo>
                  <a:lnTo>
                    <a:pt x="120" y="368"/>
                  </a:lnTo>
                  <a:lnTo>
                    <a:pt x="120" y="372"/>
                  </a:lnTo>
                  <a:lnTo>
                    <a:pt x="120" y="376"/>
                  </a:lnTo>
                  <a:lnTo>
                    <a:pt x="120" y="380"/>
                  </a:lnTo>
                  <a:lnTo>
                    <a:pt x="122" y="380"/>
                  </a:lnTo>
                  <a:lnTo>
                    <a:pt x="126" y="380"/>
                  </a:lnTo>
                  <a:lnTo>
                    <a:pt x="126" y="384"/>
                  </a:lnTo>
                  <a:lnTo>
                    <a:pt x="134" y="384"/>
                  </a:lnTo>
                  <a:lnTo>
                    <a:pt x="134" y="380"/>
                  </a:lnTo>
                  <a:lnTo>
                    <a:pt x="130" y="380"/>
                  </a:lnTo>
                  <a:lnTo>
                    <a:pt x="134" y="380"/>
                  </a:lnTo>
                  <a:lnTo>
                    <a:pt x="138" y="380"/>
                  </a:lnTo>
                  <a:lnTo>
                    <a:pt x="138" y="376"/>
                  </a:lnTo>
                  <a:lnTo>
                    <a:pt x="138" y="380"/>
                  </a:lnTo>
                  <a:lnTo>
                    <a:pt x="142" y="380"/>
                  </a:lnTo>
                  <a:lnTo>
                    <a:pt x="142" y="384"/>
                  </a:lnTo>
                  <a:lnTo>
                    <a:pt x="142" y="386"/>
                  </a:lnTo>
                  <a:lnTo>
                    <a:pt x="142" y="390"/>
                  </a:lnTo>
                  <a:lnTo>
                    <a:pt x="138" y="390"/>
                  </a:lnTo>
                  <a:lnTo>
                    <a:pt x="134" y="394"/>
                  </a:lnTo>
                  <a:lnTo>
                    <a:pt x="130" y="390"/>
                  </a:lnTo>
                  <a:lnTo>
                    <a:pt x="130" y="386"/>
                  </a:lnTo>
                  <a:lnTo>
                    <a:pt x="126" y="386"/>
                  </a:lnTo>
                  <a:lnTo>
                    <a:pt x="122" y="386"/>
                  </a:lnTo>
                  <a:lnTo>
                    <a:pt x="120" y="390"/>
                  </a:lnTo>
                  <a:lnTo>
                    <a:pt x="122" y="390"/>
                  </a:lnTo>
                  <a:lnTo>
                    <a:pt x="122" y="394"/>
                  </a:lnTo>
                  <a:lnTo>
                    <a:pt x="126" y="394"/>
                  </a:lnTo>
                  <a:lnTo>
                    <a:pt x="130" y="394"/>
                  </a:lnTo>
                  <a:lnTo>
                    <a:pt x="130" y="398"/>
                  </a:lnTo>
                  <a:lnTo>
                    <a:pt x="126" y="398"/>
                  </a:lnTo>
                  <a:lnTo>
                    <a:pt x="122" y="398"/>
                  </a:lnTo>
                  <a:lnTo>
                    <a:pt x="122" y="402"/>
                  </a:lnTo>
                  <a:lnTo>
                    <a:pt x="120" y="402"/>
                  </a:lnTo>
                  <a:lnTo>
                    <a:pt x="120" y="406"/>
                  </a:lnTo>
                  <a:lnTo>
                    <a:pt x="116" y="406"/>
                  </a:lnTo>
                  <a:lnTo>
                    <a:pt x="116" y="410"/>
                  </a:lnTo>
                  <a:lnTo>
                    <a:pt x="116" y="414"/>
                  </a:lnTo>
                  <a:lnTo>
                    <a:pt x="120" y="414"/>
                  </a:lnTo>
                  <a:lnTo>
                    <a:pt x="116" y="416"/>
                  </a:lnTo>
                  <a:lnTo>
                    <a:pt x="116" y="420"/>
                  </a:lnTo>
                  <a:lnTo>
                    <a:pt x="116" y="424"/>
                  </a:lnTo>
                  <a:lnTo>
                    <a:pt x="112" y="428"/>
                  </a:lnTo>
                  <a:lnTo>
                    <a:pt x="112" y="432"/>
                  </a:lnTo>
                  <a:lnTo>
                    <a:pt x="112" y="436"/>
                  </a:lnTo>
                  <a:lnTo>
                    <a:pt x="108" y="436"/>
                  </a:lnTo>
                  <a:lnTo>
                    <a:pt x="106" y="436"/>
                  </a:lnTo>
                  <a:lnTo>
                    <a:pt x="102" y="436"/>
                  </a:lnTo>
                  <a:lnTo>
                    <a:pt x="102" y="440"/>
                  </a:lnTo>
                  <a:lnTo>
                    <a:pt x="98" y="440"/>
                  </a:lnTo>
                  <a:lnTo>
                    <a:pt x="94" y="440"/>
                  </a:lnTo>
                  <a:lnTo>
                    <a:pt x="94" y="442"/>
                  </a:lnTo>
                  <a:lnTo>
                    <a:pt x="90" y="442"/>
                  </a:lnTo>
                  <a:lnTo>
                    <a:pt x="90" y="446"/>
                  </a:lnTo>
                  <a:lnTo>
                    <a:pt x="86" y="446"/>
                  </a:lnTo>
                  <a:lnTo>
                    <a:pt x="86" y="450"/>
                  </a:lnTo>
                  <a:lnTo>
                    <a:pt x="86" y="454"/>
                  </a:lnTo>
                  <a:lnTo>
                    <a:pt x="82" y="458"/>
                  </a:lnTo>
                  <a:lnTo>
                    <a:pt x="86" y="462"/>
                  </a:lnTo>
                  <a:lnTo>
                    <a:pt x="86" y="466"/>
                  </a:lnTo>
                  <a:lnTo>
                    <a:pt x="86" y="470"/>
                  </a:lnTo>
                  <a:lnTo>
                    <a:pt x="90" y="470"/>
                  </a:lnTo>
                  <a:lnTo>
                    <a:pt x="94" y="472"/>
                  </a:lnTo>
                  <a:lnTo>
                    <a:pt x="94" y="476"/>
                  </a:lnTo>
                  <a:lnTo>
                    <a:pt x="98" y="476"/>
                  </a:lnTo>
                  <a:lnTo>
                    <a:pt x="102" y="476"/>
                  </a:lnTo>
                  <a:lnTo>
                    <a:pt x="106" y="476"/>
                  </a:lnTo>
                  <a:lnTo>
                    <a:pt x="108" y="476"/>
                  </a:lnTo>
                  <a:lnTo>
                    <a:pt x="108" y="480"/>
                  </a:lnTo>
                  <a:lnTo>
                    <a:pt x="112" y="484"/>
                  </a:lnTo>
                  <a:lnTo>
                    <a:pt x="108" y="488"/>
                  </a:lnTo>
                  <a:lnTo>
                    <a:pt x="108" y="490"/>
                  </a:lnTo>
                  <a:lnTo>
                    <a:pt x="106" y="490"/>
                  </a:lnTo>
                  <a:lnTo>
                    <a:pt x="108" y="490"/>
                  </a:lnTo>
                  <a:lnTo>
                    <a:pt x="108" y="494"/>
                  </a:lnTo>
                  <a:lnTo>
                    <a:pt x="108" y="498"/>
                  </a:lnTo>
                  <a:lnTo>
                    <a:pt x="106" y="498"/>
                  </a:lnTo>
                  <a:lnTo>
                    <a:pt x="102" y="502"/>
                  </a:lnTo>
                  <a:lnTo>
                    <a:pt x="98" y="502"/>
                  </a:lnTo>
                  <a:lnTo>
                    <a:pt x="98" y="506"/>
                  </a:lnTo>
                  <a:lnTo>
                    <a:pt x="94" y="506"/>
                  </a:lnTo>
                  <a:lnTo>
                    <a:pt x="94" y="510"/>
                  </a:lnTo>
                  <a:lnTo>
                    <a:pt x="90" y="510"/>
                  </a:lnTo>
                  <a:lnTo>
                    <a:pt x="90" y="512"/>
                  </a:lnTo>
                  <a:lnTo>
                    <a:pt x="86" y="512"/>
                  </a:lnTo>
                  <a:lnTo>
                    <a:pt x="86" y="516"/>
                  </a:lnTo>
                  <a:lnTo>
                    <a:pt x="82" y="516"/>
                  </a:lnTo>
                  <a:lnTo>
                    <a:pt x="82" y="520"/>
                  </a:lnTo>
                  <a:lnTo>
                    <a:pt x="82" y="524"/>
                  </a:lnTo>
                  <a:lnTo>
                    <a:pt x="82" y="520"/>
                  </a:lnTo>
                  <a:lnTo>
                    <a:pt x="82" y="524"/>
                  </a:lnTo>
                  <a:lnTo>
                    <a:pt x="82" y="528"/>
                  </a:lnTo>
                  <a:lnTo>
                    <a:pt x="82" y="532"/>
                  </a:lnTo>
                  <a:lnTo>
                    <a:pt x="82" y="536"/>
                  </a:lnTo>
                  <a:lnTo>
                    <a:pt x="80" y="536"/>
                  </a:lnTo>
                  <a:lnTo>
                    <a:pt x="80" y="540"/>
                  </a:lnTo>
                  <a:lnTo>
                    <a:pt x="76" y="540"/>
                  </a:lnTo>
                  <a:lnTo>
                    <a:pt x="72" y="540"/>
                  </a:lnTo>
                  <a:lnTo>
                    <a:pt x="72" y="536"/>
                  </a:lnTo>
                  <a:lnTo>
                    <a:pt x="68" y="536"/>
                  </a:lnTo>
                  <a:lnTo>
                    <a:pt x="64" y="536"/>
                  </a:lnTo>
                  <a:lnTo>
                    <a:pt x="68" y="536"/>
                  </a:lnTo>
                  <a:lnTo>
                    <a:pt x="72" y="536"/>
                  </a:lnTo>
                  <a:lnTo>
                    <a:pt x="72" y="540"/>
                  </a:lnTo>
                  <a:lnTo>
                    <a:pt x="76" y="540"/>
                  </a:lnTo>
                  <a:lnTo>
                    <a:pt x="72" y="540"/>
                  </a:lnTo>
                  <a:lnTo>
                    <a:pt x="72" y="542"/>
                  </a:lnTo>
                  <a:lnTo>
                    <a:pt x="68" y="542"/>
                  </a:lnTo>
                  <a:lnTo>
                    <a:pt x="64" y="542"/>
                  </a:lnTo>
                  <a:lnTo>
                    <a:pt x="64" y="546"/>
                  </a:lnTo>
                  <a:lnTo>
                    <a:pt x="64" y="550"/>
                  </a:lnTo>
                  <a:lnTo>
                    <a:pt x="64" y="554"/>
                  </a:lnTo>
                  <a:lnTo>
                    <a:pt x="60" y="558"/>
                  </a:lnTo>
                  <a:lnTo>
                    <a:pt x="64" y="558"/>
                  </a:lnTo>
                  <a:lnTo>
                    <a:pt x="64" y="562"/>
                  </a:lnTo>
                  <a:lnTo>
                    <a:pt x="64" y="566"/>
                  </a:lnTo>
                  <a:lnTo>
                    <a:pt x="64" y="568"/>
                  </a:lnTo>
                  <a:lnTo>
                    <a:pt x="60" y="568"/>
                  </a:lnTo>
                  <a:lnTo>
                    <a:pt x="56" y="568"/>
                  </a:lnTo>
                  <a:lnTo>
                    <a:pt x="60" y="568"/>
                  </a:lnTo>
                  <a:lnTo>
                    <a:pt x="64" y="568"/>
                  </a:lnTo>
                  <a:lnTo>
                    <a:pt x="64" y="572"/>
                  </a:lnTo>
                  <a:lnTo>
                    <a:pt x="68" y="572"/>
                  </a:lnTo>
                  <a:lnTo>
                    <a:pt x="68" y="576"/>
                  </a:lnTo>
                  <a:lnTo>
                    <a:pt x="68" y="580"/>
                  </a:lnTo>
                  <a:lnTo>
                    <a:pt x="72" y="580"/>
                  </a:lnTo>
                  <a:lnTo>
                    <a:pt x="72" y="584"/>
                  </a:lnTo>
                  <a:lnTo>
                    <a:pt x="72" y="588"/>
                  </a:lnTo>
                  <a:lnTo>
                    <a:pt x="72" y="584"/>
                  </a:lnTo>
                  <a:lnTo>
                    <a:pt x="68" y="584"/>
                  </a:lnTo>
                  <a:lnTo>
                    <a:pt x="64" y="584"/>
                  </a:lnTo>
                  <a:lnTo>
                    <a:pt x="60" y="580"/>
                  </a:lnTo>
                  <a:lnTo>
                    <a:pt x="56" y="580"/>
                  </a:lnTo>
                  <a:lnTo>
                    <a:pt x="54" y="580"/>
                  </a:lnTo>
                  <a:lnTo>
                    <a:pt x="50" y="580"/>
                  </a:lnTo>
                  <a:lnTo>
                    <a:pt x="46" y="580"/>
                  </a:lnTo>
                  <a:lnTo>
                    <a:pt x="42" y="580"/>
                  </a:lnTo>
                  <a:lnTo>
                    <a:pt x="34" y="580"/>
                  </a:lnTo>
                  <a:lnTo>
                    <a:pt x="28" y="580"/>
                  </a:lnTo>
                  <a:lnTo>
                    <a:pt x="24" y="576"/>
                  </a:lnTo>
                  <a:lnTo>
                    <a:pt x="20" y="572"/>
                  </a:lnTo>
                  <a:lnTo>
                    <a:pt x="16" y="568"/>
                  </a:lnTo>
                  <a:lnTo>
                    <a:pt x="20" y="566"/>
                  </a:lnTo>
                  <a:lnTo>
                    <a:pt x="20" y="562"/>
                  </a:lnTo>
                  <a:lnTo>
                    <a:pt x="16" y="562"/>
                  </a:lnTo>
                  <a:lnTo>
                    <a:pt x="16" y="558"/>
                  </a:lnTo>
                  <a:lnTo>
                    <a:pt x="20" y="558"/>
                  </a:lnTo>
                  <a:lnTo>
                    <a:pt x="20" y="554"/>
                  </a:lnTo>
                  <a:lnTo>
                    <a:pt x="16" y="550"/>
                  </a:lnTo>
                  <a:lnTo>
                    <a:pt x="20" y="550"/>
                  </a:lnTo>
                  <a:lnTo>
                    <a:pt x="16" y="550"/>
                  </a:lnTo>
                  <a:lnTo>
                    <a:pt x="12" y="550"/>
                  </a:lnTo>
                  <a:lnTo>
                    <a:pt x="8" y="550"/>
                  </a:lnTo>
                  <a:lnTo>
                    <a:pt x="8" y="554"/>
                  </a:lnTo>
                  <a:lnTo>
                    <a:pt x="4" y="554"/>
                  </a:lnTo>
                  <a:lnTo>
                    <a:pt x="4" y="550"/>
                  </a:lnTo>
                  <a:lnTo>
                    <a:pt x="4" y="546"/>
                  </a:lnTo>
                  <a:lnTo>
                    <a:pt x="4" y="542"/>
                  </a:lnTo>
                  <a:lnTo>
                    <a:pt x="0" y="540"/>
                  </a:lnTo>
                  <a:lnTo>
                    <a:pt x="0" y="536"/>
                  </a:lnTo>
                  <a:lnTo>
                    <a:pt x="0" y="532"/>
                  </a:lnTo>
                  <a:lnTo>
                    <a:pt x="0" y="528"/>
                  </a:lnTo>
                  <a:lnTo>
                    <a:pt x="0" y="524"/>
                  </a:lnTo>
                  <a:lnTo>
                    <a:pt x="0" y="520"/>
                  </a:lnTo>
                  <a:lnTo>
                    <a:pt x="4" y="520"/>
                  </a:lnTo>
                  <a:lnTo>
                    <a:pt x="8" y="520"/>
                  </a:lnTo>
                  <a:lnTo>
                    <a:pt x="4" y="520"/>
                  </a:lnTo>
                  <a:lnTo>
                    <a:pt x="8" y="516"/>
                  </a:lnTo>
                  <a:lnTo>
                    <a:pt x="8" y="512"/>
                  </a:lnTo>
                  <a:lnTo>
                    <a:pt x="12" y="512"/>
                  </a:lnTo>
                  <a:lnTo>
                    <a:pt x="16" y="512"/>
                  </a:lnTo>
                  <a:lnTo>
                    <a:pt x="16" y="510"/>
                  </a:lnTo>
                  <a:lnTo>
                    <a:pt x="16" y="506"/>
                  </a:lnTo>
                  <a:lnTo>
                    <a:pt x="12" y="506"/>
                  </a:lnTo>
                  <a:lnTo>
                    <a:pt x="16" y="506"/>
                  </a:lnTo>
                  <a:lnTo>
                    <a:pt x="16" y="502"/>
                  </a:lnTo>
                  <a:lnTo>
                    <a:pt x="20" y="502"/>
                  </a:lnTo>
                  <a:lnTo>
                    <a:pt x="20" y="498"/>
                  </a:lnTo>
                  <a:lnTo>
                    <a:pt x="16" y="494"/>
                  </a:lnTo>
                  <a:lnTo>
                    <a:pt x="16" y="490"/>
                  </a:lnTo>
                  <a:lnTo>
                    <a:pt x="16" y="488"/>
                  </a:lnTo>
                  <a:lnTo>
                    <a:pt x="20" y="488"/>
                  </a:lnTo>
                  <a:lnTo>
                    <a:pt x="16" y="484"/>
                  </a:lnTo>
                  <a:lnTo>
                    <a:pt x="20" y="484"/>
                  </a:lnTo>
                  <a:lnTo>
                    <a:pt x="24" y="480"/>
                  </a:lnTo>
                  <a:lnTo>
                    <a:pt x="24" y="476"/>
                  </a:lnTo>
                  <a:lnTo>
                    <a:pt x="24" y="472"/>
                  </a:lnTo>
                  <a:lnTo>
                    <a:pt x="28" y="470"/>
                  </a:lnTo>
                  <a:lnTo>
                    <a:pt x="28" y="466"/>
                  </a:lnTo>
                  <a:lnTo>
                    <a:pt x="28" y="462"/>
                  </a:lnTo>
                  <a:lnTo>
                    <a:pt x="28" y="458"/>
                  </a:lnTo>
                  <a:lnTo>
                    <a:pt x="24" y="458"/>
                  </a:lnTo>
                  <a:lnTo>
                    <a:pt x="28" y="458"/>
                  </a:lnTo>
                  <a:lnTo>
                    <a:pt x="28" y="454"/>
                  </a:lnTo>
                  <a:lnTo>
                    <a:pt x="28" y="450"/>
                  </a:lnTo>
                  <a:lnTo>
                    <a:pt x="28" y="446"/>
                  </a:lnTo>
                  <a:lnTo>
                    <a:pt x="30" y="442"/>
                  </a:lnTo>
                  <a:lnTo>
                    <a:pt x="30" y="440"/>
                  </a:lnTo>
                  <a:lnTo>
                    <a:pt x="30" y="436"/>
                  </a:lnTo>
                  <a:lnTo>
                    <a:pt x="28" y="436"/>
                  </a:lnTo>
                  <a:lnTo>
                    <a:pt x="24" y="436"/>
                  </a:lnTo>
                  <a:lnTo>
                    <a:pt x="24" y="432"/>
                  </a:lnTo>
                  <a:lnTo>
                    <a:pt x="20" y="432"/>
                  </a:lnTo>
                  <a:lnTo>
                    <a:pt x="24" y="432"/>
                  </a:lnTo>
                  <a:lnTo>
                    <a:pt x="28" y="432"/>
                  </a:lnTo>
                  <a:lnTo>
                    <a:pt x="30" y="432"/>
                  </a:lnTo>
                  <a:lnTo>
                    <a:pt x="34" y="432"/>
                  </a:lnTo>
                  <a:lnTo>
                    <a:pt x="34" y="428"/>
                  </a:lnTo>
                  <a:lnTo>
                    <a:pt x="34" y="424"/>
                  </a:lnTo>
                  <a:lnTo>
                    <a:pt x="30" y="424"/>
                  </a:lnTo>
                  <a:lnTo>
                    <a:pt x="28" y="424"/>
                  </a:lnTo>
                  <a:lnTo>
                    <a:pt x="24" y="424"/>
                  </a:lnTo>
                  <a:lnTo>
                    <a:pt x="24" y="420"/>
                  </a:lnTo>
                  <a:lnTo>
                    <a:pt x="28" y="420"/>
                  </a:lnTo>
                  <a:lnTo>
                    <a:pt x="24" y="416"/>
                  </a:lnTo>
                  <a:lnTo>
                    <a:pt x="28" y="416"/>
                  </a:lnTo>
                  <a:lnTo>
                    <a:pt x="28" y="414"/>
                  </a:lnTo>
                  <a:lnTo>
                    <a:pt x="28" y="410"/>
                  </a:lnTo>
                  <a:lnTo>
                    <a:pt x="28" y="406"/>
                  </a:lnTo>
                  <a:lnTo>
                    <a:pt x="24" y="406"/>
                  </a:lnTo>
                  <a:lnTo>
                    <a:pt x="24" y="402"/>
                  </a:lnTo>
                  <a:lnTo>
                    <a:pt x="28" y="402"/>
                  </a:lnTo>
                  <a:lnTo>
                    <a:pt x="28" y="398"/>
                  </a:lnTo>
                  <a:lnTo>
                    <a:pt x="24" y="398"/>
                  </a:lnTo>
                  <a:lnTo>
                    <a:pt x="20" y="398"/>
                  </a:lnTo>
                  <a:lnTo>
                    <a:pt x="20" y="394"/>
                  </a:lnTo>
                  <a:lnTo>
                    <a:pt x="20" y="390"/>
                  </a:lnTo>
                  <a:lnTo>
                    <a:pt x="20" y="386"/>
                  </a:lnTo>
                  <a:lnTo>
                    <a:pt x="24" y="384"/>
                  </a:lnTo>
                  <a:lnTo>
                    <a:pt x="20" y="384"/>
                  </a:lnTo>
                  <a:lnTo>
                    <a:pt x="24" y="380"/>
                  </a:lnTo>
                  <a:lnTo>
                    <a:pt x="28" y="380"/>
                  </a:lnTo>
                  <a:lnTo>
                    <a:pt x="28" y="376"/>
                  </a:lnTo>
                  <a:lnTo>
                    <a:pt x="28" y="372"/>
                  </a:lnTo>
                  <a:lnTo>
                    <a:pt x="24" y="372"/>
                  </a:lnTo>
                  <a:lnTo>
                    <a:pt x="24" y="368"/>
                  </a:lnTo>
                  <a:lnTo>
                    <a:pt x="24" y="364"/>
                  </a:lnTo>
                  <a:lnTo>
                    <a:pt x="24" y="360"/>
                  </a:lnTo>
                  <a:lnTo>
                    <a:pt x="24" y="358"/>
                  </a:lnTo>
                  <a:lnTo>
                    <a:pt x="24" y="358"/>
                  </a:lnTo>
                  <a:lnTo>
                    <a:pt x="24" y="358"/>
                  </a:lnTo>
                  <a:close/>
                  <a:moveTo>
                    <a:pt x="164" y="324"/>
                  </a:moveTo>
                  <a:lnTo>
                    <a:pt x="160" y="320"/>
                  </a:lnTo>
                  <a:lnTo>
                    <a:pt x="164" y="320"/>
                  </a:lnTo>
                  <a:lnTo>
                    <a:pt x="164" y="324"/>
                  </a:lnTo>
                  <a:lnTo>
                    <a:pt x="164" y="324"/>
                  </a:lnTo>
                  <a:lnTo>
                    <a:pt x="164" y="324"/>
                  </a:lnTo>
                  <a:close/>
                  <a:moveTo>
                    <a:pt x="72" y="592"/>
                  </a:moveTo>
                  <a:lnTo>
                    <a:pt x="72" y="596"/>
                  </a:lnTo>
                  <a:lnTo>
                    <a:pt x="76" y="598"/>
                  </a:lnTo>
                  <a:lnTo>
                    <a:pt x="76" y="602"/>
                  </a:lnTo>
                  <a:lnTo>
                    <a:pt x="76" y="598"/>
                  </a:lnTo>
                  <a:lnTo>
                    <a:pt x="72" y="598"/>
                  </a:lnTo>
                  <a:lnTo>
                    <a:pt x="72" y="602"/>
                  </a:lnTo>
                  <a:lnTo>
                    <a:pt x="72" y="606"/>
                  </a:lnTo>
                  <a:lnTo>
                    <a:pt x="76" y="606"/>
                  </a:lnTo>
                  <a:lnTo>
                    <a:pt x="80" y="606"/>
                  </a:lnTo>
                  <a:lnTo>
                    <a:pt x="80" y="610"/>
                  </a:lnTo>
                  <a:lnTo>
                    <a:pt x="80" y="614"/>
                  </a:lnTo>
                  <a:lnTo>
                    <a:pt x="82" y="614"/>
                  </a:lnTo>
                  <a:lnTo>
                    <a:pt x="82" y="618"/>
                  </a:lnTo>
                  <a:lnTo>
                    <a:pt x="86" y="618"/>
                  </a:lnTo>
                  <a:lnTo>
                    <a:pt x="86" y="622"/>
                  </a:lnTo>
                  <a:lnTo>
                    <a:pt x="90" y="622"/>
                  </a:lnTo>
                  <a:lnTo>
                    <a:pt x="94" y="626"/>
                  </a:lnTo>
                  <a:lnTo>
                    <a:pt x="98" y="626"/>
                  </a:lnTo>
                  <a:lnTo>
                    <a:pt x="98" y="628"/>
                  </a:lnTo>
                  <a:lnTo>
                    <a:pt x="102" y="632"/>
                  </a:lnTo>
                  <a:lnTo>
                    <a:pt x="106" y="632"/>
                  </a:lnTo>
                  <a:lnTo>
                    <a:pt x="108" y="636"/>
                  </a:lnTo>
                  <a:lnTo>
                    <a:pt x="112" y="636"/>
                  </a:lnTo>
                  <a:lnTo>
                    <a:pt x="116" y="636"/>
                  </a:lnTo>
                  <a:lnTo>
                    <a:pt x="120" y="636"/>
                  </a:lnTo>
                  <a:lnTo>
                    <a:pt x="116" y="640"/>
                  </a:lnTo>
                  <a:lnTo>
                    <a:pt x="112" y="640"/>
                  </a:lnTo>
                  <a:lnTo>
                    <a:pt x="108" y="640"/>
                  </a:lnTo>
                  <a:lnTo>
                    <a:pt x="106" y="644"/>
                  </a:lnTo>
                  <a:lnTo>
                    <a:pt x="102" y="644"/>
                  </a:lnTo>
                  <a:lnTo>
                    <a:pt x="98" y="644"/>
                  </a:lnTo>
                  <a:lnTo>
                    <a:pt x="98" y="640"/>
                  </a:lnTo>
                  <a:lnTo>
                    <a:pt x="94" y="640"/>
                  </a:lnTo>
                  <a:lnTo>
                    <a:pt x="90" y="640"/>
                  </a:lnTo>
                  <a:lnTo>
                    <a:pt x="86" y="640"/>
                  </a:lnTo>
                  <a:lnTo>
                    <a:pt x="82" y="640"/>
                  </a:lnTo>
                  <a:lnTo>
                    <a:pt x="80" y="640"/>
                  </a:lnTo>
                  <a:lnTo>
                    <a:pt x="76" y="640"/>
                  </a:lnTo>
                  <a:lnTo>
                    <a:pt x="72" y="640"/>
                  </a:lnTo>
                  <a:lnTo>
                    <a:pt x="72" y="632"/>
                  </a:lnTo>
                  <a:lnTo>
                    <a:pt x="72" y="628"/>
                  </a:lnTo>
                  <a:lnTo>
                    <a:pt x="72" y="622"/>
                  </a:lnTo>
                  <a:lnTo>
                    <a:pt x="72" y="618"/>
                  </a:lnTo>
                  <a:lnTo>
                    <a:pt x="72" y="610"/>
                  </a:lnTo>
                  <a:lnTo>
                    <a:pt x="72" y="606"/>
                  </a:lnTo>
                  <a:lnTo>
                    <a:pt x="72" y="602"/>
                  </a:lnTo>
                  <a:lnTo>
                    <a:pt x="72" y="596"/>
                  </a:lnTo>
                  <a:lnTo>
                    <a:pt x="72" y="592"/>
                  </a:lnTo>
                  <a:lnTo>
                    <a:pt x="72" y="592"/>
                  </a:lnTo>
                  <a:lnTo>
                    <a:pt x="72" y="592"/>
                  </a:lnTo>
                  <a:close/>
                  <a:moveTo>
                    <a:pt x="126" y="640"/>
                  </a:moveTo>
                  <a:lnTo>
                    <a:pt x="122" y="640"/>
                  </a:lnTo>
                  <a:lnTo>
                    <a:pt x="126" y="636"/>
                  </a:lnTo>
                  <a:lnTo>
                    <a:pt x="126" y="640"/>
                  </a:lnTo>
                  <a:lnTo>
                    <a:pt x="126" y="636"/>
                  </a:lnTo>
                  <a:lnTo>
                    <a:pt x="130" y="636"/>
                  </a:lnTo>
                  <a:lnTo>
                    <a:pt x="134" y="636"/>
                  </a:lnTo>
                  <a:lnTo>
                    <a:pt x="138" y="636"/>
                  </a:lnTo>
                  <a:lnTo>
                    <a:pt x="138" y="640"/>
                  </a:lnTo>
                  <a:lnTo>
                    <a:pt x="134" y="640"/>
                  </a:lnTo>
                  <a:lnTo>
                    <a:pt x="134" y="636"/>
                  </a:lnTo>
                  <a:lnTo>
                    <a:pt x="134" y="640"/>
                  </a:lnTo>
                  <a:lnTo>
                    <a:pt x="130" y="640"/>
                  </a:lnTo>
                  <a:lnTo>
                    <a:pt x="126" y="640"/>
                  </a:lnTo>
                  <a:lnTo>
                    <a:pt x="126" y="640"/>
                  </a:lnTo>
                  <a:lnTo>
                    <a:pt x="126" y="64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86" name="Freeform 179"/>
            <p:cNvSpPr>
              <a:spLocks/>
            </p:cNvSpPr>
            <p:nvPr/>
          </p:nvSpPr>
          <p:spPr bwMode="auto">
            <a:xfrm>
              <a:off x="6422352" y="4268973"/>
              <a:ext cx="108013" cy="151680"/>
            </a:xfrm>
            <a:custGeom>
              <a:avLst/>
              <a:gdLst>
                <a:gd name="T0" fmla="*/ 104 w 172"/>
                <a:gd name="T1" fmla="*/ 198 h 232"/>
                <a:gd name="T2" fmla="*/ 96 w 172"/>
                <a:gd name="T3" fmla="*/ 216 h 232"/>
                <a:gd name="T4" fmla="*/ 90 w 172"/>
                <a:gd name="T5" fmla="*/ 216 h 232"/>
                <a:gd name="T6" fmla="*/ 78 w 172"/>
                <a:gd name="T7" fmla="*/ 220 h 232"/>
                <a:gd name="T8" fmla="*/ 74 w 172"/>
                <a:gd name="T9" fmla="*/ 228 h 232"/>
                <a:gd name="T10" fmla="*/ 70 w 172"/>
                <a:gd name="T11" fmla="*/ 216 h 232"/>
                <a:gd name="T12" fmla="*/ 52 w 172"/>
                <a:gd name="T13" fmla="*/ 216 h 232"/>
                <a:gd name="T14" fmla="*/ 50 w 172"/>
                <a:gd name="T15" fmla="*/ 212 h 232"/>
                <a:gd name="T16" fmla="*/ 42 w 172"/>
                <a:gd name="T17" fmla="*/ 220 h 232"/>
                <a:gd name="T18" fmla="*/ 34 w 172"/>
                <a:gd name="T19" fmla="*/ 228 h 232"/>
                <a:gd name="T20" fmla="*/ 26 w 172"/>
                <a:gd name="T21" fmla="*/ 224 h 232"/>
                <a:gd name="T22" fmla="*/ 24 w 172"/>
                <a:gd name="T23" fmla="*/ 212 h 232"/>
                <a:gd name="T24" fmla="*/ 16 w 172"/>
                <a:gd name="T25" fmla="*/ 194 h 232"/>
                <a:gd name="T26" fmla="*/ 12 w 172"/>
                <a:gd name="T27" fmla="*/ 190 h 232"/>
                <a:gd name="T28" fmla="*/ 16 w 172"/>
                <a:gd name="T29" fmla="*/ 180 h 232"/>
                <a:gd name="T30" fmla="*/ 16 w 172"/>
                <a:gd name="T31" fmla="*/ 168 h 232"/>
                <a:gd name="T32" fmla="*/ 8 w 172"/>
                <a:gd name="T33" fmla="*/ 156 h 232"/>
                <a:gd name="T34" fmla="*/ 4 w 172"/>
                <a:gd name="T35" fmla="*/ 146 h 232"/>
                <a:gd name="T36" fmla="*/ 0 w 172"/>
                <a:gd name="T37" fmla="*/ 134 h 232"/>
                <a:gd name="T38" fmla="*/ 4 w 172"/>
                <a:gd name="T39" fmla="*/ 124 h 232"/>
                <a:gd name="T40" fmla="*/ 12 w 172"/>
                <a:gd name="T41" fmla="*/ 116 h 232"/>
                <a:gd name="T42" fmla="*/ 4 w 172"/>
                <a:gd name="T43" fmla="*/ 100 h 232"/>
                <a:gd name="T44" fmla="*/ 4 w 172"/>
                <a:gd name="T45" fmla="*/ 94 h 232"/>
                <a:gd name="T46" fmla="*/ 8 w 172"/>
                <a:gd name="T47" fmla="*/ 78 h 232"/>
                <a:gd name="T48" fmla="*/ 8 w 172"/>
                <a:gd name="T49" fmla="*/ 72 h 232"/>
                <a:gd name="T50" fmla="*/ 8 w 172"/>
                <a:gd name="T51" fmla="*/ 56 h 232"/>
                <a:gd name="T52" fmla="*/ 12 w 172"/>
                <a:gd name="T53" fmla="*/ 46 h 232"/>
                <a:gd name="T54" fmla="*/ 4 w 172"/>
                <a:gd name="T55" fmla="*/ 34 h 232"/>
                <a:gd name="T56" fmla="*/ 4 w 172"/>
                <a:gd name="T57" fmla="*/ 22 h 232"/>
                <a:gd name="T58" fmla="*/ 16 w 172"/>
                <a:gd name="T59" fmla="*/ 26 h 232"/>
                <a:gd name="T60" fmla="*/ 24 w 172"/>
                <a:gd name="T61" fmla="*/ 18 h 232"/>
                <a:gd name="T62" fmla="*/ 26 w 172"/>
                <a:gd name="T63" fmla="*/ 16 h 232"/>
                <a:gd name="T64" fmla="*/ 38 w 172"/>
                <a:gd name="T65" fmla="*/ 12 h 232"/>
                <a:gd name="T66" fmla="*/ 50 w 172"/>
                <a:gd name="T67" fmla="*/ 0 h 232"/>
                <a:gd name="T68" fmla="*/ 56 w 172"/>
                <a:gd name="T69" fmla="*/ 0 h 232"/>
                <a:gd name="T70" fmla="*/ 60 w 172"/>
                <a:gd name="T71" fmla="*/ 12 h 232"/>
                <a:gd name="T72" fmla="*/ 60 w 172"/>
                <a:gd name="T73" fmla="*/ 26 h 232"/>
                <a:gd name="T74" fmla="*/ 64 w 172"/>
                <a:gd name="T75" fmla="*/ 34 h 232"/>
                <a:gd name="T76" fmla="*/ 70 w 172"/>
                <a:gd name="T77" fmla="*/ 46 h 232"/>
                <a:gd name="T78" fmla="*/ 86 w 172"/>
                <a:gd name="T79" fmla="*/ 48 h 232"/>
                <a:gd name="T80" fmla="*/ 94 w 172"/>
                <a:gd name="T81" fmla="*/ 56 h 232"/>
                <a:gd name="T82" fmla="*/ 104 w 172"/>
                <a:gd name="T83" fmla="*/ 64 h 232"/>
                <a:gd name="T84" fmla="*/ 116 w 172"/>
                <a:gd name="T85" fmla="*/ 68 h 232"/>
                <a:gd name="T86" fmla="*/ 130 w 172"/>
                <a:gd name="T87" fmla="*/ 72 h 232"/>
                <a:gd name="T88" fmla="*/ 130 w 172"/>
                <a:gd name="T89" fmla="*/ 82 h 232"/>
                <a:gd name="T90" fmla="*/ 126 w 172"/>
                <a:gd name="T91" fmla="*/ 94 h 232"/>
                <a:gd name="T92" fmla="*/ 134 w 172"/>
                <a:gd name="T93" fmla="*/ 116 h 232"/>
                <a:gd name="T94" fmla="*/ 160 w 172"/>
                <a:gd name="T95" fmla="*/ 116 h 232"/>
                <a:gd name="T96" fmla="*/ 156 w 172"/>
                <a:gd name="T97" fmla="*/ 128 h 232"/>
                <a:gd name="T98" fmla="*/ 164 w 172"/>
                <a:gd name="T99" fmla="*/ 134 h 232"/>
                <a:gd name="T100" fmla="*/ 172 w 172"/>
                <a:gd name="T101" fmla="*/ 150 h 232"/>
                <a:gd name="T102" fmla="*/ 164 w 172"/>
                <a:gd name="T103" fmla="*/ 164 h 232"/>
                <a:gd name="T104" fmla="*/ 164 w 172"/>
                <a:gd name="T105" fmla="*/ 176 h 232"/>
                <a:gd name="T106" fmla="*/ 160 w 172"/>
                <a:gd name="T107" fmla="*/ 176 h 232"/>
                <a:gd name="T108" fmla="*/ 142 w 172"/>
                <a:gd name="T109" fmla="*/ 168 h 232"/>
                <a:gd name="T110" fmla="*/ 126 w 172"/>
                <a:gd name="T111" fmla="*/ 172 h 232"/>
                <a:gd name="T112" fmla="*/ 112 w 172"/>
                <a:gd name="T113" fmla="*/ 176 h 232"/>
                <a:gd name="T114" fmla="*/ 104 w 172"/>
                <a:gd name="T115" fmla="*/ 18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2" h="232">
                  <a:moveTo>
                    <a:pt x="104" y="186"/>
                  </a:moveTo>
                  <a:lnTo>
                    <a:pt x="104" y="190"/>
                  </a:lnTo>
                  <a:lnTo>
                    <a:pt x="104" y="194"/>
                  </a:lnTo>
                  <a:lnTo>
                    <a:pt x="104" y="198"/>
                  </a:lnTo>
                  <a:lnTo>
                    <a:pt x="100" y="206"/>
                  </a:lnTo>
                  <a:lnTo>
                    <a:pt x="100" y="210"/>
                  </a:lnTo>
                  <a:lnTo>
                    <a:pt x="100" y="212"/>
                  </a:lnTo>
                  <a:lnTo>
                    <a:pt x="96" y="216"/>
                  </a:lnTo>
                  <a:lnTo>
                    <a:pt x="96" y="220"/>
                  </a:lnTo>
                  <a:lnTo>
                    <a:pt x="96" y="216"/>
                  </a:lnTo>
                  <a:lnTo>
                    <a:pt x="94" y="216"/>
                  </a:lnTo>
                  <a:lnTo>
                    <a:pt x="90" y="216"/>
                  </a:lnTo>
                  <a:lnTo>
                    <a:pt x="86" y="216"/>
                  </a:lnTo>
                  <a:lnTo>
                    <a:pt x="82" y="216"/>
                  </a:lnTo>
                  <a:lnTo>
                    <a:pt x="78" y="216"/>
                  </a:lnTo>
                  <a:lnTo>
                    <a:pt x="78" y="220"/>
                  </a:lnTo>
                  <a:lnTo>
                    <a:pt x="74" y="224"/>
                  </a:lnTo>
                  <a:lnTo>
                    <a:pt x="74" y="228"/>
                  </a:lnTo>
                  <a:lnTo>
                    <a:pt x="74" y="232"/>
                  </a:lnTo>
                  <a:lnTo>
                    <a:pt x="74" y="228"/>
                  </a:lnTo>
                  <a:lnTo>
                    <a:pt x="70" y="228"/>
                  </a:lnTo>
                  <a:lnTo>
                    <a:pt x="70" y="224"/>
                  </a:lnTo>
                  <a:lnTo>
                    <a:pt x="70" y="220"/>
                  </a:lnTo>
                  <a:lnTo>
                    <a:pt x="70" y="216"/>
                  </a:lnTo>
                  <a:lnTo>
                    <a:pt x="66" y="216"/>
                  </a:lnTo>
                  <a:lnTo>
                    <a:pt x="64" y="216"/>
                  </a:lnTo>
                  <a:lnTo>
                    <a:pt x="56" y="216"/>
                  </a:lnTo>
                  <a:lnTo>
                    <a:pt x="52" y="216"/>
                  </a:lnTo>
                  <a:lnTo>
                    <a:pt x="52" y="212"/>
                  </a:lnTo>
                  <a:lnTo>
                    <a:pt x="50" y="212"/>
                  </a:lnTo>
                  <a:lnTo>
                    <a:pt x="50" y="210"/>
                  </a:lnTo>
                  <a:lnTo>
                    <a:pt x="50" y="212"/>
                  </a:lnTo>
                  <a:lnTo>
                    <a:pt x="46" y="212"/>
                  </a:lnTo>
                  <a:lnTo>
                    <a:pt x="46" y="216"/>
                  </a:lnTo>
                  <a:lnTo>
                    <a:pt x="42" y="216"/>
                  </a:lnTo>
                  <a:lnTo>
                    <a:pt x="42" y="220"/>
                  </a:lnTo>
                  <a:lnTo>
                    <a:pt x="42" y="224"/>
                  </a:lnTo>
                  <a:lnTo>
                    <a:pt x="38" y="224"/>
                  </a:lnTo>
                  <a:lnTo>
                    <a:pt x="38" y="228"/>
                  </a:lnTo>
                  <a:lnTo>
                    <a:pt x="34" y="228"/>
                  </a:lnTo>
                  <a:lnTo>
                    <a:pt x="30" y="232"/>
                  </a:lnTo>
                  <a:lnTo>
                    <a:pt x="26" y="232"/>
                  </a:lnTo>
                  <a:lnTo>
                    <a:pt x="24" y="228"/>
                  </a:lnTo>
                  <a:lnTo>
                    <a:pt x="26" y="224"/>
                  </a:lnTo>
                  <a:lnTo>
                    <a:pt x="24" y="224"/>
                  </a:lnTo>
                  <a:lnTo>
                    <a:pt x="24" y="220"/>
                  </a:lnTo>
                  <a:lnTo>
                    <a:pt x="24" y="216"/>
                  </a:lnTo>
                  <a:lnTo>
                    <a:pt x="24" y="212"/>
                  </a:lnTo>
                  <a:lnTo>
                    <a:pt x="24" y="210"/>
                  </a:lnTo>
                  <a:lnTo>
                    <a:pt x="20" y="210"/>
                  </a:lnTo>
                  <a:lnTo>
                    <a:pt x="20" y="202"/>
                  </a:lnTo>
                  <a:lnTo>
                    <a:pt x="16" y="194"/>
                  </a:lnTo>
                  <a:lnTo>
                    <a:pt x="16" y="198"/>
                  </a:lnTo>
                  <a:lnTo>
                    <a:pt x="16" y="194"/>
                  </a:lnTo>
                  <a:lnTo>
                    <a:pt x="16" y="190"/>
                  </a:lnTo>
                  <a:lnTo>
                    <a:pt x="12" y="190"/>
                  </a:lnTo>
                  <a:lnTo>
                    <a:pt x="12" y="186"/>
                  </a:lnTo>
                  <a:lnTo>
                    <a:pt x="12" y="184"/>
                  </a:lnTo>
                  <a:lnTo>
                    <a:pt x="12" y="180"/>
                  </a:lnTo>
                  <a:lnTo>
                    <a:pt x="16" y="180"/>
                  </a:lnTo>
                  <a:lnTo>
                    <a:pt x="16" y="176"/>
                  </a:lnTo>
                  <a:lnTo>
                    <a:pt x="12" y="176"/>
                  </a:lnTo>
                  <a:lnTo>
                    <a:pt x="16" y="172"/>
                  </a:lnTo>
                  <a:lnTo>
                    <a:pt x="16" y="168"/>
                  </a:lnTo>
                  <a:lnTo>
                    <a:pt x="12" y="168"/>
                  </a:lnTo>
                  <a:lnTo>
                    <a:pt x="12" y="164"/>
                  </a:lnTo>
                  <a:lnTo>
                    <a:pt x="8" y="160"/>
                  </a:lnTo>
                  <a:lnTo>
                    <a:pt x="8" y="156"/>
                  </a:lnTo>
                  <a:lnTo>
                    <a:pt x="8" y="154"/>
                  </a:lnTo>
                  <a:lnTo>
                    <a:pt x="8" y="150"/>
                  </a:lnTo>
                  <a:lnTo>
                    <a:pt x="8" y="146"/>
                  </a:lnTo>
                  <a:lnTo>
                    <a:pt x="4" y="146"/>
                  </a:lnTo>
                  <a:lnTo>
                    <a:pt x="4" y="142"/>
                  </a:lnTo>
                  <a:lnTo>
                    <a:pt x="4" y="138"/>
                  </a:lnTo>
                  <a:lnTo>
                    <a:pt x="0" y="138"/>
                  </a:lnTo>
                  <a:lnTo>
                    <a:pt x="0" y="134"/>
                  </a:lnTo>
                  <a:lnTo>
                    <a:pt x="0" y="130"/>
                  </a:lnTo>
                  <a:lnTo>
                    <a:pt x="0" y="128"/>
                  </a:lnTo>
                  <a:lnTo>
                    <a:pt x="4" y="128"/>
                  </a:lnTo>
                  <a:lnTo>
                    <a:pt x="4" y="124"/>
                  </a:lnTo>
                  <a:lnTo>
                    <a:pt x="8" y="124"/>
                  </a:lnTo>
                  <a:lnTo>
                    <a:pt x="8" y="120"/>
                  </a:lnTo>
                  <a:lnTo>
                    <a:pt x="8" y="116"/>
                  </a:lnTo>
                  <a:lnTo>
                    <a:pt x="12" y="116"/>
                  </a:lnTo>
                  <a:lnTo>
                    <a:pt x="8" y="112"/>
                  </a:lnTo>
                  <a:lnTo>
                    <a:pt x="4" y="112"/>
                  </a:lnTo>
                  <a:lnTo>
                    <a:pt x="4" y="104"/>
                  </a:lnTo>
                  <a:lnTo>
                    <a:pt x="4" y="100"/>
                  </a:lnTo>
                  <a:lnTo>
                    <a:pt x="4" y="98"/>
                  </a:lnTo>
                  <a:lnTo>
                    <a:pt x="8" y="98"/>
                  </a:lnTo>
                  <a:lnTo>
                    <a:pt x="8" y="94"/>
                  </a:lnTo>
                  <a:lnTo>
                    <a:pt x="4" y="94"/>
                  </a:lnTo>
                  <a:lnTo>
                    <a:pt x="4" y="90"/>
                  </a:lnTo>
                  <a:lnTo>
                    <a:pt x="4" y="86"/>
                  </a:lnTo>
                  <a:lnTo>
                    <a:pt x="8" y="82"/>
                  </a:lnTo>
                  <a:lnTo>
                    <a:pt x="8" y="78"/>
                  </a:lnTo>
                  <a:lnTo>
                    <a:pt x="12" y="78"/>
                  </a:lnTo>
                  <a:lnTo>
                    <a:pt x="12" y="74"/>
                  </a:lnTo>
                  <a:lnTo>
                    <a:pt x="8" y="74"/>
                  </a:lnTo>
                  <a:lnTo>
                    <a:pt x="8" y="72"/>
                  </a:lnTo>
                  <a:lnTo>
                    <a:pt x="8" y="68"/>
                  </a:lnTo>
                  <a:lnTo>
                    <a:pt x="8" y="64"/>
                  </a:lnTo>
                  <a:lnTo>
                    <a:pt x="8" y="60"/>
                  </a:lnTo>
                  <a:lnTo>
                    <a:pt x="8" y="56"/>
                  </a:lnTo>
                  <a:lnTo>
                    <a:pt x="8" y="52"/>
                  </a:lnTo>
                  <a:lnTo>
                    <a:pt x="12" y="52"/>
                  </a:lnTo>
                  <a:lnTo>
                    <a:pt x="12" y="48"/>
                  </a:lnTo>
                  <a:lnTo>
                    <a:pt x="12" y="46"/>
                  </a:lnTo>
                  <a:lnTo>
                    <a:pt x="12" y="42"/>
                  </a:lnTo>
                  <a:lnTo>
                    <a:pt x="8" y="42"/>
                  </a:lnTo>
                  <a:lnTo>
                    <a:pt x="8" y="38"/>
                  </a:lnTo>
                  <a:lnTo>
                    <a:pt x="4" y="34"/>
                  </a:lnTo>
                  <a:lnTo>
                    <a:pt x="4" y="30"/>
                  </a:lnTo>
                  <a:lnTo>
                    <a:pt x="4" y="26"/>
                  </a:lnTo>
                  <a:lnTo>
                    <a:pt x="0" y="22"/>
                  </a:lnTo>
                  <a:lnTo>
                    <a:pt x="4" y="22"/>
                  </a:lnTo>
                  <a:lnTo>
                    <a:pt x="8" y="22"/>
                  </a:lnTo>
                  <a:lnTo>
                    <a:pt x="12" y="22"/>
                  </a:lnTo>
                  <a:lnTo>
                    <a:pt x="12" y="26"/>
                  </a:lnTo>
                  <a:lnTo>
                    <a:pt x="16" y="26"/>
                  </a:lnTo>
                  <a:lnTo>
                    <a:pt x="16" y="22"/>
                  </a:lnTo>
                  <a:lnTo>
                    <a:pt x="20" y="22"/>
                  </a:lnTo>
                  <a:lnTo>
                    <a:pt x="20" y="18"/>
                  </a:lnTo>
                  <a:lnTo>
                    <a:pt x="24" y="18"/>
                  </a:lnTo>
                  <a:lnTo>
                    <a:pt x="24" y="16"/>
                  </a:lnTo>
                  <a:lnTo>
                    <a:pt x="26" y="16"/>
                  </a:lnTo>
                  <a:lnTo>
                    <a:pt x="26" y="18"/>
                  </a:lnTo>
                  <a:lnTo>
                    <a:pt x="26" y="16"/>
                  </a:lnTo>
                  <a:lnTo>
                    <a:pt x="30" y="16"/>
                  </a:lnTo>
                  <a:lnTo>
                    <a:pt x="30" y="12"/>
                  </a:lnTo>
                  <a:lnTo>
                    <a:pt x="34" y="12"/>
                  </a:lnTo>
                  <a:lnTo>
                    <a:pt x="38" y="12"/>
                  </a:lnTo>
                  <a:lnTo>
                    <a:pt x="38" y="8"/>
                  </a:lnTo>
                  <a:lnTo>
                    <a:pt x="42" y="4"/>
                  </a:lnTo>
                  <a:lnTo>
                    <a:pt x="46" y="4"/>
                  </a:lnTo>
                  <a:lnTo>
                    <a:pt x="50" y="0"/>
                  </a:lnTo>
                  <a:lnTo>
                    <a:pt x="52" y="0"/>
                  </a:lnTo>
                  <a:lnTo>
                    <a:pt x="56" y="0"/>
                  </a:lnTo>
                  <a:lnTo>
                    <a:pt x="56" y="4"/>
                  </a:lnTo>
                  <a:lnTo>
                    <a:pt x="56" y="0"/>
                  </a:lnTo>
                  <a:lnTo>
                    <a:pt x="60" y="0"/>
                  </a:lnTo>
                  <a:lnTo>
                    <a:pt x="60" y="4"/>
                  </a:lnTo>
                  <a:lnTo>
                    <a:pt x="60" y="8"/>
                  </a:lnTo>
                  <a:lnTo>
                    <a:pt x="60" y="12"/>
                  </a:lnTo>
                  <a:lnTo>
                    <a:pt x="60" y="16"/>
                  </a:lnTo>
                  <a:lnTo>
                    <a:pt x="60" y="18"/>
                  </a:lnTo>
                  <a:lnTo>
                    <a:pt x="60" y="22"/>
                  </a:lnTo>
                  <a:lnTo>
                    <a:pt x="60" y="26"/>
                  </a:lnTo>
                  <a:lnTo>
                    <a:pt x="60" y="30"/>
                  </a:lnTo>
                  <a:lnTo>
                    <a:pt x="64" y="34"/>
                  </a:lnTo>
                  <a:lnTo>
                    <a:pt x="64" y="38"/>
                  </a:lnTo>
                  <a:lnTo>
                    <a:pt x="64" y="34"/>
                  </a:lnTo>
                  <a:lnTo>
                    <a:pt x="64" y="38"/>
                  </a:lnTo>
                  <a:lnTo>
                    <a:pt x="64" y="42"/>
                  </a:lnTo>
                  <a:lnTo>
                    <a:pt x="66" y="42"/>
                  </a:lnTo>
                  <a:lnTo>
                    <a:pt x="70" y="46"/>
                  </a:lnTo>
                  <a:lnTo>
                    <a:pt x="74" y="48"/>
                  </a:lnTo>
                  <a:lnTo>
                    <a:pt x="78" y="48"/>
                  </a:lnTo>
                  <a:lnTo>
                    <a:pt x="82" y="48"/>
                  </a:lnTo>
                  <a:lnTo>
                    <a:pt x="86" y="48"/>
                  </a:lnTo>
                  <a:lnTo>
                    <a:pt x="86" y="52"/>
                  </a:lnTo>
                  <a:lnTo>
                    <a:pt x="90" y="52"/>
                  </a:lnTo>
                  <a:lnTo>
                    <a:pt x="94" y="52"/>
                  </a:lnTo>
                  <a:lnTo>
                    <a:pt x="94" y="56"/>
                  </a:lnTo>
                  <a:lnTo>
                    <a:pt x="96" y="56"/>
                  </a:lnTo>
                  <a:lnTo>
                    <a:pt x="100" y="60"/>
                  </a:lnTo>
                  <a:lnTo>
                    <a:pt x="104" y="60"/>
                  </a:lnTo>
                  <a:lnTo>
                    <a:pt x="104" y="64"/>
                  </a:lnTo>
                  <a:lnTo>
                    <a:pt x="108" y="64"/>
                  </a:lnTo>
                  <a:lnTo>
                    <a:pt x="108" y="68"/>
                  </a:lnTo>
                  <a:lnTo>
                    <a:pt x="112" y="68"/>
                  </a:lnTo>
                  <a:lnTo>
                    <a:pt x="116" y="68"/>
                  </a:lnTo>
                  <a:lnTo>
                    <a:pt x="120" y="68"/>
                  </a:lnTo>
                  <a:lnTo>
                    <a:pt x="122" y="68"/>
                  </a:lnTo>
                  <a:lnTo>
                    <a:pt x="126" y="72"/>
                  </a:lnTo>
                  <a:lnTo>
                    <a:pt x="130" y="72"/>
                  </a:lnTo>
                  <a:lnTo>
                    <a:pt x="130" y="74"/>
                  </a:lnTo>
                  <a:lnTo>
                    <a:pt x="126" y="78"/>
                  </a:lnTo>
                  <a:lnTo>
                    <a:pt x="130" y="78"/>
                  </a:lnTo>
                  <a:lnTo>
                    <a:pt x="130" y="82"/>
                  </a:lnTo>
                  <a:lnTo>
                    <a:pt x="130" y="86"/>
                  </a:lnTo>
                  <a:lnTo>
                    <a:pt x="130" y="90"/>
                  </a:lnTo>
                  <a:lnTo>
                    <a:pt x="130" y="94"/>
                  </a:lnTo>
                  <a:lnTo>
                    <a:pt x="126" y="94"/>
                  </a:lnTo>
                  <a:lnTo>
                    <a:pt x="130" y="98"/>
                  </a:lnTo>
                  <a:lnTo>
                    <a:pt x="130" y="100"/>
                  </a:lnTo>
                  <a:lnTo>
                    <a:pt x="134" y="108"/>
                  </a:lnTo>
                  <a:lnTo>
                    <a:pt x="134" y="116"/>
                  </a:lnTo>
                  <a:lnTo>
                    <a:pt x="142" y="116"/>
                  </a:lnTo>
                  <a:lnTo>
                    <a:pt x="150" y="116"/>
                  </a:lnTo>
                  <a:lnTo>
                    <a:pt x="156" y="116"/>
                  </a:lnTo>
                  <a:lnTo>
                    <a:pt x="160" y="116"/>
                  </a:lnTo>
                  <a:lnTo>
                    <a:pt x="160" y="120"/>
                  </a:lnTo>
                  <a:lnTo>
                    <a:pt x="156" y="120"/>
                  </a:lnTo>
                  <a:lnTo>
                    <a:pt x="156" y="124"/>
                  </a:lnTo>
                  <a:lnTo>
                    <a:pt x="156" y="128"/>
                  </a:lnTo>
                  <a:lnTo>
                    <a:pt x="156" y="130"/>
                  </a:lnTo>
                  <a:lnTo>
                    <a:pt x="160" y="130"/>
                  </a:lnTo>
                  <a:lnTo>
                    <a:pt x="160" y="134"/>
                  </a:lnTo>
                  <a:lnTo>
                    <a:pt x="164" y="134"/>
                  </a:lnTo>
                  <a:lnTo>
                    <a:pt x="168" y="138"/>
                  </a:lnTo>
                  <a:lnTo>
                    <a:pt x="168" y="142"/>
                  </a:lnTo>
                  <a:lnTo>
                    <a:pt x="168" y="146"/>
                  </a:lnTo>
                  <a:lnTo>
                    <a:pt x="172" y="150"/>
                  </a:lnTo>
                  <a:lnTo>
                    <a:pt x="168" y="154"/>
                  </a:lnTo>
                  <a:lnTo>
                    <a:pt x="168" y="160"/>
                  </a:lnTo>
                  <a:lnTo>
                    <a:pt x="168" y="164"/>
                  </a:lnTo>
                  <a:lnTo>
                    <a:pt x="164" y="164"/>
                  </a:lnTo>
                  <a:lnTo>
                    <a:pt x="164" y="168"/>
                  </a:lnTo>
                  <a:lnTo>
                    <a:pt x="164" y="176"/>
                  </a:lnTo>
                  <a:lnTo>
                    <a:pt x="160" y="176"/>
                  </a:lnTo>
                  <a:lnTo>
                    <a:pt x="164" y="176"/>
                  </a:lnTo>
                  <a:lnTo>
                    <a:pt x="164" y="180"/>
                  </a:lnTo>
                  <a:lnTo>
                    <a:pt x="160" y="184"/>
                  </a:lnTo>
                  <a:lnTo>
                    <a:pt x="160" y="180"/>
                  </a:lnTo>
                  <a:lnTo>
                    <a:pt x="160" y="176"/>
                  </a:lnTo>
                  <a:lnTo>
                    <a:pt x="156" y="172"/>
                  </a:lnTo>
                  <a:lnTo>
                    <a:pt x="152" y="172"/>
                  </a:lnTo>
                  <a:lnTo>
                    <a:pt x="150" y="168"/>
                  </a:lnTo>
                  <a:lnTo>
                    <a:pt x="142" y="168"/>
                  </a:lnTo>
                  <a:lnTo>
                    <a:pt x="134" y="168"/>
                  </a:lnTo>
                  <a:lnTo>
                    <a:pt x="130" y="168"/>
                  </a:lnTo>
                  <a:lnTo>
                    <a:pt x="126" y="168"/>
                  </a:lnTo>
                  <a:lnTo>
                    <a:pt x="126" y="172"/>
                  </a:lnTo>
                  <a:lnTo>
                    <a:pt x="122" y="172"/>
                  </a:lnTo>
                  <a:lnTo>
                    <a:pt x="116" y="172"/>
                  </a:lnTo>
                  <a:lnTo>
                    <a:pt x="112" y="172"/>
                  </a:lnTo>
                  <a:lnTo>
                    <a:pt x="112" y="176"/>
                  </a:lnTo>
                  <a:lnTo>
                    <a:pt x="108" y="180"/>
                  </a:lnTo>
                  <a:lnTo>
                    <a:pt x="104" y="186"/>
                  </a:lnTo>
                  <a:lnTo>
                    <a:pt x="104" y="186"/>
                  </a:lnTo>
                  <a:lnTo>
                    <a:pt x="104" y="18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87" name="Freeform 180"/>
            <p:cNvSpPr>
              <a:spLocks noEditPoints="1"/>
            </p:cNvSpPr>
            <p:nvPr/>
          </p:nvSpPr>
          <p:spPr bwMode="auto">
            <a:xfrm>
              <a:off x="6383417" y="4100294"/>
              <a:ext cx="347901" cy="448501"/>
            </a:xfrm>
            <a:custGeom>
              <a:avLst/>
              <a:gdLst>
                <a:gd name="T0" fmla="*/ 424 w 554"/>
                <a:gd name="T1" fmla="*/ 140 h 686"/>
                <a:gd name="T2" fmla="*/ 460 w 554"/>
                <a:gd name="T3" fmla="*/ 142 h 686"/>
                <a:gd name="T4" fmla="*/ 520 w 554"/>
                <a:gd name="T5" fmla="*/ 172 h 686"/>
                <a:gd name="T6" fmla="*/ 554 w 554"/>
                <a:gd name="T7" fmla="*/ 224 h 686"/>
                <a:gd name="T8" fmla="*/ 520 w 554"/>
                <a:gd name="T9" fmla="*/ 280 h 686"/>
                <a:gd name="T10" fmla="*/ 498 w 554"/>
                <a:gd name="T11" fmla="*/ 310 h 686"/>
                <a:gd name="T12" fmla="*/ 494 w 554"/>
                <a:gd name="T13" fmla="*/ 358 h 686"/>
                <a:gd name="T14" fmla="*/ 484 w 554"/>
                <a:gd name="T15" fmla="*/ 418 h 686"/>
                <a:gd name="T16" fmla="*/ 454 w 554"/>
                <a:gd name="T17" fmla="*/ 482 h 686"/>
                <a:gd name="T18" fmla="*/ 420 w 554"/>
                <a:gd name="T19" fmla="*/ 490 h 686"/>
                <a:gd name="T20" fmla="*/ 384 w 554"/>
                <a:gd name="T21" fmla="*/ 512 h 686"/>
                <a:gd name="T22" fmla="*/ 358 w 554"/>
                <a:gd name="T23" fmla="*/ 546 h 686"/>
                <a:gd name="T24" fmla="*/ 350 w 554"/>
                <a:gd name="T25" fmla="*/ 594 h 686"/>
                <a:gd name="T26" fmla="*/ 316 w 554"/>
                <a:gd name="T27" fmla="*/ 650 h 686"/>
                <a:gd name="T28" fmla="*/ 330 w 554"/>
                <a:gd name="T29" fmla="*/ 622 h 686"/>
                <a:gd name="T30" fmla="*/ 312 w 554"/>
                <a:gd name="T31" fmla="*/ 646 h 686"/>
                <a:gd name="T32" fmla="*/ 294 w 554"/>
                <a:gd name="T33" fmla="*/ 664 h 686"/>
                <a:gd name="T34" fmla="*/ 256 w 554"/>
                <a:gd name="T35" fmla="*/ 630 h 686"/>
                <a:gd name="T36" fmla="*/ 248 w 554"/>
                <a:gd name="T37" fmla="*/ 600 h 686"/>
                <a:gd name="T38" fmla="*/ 286 w 554"/>
                <a:gd name="T39" fmla="*/ 564 h 686"/>
                <a:gd name="T40" fmla="*/ 272 w 554"/>
                <a:gd name="T41" fmla="*/ 508 h 686"/>
                <a:gd name="T42" fmla="*/ 230 w 554"/>
                <a:gd name="T43" fmla="*/ 474 h 686"/>
                <a:gd name="T44" fmla="*/ 230 w 554"/>
                <a:gd name="T45" fmla="*/ 404 h 686"/>
                <a:gd name="T46" fmla="*/ 192 w 554"/>
                <a:gd name="T47" fmla="*/ 348 h 686"/>
                <a:gd name="T48" fmla="*/ 148 w 554"/>
                <a:gd name="T49" fmla="*/ 310 h 686"/>
                <a:gd name="T50" fmla="*/ 118 w 554"/>
                <a:gd name="T51" fmla="*/ 258 h 686"/>
                <a:gd name="T52" fmla="*/ 74 w 554"/>
                <a:gd name="T53" fmla="*/ 284 h 686"/>
                <a:gd name="T54" fmla="*/ 30 w 554"/>
                <a:gd name="T55" fmla="*/ 262 h 686"/>
                <a:gd name="T56" fmla="*/ 4 w 554"/>
                <a:gd name="T57" fmla="*/ 216 h 686"/>
                <a:gd name="T58" fmla="*/ 36 w 554"/>
                <a:gd name="T59" fmla="*/ 168 h 686"/>
                <a:gd name="T60" fmla="*/ 66 w 554"/>
                <a:gd name="T61" fmla="*/ 110 h 686"/>
                <a:gd name="T62" fmla="*/ 66 w 554"/>
                <a:gd name="T63" fmla="*/ 64 h 686"/>
                <a:gd name="T64" fmla="*/ 108 w 554"/>
                <a:gd name="T65" fmla="*/ 80 h 686"/>
                <a:gd name="T66" fmla="*/ 152 w 554"/>
                <a:gd name="T67" fmla="*/ 54 h 686"/>
                <a:gd name="T68" fmla="*/ 140 w 554"/>
                <a:gd name="T69" fmla="*/ 28 h 686"/>
                <a:gd name="T70" fmla="*/ 186 w 554"/>
                <a:gd name="T71" fmla="*/ 16 h 686"/>
                <a:gd name="T72" fmla="*/ 196 w 554"/>
                <a:gd name="T73" fmla="*/ 46 h 686"/>
                <a:gd name="T74" fmla="*/ 234 w 554"/>
                <a:gd name="T75" fmla="*/ 60 h 686"/>
                <a:gd name="T76" fmla="*/ 282 w 554"/>
                <a:gd name="T77" fmla="*/ 56 h 686"/>
                <a:gd name="T78" fmla="*/ 320 w 554"/>
                <a:gd name="T79" fmla="*/ 24 h 686"/>
                <a:gd name="T80" fmla="*/ 338 w 554"/>
                <a:gd name="T81" fmla="*/ 72 h 686"/>
                <a:gd name="T82" fmla="*/ 302 w 554"/>
                <a:gd name="T83" fmla="*/ 120 h 686"/>
                <a:gd name="T84" fmla="*/ 316 w 554"/>
                <a:gd name="T85" fmla="*/ 128 h 686"/>
                <a:gd name="T86" fmla="*/ 346 w 554"/>
                <a:gd name="T87" fmla="*/ 120 h 686"/>
                <a:gd name="T88" fmla="*/ 364 w 554"/>
                <a:gd name="T89" fmla="*/ 116 h 686"/>
                <a:gd name="T90" fmla="*/ 390 w 554"/>
                <a:gd name="T91" fmla="*/ 114 h 686"/>
                <a:gd name="T92" fmla="*/ 414 w 554"/>
                <a:gd name="T93" fmla="*/ 124 h 686"/>
                <a:gd name="T94" fmla="*/ 328 w 554"/>
                <a:gd name="T95" fmla="*/ 110 h 686"/>
                <a:gd name="T96" fmla="*/ 360 w 554"/>
                <a:gd name="T97" fmla="*/ 110 h 686"/>
                <a:gd name="T98" fmla="*/ 338 w 554"/>
                <a:gd name="T99" fmla="*/ 76 h 686"/>
                <a:gd name="T100" fmla="*/ 330 w 554"/>
                <a:gd name="T101" fmla="*/ 86 h 686"/>
                <a:gd name="T102" fmla="*/ 330 w 554"/>
                <a:gd name="T103" fmla="*/ 90 h 686"/>
                <a:gd name="T104" fmla="*/ 328 w 554"/>
                <a:gd name="T105" fmla="*/ 90 h 686"/>
                <a:gd name="T106" fmla="*/ 324 w 554"/>
                <a:gd name="T107" fmla="*/ 98 h 686"/>
                <a:gd name="T108" fmla="*/ 324 w 554"/>
                <a:gd name="T109" fmla="*/ 110 h 686"/>
                <a:gd name="T110" fmla="*/ 386 w 554"/>
                <a:gd name="T111" fmla="*/ 110 h 686"/>
                <a:gd name="T112" fmla="*/ 410 w 554"/>
                <a:gd name="T113" fmla="*/ 116 h 686"/>
                <a:gd name="T114" fmla="*/ 354 w 554"/>
                <a:gd name="T115" fmla="*/ 120 h 686"/>
                <a:gd name="T116" fmla="*/ 416 w 554"/>
                <a:gd name="T117" fmla="*/ 142 h 686"/>
                <a:gd name="T118" fmla="*/ 360 w 554"/>
                <a:gd name="T119" fmla="*/ 546 h 686"/>
                <a:gd name="T120" fmla="*/ 324 w 554"/>
                <a:gd name="T121" fmla="*/ 102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4" h="686">
                  <a:moveTo>
                    <a:pt x="414" y="124"/>
                  </a:moveTo>
                  <a:lnTo>
                    <a:pt x="416" y="124"/>
                  </a:lnTo>
                  <a:lnTo>
                    <a:pt x="416" y="128"/>
                  </a:lnTo>
                  <a:lnTo>
                    <a:pt x="416" y="132"/>
                  </a:lnTo>
                  <a:lnTo>
                    <a:pt x="416" y="128"/>
                  </a:lnTo>
                  <a:lnTo>
                    <a:pt x="420" y="132"/>
                  </a:lnTo>
                  <a:lnTo>
                    <a:pt x="416" y="136"/>
                  </a:lnTo>
                  <a:lnTo>
                    <a:pt x="416" y="140"/>
                  </a:lnTo>
                  <a:lnTo>
                    <a:pt x="414" y="142"/>
                  </a:lnTo>
                  <a:lnTo>
                    <a:pt x="416" y="142"/>
                  </a:lnTo>
                  <a:lnTo>
                    <a:pt x="414" y="146"/>
                  </a:lnTo>
                  <a:lnTo>
                    <a:pt x="414" y="150"/>
                  </a:lnTo>
                  <a:lnTo>
                    <a:pt x="416" y="146"/>
                  </a:lnTo>
                  <a:lnTo>
                    <a:pt x="416" y="142"/>
                  </a:lnTo>
                  <a:lnTo>
                    <a:pt x="420" y="140"/>
                  </a:lnTo>
                  <a:lnTo>
                    <a:pt x="420" y="136"/>
                  </a:lnTo>
                  <a:lnTo>
                    <a:pt x="424" y="136"/>
                  </a:lnTo>
                  <a:lnTo>
                    <a:pt x="424" y="140"/>
                  </a:lnTo>
                  <a:lnTo>
                    <a:pt x="420" y="140"/>
                  </a:lnTo>
                  <a:lnTo>
                    <a:pt x="420" y="142"/>
                  </a:lnTo>
                  <a:lnTo>
                    <a:pt x="424" y="140"/>
                  </a:lnTo>
                  <a:lnTo>
                    <a:pt x="424" y="136"/>
                  </a:lnTo>
                  <a:lnTo>
                    <a:pt x="428" y="136"/>
                  </a:lnTo>
                  <a:lnTo>
                    <a:pt x="432" y="136"/>
                  </a:lnTo>
                  <a:lnTo>
                    <a:pt x="432" y="132"/>
                  </a:lnTo>
                  <a:lnTo>
                    <a:pt x="436" y="132"/>
                  </a:lnTo>
                  <a:lnTo>
                    <a:pt x="436" y="136"/>
                  </a:lnTo>
                  <a:lnTo>
                    <a:pt x="440" y="136"/>
                  </a:lnTo>
                  <a:lnTo>
                    <a:pt x="444" y="136"/>
                  </a:lnTo>
                  <a:lnTo>
                    <a:pt x="444" y="140"/>
                  </a:lnTo>
                  <a:lnTo>
                    <a:pt x="446" y="140"/>
                  </a:lnTo>
                  <a:lnTo>
                    <a:pt x="450" y="140"/>
                  </a:lnTo>
                  <a:lnTo>
                    <a:pt x="450" y="142"/>
                  </a:lnTo>
                  <a:lnTo>
                    <a:pt x="450" y="140"/>
                  </a:lnTo>
                  <a:lnTo>
                    <a:pt x="454" y="140"/>
                  </a:lnTo>
                  <a:lnTo>
                    <a:pt x="454" y="142"/>
                  </a:lnTo>
                  <a:lnTo>
                    <a:pt x="454" y="140"/>
                  </a:lnTo>
                  <a:lnTo>
                    <a:pt x="458" y="140"/>
                  </a:lnTo>
                  <a:lnTo>
                    <a:pt x="458" y="142"/>
                  </a:lnTo>
                  <a:lnTo>
                    <a:pt x="460" y="142"/>
                  </a:lnTo>
                  <a:lnTo>
                    <a:pt x="464" y="142"/>
                  </a:lnTo>
                  <a:lnTo>
                    <a:pt x="460" y="142"/>
                  </a:lnTo>
                  <a:lnTo>
                    <a:pt x="464" y="142"/>
                  </a:lnTo>
                  <a:lnTo>
                    <a:pt x="468" y="142"/>
                  </a:lnTo>
                  <a:lnTo>
                    <a:pt x="472" y="142"/>
                  </a:lnTo>
                  <a:lnTo>
                    <a:pt x="472" y="140"/>
                  </a:lnTo>
                  <a:lnTo>
                    <a:pt x="476" y="140"/>
                  </a:lnTo>
                  <a:lnTo>
                    <a:pt x="480" y="142"/>
                  </a:lnTo>
                  <a:lnTo>
                    <a:pt x="484" y="142"/>
                  </a:lnTo>
                  <a:lnTo>
                    <a:pt x="486" y="146"/>
                  </a:lnTo>
                  <a:lnTo>
                    <a:pt x="490" y="146"/>
                  </a:lnTo>
                  <a:lnTo>
                    <a:pt x="490" y="150"/>
                  </a:lnTo>
                  <a:lnTo>
                    <a:pt x="494" y="150"/>
                  </a:lnTo>
                  <a:lnTo>
                    <a:pt x="498" y="154"/>
                  </a:lnTo>
                  <a:lnTo>
                    <a:pt x="502" y="156"/>
                  </a:lnTo>
                  <a:lnTo>
                    <a:pt x="506" y="156"/>
                  </a:lnTo>
                  <a:lnTo>
                    <a:pt x="506" y="160"/>
                  </a:lnTo>
                  <a:lnTo>
                    <a:pt x="506" y="164"/>
                  </a:lnTo>
                  <a:lnTo>
                    <a:pt x="510" y="164"/>
                  </a:lnTo>
                  <a:lnTo>
                    <a:pt x="514" y="168"/>
                  </a:lnTo>
                  <a:lnTo>
                    <a:pt x="514" y="172"/>
                  </a:lnTo>
                  <a:lnTo>
                    <a:pt x="516" y="172"/>
                  </a:lnTo>
                  <a:lnTo>
                    <a:pt x="520" y="172"/>
                  </a:lnTo>
                  <a:lnTo>
                    <a:pt x="520" y="176"/>
                  </a:lnTo>
                  <a:lnTo>
                    <a:pt x="524" y="176"/>
                  </a:lnTo>
                  <a:lnTo>
                    <a:pt x="524" y="180"/>
                  </a:lnTo>
                  <a:lnTo>
                    <a:pt x="528" y="180"/>
                  </a:lnTo>
                  <a:lnTo>
                    <a:pt x="532" y="180"/>
                  </a:lnTo>
                  <a:lnTo>
                    <a:pt x="536" y="180"/>
                  </a:lnTo>
                  <a:lnTo>
                    <a:pt x="540" y="180"/>
                  </a:lnTo>
                  <a:lnTo>
                    <a:pt x="542" y="180"/>
                  </a:lnTo>
                  <a:lnTo>
                    <a:pt x="546" y="180"/>
                  </a:lnTo>
                  <a:lnTo>
                    <a:pt x="546" y="184"/>
                  </a:lnTo>
                  <a:lnTo>
                    <a:pt x="546" y="186"/>
                  </a:lnTo>
                  <a:lnTo>
                    <a:pt x="546" y="190"/>
                  </a:lnTo>
                  <a:lnTo>
                    <a:pt x="550" y="194"/>
                  </a:lnTo>
                  <a:lnTo>
                    <a:pt x="550" y="198"/>
                  </a:lnTo>
                  <a:lnTo>
                    <a:pt x="550" y="202"/>
                  </a:lnTo>
                  <a:lnTo>
                    <a:pt x="550" y="206"/>
                  </a:lnTo>
                  <a:lnTo>
                    <a:pt x="554" y="210"/>
                  </a:lnTo>
                  <a:lnTo>
                    <a:pt x="554" y="212"/>
                  </a:lnTo>
                  <a:lnTo>
                    <a:pt x="554" y="216"/>
                  </a:lnTo>
                  <a:lnTo>
                    <a:pt x="554" y="220"/>
                  </a:lnTo>
                  <a:lnTo>
                    <a:pt x="554" y="224"/>
                  </a:lnTo>
                  <a:lnTo>
                    <a:pt x="554" y="228"/>
                  </a:lnTo>
                  <a:lnTo>
                    <a:pt x="554" y="232"/>
                  </a:lnTo>
                  <a:lnTo>
                    <a:pt x="550" y="236"/>
                  </a:lnTo>
                  <a:lnTo>
                    <a:pt x="550" y="240"/>
                  </a:lnTo>
                  <a:lnTo>
                    <a:pt x="550" y="242"/>
                  </a:lnTo>
                  <a:lnTo>
                    <a:pt x="550" y="246"/>
                  </a:lnTo>
                  <a:lnTo>
                    <a:pt x="546" y="246"/>
                  </a:lnTo>
                  <a:lnTo>
                    <a:pt x="546" y="250"/>
                  </a:lnTo>
                  <a:lnTo>
                    <a:pt x="542" y="254"/>
                  </a:lnTo>
                  <a:lnTo>
                    <a:pt x="542" y="258"/>
                  </a:lnTo>
                  <a:lnTo>
                    <a:pt x="540" y="258"/>
                  </a:lnTo>
                  <a:lnTo>
                    <a:pt x="540" y="262"/>
                  </a:lnTo>
                  <a:lnTo>
                    <a:pt x="536" y="266"/>
                  </a:lnTo>
                  <a:lnTo>
                    <a:pt x="532" y="268"/>
                  </a:lnTo>
                  <a:lnTo>
                    <a:pt x="532" y="272"/>
                  </a:lnTo>
                  <a:lnTo>
                    <a:pt x="528" y="272"/>
                  </a:lnTo>
                  <a:lnTo>
                    <a:pt x="524" y="276"/>
                  </a:lnTo>
                  <a:lnTo>
                    <a:pt x="524" y="280"/>
                  </a:lnTo>
                  <a:lnTo>
                    <a:pt x="520" y="280"/>
                  </a:lnTo>
                  <a:lnTo>
                    <a:pt x="520" y="276"/>
                  </a:lnTo>
                  <a:lnTo>
                    <a:pt x="520" y="280"/>
                  </a:lnTo>
                  <a:lnTo>
                    <a:pt x="520" y="284"/>
                  </a:lnTo>
                  <a:lnTo>
                    <a:pt x="520" y="280"/>
                  </a:lnTo>
                  <a:lnTo>
                    <a:pt x="520" y="284"/>
                  </a:lnTo>
                  <a:lnTo>
                    <a:pt x="516" y="288"/>
                  </a:lnTo>
                  <a:lnTo>
                    <a:pt x="516" y="284"/>
                  </a:lnTo>
                  <a:lnTo>
                    <a:pt x="516" y="288"/>
                  </a:lnTo>
                  <a:lnTo>
                    <a:pt x="516" y="292"/>
                  </a:lnTo>
                  <a:lnTo>
                    <a:pt x="514" y="296"/>
                  </a:lnTo>
                  <a:lnTo>
                    <a:pt x="514" y="298"/>
                  </a:lnTo>
                  <a:lnTo>
                    <a:pt x="514" y="302"/>
                  </a:lnTo>
                  <a:lnTo>
                    <a:pt x="510" y="302"/>
                  </a:lnTo>
                  <a:lnTo>
                    <a:pt x="510" y="306"/>
                  </a:lnTo>
                  <a:lnTo>
                    <a:pt x="510" y="310"/>
                  </a:lnTo>
                  <a:lnTo>
                    <a:pt x="506" y="314"/>
                  </a:lnTo>
                  <a:lnTo>
                    <a:pt x="502" y="314"/>
                  </a:lnTo>
                  <a:lnTo>
                    <a:pt x="502" y="310"/>
                  </a:lnTo>
                  <a:lnTo>
                    <a:pt x="498" y="310"/>
                  </a:lnTo>
                  <a:lnTo>
                    <a:pt x="498" y="306"/>
                  </a:lnTo>
                  <a:lnTo>
                    <a:pt x="498" y="310"/>
                  </a:lnTo>
                  <a:lnTo>
                    <a:pt x="498" y="314"/>
                  </a:lnTo>
                  <a:lnTo>
                    <a:pt x="498" y="310"/>
                  </a:lnTo>
                  <a:lnTo>
                    <a:pt x="494" y="310"/>
                  </a:lnTo>
                  <a:lnTo>
                    <a:pt x="498" y="310"/>
                  </a:lnTo>
                  <a:lnTo>
                    <a:pt x="494" y="310"/>
                  </a:lnTo>
                  <a:lnTo>
                    <a:pt x="498" y="314"/>
                  </a:lnTo>
                  <a:lnTo>
                    <a:pt x="498" y="318"/>
                  </a:lnTo>
                  <a:lnTo>
                    <a:pt x="494" y="318"/>
                  </a:lnTo>
                  <a:lnTo>
                    <a:pt x="494" y="322"/>
                  </a:lnTo>
                  <a:lnTo>
                    <a:pt x="494" y="326"/>
                  </a:lnTo>
                  <a:lnTo>
                    <a:pt x="494" y="328"/>
                  </a:lnTo>
                  <a:lnTo>
                    <a:pt x="494" y="332"/>
                  </a:lnTo>
                  <a:lnTo>
                    <a:pt x="494" y="336"/>
                  </a:lnTo>
                  <a:lnTo>
                    <a:pt x="494" y="332"/>
                  </a:lnTo>
                  <a:lnTo>
                    <a:pt x="494" y="328"/>
                  </a:lnTo>
                  <a:lnTo>
                    <a:pt x="494" y="332"/>
                  </a:lnTo>
                  <a:lnTo>
                    <a:pt x="494" y="336"/>
                  </a:lnTo>
                  <a:lnTo>
                    <a:pt x="494" y="340"/>
                  </a:lnTo>
                  <a:lnTo>
                    <a:pt x="494" y="344"/>
                  </a:lnTo>
                  <a:lnTo>
                    <a:pt x="494" y="348"/>
                  </a:lnTo>
                  <a:lnTo>
                    <a:pt x="494" y="352"/>
                  </a:lnTo>
                  <a:lnTo>
                    <a:pt x="494" y="354"/>
                  </a:lnTo>
                  <a:lnTo>
                    <a:pt x="494" y="358"/>
                  </a:lnTo>
                  <a:lnTo>
                    <a:pt x="494" y="362"/>
                  </a:lnTo>
                  <a:lnTo>
                    <a:pt x="494" y="366"/>
                  </a:lnTo>
                  <a:lnTo>
                    <a:pt x="494" y="370"/>
                  </a:lnTo>
                  <a:lnTo>
                    <a:pt x="494" y="374"/>
                  </a:lnTo>
                  <a:lnTo>
                    <a:pt x="494" y="378"/>
                  </a:lnTo>
                  <a:lnTo>
                    <a:pt x="494" y="382"/>
                  </a:lnTo>
                  <a:lnTo>
                    <a:pt x="490" y="382"/>
                  </a:lnTo>
                  <a:lnTo>
                    <a:pt x="494" y="382"/>
                  </a:lnTo>
                  <a:lnTo>
                    <a:pt x="490" y="384"/>
                  </a:lnTo>
                  <a:lnTo>
                    <a:pt x="490" y="388"/>
                  </a:lnTo>
                  <a:lnTo>
                    <a:pt x="490" y="392"/>
                  </a:lnTo>
                  <a:lnTo>
                    <a:pt x="490" y="396"/>
                  </a:lnTo>
                  <a:lnTo>
                    <a:pt x="494" y="396"/>
                  </a:lnTo>
                  <a:lnTo>
                    <a:pt x="490" y="400"/>
                  </a:lnTo>
                  <a:lnTo>
                    <a:pt x="486" y="400"/>
                  </a:lnTo>
                  <a:lnTo>
                    <a:pt x="486" y="404"/>
                  </a:lnTo>
                  <a:lnTo>
                    <a:pt x="486" y="408"/>
                  </a:lnTo>
                  <a:lnTo>
                    <a:pt x="484" y="408"/>
                  </a:lnTo>
                  <a:lnTo>
                    <a:pt x="484" y="410"/>
                  </a:lnTo>
                  <a:lnTo>
                    <a:pt x="484" y="414"/>
                  </a:lnTo>
                  <a:lnTo>
                    <a:pt x="484" y="418"/>
                  </a:lnTo>
                  <a:lnTo>
                    <a:pt x="484" y="422"/>
                  </a:lnTo>
                  <a:lnTo>
                    <a:pt x="484" y="426"/>
                  </a:lnTo>
                  <a:lnTo>
                    <a:pt x="484" y="430"/>
                  </a:lnTo>
                  <a:lnTo>
                    <a:pt x="484" y="434"/>
                  </a:lnTo>
                  <a:lnTo>
                    <a:pt x="480" y="434"/>
                  </a:lnTo>
                  <a:lnTo>
                    <a:pt x="480" y="438"/>
                  </a:lnTo>
                  <a:lnTo>
                    <a:pt x="480" y="440"/>
                  </a:lnTo>
                  <a:lnTo>
                    <a:pt x="476" y="440"/>
                  </a:lnTo>
                  <a:lnTo>
                    <a:pt x="476" y="444"/>
                  </a:lnTo>
                  <a:lnTo>
                    <a:pt x="476" y="448"/>
                  </a:lnTo>
                  <a:lnTo>
                    <a:pt x="472" y="452"/>
                  </a:lnTo>
                  <a:lnTo>
                    <a:pt x="468" y="452"/>
                  </a:lnTo>
                  <a:lnTo>
                    <a:pt x="468" y="456"/>
                  </a:lnTo>
                  <a:lnTo>
                    <a:pt x="468" y="460"/>
                  </a:lnTo>
                  <a:lnTo>
                    <a:pt x="464" y="464"/>
                  </a:lnTo>
                  <a:lnTo>
                    <a:pt x="464" y="466"/>
                  </a:lnTo>
                  <a:lnTo>
                    <a:pt x="468" y="470"/>
                  </a:lnTo>
                  <a:lnTo>
                    <a:pt x="464" y="474"/>
                  </a:lnTo>
                  <a:lnTo>
                    <a:pt x="460" y="474"/>
                  </a:lnTo>
                  <a:lnTo>
                    <a:pt x="458" y="478"/>
                  </a:lnTo>
                  <a:lnTo>
                    <a:pt x="454" y="482"/>
                  </a:lnTo>
                  <a:lnTo>
                    <a:pt x="454" y="486"/>
                  </a:lnTo>
                  <a:lnTo>
                    <a:pt x="450" y="490"/>
                  </a:lnTo>
                  <a:lnTo>
                    <a:pt x="446" y="490"/>
                  </a:lnTo>
                  <a:lnTo>
                    <a:pt x="444" y="490"/>
                  </a:lnTo>
                  <a:lnTo>
                    <a:pt x="440" y="490"/>
                  </a:lnTo>
                  <a:lnTo>
                    <a:pt x="436" y="490"/>
                  </a:lnTo>
                  <a:lnTo>
                    <a:pt x="436" y="486"/>
                  </a:lnTo>
                  <a:lnTo>
                    <a:pt x="440" y="486"/>
                  </a:lnTo>
                  <a:lnTo>
                    <a:pt x="436" y="486"/>
                  </a:lnTo>
                  <a:lnTo>
                    <a:pt x="436" y="490"/>
                  </a:lnTo>
                  <a:lnTo>
                    <a:pt x="432" y="490"/>
                  </a:lnTo>
                  <a:lnTo>
                    <a:pt x="428" y="494"/>
                  </a:lnTo>
                  <a:lnTo>
                    <a:pt x="424" y="494"/>
                  </a:lnTo>
                  <a:lnTo>
                    <a:pt x="424" y="490"/>
                  </a:lnTo>
                  <a:lnTo>
                    <a:pt x="424" y="494"/>
                  </a:lnTo>
                  <a:lnTo>
                    <a:pt x="428" y="494"/>
                  </a:lnTo>
                  <a:lnTo>
                    <a:pt x="432" y="490"/>
                  </a:lnTo>
                  <a:lnTo>
                    <a:pt x="428" y="490"/>
                  </a:lnTo>
                  <a:lnTo>
                    <a:pt x="424" y="490"/>
                  </a:lnTo>
                  <a:lnTo>
                    <a:pt x="420" y="494"/>
                  </a:lnTo>
                  <a:lnTo>
                    <a:pt x="420" y="490"/>
                  </a:lnTo>
                  <a:lnTo>
                    <a:pt x="416" y="490"/>
                  </a:lnTo>
                  <a:lnTo>
                    <a:pt x="416" y="494"/>
                  </a:lnTo>
                  <a:lnTo>
                    <a:pt x="414" y="494"/>
                  </a:lnTo>
                  <a:lnTo>
                    <a:pt x="416" y="494"/>
                  </a:lnTo>
                  <a:lnTo>
                    <a:pt x="416" y="496"/>
                  </a:lnTo>
                  <a:lnTo>
                    <a:pt x="414" y="496"/>
                  </a:lnTo>
                  <a:lnTo>
                    <a:pt x="410" y="496"/>
                  </a:lnTo>
                  <a:lnTo>
                    <a:pt x="410" y="500"/>
                  </a:lnTo>
                  <a:lnTo>
                    <a:pt x="406" y="500"/>
                  </a:lnTo>
                  <a:lnTo>
                    <a:pt x="406" y="504"/>
                  </a:lnTo>
                  <a:lnTo>
                    <a:pt x="402" y="504"/>
                  </a:lnTo>
                  <a:lnTo>
                    <a:pt x="398" y="504"/>
                  </a:lnTo>
                  <a:lnTo>
                    <a:pt x="394" y="504"/>
                  </a:lnTo>
                  <a:lnTo>
                    <a:pt x="394" y="508"/>
                  </a:lnTo>
                  <a:lnTo>
                    <a:pt x="394" y="504"/>
                  </a:lnTo>
                  <a:lnTo>
                    <a:pt x="394" y="508"/>
                  </a:lnTo>
                  <a:lnTo>
                    <a:pt x="390" y="508"/>
                  </a:lnTo>
                  <a:lnTo>
                    <a:pt x="390" y="504"/>
                  </a:lnTo>
                  <a:lnTo>
                    <a:pt x="390" y="508"/>
                  </a:lnTo>
                  <a:lnTo>
                    <a:pt x="386" y="512"/>
                  </a:lnTo>
                  <a:lnTo>
                    <a:pt x="384" y="512"/>
                  </a:lnTo>
                  <a:lnTo>
                    <a:pt x="384" y="516"/>
                  </a:lnTo>
                  <a:lnTo>
                    <a:pt x="380" y="520"/>
                  </a:lnTo>
                  <a:lnTo>
                    <a:pt x="376" y="520"/>
                  </a:lnTo>
                  <a:lnTo>
                    <a:pt x="372" y="522"/>
                  </a:lnTo>
                  <a:lnTo>
                    <a:pt x="368" y="522"/>
                  </a:lnTo>
                  <a:lnTo>
                    <a:pt x="368" y="526"/>
                  </a:lnTo>
                  <a:lnTo>
                    <a:pt x="368" y="530"/>
                  </a:lnTo>
                  <a:lnTo>
                    <a:pt x="364" y="534"/>
                  </a:lnTo>
                  <a:lnTo>
                    <a:pt x="364" y="530"/>
                  </a:lnTo>
                  <a:lnTo>
                    <a:pt x="360" y="530"/>
                  </a:lnTo>
                  <a:lnTo>
                    <a:pt x="360" y="534"/>
                  </a:lnTo>
                  <a:lnTo>
                    <a:pt x="358" y="534"/>
                  </a:lnTo>
                  <a:lnTo>
                    <a:pt x="360" y="534"/>
                  </a:lnTo>
                  <a:lnTo>
                    <a:pt x="360" y="538"/>
                  </a:lnTo>
                  <a:lnTo>
                    <a:pt x="360" y="542"/>
                  </a:lnTo>
                  <a:lnTo>
                    <a:pt x="358" y="542"/>
                  </a:lnTo>
                  <a:lnTo>
                    <a:pt x="360" y="542"/>
                  </a:lnTo>
                  <a:lnTo>
                    <a:pt x="360" y="546"/>
                  </a:lnTo>
                  <a:lnTo>
                    <a:pt x="360" y="550"/>
                  </a:lnTo>
                  <a:lnTo>
                    <a:pt x="358" y="550"/>
                  </a:lnTo>
                  <a:lnTo>
                    <a:pt x="358" y="546"/>
                  </a:lnTo>
                  <a:lnTo>
                    <a:pt x="358" y="550"/>
                  </a:lnTo>
                  <a:lnTo>
                    <a:pt x="358" y="552"/>
                  </a:lnTo>
                  <a:lnTo>
                    <a:pt x="360" y="552"/>
                  </a:lnTo>
                  <a:lnTo>
                    <a:pt x="358" y="552"/>
                  </a:lnTo>
                  <a:lnTo>
                    <a:pt x="358" y="556"/>
                  </a:lnTo>
                  <a:lnTo>
                    <a:pt x="358" y="560"/>
                  </a:lnTo>
                  <a:lnTo>
                    <a:pt x="360" y="564"/>
                  </a:lnTo>
                  <a:lnTo>
                    <a:pt x="360" y="566"/>
                  </a:lnTo>
                  <a:lnTo>
                    <a:pt x="360" y="564"/>
                  </a:lnTo>
                  <a:lnTo>
                    <a:pt x="358" y="566"/>
                  </a:lnTo>
                  <a:lnTo>
                    <a:pt x="358" y="570"/>
                  </a:lnTo>
                  <a:lnTo>
                    <a:pt x="360" y="570"/>
                  </a:lnTo>
                  <a:lnTo>
                    <a:pt x="358" y="574"/>
                  </a:lnTo>
                  <a:lnTo>
                    <a:pt x="360" y="574"/>
                  </a:lnTo>
                  <a:lnTo>
                    <a:pt x="360" y="578"/>
                  </a:lnTo>
                  <a:lnTo>
                    <a:pt x="358" y="582"/>
                  </a:lnTo>
                  <a:lnTo>
                    <a:pt x="358" y="590"/>
                  </a:lnTo>
                  <a:lnTo>
                    <a:pt x="358" y="586"/>
                  </a:lnTo>
                  <a:lnTo>
                    <a:pt x="358" y="590"/>
                  </a:lnTo>
                  <a:lnTo>
                    <a:pt x="354" y="594"/>
                  </a:lnTo>
                  <a:lnTo>
                    <a:pt x="350" y="594"/>
                  </a:lnTo>
                  <a:lnTo>
                    <a:pt x="350" y="596"/>
                  </a:lnTo>
                  <a:lnTo>
                    <a:pt x="346" y="596"/>
                  </a:lnTo>
                  <a:lnTo>
                    <a:pt x="346" y="600"/>
                  </a:lnTo>
                  <a:lnTo>
                    <a:pt x="346" y="604"/>
                  </a:lnTo>
                  <a:lnTo>
                    <a:pt x="342" y="604"/>
                  </a:lnTo>
                  <a:lnTo>
                    <a:pt x="342" y="608"/>
                  </a:lnTo>
                  <a:lnTo>
                    <a:pt x="338" y="608"/>
                  </a:lnTo>
                  <a:lnTo>
                    <a:pt x="338" y="612"/>
                  </a:lnTo>
                  <a:lnTo>
                    <a:pt x="338" y="616"/>
                  </a:lnTo>
                  <a:lnTo>
                    <a:pt x="338" y="620"/>
                  </a:lnTo>
                  <a:lnTo>
                    <a:pt x="334" y="620"/>
                  </a:lnTo>
                  <a:lnTo>
                    <a:pt x="334" y="622"/>
                  </a:lnTo>
                  <a:lnTo>
                    <a:pt x="334" y="626"/>
                  </a:lnTo>
                  <a:lnTo>
                    <a:pt x="330" y="630"/>
                  </a:lnTo>
                  <a:lnTo>
                    <a:pt x="330" y="634"/>
                  </a:lnTo>
                  <a:lnTo>
                    <a:pt x="328" y="634"/>
                  </a:lnTo>
                  <a:lnTo>
                    <a:pt x="328" y="638"/>
                  </a:lnTo>
                  <a:lnTo>
                    <a:pt x="324" y="642"/>
                  </a:lnTo>
                  <a:lnTo>
                    <a:pt x="324" y="646"/>
                  </a:lnTo>
                  <a:lnTo>
                    <a:pt x="320" y="650"/>
                  </a:lnTo>
                  <a:lnTo>
                    <a:pt x="316" y="650"/>
                  </a:lnTo>
                  <a:lnTo>
                    <a:pt x="312" y="652"/>
                  </a:lnTo>
                  <a:lnTo>
                    <a:pt x="308" y="656"/>
                  </a:lnTo>
                  <a:lnTo>
                    <a:pt x="308" y="652"/>
                  </a:lnTo>
                  <a:lnTo>
                    <a:pt x="312" y="652"/>
                  </a:lnTo>
                  <a:lnTo>
                    <a:pt x="308" y="652"/>
                  </a:lnTo>
                  <a:lnTo>
                    <a:pt x="308" y="650"/>
                  </a:lnTo>
                  <a:lnTo>
                    <a:pt x="312" y="650"/>
                  </a:lnTo>
                  <a:lnTo>
                    <a:pt x="316" y="650"/>
                  </a:lnTo>
                  <a:lnTo>
                    <a:pt x="316" y="646"/>
                  </a:lnTo>
                  <a:lnTo>
                    <a:pt x="320" y="646"/>
                  </a:lnTo>
                  <a:lnTo>
                    <a:pt x="320" y="642"/>
                  </a:lnTo>
                  <a:lnTo>
                    <a:pt x="324" y="642"/>
                  </a:lnTo>
                  <a:lnTo>
                    <a:pt x="324" y="638"/>
                  </a:lnTo>
                  <a:lnTo>
                    <a:pt x="324" y="634"/>
                  </a:lnTo>
                  <a:lnTo>
                    <a:pt x="324" y="638"/>
                  </a:lnTo>
                  <a:lnTo>
                    <a:pt x="328" y="638"/>
                  </a:lnTo>
                  <a:lnTo>
                    <a:pt x="328" y="634"/>
                  </a:lnTo>
                  <a:lnTo>
                    <a:pt x="328" y="630"/>
                  </a:lnTo>
                  <a:lnTo>
                    <a:pt x="330" y="630"/>
                  </a:lnTo>
                  <a:lnTo>
                    <a:pt x="330" y="626"/>
                  </a:lnTo>
                  <a:lnTo>
                    <a:pt x="330" y="622"/>
                  </a:lnTo>
                  <a:lnTo>
                    <a:pt x="330" y="626"/>
                  </a:lnTo>
                  <a:lnTo>
                    <a:pt x="330" y="622"/>
                  </a:lnTo>
                  <a:lnTo>
                    <a:pt x="330" y="620"/>
                  </a:lnTo>
                  <a:lnTo>
                    <a:pt x="330" y="622"/>
                  </a:lnTo>
                  <a:lnTo>
                    <a:pt x="328" y="622"/>
                  </a:lnTo>
                  <a:lnTo>
                    <a:pt x="324" y="622"/>
                  </a:lnTo>
                  <a:lnTo>
                    <a:pt x="324" y="620"/>
                  </a:lnTo>
                  <a:lnTo>
                    <a:pt x="324" y="616"/>
                  </a:lnTo>
                  <a:lnTo>
                    <a:pt x="320" y="616"/>
                  </a:lnTo>
                  <a:lnTo>
                    <a:pt x="320" y="620"/>
                  </a:lnTo>
                  <a:lnTo>
                    <a:pt x="320" y="622"/>
                  </a:lnTo>
                  <a:lnTo>
                    <a:pt x="324" y="622"/>
                  </a:lnTo>
                  <a:lnTo>
                    <a:pt x="320" y="626"/>
                  </a:lnTo>
                  <a:lnTo>
                    <a:pt x="320" y="630"/>
                  </a:lnTo>
                  <a:lnTo>
                    <a:pt x="320" y="626"/>
                  </a:lnTo>
                  <a:lnTo>
                    <a:pt x="320" y="630"/>
                  </a:lnTo>
                  <a:lnTo>
                    <a:pt x="320" y="634"/>
                  </a:lnTo>
                  <a:lnTo>
                    <a:pt x="320" y="638"/>
                  </a:lnTo>
                  <a:lnTo>
                    <a:pt x="316" y="638"/>
                  </a:lnTo>
                  <a:lnTo>
                    <a:pt x="312" y="642"/>
                  </a:lnTo>
                  <a:lnTo>
                    <a:pt x="312" y="646"/>
                  </a:lnTo>
                  <a:lnTo>
                    <a:pt x="308" y="646"/>
                  </a:lnTo>
                  <a:lnTo>
                    <a:pt x="308" y="650"/>
                  </a:lnTo>
                  <a:lnTo>
                    <a:pt x="308" y="652"/>
                  </a:lnTo>
                  <a:lnTo>
                    <a:pt x="308" y="656"/>
                  </a:lnTo>
                  <a:lnTo>
                    <a:pt x="308" y="660"/>
                  </a:lnTo>
                  <a:lnTo>
                    <a:pt x="304" y="664"/>
                  </a:lnTo>
                  <a:lnTo>
                    <a:pt x="304" y="668"/>
                  </a:lnTo>
                  <a:lnTo>
                    <a:pt x="304" y="672"/>
                  </a:lnTo>
                  <a:lnTo>
                    <a:pt x="302" y="676"/>
                  </a:lnTo>
                  <a:lnTo>
                    <a:pt x="298" y="678"/>
                  </a:lnTo>
                  <a:lnTo>
                    <a:pt x="294" y="682"/>
                  </a:lnTo>
                  <a:lnTo>
                    <a:pt x="294" y="686"/>
                  </a:lnTo>
                  <a:lnTo>
                    <a:pt x="290" y="686"/>
                  </a:lnTo>
                  <a:lnTo>
                    <a:pt x="290" y="682"/>
                  </a:lnTo>
                  <a:lnTo>
                    <a:pt x="290" y="678"/>
                  </a:lnTo>
                  <a:lnTo>
                    <a:pt x="290" y="676"/>
                  </a:lnTo>
                  <a:lnTo>
                    <a:pt x="290" y="672"/>
                  </a:lnTo>
                  <a:lnTo>
                    <a:pt x="294" y="672"/>
                  </a:lnTo>
                  <a:lnTo>
                    <a:pt x="294" y="668"/>
                  </a:lnTo>
                  <a:lnTo>
                    <a:pt x="298" y="668"/>
                  </a:lnTo>
                  <a:lnTo>
                    <a:pt x="294" y="664"/>
                  </a:lnTo>
                  <a:lnTo>
                    <a:pt x="290" y="664"/>
                  </a:lnTo>
                  <a:lnTo>
                    <a:pt x="290" y="660"/>
                  </a:lnTo>
                  <a:lnTo>
                    <a:pt x="286" y="660"/>
                  </a:lnTo>
                  <a:lnTo>
                    <a:pt x="286" y="656"/>
                  </a:lnTo>
                  <a:lnTo>
                    <a:pt x="286" y="652"/>
                  </a:lnTo>
                  <a:lnTo>
                    <a:pt x="282" y="652"/>
                  </a:lnTo>
                  <a:lnTo>
                    <a:pt x="282" y="650"/>
                  </a:lnTo>
                  <a:lnTo>
                    <a:pt x="278" y="650"/>
                  </a:lnTo>
                  <a:lnTo>
                    <a:pt x="274" y="646"/>
                  </a:lnTo>
                  <a:lnTo>
                    <a:pt x="274" y="642"/>
                  </a:lnTo>
                  <a:lnTo>
                    <a:pt x="272" y="642"/>
                  </a:lnTo>
                  <a:lnTo>
                    <a:pt x="268" y="642"/>
                  </a:lnTo>
                  <a:lnTo>
                    <a:pt x="264" y="638"/>
                  </a:lnTo>
                  <a:lnTo>
                    <a:pt x="264" y="634"/>
                  </a:lnTo>
                  <a:lnTo>
                    <a:pt x="260" y="634"/>
                  </a:lnTo>
                  <a:lnTo>
                    <a:pt x="260" y="630"/>
                  </a:lnTo>
                  <a:lnTo>
                    <a:pt x="260" y="634"/>
                  </a:lnTo>
                  <a:lnTo>
                    <a:pt x="256" y="634"/>
                  </a:lnTo>
                  <a:lnTo>
                    <a:pt x="252" y="634"/>
                  </a:lnTo>
                  <a:lnTo>
                    <a:pt x="256" y="634"/>
                  </a:lnTo>
                  <a:lnTo>
                    <a:pt x="256" y="630"/>
                  </a:lnTo>
                  <a:lnTo>
                    <a:pt x="252" y="630"/>
                  </a:lnTo>
                  <a:lnTo>
                    <a:pt x="252" y="626"/>
                  </a:lnTo>
                  <a:lnTo>
                    <a:pt x="248" y="626"/>
                  </a:lnTo>
                  <a:lnTo>
                    <a:pt x="248" y="622"/>
                  </a:lnTo>
                  <a:lnTo>
                    <a:pt x="244" y="622"/>
                  </a:lnTo>
                  <a:lnTo>
                    <a:pt x="244" y="620"/>
                  </a:lnTo>
                  <a:lnTo>
                    <a:pt x="242" y="620"/>
                  </a:lnTo>
                  <a:lnTo>
                    <a:pt x="238" y="620"/>
                  </a:lnTo>
                  <a:lnTo>
                    <a:pt x="238" y="622"/>
                  </a:lnTo>
                  <a:lnTo>
                    <a:pt x="234" y="620"/>
                  </a:lnTo>
                  <a:lnTo>
                    <a:pt x="234" y="622"/>
                  </a:lnTo>
                  <a:lnTo>
                    <a:pt x="234" y="620"/>
                  </a:lnTo>
                  <a:lnTo>
                    <a:pt x="230" y="620"/>
                  </a:lnTo>
                  <a:lnTo>
                    <a:pt x="234" y="620"/>
                  </a:lnTo>
                  <a:lnTo>
                    <a:pt x="234" y="616"/>
                  </a:lnTo>
                  <a:lnTo>
                    <a:pt x="238" y="612"/>
                  </a:lnTo>
                  <a:lnTo>
                    <a:pt x="242" y="612"/>
                  </a:lnTo>
                  <a:lnTo>
                    <a:pt x="242" y="608"/>
                  </a:lnTo>
                  <a:lnTo>
                    <a:pt x="244" y="604"/>
                  </a:lnTo>
                  <a:lnTo>
                    <a:pt x="244" y="600"/>
                  </a:lnTo>
                  <a:lnTo>
                    <a:pt x="248" y="600"/>
                  </a:lnTo>
                  <a:lnTo>
                    <a:pt x="248" y="596"/>
                  </a:lnTo>
                  <a:lnTo>
                    <a:pt x="248" y="594"/>
                  </a:lnTo>
                  <a:lnTo>
                    <a:pt x="252" y="594"/>
                  </a:lnTo>
                  <a:lnTo>
                    <a:pt x="252" y="590"/>
                  </a:lnTo>
                  <a:lnTo>
                    <a:pt x="256" y="590"/>
                  </a:lnTo>
                  <a:lnTo>
                    <a:pt x="256" y="586"/>
                  </a:lnTo>
                  <a:lnTo>
                    <a:pt x="260" y="586"/>
                  </a:lnTo>
                  <a:lnTo>
                    <a:pt x="256" y="586"/>
                  </a:lnTo>
                  <a:lnTo>
                    <a:pt x="256" y="582"/>
                  </a:lnTo>
                  <a:lnTo>
                    <a:pt x="260" y="582"/>
                  </a:lnTo>
                  <a:lnTo>
                    <a:pt x="264" y="582"/>
                  </a:lnTo>
                  <a:lnTo>
                    <a:pt x="264" y="578"/>
                  </a:lnTo>
                  <a:lnTo>
                    <a:pt x="268" y="578"/>
                  </a:lnTo>
                  <a:lnTo>
                    <a:pt x="272" y="574"/>
                  </a:lnTo>
                  <a:lnTo>
                    <a:pt x="272" y="570"/>
                  </a:lnTo>
                  <a:lnTo>
                    <a:pt x="274" y="570"/>
                  </a:lnTo>
                  <a:lnTo>
                    <a:pt x="278" y="570"/>
                  </a:lnTo>
                  <a:lnTo>
                    <a:pt x="278" y="566"/>
                  </a:lnTo>
                  <a:lnTo>
                    <a:pt x="282" y="566"/>
                  </a:lnTo>
                  <a:lnTo>
                    <a:pt x="282" y="564"/>
                  </a:lnTo>
                  <a:lnTo>
                    <a:pt x="286" y="564"/>
                  </a:lnTo>
                  <a:lnTo>
                    <a:pt x="286" y="560"/>
                  </a:lnTo>
                  <a:lnTo>
                    <a:pt x="286" y="556"/>
                  </a:lnTo>
                  <a:lnTo>
                    <a:pt x="286" y="552"/>
                  </a:lnTo>
                  <a:lnTo>
                    <a:pt x="286" y="550"/>
                  </a:lnTo>
                  <a:lnTo>
                    <a:pt x="286" y="546"/>
                  </a:lnTo>
                  <a:lnTo>
                    <a:pt x="286" y="542"/>
                  </a:lnTo>
                  <a:lnTo>
                    <a:pt x="286" y="538"/>
                  </a:lnTo>
                  <a:lnTo>
                    <a:pt x="282" y="534"/>
                  </a:lnTo>
                  <a:lnTo>
                    <a:pt x="278" y="534"/>
                  </a:lnTo>
                  <a:lnTo>
                    <a:pt x="278" y="538"/>
                  </a:lnTo>
                  <a:lnTo>
                    <a:pt x="274" y="538"/>
                  </a:lnTo>
                  <a:lnTo>
                    <a:pt x="274" y="534"/>
                  </a:lnTo>
                  <a:lnTo>
                    <a:pt x="274" y="530"/>
                  </a:lnTo>
                  <a:lnTo>
                    <a:pt x="274" y="526"/>
                  </a:lnTo>
                  <a:lnTo>
                    <a:pt x="278" y="522"/>
                  </a:lnTo>
                  <a:lnTo>
                    <a:pt x="278" y="520"/>
                  </a:lnTo>
                  <a:lnTo>
                    <a:pt x="278" y="516"/>
                  </a:lnTo>
                  <a:lnTo>
                    <a:pt x="278" y="512"/>
                  </a:lnTo>
                  <a:lnTo>
                    <a:pt x="278" y="508"/>
                  </a:lnTo>
                  <a:lnTo>
                    <a:pt x="274" y="504"/>
                  </a:lnTo>
                  <a:lnTo>
                    <a:pt x="272" y="508"/>
                  </a:lnTo>
                  <a:lnTo>
                    <a:pt x="268" y="508"/>
                  </a:lnTo>
                  <a:lnTo>
                    <a:pt x="264" y="508"/>
                  </a:lnTo>
                  <a:lnTo>
                    <a:pt x="264" y="504"/>
                  </a:lnTo>
                  <a:lnTo>
                    <a:pt x="264" y="500"/>
                  </a:lnTo>
                  <a:lnTo>
                    <a:pt x="260" y="500"/>
                  </a:lnTo>
                  <a:lnTo>
                    <a:pt x="260" y="496"/>
                  </a:lnTo>
                  <a:lnTo>
                    <a:pt x="260" y="494"/>
                  </a:lnTo>
                  <a:lnTo>
                    <a:pt x="260" y="490"/>
                  </a:lnTo>
                  <a:lnTo>
                    <a:pt x="260" y="486"/>
                  </a:lnTo>
                  <a:lnTo>
                    <a:pt x="260" y="482"/>
                  </a:lnTo>
                  <a:lnTo>
                    <a:pt x="256" y="482"/>
                  </a:lnTo>
                  <a:lnTo>
                    <a:pt x="256" y="478"/>
                  </a:lnTo>
                  <a:lnTo>
                    <a:pt x="252" y="478"/>
                  </a:lnTo>
                  <a:lnTo>
                    <a:pt x="248" y="478"/>
                  </a:lnTo>
                  <a:lnTo>
                    <a:pt x="248" y="474"/>
                  </a:lnTo>
                  <a:lnTo>
                    <a:pt x="244" y="474"/>
                  </a:lnTo>
                  <a:lnTo>
                    <a:pt x="244" y="478"/>
                  </a:lnTo>
                  <a:lnTo>
                    <a:pt x="242" y="478"/>
                  </a:lnTo>
                  <a:lnTo>
                    <a:pt x="238" y="478"/>
                  </a:lnTo>
                  <a:lnTo>
                    <a:pt x="234" y="478"/>
                  </a:lnTo>
                  <a:lnTo>
                    <a:pt x="230" y="474"/>
                  </a:lnTo>
                  <a:lnTo>
                    <a:pt x="226" y="474"/>
                  </a:lnTo>
                  <a:lnTo>
                    <a:pt x="226" y="470"/>
                  </a:lnTo>
                  <a:lnTo>
                    <a:pt x="226" y="466"/>
                  </a:lnTo>
                  <a:lnTo>
                    <a:pt x="226" y="464"/>
                  </a:lnTo>
                  <a:lnTo>
                    <a:pt x="226" y="460"/>
                  </a:lnTo>
                  <a:lnTo>
                    <a:pt x="230" y="456"/>
                  </a:lnTo>
                  <a:lnTo>
                    <a:pt x="226" y="452"/>
                  </a:lnTo>
                  <a:lnTo>
                    <a:pt x="226" y="448"/>
                  </a:lnTo>
                  <a:lnTo>
                    <a:pt x="226" y="444"/>
                  </a:lnTo>
                  <a:lnTo>
                    <a:pt x="222" y="440"/>
                  </a:lnTo>
                  <a:lnTo>
                    <a:pt x="226" y="438"/>
                  </a:lnTo>
                  <a:lnTo>
                    <a:pt x="226" y="434"/>
                  </a:lnTo>
                  <a:lnTo>
                    <a:pt x="222" y="434"/>
                  </a:lnTo>
                  <a:lnTo>
                    <a:pt x="226" y="434"/>
                  </a:lnTo>
                  <a:lnTo>
                    <a:pt x="226" y="426"/>
                  </a:lnTo>
                  <a:lnTo>
                    <a:pt x="226" y="422"/>
                  </a:lnTo>
                  <a:lnTo>
                    <a:pt x="230" y="422"/>
                  </a:lnTo>
                  <a:lnTo>
                    <a:pt x="230" y="418"/>
                  </a:lnTo>
                  <a:lnTo>
                    <a:pt x="230" y="410"/>
                  </a:lnTo>
                  <a:lnTo>
                    <a:pt x="234" y="408"/>
                  </a:lnTo>
                  <a:lnTo>
                    <a:pt x="230" y="404"/>
                  </a:lnTo>
                  <a:lnTo>
                    <a:pt x="230" y="400"/>
                  </a:lnTo>
                  <a:lnTo>
                    <a:pt x="230" y="396"/>
                  </a:lnTo>
                  <a:lnTo>
                    <a:pt x="226" y="392"/>
                  </a:lnTo>
                  <a:lnTo>
                    <a:pt x="222" y="392"/>
                  </a:lnTo>
                  <a:lnTo>
                    <a:pt x="222" y="388"/>
                  </a:lnTo>
                  <a:lnTo>
                    <a:pt x="218" y="388"/>
                  </a:lnTo>
                  <a:lnTo>
                    <a:pt x="218" y="384"/>
                  </a:lnTo>
                  <a:lnTo>
                    <a:pt x="218" y="382"/>
                  </a:lnTo>
                  <a:lnTo>
                    <a:pt x="218" y="378"/>
                  </a:lnTo>
                  <a:lnTo>
                    <a:pt x="222" y="378"/>
                  </a:lnTo>
                  <a:lnTo>
                    <a:pt x="222" y="374"/>
                  </a:lnTo>
                  <a:lnTo>
                    <a:pt x="218" y="374"/>
                  </a:lnTo>
                  <a:lnTo>
                    <a:pt x="212" y="374"/>
                  </a:lnTo>
                  <a:lnTo>
                    <a:pt x="204" y="374"/>
                  </a:lnTo>
                  <a:lnTo>
                    <a:pt x="196" y="374"/>
                  </a:lnTo>
                  <a:lnTo>
                    <a:pt x="196" y="366"/>
                  </a:lnTo>
                  <a:lnTo>
                    <a:pt x="192" y="358"/>
                  </a:lnTo>
                  <a:lnTo>
                    <a:pt x="192" y="354"/>
                  </a:lnTo>
                  <a:lnTo>
                    <a:pt x="188" y="352"/>
                  </a:lnTo>
                  <a:lnTo>
                    <a:pt x="192" y="352"/>
                  </a:lnTo>
                  <a:lnTo>
                    <a:pt x="192" y="348"/>
                  </a:lnTo>
                  <a:lnTo>
                    <a:pt x="192" y="344"/>
                  </a:lnTo>
                  <a:lnTo>
                    <a:pt x="192" y="340"/>
                  </a:lnTo>
                  <a:lnTo>
                    <a:pt x="192" y="336"/>
                  </a:lnTo>
                  <a:lnTo>
                    <a:pt x="188" y="336"/>
                  </a:lnTo>
                  <a:lnTo>
                    <a:pt x="192" y="332"/>
                  </a:lnTo>
                  <a:lnTo>
                    <a:pt x="192" y="328"/>
                  </a:lnTo>
                  <a:lnTo>
                    <a:pt x="188" y="328"/>
                  </a:lnTo>
                  <a:lnTo>
                    <a:pt x="186" y="326"/>
                  </a:lnTo>
                  <a:lnTo>
                    <a:pt x="182" y="326"/>
                  </a:lnTo>
                  <a:lnTo>
                    <a:pt x="178" y="326"/>
                  </a:lnTo>
                  <a:lnTo>
                    <a:pt x="174" y="326"/>
                  </a:lnTo>
                  <a:lnTo>
                    <a:pt x="170" y="326"/>
                  </a:lnTo>
                  <a:lnTo>
                    <a:pt x="170" y="322"/>
                  </a:lnTo>
                  <a:lnTo>
                    <a:pt x="166" y="322"/>
                  </a:lnTo>
                  <a:lnTo>
                    <a:pt x="166" y="318"/>
                  </a:lnTo>
                  <a:lnTo>
                    <a:pt x="162" y="318"/>
                  </a:lnTo>
                  <a:lnTo>
                    <a:pt x="160" y="314"/>
                  </a:lnTo>
                  <a:lnTo>
                    <a:pt x="156" y="314"/>
                  </a:lnTo>
                  <a:lnTo>
                    <a:pt x="156" y="310"/>
                  </a:lnTo>
                  <a:lnTo>
                    <a:pt x="152" y="310"/>
                  </a:lnTo>
                  <a:lnTo>
                    <a:pt x="148" y="310"/>
                  </a:lnTo>
                  <a:lnTo>
                    <a:pt x="148" y="306"/>
                  </a:lnTo>
                  <a:lnTo>
                    <a:pt x="144" y="306"/>
                  </a:lnTo>
                  <a:lnTo>
                    <a:pt x="140" y="306"/>
                  </a:lnTo>
                  <a:lnTo>
                    <a:pt x="136" y="306"/>
                  </a:lnTo>
                  <a:lnTo>
                    <a:pt x="132" y="302"/>
                  </a:lnTo>
                  <a:lnTo>
                    <a:pt x="130" y="298"/>
                  </a:lnTo>
                  <a:lnTo>
                    <a:pt x="126" y="298"/>
                  </a:lnTo>
                  <a:lnTo>
                    <a:pt x="126" y="296"/>
                  </a:lnTo>
                  <a:lnTo>
                    <a:pt x="126" y="292"/>
                  </a:lnTo>
                  <a:lnTo>
                    <a:pt x="126" y="296"/>
                  </a:lnTo>
                  <a:lnTo>
                    <a:pt x="126" y="292"/>
                  </a:lnTo>
                  <a:lnTo>
                    <a:pt x="122" y="288"/>
                  </a:lnTo>
                  <a:lnTo>
                    <a:pt x="122" y="284"/>
                  </a:lnTo>
                  <a:lnTo>
                    <a:pt x="122" y="280"/>
                  </a:lnTo>
                  <a:lnTo>
                    <a:pt x="122" y="276"/>
                  </a:lnTo>
                  <a:lnTo>
                    <a:pt x="122" y="272"/>
                  </a:lnTo>
                  <a:lnTo>
                    <a:pt x="122" y="268"/>
                  </a:lnTo>
                  <a:lnTo>
                    <a:pt x="122" y="266"/>
                  </a:lnTo>
                  <a:lnTo>
                    <a:pt x="122" y="262"/>
                  </a:lnTo>
                  <a:lnTo>
                    <a:pt x="122" y="258"/>
                  </a:lnTo>
                  <a:lnTo>
                    <a:pt x="118" y="258"/>
                  </a:lnTo>
                  <a:lnTo>
                    <a:pt x="118" y="262"/>
                  </a:lnTo>
                  <a:lnTo>
                    <a:pt x="118" y="258"/>
                  </a:lnTo>
                  <a:lnTo>
                    <a:pt x="116" y="258"/>
                  </a:lnTo>
                  <a:lnTo>
                    <a:pt x="112" y="258"/>
                  </a:lnTo>
                  <a:lnTo>
                    <a:pt x="108" y="262"/>
                  </a:lnTo>
                  <a:lnTo>
                    <a:pt x="104" y="262"/>
                  </a:lnTo>
                  <a:lnTo>
                    <a:pt x="100" y="266"/>
                  </a:lnTo>
                  <a:lnTo>
                    <a:pt x="100" y="268"/>
                  </a:lnTo>
                  <a:lnTo>
                    <a:pt x="96" y="268"/>
                  </a:lnTo>
                  <a:lnTo>
                    <a:pt x="92" y="268"/>
                  </a:lnTo>
                  <a:lnTo>
                    <a:pt x="92" y="272"/>
                  </a:lnTo>
                  <a:lnTo>
                    <a:pt x="88" y="272"/>
                  </a:lnTo>
                  <a:lnTo>
                    <a:pt x="88" y="276"/>
                  </a:lnTo>
                  <a:lnTo>
                    <a:pt x="88" y="272"/>
                  </a:lnTo>
                  <a:lnTo>
                    <a:pt x="86" y="272"/>
                  </a:lnTo>
                  <a:lnTo>
                    <a:pt x="86" y="276"/>
                  </a:lnTo>
                  <a:lnTo>
                    <a:pt x="82" y="276"/>
                  </a:lnTo>
                  <a:lnTo>
                    <a:pt x="82" y="280"/>
                  </a:lnTo>
                  <a:lnTo>
                    <a:pt x="78" y="280"/>
                  </a:lnTo>
                  <a:lnTo>
                    <a:pt x="78" y="284"/>
                  </a:lnTo>
                  <a:lnTo>
                    <a:pt x="74" y="284"/>
                  </a:lnTo>
                  <a:lnTo>
                    <a:pt x="74" y="280"/>
                  </a:lnTo>
                  <a:lnTo>
                    <a:pt x="70" y="280"/>
                  </a:lnTo>
                  <a:lnTo>
                    <a:pt x="66" y="280"/>
                  </a:lnTo>
                  <a:lnTo>
                    <a:pt x="62" y="280"/>
                  </a:lnTo>
                  <a:lnTo>
                    <a:pt x="60" y="280"/>
                  </a:lnTo>
                  <a:lnTo>
                    <a:pt x="56" y="280"/>
                  </a:lnTo>
                  <a:lnTo>
                    <a:pt x="52" y="280"/>
                  </a:lnTo>
                  <a:lnTo>
                    <a:pt x="48" y="280"/>
                  </a:lnTo>
                  <a:lnTo>
                    <a:pt x="48" y="276"/>
                  </a:lnTo>
                  <a:lnTo>
                    <a:pt x="48" y="272"/>
                  </a:lnTo>
                  <a:lnTo>
                    <a:pt x="48" y="268"/>
                  </a:lnTo>
                  <a:lnTo>
                    <a:pt x="48" y="266"/>
                  </a:lnTo>
                  <a:lnTo>
                    <a:pt x="48" y="262"/>
                  </a:lnTo>
                  <a:lnTo>
                    <a:pt x="48" y="258"/>
                  </a:lnTo>
                  <a:lnTo>
                    <a:pt x="48" y="254"/>
                  </a:lnTo>
                  <a:lnTo>
                    <a:pt x="44" y="258"/>
                  </a:lnTo>
                  <a:lnTo>
                    <a:pt x="44" y="262"/>
                  </a:lnTo>
                  <a:lnTo>
                    <a:pt x="40" y="262"/>
                  </a:lnTo>
                  <a:lnTo>
                    <a:pt x="36" y="262"/>
                  </a:lnTo>
                  <a:lnTo>
                    <a:pt x="32" y="262"/>
                  </a:lnTo>
                  <a:lnTo>
                    <a:pt x="30" y="262"/>
                  </a:lnTo>
                  <a:lnTo>
                    <a:pt x="26" y="262"/>
                  </a:lnTo>
                  <a:lnTo>
                    <a:pt x="26" y="258"/>
                  </a:lnTo>
                  <a:lnTo>
                    <a:pt x="26" y="254"/>
                  </a:lnTo>
                  <a:lnTo>
                    <a:pt x="22" y="254"/>
                  </a:lnTo>
                  <a:lnTo>
                    <a:pt x="18" y="254"/>
                  </a:lnTo>
                  <a:lnTo>
                    <a:pt x="14" y="254"/>
                  </a:lnTo>
                  <a:lnTo>
                    <a:pt x="10" y="254"/>
                  </a:lnTo>
                  <a:lnTo>
                    <a:pt x="10" y="250"/>
                  </a:lnTo>
                  <a:lnTo>
                    <a:pt x="14" y="250"/>
                  </a:lnTo>
                  <a:lnTo>
                    <a:pt x="14" y="246"/>
                  </a:lnTo>
                  <a:lnTo>
                    <a:pt x="14" y="242"/>
                  </a:lnTo>
                  <a:lnTo>
                    <a:pt x="10" y="242"/>
                  </a:lnTo>
                  <a:lnTo>
                    <a:pt x="10" y="240"/>
                  </a:lnTo>
                  <a:lnTo>
                    <a:pt x="6" y="236"/>
                  </a:lnTo>
                  <a:lnTo>
                    <a:pt x="6" y="232"/>
                  </a:lnTo>
                  <a:lnTo>
                    <a:pt x="6" y="228"/>
                  </a:lnTo>
                  <a:lnTo>
                    <a:pt x="4" y="228"/>
                  </a:lnTo>
                  <a:lnTo>
                    <a:pt x="4" y="224"/>
                  </a:lnTo>
                  <a:lnTo>
                    <a:pt x="0" y="220"/>
                  </a:lnTo>
                  <a:lnTo>
                    <a:pt x="0" y="216"/>
                  </a:lnTo>
                  <a:lnTo>
                    <a:pt x="4" y="216"/>
                  </a:lnTo>
                  <a:lnTo>
                    <a:pt x="4" y="212"/>
                  </a:lnTo>
                  <a:lnTo>
                    <a:pt x="4" y="210"/>
                  </a:lnTo>
                  <a:lnTo>
                    <a:pt x="6" y="206"/>
                  </a:lnTo>
                  <a:lnTo>
                    <a:pt x="10" y="206"/>
                  </a:lnTo>
                  <a:lnTo>
                    <a:pt x="10" y="202"/>
                  </a:lnTo>
                  <a:lnTo>
                    <a:pt x="14" y="202"/>
                  </a:lnTo>
                  <a:lnTo>
                    <a:pt x="10" y="198"/>
                  </a:lnTo>
                  <a:lnTo>
                    <a:pt x="10" y="194"/>
                  </a:lnTo>
                  <a:lnTo>
                    <a:pt x="10" y="190"/>
                  </a:lnTo>
                  <a:lnTo>
                    <a:pt x="14" y="190"/>
                  </a:lnTo>
                  <a:lnTo>
                    <a:pt x="14" y="186"/>
                  </a:lnTo>
                  <a:lnTo>
                    <a:pt x="14" y="184"/>
                  </a:lnTo>
                  <a:lnTo>
                    <a:pt x="14" y="180"/>
                  </a:lnTo>
                  <a:lnTo>
                    <a:pt x="18" y="180"/>
                  </a:lnTo>
                  <a:lnTo>
                    <a:pt x="22" y="176"/>
                  </a:lnTo>
                  <a:lnTo>
                    <a:pt x="22" y="172"/>
                  </a:lnTo>
                  <a:lnTo>
                    <a:pt x="26" y="172"/>
                  </a:lnTo>
                  <a:lnTo>
                    <a:pt x="30" y="172"/>
                  </a:lnTo>
                  <a:lnTo>
                    <a:pt x="30" y="168"/>
                  </a:lnTo>
                  <a:lnTo>
                    <a:pt x="32" y="168"/>
                  </a:lnTo>
                  <a:lnTo>
                    <a:pt x="36" y="168"/>
                  </a:lnTo>
                  <a:lnTo>
                    <a:pt x="40" y="164"/>
                  </a:lnTo>
                  <a:lnTo>
                    <a:pt x="40" y="168"/>
                  </a:lnTo>
                  <a:lnTo>
                    <a:pt x="44" y="168"/>
                  </a:lnTo>
                  <a:lnTo>
                    <a:pt x="44" y="164"/>
                  </a:lnTo>
                  <a:lnTo>
                    <a:pt x="48" y="164"/>
                  </a:lnTo>
                  <a:lnTo>
                    <a:pt x="52" y="164"/>
                  </a:lnTo>
                  <a:lnTo>
                    <a:pt x="52" y="160"/>
                  </a:lnTo>
                  <a:lnTo>
                    <a:pt x="52" y="164"/>
                  </a:lnTo>
                  <a:lnTo>
                    <a:pt x="56" y="164"/>
                  </a:lnTo>
                  <a:lnTo>
                    <a:pt x="60" y="164"/>
                  </a:lnTo>
                  <a:lnTo>
                    <a:pt x="60" y="156"/>
                  </a:lnTo>
                  <a:lnTo>
                    <a:pt x="60" y="150"/>
                  </a:lnTo>
                  <a:lnTo>
                    <a:pt x="62" y="136"/>
                  </a:lnTo>
                  <a:lnTo>
                    <a:pt x="62" y="132"/>
                  </a:lnTo>
                  <a:lnTo>
                    <a:pt x="62" y="124"/>
                  </a:lnTo>
                  <a:lnTo>
                    <a:pt x="62" y="116"/>
                  </a:lnTo>
                  <a:lnTo>
                    <a:pt x="66" y="116"/>
                  </a:lnTo>
                  <a:lnTo>
                    <a:pt x="66" y="114"/>
                  </a:lnTo>
                  <a:lnTo>
                    <a:pt x="66" y="110"/>
                  </a:lnTo>
                  <a:lnTo>
                    <a:pt x="62" y="110"/>
                  </a:lnTo>
                  <a:lnTo>
                    <a:pt x="66" y="110"/>
                  </a:lnTo>
                  <a:lnTo>
                    <a:pt x="62" y="110"/>
                  </a:lnTo>
                  <a:lnTo>
                    <a:pt x="62" y="106"/>
                  </a:lnTo>
                  <a:lnTo>
                    <a:pt x="62" y="102"/>
                  </a:lnTo>
                  <a:lnTo>
                    <a:pt x="60" y="102"/>
                  </a:lnTo>
                  <a:lnTo>
                    <a:pt x="60" y="98"/>
                  </a:lnTo>
                  <a:lnTo>
                    <a:pt x="56" y="94"/>
                  </a:lnTo>
                  <a:lnTo>
                    <a:pt x="56" y="90"/>
                  </a:lnTo>
                  <a:lnTo>
                    <a:pt x="56" y="86"/>
                  </a:lnTo>
                  <a:lnTo>
                    <a:pt x="56" y="84"/>
                  </a:lnTo>
                  <a:lnTo>
                    <a:pt x="60" y="84"/>
                  </a:lnTo>
                  <a:lnTo>
                    <a:pt x="62" y="80"/>
                  </a:lnTo>
                  <a:lnTo>
                    <a:pt x="66" y="80"/>
                  </a:lnTo>
                  <a:lnTo>
                    <a:pt x="66" y="84"/>
                  </a:lnTo>
                  <a:lnTo>
                    <a:pt x="70" y="84"/>
                  </a:lnTo>
                  <a:lnTo>
                    <a:pt x="70" y="80"/>
                  </a:lnTo>
                  <a:lnTo>
                    <a:pt x="66" y="76"/>
                  </a:lnTo>
                  <a:lnTo>
                    <a:pt x="62" y="76"/>
                  </a:lnTo>
                  <a:lnTo>
                    <a:pt x="60" y="76"/>
                  </a:lnTo>
                  <a:lnTo>
                    <a:pt x="60" y="64"/>
                  </a:lnTo>
                  <a:lnTo>
                    <a:pt x="62" y="60"/>
                  </a:lnTo>
                  <a:lnTo>
                    <a:pt x="66" y="64"/>
                  </a:lnTo>
                  <a:lnTo>
                    <a:pt x="70" y="64"/>
                  </a:lnTo>
                  <a:lnTo>
                    <a:pt x="74" y="64"/>
                  </a:lnTo>
                  <a:lnTo>
                    <a:pt x="82" y="64"/>
                  </a:lnTo>
                  <a:lnTo>
                    <a:pt x="82" y="60"/>
                  </a:lnTo>
                  <a:lnTo>
                    <a:pt x="82" y="56"/>
                  </a:lnTo>
                  <a:lnTo>
                    <a:pt x="82" y="60"/>
                  </a:lnTo>
                  <a:lnTo>
                    <a:pt x="86" y="60"/>
                  </a:lnTo>
                  <a:lnTo>
                    <a:pt x="86" y="64"/>
                  </a:lnTo>
                  <a:lnTo>
                    <a:pt x="86" y="60"/>
                  </a:lnTo>
                  <a:lnTo>
                    <a:pt x="88" y="60"/>
                  </a:lnTo>
                  <a:lnTo>
                    <a:pt x="88" y="56"/>
                  </a:lnTo>
                  <a:lnTo>
                    <a:pt x="92" y="56"/>
                  </a:lnTo>
                  <a:lnTo>
                    <a:pt x="96" y="56"/>
                  </a:lnTo>
                  <a:lnTo>
                    <a:pt x="96" y="60"/>
                  </a:lnTo>
                  <a:lnTo>
                    <a:pt x="96" y="64"/>
                  </a:lnTo>
                  <a:lnTo>
                    <a:pt x="100" y="68"/>
                  </a:lnTo>
                  <a:lnTo>
                    <a:pt x="96" y="68"/>
                  </a:lnTo>
                  <a:lnTo>
                    <a:pt x="96" y="72"/>
                  </a:lnTo>
                  <a:lnTo>
                    <a:pt x="100" y="72"/>
                  </a:lnTo>
                  <a:lnTo>
                    <a:pt x="104" y="72"/>
                  </a:lnTo>
                  <a:lnTo>
                    <a:pt x="108" y="80"/>
                  </a:lnTo>
                  <a:lnTo>
                    <a:pt x="112" y="80"/>
                  </a:lnTo>
                  <a:lnTo>
                    <a:pt x="116" y="80"/>
                  </a:lnTo>
                  <a:lnTo>
                    <a:pt x="116" y="76"/>
                  </a:lnTo>
                  <a:lnTo>
                    <a:pt x="118" y="76"/>
                  </a:lnTo>
                  <a:lnTo>
                    <a:pt x="118" y="80"/>
                  </a:lnTo>
                  <a:lnTo>
                    <a:pt x="118" y="84"/>
                  </a:lnTo>
                  <a:lnTo>
                    <a:pt x="118" y="80"/>
                  </a:lnTo>
                  <a:lnTo>
                    <a:pt x="122" y="80"/>
                  </a:lnTo>
                  <a:lnTo>
                    <a:pt x="122" y="76"/>
                  </a:lnTo>
                  <a:lnTo>
                    <a:pt x="126" y="76"/>
                  </a:lnTo>
                  <a:lnTo>
                    <a:pt x="126" y="72"/>
                  </a:lnTo>
                  <a:lnTo>
                    <a:pt x="130" y="72"/>
                  </a:lnTo>
                  <a:lnTo>
                    <a:pt x="132" y="68"/>
                  </a:lnTo>
                  <a:lnTo>
                    <a:pt x="136" y="68"/>
                  </a:lnTo>
                  <a:lnTo>
                    <a:pt x="140" y="64"/>
                  </a:lnTo>
                  <a:lnTo>
                    <a:pt x="140" y="60"/>
                  </a:lnTo>
                  <a:lnTo>
                    <a:pt x="140" y="56"/>
                  </a:lnTo>
                  <a:lnTo>
                    <a:pt x="144" y="56"/>
                  </a:lnTo>
                  <a:lnTo>
                    <a:pt x="148" y="56"/>
                  </a:lnTo>
                  <a:lnTo>
                    <a:pt x="148" y="54"/>
                  </a:lnTo>
                  <a:lnTo>
                    <a:pt x="152" y="54"/>
                  </a:lnTo>
                  <a:lnTo>
                    <a:pt x="152" y="50"/>
                  </a:lnTo>
                  <a:lnTo>
                    <a:pt x="148" y="50"/>
                  </a:lnTo>
                  <a:lnTo>
                    <a:pt x="144" y="50"/>
                  </a:lnTo>
                  <a:lnTo>
                    <a:pt x="140" y="50"/>
                  </a:lnTo>
                  <a:lnTo>
                    <a:pt x="140" y="46"/>
                  </a:lnTo>
                  <a:lnTo>
                    <a:pt x="140" y="42"/>
                  </a:lnTo>
                  <a:lnTo>
                    <a:pt x="140" y="38"/>
                  </a:lnTo>
                  <a:lnTo>
                    <a:pt x="136" y="38"/>
                  </a:lnTo>
                  <a:lnTo>
                    <a:pt x="136" y="34"/>
                  </a:lnTo>
                  <a:lnTo>
                    <a:pt x="136" y="30"/>
                  </a:lnTo>
                  <a:lnTo>
                    <a:pt x="136" y="28"/>
                  </a:lnTo>
                  <a:lnTo>
                    <a:pt x="132" y="28"/>
                  </a:lnTo>
                  <a:lnTo>
                    <a:pt x="132" y="24"/>
                  </a:lnTo>
                  <a:lnTo>
                    <a:pt x="130" y="24"/>
                  </a:lnTo>
                  <a:lnTo>
                    <a:pt x="130" y="20"/>
                  </a:lnTo>
                  <a:lnTo>
                    <a:pt x="132" y="20"/>
                  </a:lnTo>
                  <a:lnTo>
                    <a:pt x="132" y="24"/>
                  </a:lnTo>
                  <a:lnTo>
                    <a:pt x="136" y="20"/>
                  </a:lnTo>
                  <a:lnTo>
                    <a:pt x="136" y="24"/>
                  </a:lnTo>
                  <a:lnTo>
                    <a:pt x="140" y="24"/>
                  </a:lnTo>
                  <a:lnTo>
                    <a:pt x="140" y="28"/>
                  </a:lnTo>
                  <a:lnTo>
                    <a:pt x="140" y="24"/>
                  </a:lnTo>
                  <a:lnTo>
                    <a:pt x="144" y="24"/>
                  </a:lnTo>
                  <a:lnTo>
                    <a:pt x="148" y="24"/>
                  </a:lnTo>
                  <a:lnTo>
                    <a:pt x="148" y="28"/>
                  </a:lnTo>
                  <a:lnTo>
                    <a:pt x="148" y="24"/>
                  </a:lnTo>
                  <a:lnTo>
                    <a:pt x="152" y="24"/>
                  </a:lnTo>
                  <a:lnTo>
                    <a:pt x="152" y="28"/>
                  </a:lnTo>
                  <a:lnTo>
                    <a:pt x="156" y="30"/>
                  </a:lnTo>
                  <a:lnTo>
                    <a:pt x="160" y="30"/>
                  </a:lnTo>
                  <a:lnTo>
                    <a:pt x="160" y="28"/>
                  </a:lnTo>
                  <a:lnTo>
                    <a:pt x="160" y="24"/>
                  </a:lnTo>
                  <a:lnTo>
                    <a:pt x="162" y="24"/>
                  </a:lnTo>
                  <a:lnTo>
                    <a:pt x="162" y="20"/>
                  </a:lnTo>
                  <a:lnTo>
                    <a:pt x="166" y="20"/>
                  </a:lnTo>
                  <a:lnTo>
                    <a:pt x="166" y="24"/>
                  </a:lnTo>
                  <a:lnTo>
                    <a:pt x="170" y="20"/>
                  </a:lnTo>
                  <a:lnTo>
                    <a:pt x="174" y="20"/>
                  </a:lnTo>
                  <a:lnTo>
                    <a:pt x="178" y="20"/>
                  </a:lnTo>
                  <a:lnTo>
                    <a:pt x="178" y="16"/>
                  </a:lnTo>
                  <a:lnTo>
                    <a:pt x="182" y="16"/>
                  </a:lnTo>
                  <a:lnTo>
                    <a:pt x="186" y="16"/>
                  </a:lnTo>
                  <a:lnTo>
                    <a:pt x="186" y="12"/>
                  </a:lnTo>
                  <a:lnTo>
                    <a:pt x="188" y="12"/>
                  </a:lnTo>
                  <a:lnTo>
                    <a:pt x="188" y="8"/>
                  </a:lnTo>
                  <a:lnTo>
                    <a:pt x="188" y="4"/>
                  </a:lnTo>
                  <a:lnTo>
                    <a:pt x="192" y="4"/>
                  </a:lnTo>
                  <a:lnTo>
                    <a:pt x="192" y="0"/>
                  </a:lnTo>
                  <a:lnTo>
                    <a:pt x="196" y="0"/>
                  </a:lnTo>
                  <a:lnTo>
                    <a:pt x="196" y="4"/>
                  </a:lnTo>
                  <a:lnTo>
                    <a:pt x="196" y="8"/>
                  </a:lnTo>
                  <a:lnTo>
                    <a:pt x="196" y="12"/>
                  </a:lnTo>
                  <a:lnTo>
                    <a:pt x="196" y="16"/>
                  </a:lnTo>
                  <a:lnTo>
                    <a:pt x="200" y="16"/>
                  </a:lnTo>
                  <a:lnTo>
                    <a:pt x="204" y="16"/>
                  </a:lnTo>
                  <a:lnTo>
                    <a:pt x="200" y="20"/>
                  </a:lnTo>
                  <a:lnTo>
                    <a:pt x="204" y="24"/>
                  </a:lnTo>
                  <a:lnTo>
                    <a:pt x="204" y="28"/>
                  </a:lnTo>
                  <a:lnTo>
                    <a:pt x="200" y="30"/>
                  </a:lnTo>
                  <a:lnTo>
                    <a:pt x="200" y="34"/>
                  </a:lnTo>
                  <a:lnTo>
                    <a:pt x="200" y="38"/>
                  </a:lnTo>
                  <a:lnTo>
                    <a:pt x="196" y="42"/>
                  </a:lnTo>
                  <a:lnTo>
                    <a:pt x="196" y="46"/>
                  </a:lnTo>
                  <a:lnTo>
                    <a:pt x="196" y="50"/>
                  </a:lnTo>
                  <a:lnTo>
                    <a:pt x="200" y="50"/>
                  </a:lnTo>
                  <a:lnTo>
                    <a:pt x="200" y="54"/>
                  </a:lnTo>
                  <a:lnTo>
                    <a:pt x="200" y="56"/>
                  </a:lnTo>
                  <a:lnTo>
                    <a:pt x="200" y="60"/>
                  </a:lnTo>
                  <a:lnTo>
                    <a:pt x="204" y="60"/>
                  </a:lnTo>
                  <a:lnTo>
                    <a:pt x="204" y="64"/>
                  </a:lnTo>
                  <a:lnTo>
                    <a:pt x="208" y="64"/>
                  </a:lnTo>
                  <a:lnTo>
                    <a:pt x="208" y="68"/>
                  </a:lnTo>
                  <a:lnTo>
                    <a:pt x="212" y="68"/>
                  </a:lnTo>
                  <a:lnTo>
                    <a:pt x="212" y="72"/>
                  </a:lnTo>
                  <a:lnTo>
                    <a:pt x="216" y="72"/>
                  </a:lnTo>
                  <a:lnTo>
                    <a:pt x="218" y="72"/>
                  </a:lnTo>
                  <a:lnTo>
                    <a:pt x="218" y="68"/>
                  </a:lnTo>
                  <a:lnTo>
                    <a:pt x="222" y="64"/>
                  </a:lnTo>
                  <a:lnTo>
                    <a:pt x="222" y="68"/>
                  </a:lnTo>
                  <a:lnTo>
                    <a:pt x="226" y="68"/>
                  </a:lnTo>
                  <a:lnTo>
                    <a:pt x="226" y="64"/>
                  </a:lnTo>
                  <a:lnTo>
                    <a:pt x="230" y="64"/>
                  </a:lnTo>
                  <a:lnTo>
                    <a:pt x="234" y="64"/>
                  </a:lnTo>
                  <a:lnTo>
                    <a:pt x="234" y="60"/>
                  </a:lnTo>
                  <a:lnTo>
                    <a:pt x="234" y="56"/>
                  </a:lnTo>
                  <a:lnTo>
                    <a:pt x="238" y="56"/>
                  </a:lnTo>
                  <a:lnTo>
                    <a:pt x="238" y="60"/>
                  </a:lnTo>
                  <a:lnTo>
                    <a:pt x="238" y="56"/>
                  </a:lnTo>
                  <a:lnTo>
                    <a:pt x="242" y="60"/>
                  </a:lnTo>
                  <a:lnTo>
                    <a:pt x="244" y="60"/>
                  </a:lnTo>
                  <a:lnTo>
                    <a:pt x="248" y="60"/>
                  </a:lnTo>
                  <a:lnTo>
                    <a:pt x="252" y="60"/>
                  </a:lnTo>
                  <a:lnTo>
                    <a:pt x="256" y="60"/>
                  </a:lnTo>
                  <a:lnTo>
                    <a:pt x="256" y="56"/>
                  </a:lnTo>
                  <a:lnTo>
                    <a:pt x="252" y="54"/>
                  </a:lnTo>
                  <a:lnTo>
                    <a:pt x="252" y="50"/>
                  </a:lnTo>
                  <a:lnTo>
                    <a:pt x="256" y="50"/>
                  </a:lnTo>
                  <a:lnTo>
                    <a:pt x="260" y="54"/>
                  </a:lnTo>
                  <a:lnTo>
                    <a:pt x="260" y="50"/>
                  </a:lnTo>
                  <a:lnTo>
                    <a:pt x="268" y="50"/>
                  </a:lnTo>
                  <a:lnTo>
                    <a:pt x="272" y="50"/>
                  </a:lnTo>
                  <a:lnTo>
                    <a:pt x="272" y="54"/>
                  </a:lnTo>
                  <a:lnTo>
                    <a:pt x="274" y="54"/>
                  </a:lnTo>
                  <a:lnTo>
                    <a:pt x="278" y="56"/>
                  </a:lnTo>
                  <a:lnTo>
                    <a:pt x="282" y="56"/>
                  </a:lnTo>
                  <a:lnTo>
                    <a:pt x="282" y="54"/>
                  </a:lnTo>
                  <a:lnTo>
                    <a:pt x="286" y="54"/>
                  </a:lnTo>
                  <a:lnTo>
                    <a:pt x="290" y="54"/>
                  </a:lnTo>
                  <a:lnTo>
                    <a:pt x="294" y="54"/>
                  </a:lnTo>
                  <a:lnTo>
                    <a:pt x="298" y="54"/>
                  </a:lnTo>
                  <a:lnTo>
                    <a:pt x="298" y="56"/>
                  </a:lnTo>
                  <a:lnTo>
                    <a:pt x="298" y="54"/>
                  </a:lnTo>
                  <a:lnTo>
                    <a:pt x="302" y="54"/>
                  </a:lnTo>
                  <a:lnTo>
                    <a:pt x="302" y="50"/>
                  </a:lnTo>
                  <a:lnTo>
                    <a:pt x="304" y="50"/>
                  </a:lnTo>
                  <a:lnTo>
                    <a:pt x="304" y="46"/>
                  </a:lnTo>
                  <a:lnTo>
                    <a:pt x="304" y="42"/>
                  </a:lnTo>
                  <a:lnTo>
                    <a:pt x="304" y="38"/>
                  </a:lnTo>
                  <a:lnTo>
                    <a:pt x="308" y="38"/>
                  </a:lnTo>
                  <a:lnTo>
                    <a:pt x="308" y="34"/>
                  </a:lnTo>
                  <a:lnTo>
                    <a:pt x="312" y="30"/>
                  </a:lnTo>
                  <a:lnTo>
                    <a:pt x="312" y="28"/>
                  </a:lnTo>
                  <a:lnTo>
                    <a:pt x="312" y="24"/>
                  </a:lnTo>
                  <a:lnTo>
                    <a:pt x="316" y="24"/>
                  </a:lnTo>
                  <a:lnTo>
                    <a:pt x="316" y="20"/>
                  </a:lnTo>
                  <a:lnTo>
                    <a:pt x="320" y="24"/>
                  </a:lnTo>
                  <a:lnTo>
                    <a:pt x="316" y="20"/>
                  </a:lnTo>
                  <a:lnTo>
                    <a:pt x="316" y="16"/>
                  </a:lnTo>
                  <a:lnTo>
                    <a:pt x="320" y="20"/>
                  </a:lnTo>
                  <a:lnTo>
                    <a:pt x="324" y="24"/>
                  </a:lnTo>
                  <a:lnTo>
                    <a:pt x="324" y="28"/>
                  </a:lnTo>
                  <a:lnTo>
                    <a:pt x="324" y="30"/>
                  </a:lnTo>
                  <a:lnTo>
                    <a:pt x="324" y="34"/>
                  </a:lnTo>
                  <a:lnTo>
                    <a:pt x="324" y="38"/>
                  </a:lnTo>
                  <a:lnTo>
                    <a:pt x="324" y="42"/>
                  </a:lnTo>
                  <a:lnTo>
                    <a:pt x="328" y="42"/>
                  </a:lnTo>
                  <a:lnTo>
                    <a:pt x="328" y="46"/>
                  </a:lnTo>
                  <a:lnTo>
                    <a:pt x="328" y="50"/>
                  </a:lnTo>
                  <a:lnTo>
                    <a:pt x="330" y="56"/>
                  </a:lnTo>
                  <a:lnTo>
                    <a:pt x="330" y="60"/>
                  </a:lnTo>
                  <a:lnTo>
                    <a:pt x="334" y="60"/>
                  </a:lnTo>
                  <a:lnTo>
                    <a:pt x="338" y="60"/>
                  </a:lnTo>
                  <a:lnTo>
                    <a:pt x="342" y="64"/>
                  </a:lnTo>
                  <a:lnTo>
                    <a:pt x="342" y="68"/>
                  </a:lnTo>
                  <a:lnTo>
                    <a:pt x="338" y="72"/>
                  </a:lnTo>
                  <a:lnTo>
                    <a:pt x="342" y="72"/>
                  </a:lnTo>
                  <a:lnTo>
                    <a:pt x="338" y="72"/>
                  </a:lnTo>
                  <a:lnTo>
                    <a:pt x="338" y="76"/>
                  </a:lnTo>
                  <a:lnTo>
                    <a:pt x="334" y="76"/>
                  </a:lnTo>
                  <a:lnTo>
                    <a:pt x="334" y="80"/>
                  </a:lnTo>
                  <a:lnTo>
                    <a:pt x="330" y="84"/>
                  </a:lnTo>
                  <a:lnTo>
                    <a:pt x="330" y="86"/>
                  </a:lnTo>
                  <a:lnTo>
                    <a:pt x="328" y="90"/>
                  </a:lnTo>
                  <a:lnTo>
                    <a:pt x="324" y="90"/>
                  </a:lnTo>
                  <a:lnTo>
                    <a:pt x="324" y="94"/>
                  </a:lnTo>
                  <a:lnTo>
                    <a:pt x="320" y="94"/>
                  </a:lnTo>
                  <a:lnTo>
                    <a:pt x="320" y="98"/>
                  </a:lnTo>
                  <a:lnTo>
                    <a:pt x="320" y="102"/>
                  </a:lnTo>
                  <a:lnTo>
                    <a:pt x="316" y="102"/>
                  </a:lnTo>
                  <a:lnTo>
                    <a:pt x="316" y="106"/>
                  </a:lnTo>
                  <a:lnTo>
                    <a:pt x="316" y="110"/>
                  </a:lnTo>
                  <a:lnTo>
                    <a:pt x="312" y="114"/>
                  </a:lnTo>
                  <a:lnTo>
                    <a:pt x="312" y="116"/>
                  </a:lnTo>
                  <a:lnTo>
                    <a:pt x="308" y="116"/>
                  </a:lnTo>
                  <a:lnTo>
                    <a:pt x="304" y="116"/>
                  </a:lnTo>
                  <a:lnTo>
                    <a:pt x="304" y="120"/>
                  </a:lnTo>
                  <a:lnTo>
                    <a:pt x="302" y="116"/>
                  </a:lnTo>
                  <a:lnTo>
                    <a:pt x="302" y="120"/>
                  </a:lnTo>
                  <a:lnTo>
                    <a:pt x="304" y="120"/>
                  </a:lnTo>
                  <a:lnTo>
                    <a:pt x="308" y="120"/>
                  </a:lnTo>
                  <a:lnTo>
                    <a:pt x="312" y="120"/>
                  </a:lnTo>
                  <a:lnTo>
                    <a:pt x="312" y="116"/>
                  </a:lnTo>
                  <a:lnTo>
                    <a:pt x="316" y="116"/>
                  </a:lnTo>
                  <a:lnTo>
                    <a:pt x="320" y="116"/>
                  </a:lnTo>
                  <a:lnTo>
                    <a:pt x="324" y="114"/>
                  </a:lnTo>
                  <a:lnTo>
                    <a:pt x="324" y="110"/>
                  </a:lnTo>
                  <a:lnTo>
                    <a:pt x="328" y="110"/>
                  </a:lnTo>
                  <a:lnTo>
                    <a:pt x="328" y="114"/>
                  </a:lnTo>
                  <a:lnTo>
                    <a:pt x="328" y="116"/>
                  </a:lnTo>
                  <a:lnTo>
                    <a:pt x="328" y="120"/>
                  </a:lnTo>
                  <a:lnTo>
                    <a:pt x="330" y="120"/>
                  </a:lnTo>
                  <a:lnTo>
                    <a:pt x="330" y="124"/>
                  </a:lnTo>
                  <a:lnTo>
                    <a:pt x="328" y="124"/>
                  </a:lnTo>
                  <a:lnTo>
                    <a:pt x="324" y="124"/>
                  </a:lnTo>
                  <a:lnTo>
                    <a:pt x="320" y="124"/>
                  </a:lnTo>
                  <a:lnTo>
                    <a:pt x="320" y="120"/>
                  </a:lnTo>
                  <a:lnTo>
                    <a:pt x="320" y="124"/>
                  </a:lnTo>
                  <a:lnTo>
                    <a:pt x="320" y="128"/>
                  </a:lnTo>
                  <a:lnTo>
                    <a:pt x="316" y="128"/>
                  </a:lnTo>
                  <a:lnTo>
                    <a:pt x="320" y="132"/>
                  </a:lnTo>
                  <a:lnTo>
                    <a:pt x="320" y="128"/>
                  </a:lnTo>
                  <a:lnTo>
                    <a:pt x="320" y="124"/>
                  </a:lnTo>
                  <a:lnTo>
                    <a:pt x="324" y="124"/>
                  </a:lnTo>
                  <a:lnTo>
                    <a:pt x="324" y="128"/>
                  </a:lnTo>
                  <a:lnTo>
                    <a:pt x="324" y="132"/>
                  </a:lnTo>
                  <a:lnTo>
                    <a:pt x="324" y="136"/>
                  </a:lnTo>
                  <a:lnTo>
                    <a:pt x="328" y="136"/>
                  </a:lnTo>
                  <a:lnTo>
                    <a:pt x="324" y="132"/>
                  </a:lnTo>
                  <a:lnTo>
                    <a:pt x="328" y="128"/>
                  </a:lnTo>
                  <a:lnTo>
                    <a:pt x="330" y="132"/>
                  </a:lnTo>
                  <a:lnTo>
                    <a:pt x="328" y="128"/>
                  </a:lnTo>
                  <a:lnTo>
                    <a:pt x="328" y="124"/>
                  </a:lnTo>
                  <a:lnTo>
                    <a:pt x="330" y="124"/>
                  </a:lnTo>
                  <a:lnTo>
                    <a:pt x="334" y="124"/>
                  </a:lnTo>
                  <a:lnTo>
                    <a:pt x="330" y="124"/>
                  </a:lnTo>
                  <a:lnTo>
                    <a:pt x="334" y="124"/>
                  </a:lnTo>
                  <a:lnTo>
                    <a:pt x="338" y="124"/>
                  </a:lnTo>
                  <a:lnTo>
                    <a:pt x="342" y="124"/>
                  </a:lnTo>
                  <a:lnTo>
                    <a:pt x="346" y="124"/>
                  </a:lnTo>
                  <a:lnTo>
                    <a:pt x="346" y="120"/>
                  </a:lnTo>
                  <a:lnTo>
                    <a:pt x="350" y="120"/>
                  </a:lnTo>
                  <a:lnTo>
                    <a:pt x="350" y="124"/>
                  </a:lnTo>
                  <a:lnTo>
                    <a:pt x="350" y="128"/>
                  </a:lnTo>
                  <a:lnTo>
                    <a:pt x="346" y="128"/>
                  </a:lnTo>
                  <a:lnTo>
                    <a:pt x="346" y="132"/>
                  </a:lnTo>
                  <a:lnTo>
                    <a:pt x="346" y="136"/>
                  </a:lnTo>
                  <a:lnTo>
                    <a:pt x="346" y="132"/>
                  </a:lnTo>
                  <a:lnTo>
                    <a:pt x="350" y="132"/>
                  </a:lnTo>
                  <a:lnTo>
                    <a:pt x="350" y="128"/>
                  </a:lnTo>
                  <a:lnTo>
                    <a:pt x="350" y="124"/>
                  </a:lnTo>
                  <a:lnTo>
                    <a:pt x="354" y="124"/>
                  </a:lnTo>
                  <a:lnTo>
                    <a:pt x="358" y="120"/>
                  </a:lnTo>
                  <a:lnTo>
                    <a:pt x="358" y="116"/>
                  </a:lnTo>
                  <a:lnTo>
                    <a:pt x="360" y="116"/>
                  </a:lnTo>
                  <a:lnTo>
                    <a:pt x="360" y="120"/>
                  </a:lnTo>
                  <a:lnTo>
                    <a:pt x="360" y="116"/>
                  </a:lnTo>
                  <a:lnTo>
                    <a:pt x="364" y="116"/>
                  </a:lnTo>
                  <a:lnTo>
                    <a:pt x="360" y="116"/>
                  </a:lnTo>
                  <a:lnTo>
                    <a:pt x="360" y="114"/>
                  </a:lnTo>
                  <a:lnTo>
                    <a:pt x="360" y="116"/>
                  </a:lnTo>
                  <a:lnTo>
                    <a:pt x="364" y="116"/>
                  </a:lnTo>
                  <a:lnTo>
                    <a:pt x="364" y="114"/>
                  </a:lnTo>
                  <a:lnTo>
                    <a:pt x="364" y="110"/>
                  </a:lnTo>
                  <a:lnTo>
                    <a:pt x="364" y="106"/>
                  </a:lnTo>
                  <a:lnTo>
                    <a:pt x="368" y="106"/>
                  </a:lnTo>
                  <a:lnTo>
                    <a:pt x="372" y="102"/>
                  </a:lnTo>
                  <a:lnTo>
                    <a:pt x="372" y="106"/>
                  </a:lnTo>
                  <a:lnTo>
                    <a:pt x="372" y="102"/>
                  </a:lnTo>
                  <a:lnTo>
                    <a:pt x="376" y="102"/>
                  </a:lnTo>
                  <a:lnTo>
                    <a:pt x="376" y="106"/>
                  </a:lnTo>
                  <a:lnTo>
                    <a:pt x="376" y="102"/>
                  </a:lnTo>
                  <a:lnTo>
                    <a:pt x="380" y="102"/>
                  </a:lnTo>
                  <a:lnTo>
                    <a:pt x="380" y="106"/>
                  </a:lnTo>
                  <a:lnTo>
                    <a:pt x="384" y="106"/>
                  </a:lnTo>
                  <a:lnTo>
                    <a:pt x="384" y="110"/>
                  </a:lnTo>
                  <a:lnTo>
                    <a:pt x="384" y="106"/>
                  </a:lnTo>
                  <a:lnTo>
                    <a:pt x="386" y="106"/>
                  </a:lnTo>
                  <a:lnTo>
                    <a:pt x="386" y="110"/>
                  </a:lnTo>
                  <a:lnTo>
                    <a:pt x="390" y="110"/>
                  </a:lnTo>
                  <a:lnTo>
                    <a:pt x="394" y="110"/>
                  </a:lnTo>
                  <a:lnTo>
                    <a:pt x="394" y="114"/>
                  </a:lnTo>
                  <a:lnTo>
                    <a:pt x="390" y="114"/>
                  </a:lnTo>
                  <a:lnTo>
                    <a:pt x="394" y="114"/>
                  </a:lnTo>
                  <a:lnTo>
                    <a:pt x="398" y="110"/>
                  </a:lnTo>
                  <a:lnTo>
                    <a:pt x="398" y="114"/>
                  </a:lnTo>
                  <a:lnTo>
                    <a:pt x="402" y="114"/>
                  </a:lnTo>
                  <a:lnTo>
                    <a:pt x="402" y="116"/>
                  </a:lnTo>
                  <a:lnTo>
                    <a:pt x="402" y="114"/>
                  </a:lnTo>
                  <a:lnTo>
                    <a:pt x="406" y="116"/>
                  </a:lnTo>
                  <a:lnTo>
                    <a:pt x="402" y="116"/>
                  </a:lnTo>
                  <a:lnTo>
                    <a:pt x="402" y="120"/>
                  </a:lnTo>
                  <a:lnTo>
                    <a:pt x="406" y="120"/>
                  </a:lnTo>
                  <a:lnTo>
                    <a:pt x="406" y="116"/>
                  </a:lnTo>
                  <a:lnTo>
                    <a:pt x="406" y="120"/>
                  </a:lnTo>
                  <a:lnTo>
                    <a:pt x="406" y="116"/>
                  </a:lnTo>
                  <a:lnTo>
                    <a:pt x="410" y="116"/>
                  </a:lnTo>
                  <a:lnTo>
                    <a:pt x="414" y="116"/>
                  </a:lnTo>
                  <a:lnTo>
                    <a:pt x="414" y="120"/>
                  </a:lnTo>
                  <a:lnTo>
                    <a:pt x="410" y="120"/>
                  </a:lnTo>
                  <a:lnTo>
                    <a:pt x="414" y="120"/>
                  </a:lnTo>
                  <a:lnTo>
                    <a:pt x="414" y="124"/>
                  </a:lnTo>
                  <a:lnTo>
                    <a:pt x="414" y="124"/>
                  </a:lnTo>
                  <a:lnTo>
                    <a:pt x="414" y="124"/>
                  </a:lnTo>
                  <a:close/>
                  <a:moveTo>
                    <a:pt x="358" y="116"/>
                  </a:moveTo>
                  <a:lnTo>
                    <a:pt x="354" y="116"/>
                  </a:lnTo>
                  <a:lnTo>
                    <a:pt x="350" y="120"/>
                  </a:lnTo>
                  <a:lnTo>
                    <a:pt x="346" y="120"/>
                  </a:lnTo>
                  <a:lnTo>
                    <a:pt x="346" y="124"/>
                  </a:lnTo>
                  <a:lnTo>
                    <a:pt x="342" y="120"/>
                  </a:lnTo>
                  <a:lnTo>
                    <a:pt x="342" y="124"/>
                  </a:lnTo>
                  <a:lnTo>
                    <a:pt x="338" y="124"/>
                  </a:lnTo>
                  <a:lnTo>
                    <a:pt x="338" y="120"/>
                  </a:lnTo>
                  <a:lnTo>
                    <a:pt x="338" y="124"/>
                  </a:lnTo>
                  <a:lnTo>
                    <a:pt x="334" y="124"/>
                  </a:lnTo>
                  <a:lnTo>
                    <a:pt x="330" y="124"/>
                  </a:lnTo>
                  <a:lnTo>
                    <a:pt x="330" y="120"/>
                  </a:lnTo>
                  <a:lnTo>
                    <a:pt x="328" y="120"/>
                  </a:lnTo>
                  <a:lnTo>
                    <a:pt x="328" y="116"/>
                  </a:lnTo>
                  <a:lnTo>
                    <a:pt x="328" y="114"/>
                  </a:lnTo>
                  <a:lnTo>
                    <a:pt x="330" y="114"/>
                  </a:lnTo>
                  <a:lnTo>
                    <a:pt x="330" y="110"/>
                  </a:lnTo>
                  <a:lnTo>
                    <a:pt x="330" y="114"/>
                  </a:lnTo>
                  <a:lnTo>
                    <a:pt x="330" y="110"/>
                  </a:lnTo>
                  <a:lnTo>
                    <a:pt x="328" y="110"/>
                  </a:lnTo>
                  <a:lnTo>
                    <a:pt x="328" y="106"/>
                  </a:lnTo>
                  <a:lnTo>
                    <a:pt x="328" y="102"/>
                  </a:lnTo>
                  <a:lnTo>
                    <a:pt x="330" y="102"/>
                  </a:lnTo>
                  <a:lnTo>
                    <a:pt x="330" y="106"/>
                  </a:lnTo>
                  <a:lnTo>
                    <a:pt x="330" y="102"/>
                  </a:lnTo>
                  <a:lnTo>
                    <a:pt x="330" y="98"/>
                  </a:lnTo>
                  <a:lnTo>
                    <a:pt x="330" y="94"/>
                  </a:lnTo>
                  <a:lnTo>
                    <a:pt x="334" y="94"/>
                  </a:lnTo>
                  <a:lnTo>
                    <a:pt x="338" y="94"/>
                  </a:lnTo>
                  <a:lnTo>
                    <a:pt x="342" y="94"/>
                  </a:lnTo>
                  <a:lnTo>
                    <a:pt x="342" y="98"/>
                  </a:lnTo>
                  <a:lnTo>
                    <a:pt x="346" y="98"/>
                  </a:lnTo>
                  <a:lnTo>
                    <a:pt x="350" y="98"/>
                  </a:lnTo>
                  <a:lnTo>
                    <a:pt x="350" y="94"/>
                  </a:lnTo>
                  <a:lnTo>
                    <a:pt x="354" y="94"/>
                  </a:lnTo>
                  <a:lnTo>
                    <a:pt x="358" y="94"/>
                  </a:lnTo>
                  <a:lnTo>
                    <a:pt x="358" y="98"/>
                  </a:lnTo>
                  <a:lnTo>
                    <a:pt x="360" y="98"/>
                  </a:lnTo>
                  <a:lnTo>
                    <a:pt x="360" y="102"/>
                  </a:lnTo>
                  <a:lnTo>
                    <a:pt x="360" y="106"/>
                  </a:lnTo>
                  <a:lnTo>
                    <a:pt x="360" y="110"/>
                  </a:lnTo>
                  <a:lnTo>
                    <a:pt x="358" y="110"/>
                  </a:lnTo>
                  <a:lnTo>
                    <a:pt x="358" y="114"/>
                  </a:lnTo>
                  <a:lnTo>
                    <a:pt x="358" y="116"/>
                  </a:lnTo>
                  <a:lnTo>
                    <a:pt x="358" y="116"/>
                  </a:lnTo>
                  <a:lnTo>
                    <a:pt x="358" y="116"/>
                  </a:lnTo>
                  <a:close/>
                  <a:moveTo>
                    <a:pt x="330" y="56"/>
                  </a:moveTo>
                  <a:lnTo>
                    <a:pt x="330" y="54"/>
                  </a:lnTo>
                  <a:lnTo>
                    <a:pt x="334" y="54"/>
                  </a:lnTo>
                  <a:lnTo>
                    <a:pt x="334" y="56"/>
                  </a:lnTo>
                  <a:lnTo>
                    <a:pt x="330" y="56"/>
                  </a:lnTo>
                  <a:lnTo>
                    <a:pt x="330" y="56"/>
                  </a:lnTo>
                  <a:lnTo>
                    <a:pt x="330" y="56"/>
                  </a:lnTo>
                  <a:close/>
                  <a:moveTo>
                    <a:pt x="334" y="60"/>
                  </a:moveTo>
                  <a:lnTo>
                    <a:pt x="330" y="56"/>
                  </a:lnTo>
                  <a:lnTo>
                    <a:pt x="334" y="56"/>
                  </a:lnTo>
                  <a:lnTo>
                    <a:pt x="334" y="60"/>
                  </a:lnTo>
                  <a:lnTo>
                    <a:pt x="334" y="60"/>
                  </a:lnTo>
                  <a:lnTo>
                    <a:pt x="334" y="60"/>
                  </a:lnTo>
                  <a:close/>
                  <a:moveTo>
                    <a:pt x="338" y="76"/>
                  </a:moveTo>
                  <a:lnTo>
                    <a:pt x="342" y="76"/>
                  </a:lnTo>
                  <a:lnTo>
                    <a:pt x="338" y="76"/>
                  </a:lnTo>
                  <a:lnTo>
                    <a:pt x="338" y="76"/>
                  </a:lnTo>
                  <a:lnTo>
                    <a:pt x="338" y="76"/>
                  </a:lnTo>
                  <a:close/>
                  <a:moveTo>
                    <a:pt x="334" y="80"/>
                  </a:moveTo>
                  <a:lnTo>
                    <a:pt x="334" y="76"/>
                  </a:lnTo>
                  <a:lnTo>
                    <a:pt x="338" y="76"/>
                  </a:lnTo>
                  <a:lnTo>
                    <a:pt x="338" y="80"/>
                  </a:lnTo>
                  <a:lnTo>
                    <a:pt x="338" y="76"/>
                  </a:lnTo>
                  <a:lnTo>
                    <a:pt x="338" y="80"/>
                  </a:lnTo>
                  <a:lnTo>
                    <a:pt x="334" y="80"/>
                  </a:lnTo>
                  <a:lnTo>
                    <a:pt x="334" y="80"/>
                  </a:lnTo>
                  <a:lnTo>
                    <a:pt x="334" y="80"/>
                  </a:lnTo>
                  <a:close/>
                  <a:moveTo>
                    <a:pt x="334" y="86"/>
                  </a:moveTo>
                  <a:lnTo>
                    <a:pt x="334" y="84"/>
                  </a:lnTo>
                  <a:lnTo>
                    <a:pt x="338" y="84"/>
                  </a:lnTo>
                  <a:lnTo>
                    <a:pt x="338" y="86"/>
                  </a:lnTo>
                  <a:lnTo>
                    <a:pt x="334" y="86"/>
                  </a:lnTo>
                  <a:lnTo>
                    <a:pt x="334" y="86"/>
                  </a:lnTo>
                  <a:lnTo>
                    <a:pt x="334" y="86"/>
                  </a:lnTo>
                  <a:close/>
                  <a:moveTo>
                    <a:pt x="334" y="90"/>
                  </a:moveTo>
                  <a:lnTo>
                    <a:pt x="330" y="90"/>
                  </a:lnTo>
                  <a:lnTo>
                    <a:pt x="330" y="86"/>
                  </a:lnTo>
                  <a:lnTo>
                    <a:pt x="334" y="86"/>
                  </a:lnTo>
                  <a:lnTo>
                    <a:pt x="334" y="84"/>
                  </a:lnTo>
                  <a:lnTo>
                    <a:pt x="334" y="86"/>
                  </a:lnTo>
                  <a:lnTo>
                    <a:pt x="334" y="90"/>
                  </a:lnTo>
                  <a:lnTo>
                    <a:pt x="334" y="90"/>
                  </a:lnTo>
                  <a:lnTo>
                    <a:pt x="334" y="90"/>
                  </a:lnTo>
                  <a:close/>
                  <a:moveTo>
                    <a:pt x="338" y="90"/>
                  </a:moveTo>
                  <a:lnTo>
                    <a:pt x="334" y="90"/>
                  </a:lnTo>
                  <a:lnTo>
                    <a:pt x="338" y="90"/>
                  </a:lnTo>
                  <a:lnTo>
                    <a:pt x="338" y="86"/>
                  </a:lnTo>
                  <a:lnTo>
                    <a:pt x="342" y="86"/>
                  </a:lnTo>
                  <a:lnTo>
                    <a:pt x="346" y="86"/>
                  </a:lnTo>
                  <a:lnTo>
                    <a:pt x="346" y="90"/>
                  </a:lnTo>
                  <a:lnTo>
                    <a:pt x="342" y="90"/>
                  </a:lnTo>
                  <a:lnTo>
                    <a:pt x="342" y="94"/>
                  </a:lnTo>
                  <a:lnTo>
                    <a:pt x="338" y="94"/>
                  </a:lnTo>
                  <a:lnTo>
                    <a:pt x="338" y="90"/>
                  </a:lnTo>
                  <a:lnTo>
                    <a:pt x="338" y="90"/>
                  </a:lnTo>
                  <a:lnTo>
                    <a:pt x="338" y="90"/>
                  </a:lnTo>
                  <a:close/>
                  <a:moveTo>
                    <a:pt x="330" y="94"/>
                  </a:moveTo>
                  <a:lnTo>
                    <a:pt x="330" y="90"/>
                  </a:lnTo>
                  <a:lnTo>
                    <a:pt x="334" y="90"/>
                  </a:lnTo>
                  <a:lnTo>
                    <a:pt x="334" y="94"/>
                  </a:lnTo>
                  <a:lnTo>
                    <a:pt x="330" y="94"/>
                  </a:lnTo>
                  <a:lnTo>
                    <a:pt x="330" y="94"/>
                  </a:lnTo>
                  <a:lnTo>
                    <a:pt x="330" y="94"/>
                  </a:lnTo>
                  <a:close/>
                  <a:moveTo>
                    <a:pt x="342" y="90"/>
                  </a:moveTo>
                  <a:lnTo>
                    <a:pt x="346" y="90"/>
                  </a:lnTo>
                  <a:lnTo>
                    <a:pt x="350" y="90"/>
                  </a:lnTo>
                  <a:lnTo>
                    <a:pt x="350" y="94"/>
                  </a:lnTo>
                  <a:lnTo>
                    <a:pt x="346" y="94"/>
                  </a:lnTo>
                  <a:lnTo>
                    <a:pt x="342" y="94"/>
                  </a:lnTo>
                  <a:lnTo>
                    <a:pt x="342" y="90"/>
                  </a:lnTo>
                  <a:lnTo>
                    <a:pt x="342" y="90"/>
                  </a:lnTo>
                  <a:lnTo>
                    <a:pt x="342" y="90"/>
                  </a:lnTo>
                  <a:close/>
                  <a:moveTo>
                    <a:pt x="328" y="90"/>
                  </a:moveTo>
                  <a:lnTo>
                    <a:pt x="330" y="90"/>
                  </a:lnTo>
                  <a:lnTo>
                    <a:pt x="328" y="90"/>
                  </a:lnTo>
                  <a:lnTo>
                    <a:pt x="328" y="94"/>
                  </a:lnTo>
                  <a:lnTo>
                    <a:pt x="328" y="90"/>
                  </a:lnTo>
                  <a:lnTo>
                    <a:pt x="328" y="90"/>
                  </a:lnTo>
                  <a:lnTo>
                    <a:pt x="328" y="90"/>
                  </a:lnTo>
                  <a:close/>
                  <a:moveTo>
                    <a:pt x="328" y="98"/>
                  </a:moveTo>
                  <a:lnTo>
                    <a:pt x="324" y="98"/>
                  </a:lnTo>
                  <a:lnTo>
                    <a:pt x="324" y="94"/>
                  </a:lnTo>
                  <a:lnTo>
                    <a:pt x="328" y="94"/>
                  </a:lnTo>
                  <a:lnTo>
                    <a:pt x="330" y="94"/>
                  </a:lnTo>
                  <a:lnTo>
                    <a:pt x="328" y="94"/>
                  </a:lnTo>
                  <a:lnTo>
                    <a:pt x="328" y="98"/>
                  </a:lnTo>
                  <a:lnTo>
                    <a:pt x="328" y="98"/>
                  </a:lnTo>
                  <a:lnTo>
                    <a:pt x="328" y="98"/>
                  </a:lnTo>
                  <a:close/>
                  <a:moveTo>
                    <a:pt x="320" y="102"/>
                  </a:moveTo>
                  <a:lnTo>
                    <a:pt x="320" y="98"/>
                  </a:lnTo>
                  <a:lnTo>
                    <a:pt x="324" y="98"/>
                  </a:lnTo>
                  <a:lnTo>
                    <a:pt x="324" y="94"/>
                  </a:lnTo>
                  <a:lnTo>
                    <a:pt x="324" y="98"/>
                  </a:lnTo>
                  <a:lnTo>
                    <a:pt x="320" y="102"/>
                  </a:lnTo>
                  <a:lnTo>
                    <a:pt x="320" y="102"/>
                  </a:lnTo>
                  <a:lnTo>
                    <a:pt x="320" y="102"/>
                  </a:lnTo>
                  <a:close/>
                  <a:moveTo>
                    <a:pt x="324" y="102"/>
                  </a:moveTo>
                  <a:lnTo>
                    <a:pt x="324" y="98"/>
                  </a:lnTo>
                  <a:lnTo>
                    <a:pt x="328" y="98"/>
                  </a:lnTo>
                  <a:lnTo>
                    <a:pt x="324" y="98"/>
                  </a:lnTo>
                  <a:lnTo>
                    <a:pt x="324" y="102"/>
                  </a:lnTo>
                  <a:lnTo>
                    <a:pt x="324" y="102"/>
                  </a:lnTo>
                  <a:lnTo>
                    <a:pt x="324" y="102"/>
                  </a:lnTo>
                  <a:close/>
                  <a:moveTo>
                    <a:pt x="328" y="102"/>
                  </a:moveTo>
                  <a:lnTo>
                    <a:pt x="328" y="98"/>
                  </a:lnTo>
                  <a:lnTo>
                    <a:pt x="328" y="102"/>
                  </a:lnTo>
                  <a:lnTo>
                    <a:pt x="328" y="102"/>
                  </a:lnTo>
                  <a:lnTo>
                    <a:pt x="328" y="102"/>
                  </a:lnTo>
                  <a:close/>
                  <a:moveTo>
                    <a:pt x="324" y="102"/>
                  </a:moveTo>
                  <a:lnTo>
                    <a:pt x="324" y="98"/>
                  </a:lnTo>
                  <a:lnTo>
                    <a:pt x="328" y="98"/>
                  </a:lnTo>
                  <a:lnTo>
                    <a:pt x="328" y="102"/>
                  </a:lnTo>
                  <a:lnTo>
                    <a:pt x="324" y="102"/>
                  </a:lnTo>
                  <a:lnTo>
                    <a:pt x="324" y="102"/>
                  </a:lnTo>
                  <a:lnTo>
                    <a:pt x="324" y="102"/>
                  </a:lnTo>
                  <a:close/>
                  <a:moveTo>
                    <a:pt x="324" y="110"/>
                  </a:moveTo>
                  <a:lnTo>
                    <a:pt x="324" y="106"/>
                  </a:lnTo>
                  <a:lnTo>
                    <a:pt x="328" y="102"/>
                  </a:lnTo>
                  <a:lnTo>
                    <a:pt x="328" y="106"/>
                  </a:lnTo>
                  <a:lnTo>
                    <a:pt x="324" y="106"/>
                  </a:lnTo>
                  <a:lnTo>
                    <a:pt x="324" y="110"/>
                  </a:lnTo>
                  <a:lnTo>
                    <a:pt x="324" y="110"/>
                  </a:lnTo>
                  <a:lnTo>
                    <a:pt x="324" y="110"/>
                  </a:lnTo>
                  <a:close/>
                  <a:moveTo>
                    <a:pt x="320" y="114"/>
                  </a:moveTo>
                  <a:lnTo>
                    <a:pt x="320" y="110"/>
                  </a:lnTo>
                  <a:lnTo>
                    <a:pt x="324" y="110"/>
                  </a:lnTo>
                  <a:lnTo>
                    <a:pt x="324" y="106"/>
                  </a:lnTo>
                  <a:lnTo>
                    <a:pt x="324" y="110"/>
                  </a:lnTo>
                  <a:lnTo>
                    <a:pt x="324" y="114"/>
                  </a:lnTo>
                  <a:lnTo>
                    <a:pt x="320" y="114"/>
                  </a:lnTo>
                  <a:lnTo>
                    <a:pt x="320" y="114"/>
                  </a:lnTo>
                  <a:lnTo>
                    <a:pt x="320" y="114"/>
                  </a:lnTo>
                  <a:close/>
                  <a:moveTo>
                    <a:pt x="328" y="106"/>
                  </a:moveTo>
                  <a:lnTo>
                    <a:pt x="328" y="110"/>
                  </a:lnTo>
                  <a:lnTo>
                    <a:pt x="324" y="110"/>
                  </a:lnTo>
                  <a:lnTo>
                    <a:pt x="324" y="114"/>
                  </a:lnTo>
                  <a:lnTo>
                    <a:pt x="324" y="110"/>
                  </a:lnTo>
                  <a:lnTo>
                    <a:pt x="324" y="106"/>
                  </a:lnTo>
                  <a:lnTo>
                    <a:pt x="328" y="106"/>
                  </a:lnTo>
                  <a:lnTo>
                    <a:pt x="328" y="106"/>
                  </a:lnTo>
                  <a:lnTo>
                    <a:pt x="328" y="106"/>
                  </a:lnTo>
                  <a:close/>
                  <a:moveTo>
                    <a:pt x="386" y="110"/>
                  </a:moveTo>
                  <a:lnTo>
                    <a:pt x="390" y="110"/>
                  </a:lnTo>
                  <a:lnTo>
                    <a:pt x="386" y="110"/>
                  </a:lnTo>
                  <a:lnTo>
                    <a:pt x="386" y="110"/>
                  </a:lnTo>
                  <a:lnTo>
                    <a:pt x="386" y="110"/>
                  </a:lnTo>
                  <a:close/>
                  <a:moveTo>
                    <a:pt x="364" y="114"/>
                  </a:moveTo>
                  <a:lnTo>
                    <a:pt x="360" y="114"/>
                  </a:lnTo>
                  <a:lnTo>
                    <a:pt x="360" y="110"/>
                  </a:lnTo>
                  <a:lnTo>
                    <a:pt x="364" y="110"/>
                  </a:lnTo>
                  <a:lnTo>
                    <a:pt x="364" y="114"/>
                  </a:lnTo>
                  <a:lnTo>
                    <a:pt x="364" y="114"/>
                  </a:lnTo>
                  <a:lnTo>
                    <a:pt x="364" y="114"/>
                  </a:lnTo>
                  <a:close/>
                  <a:moveTo>
                    <a:pt x="402" y="116"/>
                  </a:moveTo>
                  <a:lnTo>
                    <a:pt x="402" y="114"/>
                  </a:lnTo>
                  <a:lnTo>
                    <a:pt x="402" y="116"/>
                  </a:lnTo>
                  <a:lnTo>
                    <a:pt x="402" y="116"/>
                  </a:lnTo>
                  <a:lnTo>
                    <a:pt x="402" y="116"/>
                  </a:lnTo>
                  <a:close/>
                  <a:moveTo>
                    <a:pt x="410" y="116"/>
                  </a:moveTo>
                  <a:lnTo>
                    <a:pt x="410" y="114"/>
                  </a:lnTo>
                  <a:lnTo>
                    <a:pt x="414" y="114"/>
                  </a:lnTo>
                  <a:lnTo>
                    <a:pt x="414" y="116"/>
                  </a:lnTo>
                  <a:lnTo>
                    <a:pt x="410" y="116"/>
                  </a:lnTo>
                  <a:lnTo>
                    <a:pt x="410" y="116"/>
                  </a:lnTo>
                  <a:lnTo>
                    <a:pt x="410" y="116"/>
                  </a:lnTo>
                  <a:close/>
                  <a:moveTo>
                    <a:pt x="304" y="116"/>
                  </a:moveTo>
                  <a:lnTo>
                    <a:pt x="308" y="116"/>
                  </a:lnTo>
                  <a:lnTo>
                    <a:pt x="304" y="116"/>
                  </a:lnTo>
                  <a:lnTo>
                    <a:pt x="304" y="116"/>
                  </a:lnTo>
                  <a:lnTo>
                    <a:pt x="304" y="116"/>
                  </a:lnTo>
                  <a:close/>
                  <a:moveTo>
                    <a:pt x="308" y="120"/>
                  </a:moveTo>
                  <a:lnTo>
                    <a:pt x="308" y="116"/>
                  </a:lnTo>
                  <a:lnTo>
                    <a:pt x="312" y="116"/>
                  </a:lnTo>
                  <a:lnTo>
                    <a:pt x="312" y="120"/>
                  </a:lnTo>
                  <a:lnTo>
                    <a:pt x="308" y="120"/>
                  </a:lnTo>
                  <a:lnTo>
                    <a:pt x="308" y="120"/>
                  </a:lnTo>
                  <a:lnTo>
                    <a:pt x="308" y="120"/>
                  </a:lnTo>
                  <a:close/>
                  <a:moveTo>
                    <a:pt x="414" y="120"/>
                  </a:moveTo>
                  <a:lnTo>
                    <a:pt x="416" y="120"/>
                  </a:lnTo>
                  <a:lnTo>
                    <a:pt x="414" y="120"/>
                  </a:lnTo>
                  <a:lnTo>
                    <a:pt x="414" y="120"/>
                  </a:lnTo>
                  <a:lnTo>
                    <a:pt x="414" y="120"/>
                  </a:lnTo>
                  <a:close/>
                  <a:moveTo>
                    <a:pt x="354" y="124"/>
                  </a:moveTo>
                  <a:lnTo>
                    <a:pt x="354" y="120"/>
                  </a:lnTo>
                  <a:lnTo>
                    <a:pt x="354" y="124"/>
                  </a:lnTo>
                  <a:lnTo>
                    <a:pt x="354" y="124"/>
                  </a:lnTo>
                  <a:lnTo>
                    <a:pt x="354" y="124"/>
                  </a:lnTo>
                  <a:close/>
                  <a:moveTo>
                    <a:pt x="354" y="124"/>
                  </a:moveTo>
                  <a:lnTo>
                    <a:pt x="350" y="124"/>
                  </a:lnTo>
                  <a:lnTo>
                    <a:pt x="354" y="124"/>
                  </a:lnTo>
                  <a:lnTo>
                    <a:pt x="354" y="120"/>
                  </a:lnTo>
                  <a:lnTo>
                    <a:pt x="354" y="124"/>
                  </a:lnTo>
                  <a:lnTo>
                    <a:pt x="354" y="124"/>
                  </a:lnTo>
                  <a:lnTo>
                    <a:pt x="354" y="124"/>
                  </a:lnTo>
                  <a:close/>
                  <a:moveTo>
                    <a:pt x="328" y="128"/>
                  </a:moveTo>
                  <a:lnTo>
                    <a:pt x="328" y="124"/>
                  </a:lnTo>
                  <a:lnTo>
                    <a:pt x="328" y="128"/>
                  </a:lnTo>
                  <a:lnTo>
                    <a:pt x="324" y="128"/>
                  </a:lnTo>
                  <a:lnTo>
                    <a:pt x="324" y="124"/>
                  </a:lnTo>
                  <a:lnTo>
                    <a:pt x="328" y="124"/>
                  </a:lnTo>
                  <a:lnTo>
                    <a:pt x="328" y="128"/>
                  </a:lnTo>
                  <a:lnTo>
                    <a:pt x="328" y="128"/>
                  </a:lnTo>
                  <a:lnTo>
                    <a:pt x="328" y="128"/>
                  </a:lnTo>
                  <a:close/>
                  <a:moveTo>
                    <a:pt x="416" y="146"/>
                  </a:moveTo>
                  <a:lnTo>
                    <a:pt x="416" y="142"/>
                  </a:lnTo>
                  <a:lnTo>
                    <a:pt x="416" y="140"/>
                  </a:lnTo>
                  <a:lnTo>
                    <a:pt x="416" y="142"/>
                  </a:lnTo>
                  <a:lnTo>
                    <a:pt x="416" y="146"/>
                  </a:lnTo>
                  <a:lnTo>
                    <a:pt x="416" y="146"/>
                  </a:lnTo>
                  <a:lnTo>
                    <a:pt x="416" y="146"/>
                  </a:lnTo>
                  <a:close/>
                  <a:moveTo>
                    <a:pt x="498" y="318"/>
                  </a:moveTo>
                  <a:lnTo>
                    <a:pt x="498" y="314"/>
                  </a:lnTo>
                  <a:lnTo>
                    <a:pt x="502" y="314"/>
                  </a:lnTo>
                  <a:lnTo>
                    <a:pt x="498" y="314"/>
                  </a:lnTo>
                  <a:lnTo>
                    <a:pt x="498" y="318"/>
                  </a:lnTo>
                  <a:lnTo>
                    <a:pt x="498" y="318"/>
                  </a:lnTo>
                  <a:lnTo>
                    <a:pt x="498" y="318"/>
                  </a:lnTo>
                  <a:close/>
                  <a:moveTo>
                    <a:pt x="494" y="326"/>
                  </a:moveTo>
                  <a:lnTo>
                    <a:pt x="494" y="322"/>
                  </a:lnTo>
                  <a:lnTo>
                    <a:pt x="494" y="326"/>
                  </a:lnTo>
                  <a:lnTo>
                    <a:pt x="494" y="326"/>
                  </a:lnTo>
                  <a:lnTo>
                    <a:pt x="494" y="326"/>
                  </a:lnTo>
                  <a:close/>
                  <a:moveTo>
                    <a:pt x="360" y="552"/>
                  </a:moveTo>
                  <a:lnTo>
                    <a:pt x="358" y="552"/>
                  </a:lnTo>
                  <a:lnTo>
                    <a:pt x="358" y="550"/>
                  </a:lnTo>
                  <a:lnTo>
                    <a:pt x="360" y="546"/>
                  </a:lnTo>
                  <a:lnTo>
                    <a:pt x="360" y="550"/>
                  </a:lnTo>
                  <a:lnTo>
                    <a:pt x="360" y="552"/>
                  </a:lnTo>
                  <a:lnTo>
                    <a:pt x="360" y="552"/>
                  </a:lnTo>
                  <a:lnTo>
                    <a:pt x="360" y="552"/>
                  </a:lnTo>
                  <a:close/>
                  <a:moveTo>
                    <a:pt x="360" y="578"/>
                  </a:moveTo>
                  <a:lnTo>
                    <a:pt x="360" y="574"/>
                  </a:lnTo>
                  <a:lnTo>
                    <a:pt x="360" y="570"/>
                  </a:lnTo>
                  <a:lnTo>
                    <a:pt x="360" y="566"/>
                  </a:lnTo>
                  <a:lnTo>
                    <a:pt x="360" y="570"/>
                  </a:lnTo>
                  <a:lnTo>
                    <a:pt x="360" y="574"/>
                  </a:lnTo>
                  <a:lnTo>
                    <a:pt x="360" y="578"/>
                  </a:lnTo>
                  <a:lnTo>
                    <a:pt x="360" y="578"/>
                  </a:lnTo>
                  <a:lnTo>
                    <a:pt x="360" y="578"/>
                  </a:lnTo>
                  <a:close/>
                  <a:moveTo>
                    <a:pt x="312" y="116"/>
                  </a:moveTo>
                  <a:lnTo>
                    <a:pt x="312" y="114"/>
                  </a:lnTo>
                  <a:lnTo>
                    <a:pt x="316" y="114"/>
                  </a:lnTo>
                  <a:lnTo>
                    <a:pt x="316" y="110"/>
                  </a:lnTo>
                  <a:lnTo>
                    <a:pt x="316" y="106"/>
                  </a:lnTo>
                  <a:lnTo>
                    <a:pt x="316" y="102"/>
                  </a:lnTo>
                  <a:lnTo>
                    <a:pt x="320" y="102"/>
                  </a:lnTo>
                  <a:lnTo>
                    <a:pt x="324" y="102"/>
                  </a:lnTo>
                  <a:lnTo>
                    <a:pt x="324" y="106"/>
                  </a:lnTo>
                  <a:lnTo>
                    <a:pt x="324" y="110"/>
                  </a:lnTo>
                  <a:lnTo>
                    <a:pt x="320" y="110"/>
                  </a:lnTo>
                  <a:lnTo>
                    <a:pt x="320" y="114"/>
                  </a:lnTo>
                  <a:lnTo>
                    <a:pt x="316" y="114"/>
                  </a:lnTo>
                  <a:lnTo>
                    <a:pt x="316" y="116"/>
                  </a:lnTo>
                  <a:lnTo>
                    <a:pt x="312" y="116"/>
                  </a:lnTo>
                  <a:lnTo>
                    <a:pt x="312" y="116"/>
                  </a:lnTo>
                  <a:lnTo>
                    <a:pt x="312" y="116"/>
                  </a:lnTo>
                  <a:close/>
                  <a:moveTo>
                    <a:pt x="420" y="494"/>
                  </a:moveTo>
                  <a:lnTo>
                    <a:pt x="424" y="494"/>
                  </a:lnTo>
                  <a:lnTo>
                    <a:pt x="420" y="494"/>
                  </a:lnTo>
                  <a:lnTo>
                    <a:pt x="420" y="494"/>
                  </a:lnTo>
                  <a:lnTo>
                    <a:pt x="420" y="494"/>
                  </a:lnTo>
                  <a:close/>
                  <a:moveTo>
                    <a:pt x="406" y="508"/>
                  </a:moveTo>
                  <a:lnTo>
                    <a:pt x="406" y="504"/>
                  </a:lnTo>
                  <a:lnTo>
                    <a:pt x="406" y="508"/>
                  </a:lnTo>
                  <a:lnTo>
                    <a:pt x="406" y="508"/>
                  </a:lnTo>
                  <a:lnTo>
                    <a:pt x="406" y="50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88" name="Freeform 181"/>
            <p:cNvSpPr>
              <a:spLocks noEditPoints="1"/>
            </p:cNvSpPr>
            <p:nvPr/>
          </p:nvSpPr>
          <p:spPr bwMode="auto">
            <a:xfrm>
              <a:off x="6338202" y="4020532"/>
              <a:ext cx="108013" cy="186984"/>
            </a:xfrm>
            <a:custGeom>
              <a:avLst/>
              <a:gdLst>
                <a:gd name="T0" fmla="*/ 68 w 172"/>
                <a:gd name="T1" fmla="*/ 30 h 286"/>
                <a:gd name="T2" fmla="*/ 82 w 172"/>
                <a:gd name="T3" fmla="*/ 22 h 286"/>
                <a:gd name="T4" fmla="*/ 98 w 172"/>
                <a:gd name="T5" fmla="*/ 8 h 286"/>
                <a:gd name="T6" fmla="*/ 104 w 172"/>
                <a:gd name="T7" fmla="*/ 0 h 286"/>
                <a:gd name="T8" fmla="*/ 104 w 172"/>
                <a:gd name="T9" fmla="*/ 12 h 286"/>
                <a:gd name="T10" fmla="*/ 94 w 172"/>
                <a:gd name="T11" fmla="*/ 26 h 286"/>
                <a:gd name="T12" fmla="*/ 86 w 172"/>
                <a:gd name="T13" fmla="*/ 44 h 286"/>
                <a:gd name="T14" fmla="*/ 86 w 172"/>
                <a:gd name="T15" fmla="*/ 60 h 286"/>
                <a:gd name="T16" fmla="*/ 98 w 172"/>
                <a:gd name="T17" fmla="*/ 74 h 286"/>
                <a:gd name="T18" fmla="*/ 98 w 172"/>
                <a:gd name="T19" fmla="*/ 90 h 286"/>
                <a:gd name="T20" fmla="*/ 112 w 172"/>
                <a:gd name="T21" fmla="*/ 96 h 286"/>
                <a:gd name="T22" fmla="*/ 128 w 172"/>
                <a:gd name="T23" fmla="*/ 96 h 286"/>
                <a:gd name="T24" fmla="*/ 142 w 172"/>
                <a:gd name="T25" fmla="*/ 108 h 286"/>
                <a:gd name="T26" fmla="*/ 164 w 172"/>
                <a:gd name="T27" fmla="*/ 108 h 286"/>
                <a:gd name="T28" fmla="*/ 160 w 172"/>
                <a:gd name="T29" fmla="*/ 130 h 286"/>
                <a:gd name="T30" fmla="*/ 164 w 172"/>
                <a:gd name="T31" fmla="*/ 150 h 286"/>
                <a:gd name="T32" fmla="*/ 160 w 172"/>
                <a:gd name="T33" fmla="*/ 164 h 286"/>
                <a:gd name="T34" fmla="*/ 172 w 172"/>
                <a:gd name="T35" fmla="*/ 186 h 286"/>
                <a:gd name="T36" fmla="*/ 168 w 172"/>
                <a:gd name="T37" fmla="*/ 186 h 286"/>
                <a:gd name="T38" fmla="*/ 158 w 172"/>
                <a:gd name="T39" fmla="*/ 182 h 286"/>
                <a:gd name="T40" fmla="*/ 154 w 172"/>
                <a:gd name="T41" fmla="*/ 186 h 286"/>
                <a:gd name="T42" fmla="*/ 132 w 172"/>
                <a:gd name="T43" fmla="*/ 198 h 286"/>
                <a:gd name="T44" fmla="*/ 138 w 172"/>
                <a:gd name="T45" fmla="*/ 202 h 286"/>
                <a:gd name="T46" fmla="*/ 128 w 172"/>
                <a:gd name="T47" fmla="*/ 216 h 286"/>
                <a:gd name="T48" fmla="*/ 138 w 172"/>
                <a:gd name="T49" fmla="*/ 232 h 286"/>
                <a:gd name="T50" fmla="*/ 134 w 172"/>
                <a:gd name="T51" fmla="*/ 246 h 286"/>
                <a:gd name="T52" fmla="*/ 128 w 172"/>
                <a:gd name="T53" fmla="*/ 286 h 286"/>
                <a:gd name="T54" fmla="*/ 128 w 172"/>
                <a:gd name="T55" fmla="*/ 260 h 286"/>
                <a:gd name="T56" fmla="*/ 112 w 172"/>
                <a:gd name="T57" fmla="*/ 254 h 286"/>
                <a:gd name="T58" fmla="*/ 98 w 172"/>
                <a:gd name="T59" fmla="*/ 258 h 286"/>
                <a:gd name="T60" fmla="*/ 86 w 172"/>
                <a:gd name="T61" fmla="*/ 254 h 286"/>
                <a:gd name="T62" fmla="*/ 78 w 172"/>
                <a:gd name="T63" fmla="*/ 246 h 286"/>
                <a:gd name="T64" fmla="*/ 68 w 172"/>
                <a:gd name="T65" fmla="*/ 228 h 286"/>
                <a:gd name="T66" fmla="*/ 60 w 172"/>
                <a:gd name="T67" fmla="*/ 216 h 286"/>
                <a:gd name="T68" fmla="*/ 46 w 172"/>
                <a:gd name="T69" fmla="*/ 208 h 286"/>
                <a:gd name="T70" fmla="*/ 22 w 172"/>
                <a:gd name="T71" fmla="*/ 208 h 286"/>
                <a:gd name="T72" fmla="*/ 12 w 172"/>
                <a:gd name="T73" fmla="*/ 198 h 286"/>
                <a:gd name="T74" fmla="*/ 0 w 172"/>
                <a:gd name="T75" fmla="*/ 182 h 286"/>
                <a:gd name="T76" fmla="*/ 8 w 172"/>
                <a:gd name="T77" fmla="*/ 176 h 286"/>
                <a:gd name="T78" fmla="*/ 16 w 172"/>
                <a:gd name="T79" fmla="*/ 168 h 286"/>
                <a:gd name="T80" fmla="*/ 22 w 172"/>
                <a:gd name="T81" fmla="*/ 160 h 286"/>
                <a:gd name="T82" fmla="*/ 26 w 172"/>
                <a:gd name="T83" fmla="*/ 146 h 286"/>
                <a:gd name="T84" fmla="*/ 22 w 172"/>
                <a:gd name="T85" fmla="*/ 142 h 286"/>
                <a:gd name="T86" fmla="*/ 22 w 172"/>
                <a:gd name="T87" fmla="*/ 126 h 286"/>
                <a:gd name="T88" fmla="*/ 22 w 172"/>
                <a:gd name="T89" fmla="*/ 112 h 286"/>
                <a:gd name="T90" fmla="*/ 18 w 172"/>
                <a:gd name="T91" fmla="*/ 94 h 286"/>
                <a:gd name="T92" fmla="*/ 26 w 172"/>
                <a:gd name="T93" fmla="*/ 82 h 286"/>
                <a:gd name="T94" fmla="*/ 22 w 172"/>
                <a:gd name="T95" fmla="*/ 68 h 286"/>
                <a:gd name="T96" fmla="*/ 34 w 172"/>
                <a:gd name="T97" fmla="*/ 74 h 286"/>
                <a:gd name="T98" fmla="*/ 38 w 172"/>
                <a:gd name="T99" fmla="*/ 60 h 286"/>
                <a:gd name="T100" fmla="*/ 48 w 172"/>
                <a:gd name="T101" fmla="*/ 44 h 286"/>
                <a:gd name="T102" fmla="*/ 52 w 172"/>
                <a:gd name="T103" fmla="*/ 34 h 286"/>
                <a:gd name="T104" fmla="*/ 60 w 172"/>
                <a:gd name="T105" fmla="*/ 26 h 286"/>
                <a:gd name="T106" fmla="*/ 22 w 172"/>
                <a:gd name="T107" fmla="*/ 142 h 286"/>
                <a:gd name="T108" fmla="*/ 16 w 172"/>
                <a:gd name="T109" fmla="*/ 17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 h="286">
                  <a:moveTo>
                    <a:pt x="60" y="22"/>
                  </a:moveTo>
                  <a:lnTo>
                    <a:pt x="64" y="26"/>
                  </a:lnTo>
                  <a:lnTo>
                    <a:pt x="68" y="26"/>
                  </a:lnTo>
                  <a:lnTo>
                    <a:pt x="64" y="26"/>
                  </a:lnTo>
                  <a:lnTo>
                    <a:pt x="64" y="30"/>
                  </a:lnTo>
                  <a:lnTo>
                    <a:pt x="68" y="30"/>
                  </a:lnTo>
                  <a:lnTo>
                    <a:pt x="68" y="26"/>
                  </a:lnTo>
                  <a:lnTo>
                    <a:pt x="68" y="22"/>
                  </a:lnTo>
                  <a:lnTo>
                    <a:pt x="72" y="18"/>
                  </a:lnTo>
                  <a:lnTo>
                    <a:pt x="74" y="22"/>
                  </a:lnTo>
                  <a:lnTo>
                    <a:pt x="78" y="22"/>
                  </a:lnTo>
                  <a:lnTo>
                    <a:pt x="82" y="22"/>
                  </a:lnTo>
                  <a:lnTo>
                    <a:pt x="82" y="18"/>
                  </a:lnTo>
                  <a:lnTo>
                    <a:pt x="86" y="18"/>
                  </a:lnTo>
                  <a:lnTo>
                    <a:pt x="90" y="14"/>
                  </a:lnTo>
                  <a:lnTo>
                    <a:pt x="94" y="12"/>
                  </a:lnTo>
                  <a:lnTo>
                    <a:pt x="98" y="12"/>
                  </a:lnTo>
                  <a:lnTo>
                    <a:pt x="98" y="8"/>
                  </a:lnTo>
                  <a:lnTo>
                    <a:pt x="98" y="4"/>
                  </a:lnTo>
                  <a:lnTo>
                    <a:pt x="102" y="4"/>
                  </a:lnTo>
                  <a:lnTo>
                    <a:pt x="102" y="8"/>
                  </a:lnTo>
                  <a:lnTo>
                    <a:pt x="102" y="4"/>
                  </a:lnTo>
                  <a:lnTo>
                    <a:pt x="104" y="4"/>
                  </a:lnTo>
                  <a:lnTo>
                    <a:pt x="104" y="0"/>
                  </a:lnTo>
                  <a:lnTo>
                    <a:pt x="108" y="0"/>
                  </a:lnTo>
                  <a:lnTo>
                    <a:pt x="112" y="4"/>
                  </a:lnTo>
                  <a:lnTo>
                    <a:pt x="112" y="8"/>
                  </a:lnTo>
                  <a:lnTo>
                    <a:pt x="112" y="12"/>
                  </a:lnTo>
                  <a:lnTo>
                    <a:pt x="108" y="12"/>
                  </a:lnTo>
                  <a:lnTo>
                    <a:pt x="104" y="12"/>
                  </a:lnTo>
                  <a:lnTo>
                    <a:pt x="104" y="14"/>
                  </a:lnTo>
                  <a:lnTo>
                    <a:pt x="102" y="14"/>
                  </a:lnTo>
                  <a:lnTo>
                    <a:pt x="98" y="18"/>
                  </a:lnTo>
                  <a:lnTo>
                    <a:pt x="98" y="22"/>
                  </a:lnTo>
                  <a:lnTo>
                    <a:pt x="94" y="22"/>
                  </a:lnTo>
                  <a:lnTo>
                    <a:pt x="94" y="26"/>
                  </a:lnTo>
                  <a:lnTo>
                    <a:pt x="90" y="26"/>
                  </a:lnTo>
                  <a:lnTo>
                    <a:pt x="90" y="30"/>
                  </a:lnTo>
                  <a:lnTo>
                    <a:pt x="90" y="34"/>
                  </a:lnTo>
                  <a:lnTo>
                    <a:pt x="86" y="38"/>
                  </a:lnTo>
                  <a:lnTo>
                    <a:pt x="86" y="42"/>
                  </a:lnTo>
                  <a:lnTo>
                    <a:pt x="86" y="44"/>
                  </a:lnTo>
                  <a:lnTo>
                    <a:pt x="86" y="48"/>
                  </a:lnTo>
                  <a:lnTo>
                    <a:pt x="86" y="52"/>
                  </a:lnTo>
                  <a:lnTo>
                    <a:pt x="82" y="52"/>
                  </a:lnTo>
                  <a:lnTo>
                    <a:pt x="82" y="56"/>
                  </a:lnTo>
                  <a:lnTo>
                    <a:pt x="86" y="56"/>
                  </a:lnTo>
                  <a:lnTo>
                    <a:pt x="86" y="60"/>
                  </a:lnTo>
                  <a:lnTo>
                    <a:pt x="90" y="60"/>
                  </a:lnTo>
                  <a:lnTo>
                    <a:pt x="90" y="64"/>
                  </a:lnTo>
                  <a:lnTo>
                    <a:pt x="90" y="68"/>
                  </a:lnTo>
                  <a:lnTo>
                    <a:pt x="94" y="70"/>
                  </a:lnTo>
                  <a:lnTo>
                    <a:pt x="94" y="74"/>
                  </a:lnTo>
                  <a:lnTo>
                    <a:pt x="98" y="74"/>
                  </a:lnTo>
                  <a:lnTo>
                    <a:pt x="98" y="78"/>
                  </a:lnTo>
                  <a:lnTo>
                    <a:pt x="94" y="78"/>
                  </a:lnTo>
                  <a:lnTo>
                    <a:pt x="94" y="82"/>
                  </a:lnTo>
                  <a:lnTo>
                    <a:pt x="94" y="86"/>
                  </a:lnTo>
                  <a:lnTo>
                    <a:pt x="94" y="90"/>
                  </a:lnTo>
                  <a:lnTo>
                    <a:pt x="98" y="90"/>
                  </a:lnTo>
                  <a:lnTo>
                    <a:pt x="98" y="94"/>
                  </a:lnTo>
                  <a:lnTo>
                    <a:pt x="102" y="94"/>
                  </a:lnTo>
                  <a:lnTo>
                    <a:pt x="104" y="94"/>
                  </a:lnTo>
                  <a:lnTo>
                    <a:pt x="108" y="94"/>
                  </a:lnTo>
                  <a:lnTo>
                    <a:pt x="112" y="94"/>
                  </a:lnTo>
                  <a:lnTo>
                    <a:pt x="112" y="96"/>
                  </a:lnTo>
                  <a:lnTo>
                    <a:pt x="112" y="94"/>
                  </a:lnTo>
                  <a:lnTo>
                    <a:pt x="116" y="94"/>
                  </a:lnTo>
                  <a:lnTo>
                    <a:pt x="120" y="94"/>
                  </a:lnTo>
                  <a:lnTo>
                    <a:pt x="124" y="94"/>
                  </a:lnTo>
                  <a:lnTo>
                    <a:pt x="124" y="96"/>
                  </a:lnTo>
                  <a:lnTo>
                    <a:pt x="128" y="96"/>
                  </a:lnTo>
                  <a:lnTo>
                    <a:pt x="128" y="94"/>
                  </a:lnTo>
                  <a:lnTo>
                    <a:pt x="128" y="96"/>
                  </a:lnTo>
                  <a:lnTo>
                    <a:pt x="132" y="104"/>
                  </a:lnTo>
                  <a:lnTo>
                    <a:pt x="138" y="108"/>
                  </a:lnTo>
                  <a:lnTo>
                    <a:pt x="138" y="112"/>
                  </a:lnTo>
                  <a:lnTo>
                    <a:pt x="142" y="108"/>
                  </a:lnTo>
                  <a:lnTo>
                    <a:pt x="146" y="108"/>
                  </a:lnTo>
                  <a:lnTo>
                    <a:pt x="150" y="108"/>
                  </a:lnTo>
                  <a:lnTo>
                    <a:pt x="154" y="108"/>
                  </a:lnTo>
                  <a:lnTo>
                    <a:pt x="158" y="108"/>
                  </a:lnTo>
                  <a:lnTo>
                    <a:pt x="160" y="108"/>
                  </a:lnTo>
                  <a:lnTo>
                    <a:pt x="164" y="108"/>
                  </a:lnTo>
                  <a:lnTo>
                    <a:pt x="164" y="112"/>
                  </a:lnTo>
                  <a:lnTo>
                    <a:pt x="160" y="116"/>
                  </a:lnTo>
                  <a:lnTo>
                    <a:pt x="160" y="120"/>
                  </a:lnTo>
                  <a:lnTo>
                    <a:pt x="160" y="124"/>
                  </a:lnTo>
                  <a:lnTo>
                    <a:pt x="160" y="126"/>
                  </a:lnTo>
                  <a:lnTo>
                    <a:pt x="160" y="130"/>
                  </a:lnTo>
                  <a:lnTo>
                    <a:pt x="160" y="134"/>
                  </a:lnTo>
                  <a:lnTo>
                    <a:pt x="158" y="138"/>
                  </a:lnTo>
                  <a:lnTo>
                    <a:pt x="160" y="142"/>
                  </a:lnTo>
                  <a:lnTo>
                    <a:pt x="160" y="146"/>
                  </a:lnTo>
                  <a:lnTo>
                    <a:pt x="160" y="150"/>
                  </a:lnTo>
                  <a:lnTo>
                    <a:pt x="164" y="150"/>
                  </a:lnTo>
                  <a:lnTo>
                    <a:pt x="164" y="152"/>
                  </a:lnTo>
                  <a:lnTo>
                    <a:pt x="164" y="156"/>
                  </a:lnTo>
                  <a:lnTo>
                    <a:pt x="168" y="156"/>
                  </a:lnTo>
                  <a:lnTo>
                    <a:pt x="164" y="156"/>
                  </a:lnTo>
                  <a:lnTo>
                    <a:pt x="164" y="160"/>
                  </a:lnTo>
                  <a:lnTo>
                    <a:pt x="160" y="164"/>
                  </a:lnTo>
                  <a:lnTo>
                    <a:pt x="160" y="168"/>
                  </a:lnTo>
                  <a:lnTo>
                    <a:pt x="164" y="168"/>
                  </a:lnTo>
                  <a:lnTo>
                    <a:pt x="168" y="172"/>
                  </a:lnTo>
                  <a:lnTo>
                    <a:pt x="168" y="176"/>
                  </a:lnTo>
                  <a:lnTo>
                    <a:pt x="168" y="178"/>
                  </a:lnTo>
                  <a:lnTo>
                    <a:pt x="172" y="186"/>
                  </a:lnTo>
                  <a:lnTo>
                    <a:pt x="172" y="190"/>
                  </a:lnTo>
                  <a:lnTo>
                    <a:pt x="172" y="194"/>
                  </a:lnTo>
                  <a:lnTo>
                    <a:pt x="168" y="194"/>
                  </a:lnTo>
                  <a:lnTo>
                    <a:pt x="168" y="190"/>
                  </a:lnTo>
                  <a:lnTo>
                    <a:pt x="172" y="190"/>
                  </a:lnTo>
                  <a:lnTo>
                    <a:pt x="168" y="186"/>
                  </a:lnTo>
                  <a:lnTo>
                    <a:pt x="168" y="182"/>
                  </a:lnTo>
                  <a:lnTo>
                    <a:pt x="168" y="178"/>
                  </a:lnTo>
                  <a:lnTo>
                    <a:pt x="164" y="178"/>
                  </a:lnTo>
                  <a:lnTo>
                    <a:pt x="160" y="178"/>
                  </a:lnTo>
                  <a:lnTo>
                    <a:pt x="160" y="182"/>
                  </a:lnTo>
                  <a:lnTo>
                    <a:pt x="158" y="182"/>
                  </a:lnTo>
                  <a:lnTo>
                    <a:pt x="158" y="186"/>
                  </a:lnTo>
                  <a:lnTo>
                    <a:pt x="158" y="182"/>
                  </a:lnTo>
                  <a:lnTo>
                    <a:pt x="154" y="182"/>
                  </a:lnTo>
                  <a:lnTo>
                    <a:pt x="154" y="178"/>
                  </a:lnTo>
                  <a:lnTo>
                    <a:pt x="154" y="182"/>
                  </a:lnTo>
                  <a:lnTo>
                    <a:pt x="154" y="186"/>
                  </a:lnTo>
                  <a:lnTo>
                    <a:pt x="146" y="186"/>
                  </a:lnTo>
                  <a:lnTo>
                    <a:pt x="142" y="186"/>
                  </a:lnTo>
                  <a:lnTo>
                    <a:pt x="138" y="186"/>
                  </a:lnTo>
                  <a:lnTo>
                    <a:pt x="134" y="182"/>
                  </a:lnTo>
                  <a:lnTo>
                    <a:pt x="132" y="186"/>
                  </a:lnTo>
                  <a:lnTo>
                    <a:pt x="132" y="198"/>
                  </a:lnTo>
                  <a:lnTo>
                    <a:pt x="134" y="198"/>
                  </a:lnTo>
                  <a:lnTo>
                    <a:pt x="138" y="198"/>
                  </a:lnTo>
                  <a:lnTo>
                    <a:pt x="142" y="202"/>
                  </a:lnTo>
                  <a:lnTo>
                    <a:pt x="142" y="206"/>
                  </a:lnTo>
                  <a:lnTo>
                    <a:pt x="138" y="206"/>
                  </a:lnTo>
                  <a:lnTo>
                    <a:pt x="138" y="202"/>
                  </a:lnTo>
                  <a:lnTo>
                    <a:pt x="134" y="202"/>
                  </a:lnTo>
                  <a:lnTo>
                    <a:pt x="132" y="206"/>
                  </a:lnTo>
                  <a:lnTo>
                    <a:pt x="128" y="206"/>
                  </a:lnTo>
                  <a:lnTo>
                    <a:pt x="128" y="208"/>
                  </a:lnTo>
                  <a:lnTo>
                    <a:pt x="128" y="212"/>
                  </a:lnTo>
                  <a:lnTo>
                    <a:pt x="128" y="216"/>
                  </a:lnTo>
                  <a:lnTo>
                    <a:pt x="132" y="220"/>
                  </a:lnTo>
                  <a:lnTo>
                    <a:pt x="132" y="224"/>
                  </a:lnTo>
                  <a:lnTo>
                    <a:pt x="134" y="224"/>
                  </a:lnTo>
                  <a:lnTo>
                    <a:pt x="134" y="228"/>
                  </a:lnTo>
                  <a:lnTo>
                    <a:pt x="134" y="232"/>
                  </a:lnTo>
                  <a:lnTo>
                    <a:pt x="138" y="232"/>
                  </a:lnTo>
                  <a:lnTo>
                    <a:pt x="134" y="232"/>
                  </a:lnTo>
                  <a:lnTo>
                    <a:pt x="138" y="232"/>
                  </a:lnTo>
                  <a:lnTo>
                    <a:pt x="138" y="234"/>
                  </a:lnTo>
                  <a:lnTo>
                    <a:pt x="138" y="238"/>
                  </a:lnTo>
                  <a:lnTo>
                    <a:pt x="134" y="238"/>
                  </a:lnTo>
                  <a:lnTo>
                    <a:pt x="134" y="246"/>
                  </a:lnTo>
                  <a:lnTo>
                    <a:pt x="134" y="254"/>
                  </a:lnTo>
                  <a:lnTo>
                    <a:pt x="134" y="258"/>
                  </a:lnTo>
                  <a:lnTo>
                    <a:pt x="132" y="272"/>
                  </a:lnTo>
                  <a:lnTo>
                    <a:pt x="132" y="278"/>
                  </a:lnTo>
                  <a:lnTo>
                    <a:pt x="132" y="286"/>
                  </a:lnTo>
                  <a:lnTo>
                    <a:pt x="128" y="286"/>
                  </a:lnTo>
                  <a:lnTo>
                    <a:pt x="128" y="282"/>
                  </a:lnTo>
                  <a:lnTo>
                    <a:pt x="124" y="278"/>
                  </a:lnTo>
                  <a:lnTo>
                    <a:pt x="120" y="278"/>
                  </a:lnTo>
                  <a:lnTo>
                    <a:pt x="120" y="274"/>
                  </a:lnTo>
                  <a:lnTo>
                    <a:pt x="124" y="272"/>
                  </a:lnTo>
                  <a:lnTo>
                    <a:pt x="128" y="260"/>
                  </a:lnTo>
                  <a:lnTo>
                    <a:pt x="128" y="258"/>
                  </a:lnTo>
                  <a:lnTo>
                    <a:pt x="124" y="258"/>
                  </a:lnTo>
                  <a:lnTo>
                    <a:pt x="120" y="258"/>
                  </a:lnTo>
                  <a:lnTo>
                    <a:pt x="120" y="254"/>
                  </a:lnTo>
                  <a:lnTo>
                    <a:pt x="116" y="254"/>
                  </a:lnTo>
                  <a:lnTo>
                    <a:pt x="112" y="254"/>
                  </a:lnTo>
                  <a:lnTo>
                    <a:pt x="108" y="254"/>
                  </a:lnTo>
                  <a:lnTo>
                    <a:pt x="104" y="254"/>
                  </a:lnTo>
                  <a:lnTo>
                    <a:pt x="104" y="250"/>
                  </a:lnTo>
                  <a:lnTo>
                    <a:pt x="102" y="254"/>
                  </a:lnTo>
                  <a:lnTo>
                    <a:pt x="102" y="258"/>
                  </a:lnTo>
                  <a:lnTo>
                    <a:pt x="98" y="258"/>
                  </a:lnTo>
                  <a:lnTo>
                    <a:pt x="94" y="258"/>
                  </a:lnTo>
                  <a:lnTo>
                    <a:pt x="90" y="258"/>
                  </a:lnTo>
                  <a:lnTo>
                    <a:pt x="86" y="258"/>
                  </a:lnTo>
                  <a:lnTo>
                    <a:pt x="86" y="254"/>
                  </a:lnTo>
                  <a:lnTo>
                    <a:pt x="86" y="258"/>
                  </a:lnTo>
                  <a:lnTo>
                    <a:pt x="86" y="254"/>
                  </a:lnTo>
                  <a:lnTo>
                    <a:pt x="82" y="254"/>
                  </a:lnTo>
                  <a:lnTo>
                    <a:pt x="86" y="254"/>
                  </a:lnTo>
                  <a:lnTo>
                    <a:pt x="86" y="250"/>
                  </a:lnTo>
                  <a:lnTo>
                    <a:pt x="86" y="246"/>
                  </a:lnTo>
                  <a:lnTo>
                    <a:pt x="82" y="246"/>
                  </a:lnTo>
                  <a:lnTo>
                    <a:pt x="78" y="246"/>
                  </a:lnTo>
                  <a:lnTo>
                    <a:pt x="78" y="242"/>
                  </a:lnTo>
                  <a:lnTo>
                    <a:pt x="78" y="238"/>
                  </a:lnTo>
                  <a:lnTo>
                    <a:pt x="74" y="234"/>
                  </a:lnTo>
                  <a:lnTo>
                    <a:pt x="72" y="232"/>
                  </a:lnTo>
                  <a:lnTo>
                    <a:pt x="68" y="232"/>
                  </a:lnTo>
                  <a:lnTo>
                    <a:pt x="68" y="228"/>
                  </a:lnTo>
                  <a:lnTo>
                    <a:pt x="68" y="224"/>
                  </a:lnTo>
                  <a:lnTo>
                    <a:pt x="64" y="220"/>
                  </a:lnTo>
                  <a:lnTo>
                    <a:pt x="60" y="220"/>
                  </a:lnTo>
                  <a:lnTo>
                    <a:pt x="60" y="216"/>
                  </a:lnTo>
                  <a:lnTo>
                    <a:pt x="60" y="220"/>
                  </a:lnTo>
                  <a:lnTo>
                    <a:pt x="60" y="216"/>
                  </a:lnTo>
                  <a:lnTo>
                    <a:pt x="56" y="216"/>
                  </a:lnTo>
                  <a:lnTo>
                    <a:pt x="52" y="216"/>
                  </a:lnTo>
                  <a:lnTo>
                    <a:pt x="48" y="216"/>
                  </a:lnTo>
                  <a:lnTo>
                    <a:pt x="48" y="212"/>
                  </a:lnTo>
                  <a:lnTo>
                    <a:pt x="46" y="212"/>
                  </a:lnTo>
                  <a:lnTo>
                    <a:pt x="46" y="208"/>
                  </a:lnTo>
                  <a:lnTo>
                    <a:pt x="42" y="208"/>
                  </a:lnTo>
                  <a:lnTo>
                    <a:pt x="38" y="208"/>
                  </a:lnTo>
                  <a:lnTo>
                    <a:pt x="34" y="208"/>
                  </a:lnTo>
                  <a:lnTo>
                    <a:pt x="30" y="208"/>
                  </a:lnTo>
                  <a:lnTo>
                    <a:pt x="26" y="208"/>
                  </a:lnTo>
                  <a:lnTo>
                    <a:pt x="22" y="208"/>
                  </a:lnTo>
                  <a:lnTo>
                    <a:pt x="22" y="206"/>
                  </a:lnTo>
                  <a:lnTo>
                    <a:pt x="22" y="202"/>
                  </a:lnTo>
                  <a:lnTo>
                    <a:pt x="18" y="202"/>
                  </a:lnTo>
                  <a:lnTo>
                    <a:pt x="16" y="202"/>
                  </a:lnTo>
                  <a:lnTo>
                    <a:pt x="16" y="198"/>
                  </a:lnTo>
                  <a:lnTo>
                    <a:pt x="12" y="198"/>
                  </a:lnTo>
                  <a:lnTo>
                    <a:pt x="8" y="194"/>
                  </a:lnTo>
                  <a:lnTo>
                    <a:pt x="4" y="194"/>
                  </a:lnTo>
                  <a:lnTo>
                    <a:pt x="4" y="190"/>
                  </a:lnTo>
                  <a:lnTo>
                    <a:pt x="4" y="186"/>
                  </a:lnTo>
                  <a:lnTo>
                    <a:pt x="0" y="186"/>
                  </a:lnTo>
                  <a:lnTo>
                    <a:pt x="0" y="182"/>
                  </a:lnTo>
                  <a:lnTo>
                    <a:pt x="4" y="182"/>
                  </a:lnTo>
                  <a:lnTo>
                    <a:pt x="8" y="182"/>
                  </a:lnTo>
                  <a:lnTo>
                    <a:pt x="8" y="178"/>
                  </a:lnTo>
                  <a:lnTo>
                    <a:pt x="4" y="178"/>
                  </a:lnTo>
                  <a:lnTo>
                    <a:pt x="4" y="176"/>
                  </a:lnTo>
                  <a:lnTo>
                    <a:pt x="8" y="176"/>
                  </a:lnTo>
                  <a:lnTo>
                    <a:pt x="8" y="172"/>
                  </a:lnTo>
                  <a:lnTo>
                    <a:pt x="8" y="176"/>
                  </a:lnTo>
                  <a:lnTo>
                    <a:pt x="8" y="172"/>
                  </a:lnTo>
                  <a:lnTo>
                    <a:pt x="12" y="172"/>
                  </a:lnTo>
                  <a:lnTo>
                    <a:pt x="16" y="172"/>
                  </a:lnTo>
                  <a:lnTo>
                    <a:pt x="16" y="168"/>
                  </a:lnTo>
                  <a:lnTo>
                    <a:pt x="16" y="172"/>
                  </a:lnTo>
                  <a:lnTo>
                    <a:pt x="18" y="172"/>
                  </a:lnTo>
                  <a:lnTo>
                    <a:pt x="18" y="168"/>
                  </a:lnTo>
                  <a:lnTo>
                    <a:pt x="18" y="164"/>
                  </a:lnTo>
                  <a:lnTo>
                    <a:pt x="22" y="164"/>
                  </a:lnTo>
                  <a:lnTo>
                    <a:pt x="22" y="160"/>
                  </a:lnTo>
                  <a:lnTo>
                    <a:pt x="22" y="156"/>
                  </a:lnTo>
                  <a:lnTo>
                    <a:pt x="26" y="152"/>
                  </a:lnTo>
                  <a:lnTo>
                    <a:pt x="26" y="150"/>
                  </a:lnTo>
                  <a:lnTo>
                    <a:pt x="30" y="150"/>
                  </a:lnTo>
                  <a:lnTo>
                    <a:pt x="26" y="150"/>
                  </a:lnTo>
                  <a:lnTo>
                    <a:pt x="26" y="146"/>
                  </a:lnTo>
                  <a:lnTo>
                    <a:pt x="22" y="146"/>
                  </a:lnTo>
                  <a:lnTo>
                    <a:pt x="22" y="150"/>
                  </a:lnTo>
                  <a:lnTo>
                    <a:pt x="22" y="146"/>
                  </a:lnTo>
                  <a:lnTo>
                    <a:pt x="22" y="142"/>
                  </a:lnTo>
                  <a:lnTo>
                    <a:pt x="26" y="142"/>
                  </a:lnTo>
                  <a:lnTo>
                    <a:pt x="22" y="142"/>
                  </a:lnTo>
                  <a:lnTo>
                    <a:pt x="22" y="138"/>
                  </a:lnTo>
                  <a:lnTo>
                    <a:pt x="26" y="138"/>
                  </a:lnTo>
                  <a:lnTo>
                    <a:pt x="26" y="134"/>
                  </a:lnTo>
                  <a:lnTo>
                    <a:pt x="26" y="130"/>
                  </a:lnTo>
                  <a:lnTo>
                    <a:pt x="22" y="130"/>
                  </a:lnTo>
                  <a:lnTo>
                    <a:pt x="22" y="126"/>
                  </a:lnTo>
                  <a:lnTo>
                    <a:pt x="22" y="124"/>
                  </a:lnTo>
                  <a:lnTo>
                    <a:pt x="22" y="120"/>
                  </a:lnTo>
                  <a:lnTo>
                    <a:pt x="26" y="120"/>
                  </a:lnTo>
                  <a:lnTo>
                    <a:pt x="26" y="116"/>
                  </a:lnTo>
                  <a:lnTo>
                    <a:pt x="26" y="112"/>
                  </a:lnTo>
                  <a:lnTo>
                    <a:pt x="22" y="112"/>
                  </a:lnTo>
                  <a:lnTo>
                    <a:pt x="22" y="108"/>
                  </a:lnTo>
                  <a:lnTo>
                    <a:pt x="22" y="104"/>
                  </a:lnTo>
                  <a:lnTo>
                    <a:pt x="26" y="100"/>
                  </a:lnTo>
                  <a:lnTo>
                    <a:pt x="22" y="100"/>
                  </a:lnTo>
                  <a:lnTo>
                    <a:pt x="18" y="96"/>
                  </a:lnTo>
                  <a:lnTo>
                    <a:pt x="18" y="94"/>
                  </a:lnTo>
                  <a:lnTo>
                    <a:pt x="16" y="90"/>
                  </a:lnTo>
                  <a:lnTo>
                    <a:pt x="18" y="86"/>
                  </a:lnTo>
                  <a:lnTo>
                    <a:pt x="18" y="82"/>
                  </a:lnTo>
                  <a:lnTo>
                    <a:pt x="18" y="86"/>
                  </a:lnTo>
                  <a:lnTo>
                    <a:pt x="22" y="86"/>
                  </a:lnTo>
                  <a:lnTo>
                    <a:pt x="26" y="82"/>
                  </a:lnTo>
                  <a:lnTo>
                    <a:pt x="22" y="82"/>
                  </a:lnTo>
                  <a:lnTo>
                    <a:pt x="26" y="78"/>
                  </a:lnTo>
                  <a:lnTo>
                    <a:pt x="26" y="74"/>
                  </a:lnTo>
                  <a:lnTo>
                    <a:pt x="22" y="74"/>
                  </a:lnTo>
                  <a:lnTo>
                    <a:pt x="22" y="70"/>
                  </a:lnTo>
                  <a:lnTo>
                    <a:pt x="22" y="68"/>
                  </a:lnTo>
                  <a:lnTo>
                    <a:pt x="26" y="68"/>
                  </a:lnTo>
                  <a:lnTo>
                    <a:pt x="26" y="70"/>
                  </a:lnTo>
                  <a:lnTo>
                    <a:pt x="30" y="74"/>
                  </a:lnTo>
                  <a:lnTo>
                    <a:pt x="30" y="78"/>
                  </a:lnTo>
                  <a:lnTo>
                    <a:pt x="34" y="78"/>
                  </a:lnTo>
                  <a:lnTo>
                    <a:pt x="34" y="74"/>
                  </a:lnTo>
                  <a:lnTo>
                    <a:pt x="34" y="70"/>
                  </a:lnTo>
                  <a:lnTo>
                    <a:pt x="30" y="70"/>
                  </a:lnTo>
                  <a:lnTo>
                    <a:pt x="30" y="68"/>
                  </a:lnTo>
                  <a:lnTo>
                    <a:pt x="34" y="68"/>
                  </a:lnTo>
                  <a:lnTo>
                    <a:pt x="38" y="64"/>
                  </a:lnTo>
                  <a:lnTo>
                    <a:pt x="38" y="60"/>
                  </a:lnTo>
                  <a:lnTo>
                    <a:pt x="42" y="60"/>
                  </a:lnTo>
                  <a:lnTo>
                    <a:pt x="42" y="56"/>
                  </a:lnTo>
                  <a:lnTo>
                    <a:pt x="46" y="52"/>
                  </a:lnTo>
                  <a:lnTo>
                    <a:pt x="48" y="52"/>
                  </a:lnTo>
                  <a:lnTo>
                    <a:pt x="48" y="48"/>
                  </a:lnTo>
                  <a:lnTo>
                    <a:pt x="48" y="44"/>
                  </a:lnTo>
                  <a:lnTo>
                    <a:pt x="48" y="42"/>
                  </a:lnTo>
                  <a:lnTo>
                    <a:pt x="48" y="38"/>
                  </a:lnTo>
                  <a:lnTo>
                    <a:pt x="52" y="38"/>
                  </a:lnTo>
                  <a:lnTo>
                    <a:pt x="52" y="34"/>
                  </a:lnTo>
                  <a:lnTo>
                    <a:pt x="48" y="34"/>
                  </a:lnTo>
                  <a:lnTo>
                    <a:pt x="52" y="34"/>
                  </a:lnTo>
                  <a:lnTo>
                    <a:pt x="52" y="30"/>
                  </a:lnTo>
                  <a:lnTo>
                    <a:pt x="56" y="30"/>
                  </a:lnTo>
                  <a:lnTo>
                    <a:pt x="52" y="30"/>
                  </a:lnTo>
                  <a:lnTo>
                    <a:pt x="56" y="30"/>
                  </a:lnTo>
                  <a:lnTo>
                    <a:pt x="56" y="26"/>
                  </a:lnTo>
                  <a:lnTo>
                    <a:pt x="60" y="26"/>
                  </a:lnTo>
                  <a:lnTo>
                    <a:pt x="60" y="22"/>
                  </a:lnTo>
                  <a:lnTo>
                    <a:pt x="60" y="22"/>
                  </a:lnTo>
                  <a:lnTo>
                    <a:pt x="60" y="22"/>
                  </a:lnTo>
                  <a:close/>
                  <a:moveTo>
                    <a:pt x="22" y="142"/>
                  </a:moveTo>
                  <a:lnTo>
                    <a:pt x="26" y="142"/>
                  </a:lnTo>
                  <a:lnTo>
                    <a:pt x="22" y="142"/>
                  </a:lnTo>
                  <a:lnTo>
                    <a:pt x="22" y="142"/>
                  </a:lnTo>
                  <a:lnTo>
                    <a:pt x="22" y="142"/>
                  </a:lnTo>
                  <a:close/>
                  <a:moveTo>
                    <a:pt x="16" y="172"/>
                  </a:moveTo>
                  <a:lnTo>
                    <a:pt x="12" y="172"/>
                  </a:lnTo>
                  <a:lnTo>
                    <a:pt x="12" y="168"/>
                  </a:lnTo>
                  <a:lnTo>
                    <a:pt x="16" y="172"/>
                  </a:lnTo>
                  <a:lnTo>
                    <a:pt x="16" y="172"/>
                  </a:lnTo>
                  <a:lnTo>
                    <a:pt x="16" y="17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89" name="Freeform 182"/>
            <p:cNvSpPr>
              <a:spLocks noEditPoints="1"/>
            </p:cNvSpPr>
            <p:nvPr/>
          </p:nvSpPr>
          <p:spPr bwMode="auto">
            <a:xfrm>
              <a:off x="6226422" y="4144752"/>
              <a:ext cx="146948" cy="70609"/>
            </a:xfrm>
            <a:custGeom>
              <a:avLst/>
              <a:gdLst>
                <a:gd name="T0" fmla="*/ 166 w 234"/>
                <a:gd name="T1" fmla="*/ 100 h 108"/>
                <a:gd name="T2" fmla="*/ 164 w 234"/>
                <a:gd name="T3" fmla="*/ 100 h 108"/>
                <a:gd name="T4" fmla="*/ 160 w 234"/>
                <a:gd name="T5" fmla="*/ 92 h 108"/>
                <a:gd name="T6" fmla="*/ 160 w 234"/>
                <a:gd name="T7" fmla="*/ 82 h 108"/>
                <a:gd name="T8" fmla="*/ 166 w 234"/>
                <a:gd name="T9" fmla="*/ 78 h 108"/>
                <a:gd name="T10" fmla="*/ 166 w 234"/>
                <a:gd name="T11" fmla="*/ 68 h 108"/>
                <a:gd name="T12" fmla="*/ 166 w 234"/>
                <a:gd name="T13" fmla="*/ 64 h 108"/>
                <a:gd name="T14" fmla="*/ 164 w 234"/>
                <a:gd name="T15" fmla="*/ 64 h 108"/>
                <a:gd name="T16" fmla="*/ 164 w 234"/>
                <a:gd name="T17" fmla="*/ 68 h 108"/>
                <a:gd name="T18" fmla="*/ 156 w 234"/>
                <a:gd name="T19" fmla="*/ 68 h 108"/>
                <a:gd name="T20" fmla="*/ 152 w 234"/>
                <a:gd name="T21" fmla="*/ 60 h 108"/>
                <a:gd name="T22" fmla="*/ 152 w 234"/>
                <a:gd name="T23" fmla="*/ 56 h 108"/>
                <a:gd name="T24" fmla="*/ 156 w 234"/>
                <a:gd name="T25" fmla="*/ 48 h 108"/>
                <a:gd name="T26" fmla="*/ 156 w 234"/>
                <a:gd name="T27" fmla="*/ 42 h 108"/>
                <a:gd name="T28" fmla="*/ 160 w 234"/>
                <a:gd name="T29" fmla="*/ 34 h 108"/>
                <a:gd name="T30" fmla="*/ 164 w 234"/>
                <a:gd name="T31" fmla="*/ 26 h 108"/>
                <a:gd name="T32" fmla="*/ 164 w 234"/>
                <a:gd name="T33" fmla="*/ 16 h 108"/>
                <a:gd name="T34" fmla="*/ 166 w 234"/>
                <a:gd name="T35" fmla="*/ 8 h 108"/>
                <a:gd name="T36" fmla="*/ 178 w 234"/>
                <a:gd name="T37" fmla="*/ 4 h 108"/>
                <a:gd name="T38" fmla="*/ 182 w 234"/>
                <a:gd name="T39" fmla="*/ 4 h 108"/>
                <a:gd name="T40" fmla="*/ 192 w 234"/>
                <a:gd name="T41" fmla="*/ 8 h 108"/>
                <a:gd name="T42" fmla="*/ 200 w 234"/>
                <a:gd name="T43" fmla="*/ 12 h 108"/>
                <a:gd name="T44" fmla="*/ 204 w 234"/>
                <a:gd name="T45" fmla="*/ 18 h 108"/>
                <a:gd name="T46" fmla="*/ 216 w 234"/>
                <a:gd name="T47" fmla="*/ 18 h 108"/>
                <a:gd name="T48" fmla="*/ 222 w 234"/>
                <a:gd name="T49" fmla="*/ 22 h 108"/>
                <a:gd name="T50" fmla="*/ 230 w 234"/>
                <a:gd name="T51" fmla="*/ 26 h 108"/>
                <a:gd name="T52" fmla="*/ 230 w 234"/>
                <a:gd name="T53" fmla="*/ 34 h 108"/>
                <a:gd name="T54" fmla="*/ 230 w 234"/>
                <a:gd name="T55" fmla="*/ 42 h 108"/>
                <a:gd name="T56" fmla="*/ 226 w 234"/>
                <a:gd name="T57" fmla="*/ 52 h 108"/>
                <a:gd name="T58" fmla="*/ 220 w 234"/>
                <a:gd name="T59" fmla="*/ 60 h 108"/>
                <a:gd name="T60" fmla="*/ 208 w 234"/>
                <a:gd name="T61" fmla="*/ 72 h 108"/>
                <a:gd name="T62" fmla="*/ 196 w 234"/>
                <a:gd name="T63" fmla="*/ 74 h 108"/>
                <a:gd name="T64" fmla="*/ 192 w 234"/>
                <a:gd name="T65" fmla="*/ 82 h 108"/>
                <a:gd name="T66" fmla="*/ 190 w 234"/>
                <a:gd name="T67" fmla="*/ 82 h 108"/>
                <a:gd name="T68" fmla="*/ 186 w 234"/>
                <a:gd name="T69" fmla="*/ 88 h 108"/>
                <a:gd name="T70" fmla="*/ 182 w 234"/>
                <a:gd name="T71" fmla="*/ 96 h 108"/>
                <a:gd name="T72" fmla="*/ 182 w 234"/>
                <a:gd name="T73" fmla="*/ 100 h 108"/>
                <a:gd name="T74" fmla="*/ 174 w 234"/>
                <a:gd name="T75" fmla="*/ 108 h 108"/>
                <a:gd name="T76" fmla="*/ 170 w 234"/>
                <a:gd name="T77" fmla="*/ 104 h 108"/>
                <a:gd name="T78" fmla="*/ 14 w 234"/>
                <a:gd name="T79" fmla="*/ 38 h 108"/>
                <a:gd name="T80" fmla="*/ 22 w 234"/>
                <a:gd name="T81" fmla="*/ 34 h 108"/>
                <a:gd name="T82" fmla="*/ 18 w 234"/>
                <a:gd name="T83" fmla="*/ 38 h 108"/>
                <a:gd name="T84" fmla="*/ 4 w 234"/>
                <a:gd name="T85" fmla="*/ 42 h 108"/>
                <a:gd name="T86" fmla="*/ 8 w 234"/>
                <a:gd name="T87" fmla="*/ 34 h 108"/>
                <a:gd name="T88" fmla="*/ 0 w 234"/>
                <a:gd name="T89" fmla="*/ 26 h 108"/>
                <a:gd name="T90" fmla="*/ 8 w 234"/>
                <a:gd name="T91" fmla="*/ 22 h 108"/>
                <a:gd name="T92" fmla="*/ 10 w 234"/>
                <a:gd name="T93" fmla="*/ 30 h 108"/>
                <a:gd name="T94" fmla="*/ 10 w 234"/>
                <a:gd name="T95" fmla="*/ 42 h 108"/>
                <a:gd name="T96" fmla="*/ 8 w 234"/>
                <a:gd name="T97" fmla="*/ 42 h 108"/>
                <a:gd name="T98" fmla="*/ 10 w 234"/>
                <a:gd name="T99" fmla="*/ 26 h 108"/>
                <a:gd name="T100" fmla="*/ 14 w 234"/>
                <a:gd name="T101" fmla="*/ 30 h 108"/>
                <a:gd name="T102" fmla="*/ 0 w 234"/>
                <a:gd name="T103" fmla="*/ 34 h 108"/>
                <a:gd name="T104" fmla="*/ 4 w 234"/>
                <a:gd name="T105" fmla="*/ 34 h 108"/>
                <a:gd name="T106" fmla="*/ 30 w 234"/>
                <a:gd name="T107" fmla="*/ 42 h 108"/>
                <a:gd name="T108" fmla="*/ 34 w 234"/>
                <a:gd name="T109" fmla="*/ 42 h 108"/>
                <a:gd name="T110" fmla="*/ 30 w 234"/>
                <a:gd name="T111" fmla="*/ 42 h 108"/>
                <a:gd name="T112" fmla="*/ 18 w 234"/>
                <a:gd name="T113" fmla="*/ 46 h 108"/>
                <a:gd name="T114" fmla="*/ 18 w 234"/>
                <a:gd name="T115" fmla="*/ 48 h 108"/>
                <a:gd name="T116" fmla="*/ 160 w 234"/>
                <a:gd name="T117" fmla="*/ 72 h 108"/>
                <a:gd name="T118" fmla="*/ 164 w 234"/>
                <a:gd name="T119" fmla="*/ 7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4" h="108">
                  <a:moveTo>
                    <a:pt x="170" y="104"/>
                  </a:moveTo>
                  <a:lnTo>
                    <a:pt x="170" y="100"/>
                  </a:lnTo>
                  <a:lnTo>
                    <a:pt x="166" y="100"/>
                  </a:lnTo>
                  <a:lnTo>
                    <a:pt x="164" y="100"/>
                  </a:lnTo>
                  <a:lnTo>
                    <a:pt x="164" y="96"/>
                  </a:lnTo>
                  <a:lnTo>
                    <a:pt x="164" y="100"/>
                  </a:lnTo>
                  <a:lnTo>
                    <a:pt x="160" y="100"/>
                  </a:lnTo>
                  <a:lnTo>
                    <a:pt x="160" y="96"/>
                  </a:lnTo>
                  <a:lnTo>
                    <a:pt x="160" y="92"/>
                  </a:lnTo>
                  <a:lnTo>
                    <a:pt x="164" y="88"/>
                  </a:lnTo>
                  <a:lnTo>
                    <a:pt x="164" y="86"/>
                  </a:lnTo>
                  <a:lnTo>
                    <a:pt x="160" y="82"/>
                  </a:lnTo>
                  <a:lnTo>
                    <a:pt x="164" y="82"/>
                  </a:lnTo>
                  <a:lnTo>
                    <a:pt x="164" y="78"/>
                  </a:lnTo>
                  <a:lnTo>
                    <a:pt x="166" y="78"/>
                  </a:lnTo>
                  <a:lnTo>
                    <a:pt x="166" y="74"/>
                  </a:lnTo>
                  <a:lnTo>
                    <a:pt x="166" y="72"/>
                  </a:lnTo>
                  <a:lnTo>
                    <a:pt x="166" y="68"/>
                  </a:lnTo>
                  <a:lnTo>
                    <a:pt x="166" y="64"/>
                  </a:lnTo>
                  <a:lnTo>
                    <a:pt x="166" y="60"/>
                  </a:lnTo>
                  <a:lnTo>
                    <a:pt x="166" y="64"/>
                  </a:lnTo>
                  <a:lnTo>
                    <a:pt x="166" y="68"/>
                  </a:lnTo>
                  <a:lnTo>
                    <a:pt x="164" y="68"/>
                  </a:lnTo>
                  <a:lnTo>
                    <a:pt x="164" y="64"/>
                  </a:lnTo>
                  <a:lnTo>
                    <a:pt x="166" y="64"/>
                  </a:lnTo>
                  <a:lnTo>
                    <a:pt x="164" y="64"/>
                  </a:lnTo>
                  <a:lnTo>
                    <a:pt x="164" y="68"/>
                  </a:lnTo>
                  <a:lnTo>
                    <a:pt x="164" y="72"/>
                  </a:lnTo>
                  <a:lnTo>
                    <a:pt x="160" y="72"/>
                  </a:lnTo>
                  <a:lnTo>
                    <a:pt x="156" y="68"/>
                  </a:lnTo>
                  <a:lnTo>
                    <a:pt x="156" y="64"/>
                  </a:lnTo>
                  <a:lnTo>
                    <a:pt x="152" y="64"/>
                  </a:lnTo>
                  <a:lnTo>
                    <a:pt x="152" y="60"/>
                  </a:lnTo>
                  <a:lnTo>
                    <a:pt x="156" y="60"/>
                  </a:lnTo>
                  <a:lnTo>
                    <a:pt x="156" y="56"/>
                  </a:lnTo>
                  <a:lnTo>
                    <a:pt x="152" y="56"/>
                  </a:lnTo>
                  <a:lnTo>
                    <a:pt x="152" y="52"/>
                  </a:lnTo>
                  <a:lnTo>
                    <a:pt x="152" y="48"/>
                  </a:lnTo>
                  <a:lnTo>
                    <a:pt x="156" y="48"/>
                  </a:lnTo>
                  <a:lnTo>
                    <a:pt x="152" y="46"/>
                  </a:lnTo>
                  <a:lnTo>
                    <a:pt x="152" y="42"/>
                  </a:lnTo>
                  <a:lnTo>
                    <a:pt x="156" y="42"/>
                  </a:lnTo>
                  <a:lnTo>
                    <a:pt x="156" y="38"/>
                  </a:lnTo>
                  <a:lnTo>
                    <a:pt x="160" y="38"/>
                  </a:lnTo>
                  <a:lnTo>
                    <a:pt x="160" y="34"/>
                  </a:lnTo>
                  <a:lnTo>
                    <a:pt x="160" y="30"/>
                  </a:lnTo>
                  <a:lnTo>
                    <a:pt x="160" y="26"/>
                  </a:lnTo>
                  <a:lnTo>
                    <a:pt x="164" y="26"/>
                  </a:lnTo>
                  <a:lnTo>
                    <a:pt x="164" y="22"/>
                  </a:lnTo>
                  <a:lnTo>
                    <a:pt x="164" y="18"/>
                  </a:lnTo>
                  <a:lnTo>
                    <a:pt x="164" y="16"/>
                  </a:lnTo>
                  <a:lnTo>
                    <a:pt x="164" y="12"/>
                  </a:lnTo>
                  <a:lnTo>
                    <a:pt x="166" y="12"/>
                  </a:lnTo>
                  <a:lnTo>
                    <a:pt x="166" y="8"/>
                  </a:lnTo>
                  <a:lnTo>
                    <a:pt x="170" y="8"/>
                  </a:lnTo>
                  <a:lnTo>
                    <a:pt x="174" y="8"/>
                  </a:lnTo>
                  <a:lnTo>
                    <a:pt x="178" y="4"/>
                  </a:lnTo>
                  <a:lnTo>
                    <a:pt x="182" y="4"/>
                  </a:lnTo>
                  <a:lnTo>
                    <a:pt x="182" y="0"/>
                  </a:lnTo>
                  <a:lnTo>
                    <a:pt x="182" y="4"/>
                  </a:lnTo>
                  <a:lnTo>
                    <a:pt x="186" y="4"/>
                  </a:lnTo>
                  <a:lnTo>
                    <a:pt x="190" y="8"/>
                  </a:lnTo>
                  <a:lnTo>
                    <a:pt x="192" y="8"/>
                  </a:lnTo>
                  <a:lnTo>
                    <a:pt x="192" y="12"/>
                  </a:lnTo>
                  <a:lnTo>
                    <a:pt x="196" y="12"/>
                  </a:lnTo>
                  <a:lnTo>
                    <a:pt x="200" y="12"/>
                  </a:lnTo>
                  <a:lnTo>
                    <a:pt x="200" y="16"/>
                  </a:lnTo>
                  <a:lnTo>
                    <a:pt x="200" y="18"/>
                  </a:lnTo>
                  <a:lnTo>
                    <a:pt x="204" y="18"/>
                  </a:lnTo>
                  <a:lnTo>
                    <a:pt x="208" y="18"/>
                  </a:lnTo>
                  <a:lnTo>
                    <a:pt x="212" y="18"/>
                  </a:lnTo>
                  <a:lnTo>
                    <a:pt x="216" y="18"/>
                  </a:lnTo>
                  <a:lnTo>
                    <a:pt x="220" y="18"/>
                  </a:lnTo>
                  <a:lnTo>
                    <a:pt x="222" y="18"/>
                  </a:lnTo>
                  <a:lnTo>
                    <a:pt x="222" y="22"/>
                  </a:lnTo>
                  <a:lnTo>
                    <a:pt x="226" y="22"/>
                  </a:lnTo>
                  <a:lnTo>
                    <a:pt x="226" y="26"/>
                  </a:lnTo>
                  <a:lnTo>
                    <a:pt x="230" y="26"/>
                  </a:lnTo>
                  <a:lnTo>
                    <a:pt x="226" y="26"/>
                  </a:lnTo>
                  <a:lnTo>
                    <a:pt x="230" y="30"/>
                  </a:lnTo>
                  <a:lnTo>
                    <a:pt x="230" y="34"/>
                  </a:lnTo>
                  <a:lnTo>
                    <a:pt x="230" y="38"/>
                  </a:lnTo>
                  <a:lnTo>
                    <a:pt x="234" y="42"/>
                  </a:lnTo>
                  <a:lnTo>
                    <a:pt x="230" y="42"/>
                  </a:lnTo>
                  <a:lnTo>
                    <a:pt x="230" y="46"/>
                  </a:lnTo>
                  <a:lnTo>
                    <a:pt x="226" y="48"/>
                  </a:lnTo>
                  <a:lnTo>
                    <a:pt x="226" y="52"/>
                  </a:lnTo>
                  <a:lnTo>
                    <a:pt x="222" y="56"/>
                  </a:lnTo>
                  <a:lnTo>
                    <a:pt x="222" y="60"/>
                  </a:lnTo>
                  <a:lnTo>
                    <a:pt x="220" y="60"/>
                  </a:lnTo>
                  <a:lnTo>
                    <a:pt x="216" y="64"/>
                  </a:lnTo>
                  <a:lnTo>
                    <a:pt x="212" y="68"/>
                  </a:lnTo>
                  <a:lnTo>
                    <a:pt x="208" y="72"/>
                  </a:lnTo>
                  <a:lnTo>
                    <a:pt x="204" y="72"/>
                  </a:lnTo>
                  <a:lnTo>
                    <a:pt x="200" y="74"/>
                  </a:lnTo>
                  <a:lnTo>
                    <a:pt x="196" y="74"/>
                  </a:lnTo>
                  <a:lnTo>
                    <a:pt x="192" y="74"/>
                  </a:lnTo>
                  <a:lnTo>
                    <a:pt x="192" y="78"/>
                  </a:lnTo>
                  <a:lnTo>
                    <a:pt x="192" y="82"/>
                  </a:lnTo>
                  <a:lnTo>
                    <a:pt x="190" y="82"/>
                  </a:lnTo>
                  <a:lnTo>
                    <a:pt x="190" y="86"/>
                  </a:lnTo>
                  <a:lnTo>
                    <a:pt x="190" y="82"/>
                  </a:lnTo>
                  <a:lnTo>
                    <a:pt x="190" y="86"/>
                  </a:lnTo>
                  <a:lnTo>
                    <a:pt x="190" y="88"/>
                  </a:lnTo>
                  <a:lnTo>
                    <a:pt x="186" y="88"/>
                  </a:lnTo>
                  <a:lnTo>
                    <a:pt x="186" y="92"/>
                  </a:lnTo>
                  <a:lnTo>
                    <a:pt x="186" y="96"/>
                  </a:lnTo>
                  <a:lnTo>
                    <a:pt x="182" y="96"/>
                  </a:lnTo>
                  <a:lnTo>
                    <a:pt x="182" y="100"/>
                  </a:lnTo>
                  <a:lnTo>
                    <a:pt x="186" y="100"/>
                  </a:lnTo>
                  <a:lnTo>
                    <a:pt x="182" y="100"/>
                  </a:lnTo>
                  <a:lnTo>
                    <a:pt x="182" y="104"/>
                  </a:lnTo>
                  <a:lnTo>
                    <a:pt x="178" y="108"/>
                  </a:lnTo>
                  <a:lnTo>
                    <a:pt x="174" y="108"/>
                  </a:lnTo>
                  <a:lnTo>
                    <a:pt x="174" y="104"/>
                  </a:lnTo>
                  <a:lnTo>
                    <a:pt x="170" y="104"/>
                  </a:lnTo>
                  <a:lnTo>
                    <a:pt x="170" y="104"/>
                  </a:lnTo>
                  <a:lnTo>
                    <a:pt x="170" y="104"/>
                  </a:lnTo>
                  <a:close/>
                  <a:moveTo>
                    <a:pt x="18" y="38"/>
                  </a:moveTo>
                  <a:lnTo>
                    <a:pt x="14" y="38"/>
                  </a:lnTo>
                  <a:lnTo>
                    <a:pt x="14" y="34"/>
                  </a:lnTo>
                  <a:lnTo>
                    <a:pt x="18" y="34"/>
                  </a:lnTo>
                  <a:lnTo>
                    <a:pt x="22" y="34"/>
                  </a:lnTo>
                  <a:lnTo>
                    <a:pt x="22" y="38"/>
                  </a:lnTo>
                  <a:lnTo>
                    <a:pt x="18" y="38"/>
                  </a:lnTo>
                  <a:lnTo>
                    <a:pt x="18" y="38"/>
                  </a:lnTo>
                  <a:lnTo>
                    <a:pt x="18" y="38"/>
                  </a:lnTo>
                  <a:close/>
                  <a:moveTo>
                    <a:pt x="8" y="42"/>
                  </a:moveTo>
                  <a:lnTo>
                    <a:pt x="4" y="42"/>
                  </a:lnTo>
                  <a:lnTo>
                    <a:pt x="4" y="38"/>
                  </a:lnTo>
                  <a:lnTo>
                    <a:pt x="8" y="38"/>
                  </a:lnTo>
                  <a:lnTo>
                    <a:pt x="8" y="34"/>
                  </a:lnTo>
                  <a:lnTo>
                    <a:pt x="4" y="30"/>
                  </a:lnTo>
                  <a:lnTo>
                    <a:pt x="4" y="26"/>
                  </a:lnTo>
                  <a:lnTo>
                    <a:pt x="0" y="26"/>
                  </a:lnTo>
                  <a:lnTo>
                    <a:pt x="0" y="22"/>
                  </a:lnTo>
                  <a:lnTo>
                    <a:pt x="4" y="22"/>
                  </a:lnTo>
                  <a:lnTo>
                    <a:pt x="8" y="22"/>
                  </a:lnTo>
                  <a:lnTo>
                    <a:pt x="8" y="26"/>
                  </a:lnTo>
                  <a:lnTo>
                    <a:pt x="8" y="30"/>
                  </a:lnTo>
                  <a:lnTo>
                    <a:pt x="10" y="30"/>
                  </a:lnTo>
                  <a:lnTo>
                    <a:pt x="10" y="34"/>
                  </a:lnTo>
                  <a:lnTo>
                    <a:pt x="10" y="38"/>
                  </a:lnTo>
                  <a:lnTo>
                    <a:pt x="10" y="42"/>
                  </a:lnTo>
                  <a:lnTo>
                    <a:pt x="8" y="42"/>
                  </a:lnTo>
                  <a:lnTo>
                    <a:pt x="8" y="42"/>
                  </a:lnTo>
                  <a:lnTo>
                    <a:pt x="8" y="42"/>
                  </a:lnTo>
                  <a:close/>
                  <a:moveTo>
                    <a:pt x="14" y="30"/>
                  </a:moveTo>
                  <a:lnTo>
                    <a:pt x="10" y="30"/>
                  </a:lnTo>
                  <a:lnTo>
                    <a:pt x="10" y="26"/>
                  </a:lnTo>
                  <a:lnTo>
                    <a:pt x="14" y="26"/>
                  </a:lnTo>
                  <a:lnTo>
                    <a:pt x="14" y="30"/>
                  </a:lnTo>
                  <a:lnTo>
                    <a:pt x="14" y="30"/>
                  </a:lnTo>
                  <a:lnTo>
                    <a:pt x="14" y="30"/>
                  </a:lnTo>
                  <a:close/>
                  <a:moveTo>
                    <a:pt x="4" y="34"/>
                  </a:moveTo>
                  <a:lnTo>
                    <a:pt x="0" y="34"/>
                  </a:lnTo>
                  <a:lnTo>
                    <a:pt x="0" y="30"/>
                  </a:lnTo>
                  <a:lnTo>
                    <a:pt x="4" y="30"/>
                  </a:lnTo>
                  <a:lnTo>
                    <a:pt x="4" y="34"/>
                  </a:lnTo>
                  <a:lnTo>
                    <a:pt x="4" y="34"/>
                  </a:lnTo>
                  <a:lnTo>
                    <a:pt x="4" y="34"/>
                  </a:lnTo>
                  <a:close/>
                  <a:moveTo>
                    <a:pt x="30" y="42"/>
                  </a:moveTo>
                  <a:lnTo>
                    <a:pt x="30" y="38"/>
                  </a:lnTo>
                  <a:lnTo>
                    <a:pt x="34" y="38"/>
                  </a:lnTo>
                  <a:lnTo>
                    <a:pt x="34" y="42"/>
                  </a:lnTo>
                  <a:lnTo>
                    <a:pt x="30" y="42"/>
                  </a:lnTo>
                  <a:lnTo>
                    <a:pt x="30" y="42"/>
                  </a:lnTo>
                  <a:lnTo>
                    <a:pt x="30" y="42"/>
                  </a:lnTo>
                  <a:close/>
                  <a:moveTo>
                    <a:pt x="18" y="48"/>
                  </a:moveTo>
                  <a:lnTo>
                    <a:pt x="14" y="46"/>
                  </a:lnTo>
                  <a:lnTo>
                    <a:pt x="18" y="46"/>
                  </a:lnTo>
                  <a:lnTo>
                    <a:pt x="18" y="48"/>
                  </a:lnTo>
                  <a:lnTo>
                    <a:pt x="18" y="48"/>
                  </a:lnTo>
                  <a:lnTo>
                    <a:pt x="18" y="48"/>
                  </a:lnTo>
                  <a:close/>
                  <a:moveTo>
                    <a:pt x="164" y="74"/>
                  </a:moveTo>
                  <a:lnTo>
                    <a:pt x="160" y="74"/>
                  </a:lnTo>
                  <a:lnTo>
                    <a:pt x="160" y="72"/>
                  </a:lnTo>
                  <a:lnTo>
                    <a:pt x="164" y="72"/>
                  </a:lnTo>
                  <a:lnTo>
                    <a:pt x="166" y="72"/>
                  </a:lnTo>
                  <a:lnTo>
                    <a:pt x="164" y="74"/>
                  </a:lnTo>
                  <a:lnTo>
                    <a:pt x="164" y="74"/>
                  </a:lnTo>
                  <a:lnTo>
                    <a:pt x="164" y="7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90" name="Freeform 183"/>
            <p:cNvSpPr>
              <a:spLocks/>
            </p:cNvSpPr>
            <p:nvPr/>
          </p:nvSpPr>
          <p:spPr bwMode="auto">
            <a:xfrm>
              <a:off x="6555483" y="4096372"/>
              <a:ext cx="26375" cy="40535"/>
            </a:xfrm>
            <a:custGeom>
              <a:avLst/>
              <a:gdLst>
                <a:gd name="T0" fmla="*/ 4 w 42"/>
                <a:gd name="T1" fmla="*/ 56 h 62"/>
                <a:gd name="T2" fmla="*/ 4 w 42"/>
                <a:gd name="T3" fmla="*/ 52 h 62"/>
                <a:gd name="T4" fmla="*/ 4 w 42"/>
                <a:gd name="T5" fmla="*/ 48 h 62"/>
                <a:gd name="T6" fmla="*/ 4 w 42"/>
                <a:gd name="T7" fmla="*/ 44 h 62"/>
                <a:gd name="T8" fmla="*/ 8 w 42"/>
                <a:gd name="T9" fmla="*/ 40 h 62"/>
                <a:gd name="T10" fmla="*/ 8 w 42"/>
                <a:gd name="T11" fmla="*/ 32 h 62"/>
                <a:gd name="T12" fmla="*/ 4 w 42"/>
                <a:gd name="T13" fmla="*/ 30 h 62"/>
                <a:gd name="T14" fmla="*/ 0 w 42"/>
                <a:gd name="T15" fmla="*/ 22 h 62"/>
                <a:gd name="T16" fmla="*/ 0 w 42"/>
                <a:gd name="T17" fmla="*/ 18 h 62"/>
                <a:gd name="T18" fmla="*/ 0 w 42"/>
                <a:gd name="T19" fmla="*/ 14 h 62"/>
                <a:gd name="T20" fmla="*/ 4 w 42"/>
                <a:gd name="T21" fmla="*/ 10 h 62"/>
                <a:gd name="T22" fmla="*/ 4 w 42"/>
                <a:gd name="T23" fmla="*/ 6 h 62"/>
                <a:gd name="T24" fmla="*/ 8 w 42"/>
                <a:gd name="T25" fmla="*/ 6 h 62"/>
                <a:gd name="T26" fmla="*/ 8 w 42"/>
                <a:gd name="T27" fmla="*/ 4 h 62"/>
                <a:gd name="T28" fmla="*/ 8 w 42"/>
                <a:gd name="T29" fmla="*/ 0 h 62"/>
                <a:gd name="T30" fmla="*/ 12 w 42"/>
                <a:gd name="T31" fmla="*/ 0 h 62"/>
                <a:gd name="T32" fmla="*/ 16 w 42"/>
                <a:gd name="T33" fmla="*/ 4 h 62"/>
                <a:gd name="T34" fmla="*/ 20 w 42"/>
                <a:gd name="T35" fmla="*/ 4 h 62"/>
                <a:gd name="T36" fmla="*/ 24 w 42"/>
                <a:gd name="T37" fmla="*/ 4 h 62"/>
                <a:gd name="T38" fmla="*/ 28 w 42"/>
                <a:gd name="T39" fmla="*/ 6 h 62"/>
                <a:gd name="T40" fmla="*/ 30 w 42"/>
                <a:gd name="T41" fmla="*/ 14 h 62"/>
                <a:gd name="T42" fmla="*/ 38 w 42"/>
                <a:gd name="T43" fmla="*/ 18 h 62"/>
                <a:gd name="T44" fmla="*/ 38 w 42"/>
                <a:gd name="T45" fmla="*/ 22 h 62"/>
                <a:gd name="T46" fmla="*/ 38 w 42"/>
                <a:gd name="T47" fmla="*/ 26 h 62"/>
                <a:gd name="T48" fmla="*/ 38 w 42"/>
                <a:gd name="T49" fmla="*/ 22 h 62"/>
                <a:gd name="T50" fmla="*/ 38 w 42"/>
                <a:gd name="T51" fmla="*/ 22 h 62"/>
                <a:gd name="T52" fmla="*/ 38 w 42"/>
                <a:gd name="T53" fmla="*/ 18 h 62"/>
                <a:gd name="T54" fmla="*/ 42 w 42"/>
                <a:gd name="T55" fmla="*/ 22 h 62"/>
                <a:gd name="T56" fmla="*/ 42 w 42"/>
                <a:gd name="T57" fmla="*/ 26 h 62"/>
                <a:gd name="T58" fmla="*/ 42 w 42"/>
                <a:gd name="T59" fmla="*/ 26 h 62"/>
                <a:gd name="T60" fmla="*/ 42 w 42"/>
                <a:gd name="T61" fmla="*/ 30 h 62"/>
                <a:gd name="T62" fmla="*/ 42 w 42"/>
                <a:gd name="T63" fmla="*/ 30 h 62"/>
                <a:gd name="T64" fmla="*/ 38 w 42"/>
                <a:gd name="T65" fmla="*/ 32 h 62"/>
                <a:gd name="T66" fmla="*/ 38 w 42"/>
                <a:gd name="T67" fmla="*/ 36 h 62"/>
                <a:gd name="T68" fmla="*/ 34 w 42"/>
                <a:gd name="T69" fmla="*/ 44 h 62"/>
                <a:gd name="T70" fmla="*/ 30 w 42"/>
                <a:gd name="T71" fmla="*/ 44 h 62"/>
                <a:gd name="T72" fmla="*/ 30 w 42"/>
                <a:gd name="T73" fmla="*/ 48 h 62"/>
                <a:gd name="T74" fmla="*/ 30 w 42"/>
                <a:gd name="T75" fmla="*/ 56 h 62"/>
                <a:gd name="T76" fmla="*/ 28 w 42"/>
                <a:gd name="T77" fmla="*/ 58 h 62"/>
                <a:gd name="T78" fmla="*/ 24 w 42"/>
                <a:gd name="T79" fmla="*/ 62 h 62"/>
                <a:gd name="T80" fmla="*/ 24 w 42"/>
                <a:gd name="T81" fmla="*/ 58 h 62"/>
                <a:gd name="T82" fmla="*/ 20 w 42"/>
                <a:gd name="T83" fmla="*/ 58 h 62"/>
                <a:gd name="T84" fmla="*/ 20 w 42"/>
                <a:gd name="T85" fmla="*/ 58 h 62"/>
                <a:gd name="T86" fmla="*/ 12 w 42"/>
                <a:gd name="T87" fmla="*/ 58 h 62"/>
                <a:gd name="T88" fmla="*/ 8 w 42"/>
                <a:gd name="T89" fmla="*/ 58 h 62"/>
                <a:gd name="T90" fmla="*/ 4 w 42"/>
                <a:gd name="T91" fmla="*/ 62 h 62"/>
                <a:gd name="T92" fmla="*/ 0 w 42"/>
                <a:gd name="T93" fmla="*/ 58 h 62"/>
                <a:gd name="T94" fmla="*/ 0 w 42"/>
                <a:gd name="T95"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62">
                  <a:moveTo>
                    <a:pt x="0" y="58"/>
                  </a:moveTo>
                  <a:lnTo>
                    <a:pt x="0" y="58"/>
                  </a:lnTo>
                  <a:lnTo>
                    <a:pt x="0" y="56"/>
                  </a:lnTo>
                  <a:lnTo>
                    <a:pt x="4" y="56"/>
                  </a:lnTo>
                  <a:lnTo>
                    <a:pt x="4" y="56"/>
                  </a:lnTo>
                  <a:lnTo>
                    <a:pt x="4" y="56"/>
                  </a:lnTo>
                  <a:lnTo>
                    <a:pt x="4" y="52"/>
                  </a:lnTo>
                  <a:lnTo>
                    <a:pt x="4" y="52"/>
                  </a:lnTo>
                  <a:lnTo>
                    <a:pt x="4" y="52"/>
                  </a:lnTo>
                  <a:lnTo>
                    <a:pt x="4" y="52"/>
                  </a:lnTo>
                  <a:lnTo>
                    <a:pt x="4" y="52"/>
                  </a:lnTo>
                  <a:lnTo>
                    <a:pt x="4" y="48"/>
                  </a:lnTo>
                  <a:lnTo>
                    <a:pt x="4" y="48"/>
                  </a:lnTo>
                  <a:lnTo>
                    <a:pt x="4" y="44"/>
                  </a:lnTo>
                  <a:lnTo>
                    <a:pt x="4" y="44"/>
                  </a:lnTo>
                  <a:lnTo>
                    <a:pt x="4" y="44"/>
                  </a:lnTo>
                  <a:lnTo>
                    <a:pt x="4" y="44"/>
                  </a:lnTo>
                  <a:lnTo>
                    <a:pt x="8" y="40"/>
                  </a:lnTo>
                  <a:lnTo>
                    <a:pt x="8" y="40"/>
                  </a:lnTo>
                  <a:lnTo>
                    <a:pt x="8" y="40"/>
                  </a:lnTo>
                  <a:lnTo>
                    <a:pt x="8" y="40"/>
                  </a:lnTo>
                  <a:lnTo>
                    <a:pt x="8" y="36"/>
                  </a:lnTo>
                  <a:lnTo>
                    <a:pt x="8" y="36"/>
                  </a:lnTo>
                  <a:lnTo>
                    <a:pt x="8" y="32"/>
                  </a:lnTo>
                  <a:lnTo>
                    <a:pt x="8" y="32"/>
                  </a:lnTo>
                  <a:lnTo>
                    <a:pt x="4" y="32"/>
                  </a:lnTo>
                  <a:lnTo>
                    <a:pt x="4" y="30"/>
                  </a:lnTo>
                  <a:lnTo>
                    <a:pt x="4" y="30"/>
                  </a:lnTo>
                  <a:lnTo>
                    <a:pt x="4" y="26"/>
                  </a:lnTo>
                  <a:lnTo>
                    <a:pt x="4" y="26"/>
                  </a:lnTo>
                  <a:lnTo>
                    <a:pt x="0" y="22"/>
                  </a:lnTo>
                  <a:lnTo>
                    <a:pt x="0" y="22"/>
                  </a:lnTo>
                  <a:lnTo>
                    <a:pt x="0" y="22"/>
                  </a:lnTo>
                  <a:lnTo>
                    <a:pt x="0" y="22"/>
                  </a:lnTo>
                  <a:lnTo>
                    <a:pt x="0" y="22"/>
                  </a:lnTo>
                  <a:lnTo>
                    <a:pt x="0" y="18"/>
                  </a:lnTo>
                  <a:lnTo>
                    <a:pt x="0" y="18"/>
                  </a:lnTo>
                  <a:lnTo>
                    <a:pt x="0" y="18"/>
                  </a:lnTo>
                  <a:lnTo>
                    <a:pt x="0" y="18"/>
                  </a:lnTo>
                  <a:lnTo>
                    <a:pt x="0" y="14"/>
                  </a:lnTo>
                  <a:lnTo>
                    <a:pt x="0" y="14"/>
                  </a:lnTo>
                  <a:lnTo>
                    <a:pt x="0" y="10"/>
                  </a:lnTo>
                  <a:lnTo>
                    <a:pt x="4" y="10"/>
                  </a:lnTo>
                  <a:lnTo>
                    <a:pt x="4" y="10"/>
                  </a:lnTo>
                  <a:lnTo>
                    <a:pt x="4" y="10"/>
                  </a:lnTo>
                  <a:lnTo>
                    <a:pt x="4" y="10"/>
                  </a:lnTo>
                  <a:lnTo>
                    <a:pt x="4" y="6"/>
                  </a:lnTo>
                  <a:lnTo>
                    <a:pt x="4" y="6"/>
                  </a:lnTo>
                  <a:lnTo>
                    <a:pt x="4" y="6"/>
                  </a:lnTo>
                  <a:lnTo>
                    <a:pt x="4" y="6"/>
                  </a:lnTo>
                  <a:lnTo>
                    <a:pt x="4" y="6"/>
                  </a:lnTo>
                  <a:lnTo>
                    <a:pt x="8" y="6"/>
                  </a:lnTo>
                  <a:lnTo>
                    <a:pt x="8" y="6"/>
                  </a:lnTo>
                  <a:lnTo>
                    <a:pt x="8" y="6"/>
                  </a:lnTo>
                  <a:lnTo>
                    <a:pt x="8" y="6"/>
                  </a:lnTo>
                  <a:lnTo>
                    <a:pt x="8" y="4"/>
                  </a:lnTo>
                  <a:lnTo>
                    <a:pt x="8" y="4"/>
                  </a:lnTo>
                  <a:lnTo>
                    <a:pt x="8" y="4"/>
                  </a:lnTo>
                  <a:lnTo>
                    <a:pt x="8" y="4"/>
                  </a:lnTo>
                  <a:lnTo>
                    <a:pt x="8" y="0"/>
                  </a:lnTo>
                  <a:lnTo>
                    <a:pt x="8" y="0"/>
                  </a:lnTo>
                  <a:lnTo>
                    <a:pt x="8" y="0"/>
                  </a:lnTo>
                  <a:lnTo>
                    <a:pt x="8" y="0"/>
                  </a:lnTo>
                  <a:lnTo>
                    <a:pt x="12" y="0"/>
                  </a:lnTo>
                  <a:lnTo>
                    <a:pt x="12" y="0"/>
                  </a:lnTo>
                  <a:lnTo>
                    <a:pt x="12" y="0"/>
                  </a:lnTo>
                  <a:lnTo>
                    <a:pt x="16" y="4"/>
                  </a:lnTo>
                  <a:lnTo>
                    <a:pt x="16" y="4"/>
                  </a:lnTo>
                  <a:lnTo>
                    <a:pt x="16" y="4"/>
                  </a:lnTo>
                  <a:lnTo>
                    <a:pt x="16" y="4"/>
                  </a:lnTo>
                  <a:lnTo>
                    <a:pt x="16" y="4"/>
                  </a:lnTo>
                  <a:lnTo>
                    <a:pt x="20" y="4"/>
                  </a:lnTo>
                  <a:lnTo>
                    <a:pt x="20" y="4"/>
                  </a:lnTo>
                  <a:lnTo>
                    <a:pt x="24" y="4"/>
                  </a:lnTo>
                  <a:lnTo>
                    <a:pt x="24" y="4"/>
                  </a:lnTo>
                  <a:lnTo>
                    <a:pt x="24" y="4"/>
                  </a:lnTo>
                  <a:lnTo>
                    <a:pt x="24" y="6"/>
                  </a:lnTo>
                  <a:lnTo>
                    <a:pt x="28" y="6"/>
                  </a:lnTo>
                  <a:lnTo>
                    <a:pt x="28" y="6"/>
                  </a:lnTo>
                  <a:lnTo>
                    <a:pt x="28" y="6"/>
                  </a:lnTo>
                  <a:lnTo>
                    <a:pt x="28" y="10"/>
                  </a:lnTo>
                  <a:lnTo>
                    <a:pt x="30" y="10"/>
                  </a:lnTo>
                  <a:lnTo>
                    <a:pt x="30" y="14"/>
                  </a:lnTo>
                  <a:lnTo>
                    <a:pt x="30" y="14"/>
                  </a:lnTo>
                  <a:lnTo>
                    <a:pt x="34" y="14"/>
                  </a:lnTo>
                  <a:lnTo>
                    <a:pt x="34" y="18"/>
                  </a:lnTo>
                  <a:lnTo>
                    <a:pt x="38" y="18"/>
                  </a:lnTo>
                  <a:lnTo>
                    <a:pt x="38" y="18"/>
                  </a:lnTo>
                  <a:lnTo>
                    <a:pt x="38" y="18"/>
                  </a:lnTo>
                  <a:lnTo>
                    <a:pt x="38" y="18"/>
                  </a:lnTo>
                  <a:lnTo>
                    <a:pt x="38" y="22"/>
                  </a:lnTo>
                  <a:lnTo>
                    <a:pt x="38" y="22"/>
                  </a:lnTo>
                  <a:lnTo>
                    <a:pt x="38" y="22"/>
                  </a:lnTo>
                  <a:lnTo>
                    <a:pt x="38" y="22"/>
                  </a:lnTo>
                  <a:lnTo>
                    <a:pt x="38" y="22"/>
                  </a:lnTo>
                  <a:lnTo>
                    <a:pt x="38" y="26"/>
                  </a:lnTo>
                  <a:lnTo>
                    <a:pt x="38" y="26"/>
                  </a:lnTo>
                  <a:lnTo>
                    <a:pt x="38" y="26"/>
                  </a:lnTo>
                  <a:lnTo>
                    <a:pt x="38" y="22"/>
                  </a:lnTo>
                  <a:lnTo>
                    <a:pt x="38" y="22"/>
                  </a:lnTo>
                  <a:lnTo>
                    <a:pt x="38" y="22"/>
                  </a:lnTo>
                  <a:lnTo>
                    <a:pt x="38" y="22"/>
                  </a:lnTo>
                  <a:lnTo>
                    <a:pt x="38" y="22"/>
                  </a:lnTo>
                  <a:lnTo>
                    <a:pt x="38" y="22"/>
                  </a:lnTo>
                  <a:lnTo>
                    <a:pt x="38" y="22"/>
                  </a:lnTo>
                  <a:lnTo>
                    <a:pt x="38" y="18"/>
                  </a:lnTo>
                  <a:lnTo>
                    <a:pt x="38" y="18"/>
                  </a:lnTo>
                  <a:lnTo>
                    <a:pt x="38" y="18"/>
                  </a:lnTo>
                  <a:lnTo>
                    <a:pt x="38" y="18"/>
                  </a:lnTo>
                  <a:lnTo>
                    <a:pt x="38" y="18"/>
                  </a:lnTo>
                  <a:lnTo>
                    <a:pt x="42" y="22"/>
                  </a:lnTo>
                  <a:lnTo>
                    <a:pt x="42" y="22"/>
                  </a:lnTo>
                  <a:lnTo>
                    <a:pt x="42" y="22"/>
                  </a:lnTo>
                  <a:lnTo>
                    <a:pt x="42" y="22"/>
                  </a:lnTo>
                  <a:lnTo>
                    <a:pt x="42" y="22"/>
                  </a:lnTo>
                  <a:lnTo>
                    <a:pt x="42" y="26"/>
                  </a:lnTo>
                  <a:lnTo>
                    <a:pt x="42" y="26"/>
                  </a:lnTo>
                  <a:lnTo>
                    <a:pt x="42" y="26"/>
                  </a:lnTo>
                  <a:lnTo>
                    <a:pt x="42" y="26"/>
                  </a:lnTo>
                  <a:lnTo>
                    <a:pt x="42" y="26"/>
                  </a:lnTo>
                  <a:lnTo>
                    <a:pt x="42" y="26"/>
                  </a:lnTo>
                  <a:lnTo>
                    <a:pt x="42" y="30"/>
                  </a:lnTo>
                  <a:lnTo>
                    <a:pt x="42" y="30"/>
                  </a:lnTo>
                  <a:lnTo>
                    <a:pt x="42" y="30"/>
                  </a:lnTo>
                  <a:lnTo>
                    <a:pt x="42" y="30"/>
                  </a:lnTo>
                  <a:lnTo>
                    <a:pt x="42" y="30"/>
                  </a:lnTo>
                  <a:lnTo>
                    <a:pt x="42" y="30"/>
                  </a:lnTo>
                  <a:lnTo>
                    <a:pt x="42" y="30"/>
                  </a:lnTo>
                  <a:lnTo>
                    <a:pt x="42" y="30"/>
                  </a:lnTo>
                  <a:lnTo>
                    <a:pt x="38" y="30"/>
                  </a:lnTo>
                  <a:lnTo>
                    <a:pt x="38" y="32"/>
                  </a:lnTo>
                  <a:lnTo>
                    <a:pt x="38" y="32"/>
                  </a:lnTo>
                  <a:lnTo>
                    <a:pt x="38" y="32"/>
                  </a:lnTo>
                  <a:lnTo>
                    <a:pt x="38" y="32"/>
                  </a:lnTo>
                  <a:lnTo>
                    <a:pt x="38" y="36"/>
                  </a:lnTo>
                  <a:lnTo>
                    <a:pt x="38" y="36"/>
                  </a:lnTo>
                  <a:lnTo>
                    <a:pt x="38" y="36"/>
                  </a:lnTo>
                  <a:lnTo>
                    <a:pt x="34" y="40"/>
                  </a:lnTo>
                  <a:lnTo>
                    <a:pt x="34" y="40"/>
                  </a:lnTo>
                  <a:lnTo>
                    <a:pt x="34" y="44"/>
                  </a:lnTo>
                  <a:lnTo>
                    <a:pt x="34" y="44"/>
                  </a:lnTo>
                  <a:lnTo>
                    <a:pt x="34" y="44"/>
                  </a:lnTo>
                  <a:lnTo>
                    <a:pt x="30" y="44"/>
                  </a:lnTo>
                  <a:lnTo>
                    <a:pt x="30" y="44"/>
                  </a:lnTo>
                  <a:lnTo>
                    <a:pt x="30" y="44"/>
                  </a:lnTo>
                  <a:lnTo>
                    <a:pt x="30" y="48"/>
                  </a:lnTo>
                  <a:lnTo>
                    <a:pt x="30" y="48"/>
                  </a:lnTo>
                  <a:lnTo>
                    <a:pt x="30" y="48"/>
                  </a:lnTo>
                  <a:lnTo>
                    <a:pt x="30" y="52"/>
                  </a:lnTo>
                  <a:lnTo>
                    <a:pt x="30" y="52"/>
                  </a:lnTo>
                  <a:lnTo>
                    <a:pt x="30" y="52"/>
                  </a:lnTo>
                  <a:lnTo>
                    <a:pt x="30" y="56"/>
                  </a:lnTo>
                  <a:lnTo>
                    <a:pt x="30" y="56"/>
                  </a:lnTo>
                  <a:lnTo>
                    <a:pt x="30" y="56"/>
                  </a:lnTo>
                  <a:lnTo>
                    <a:pt x="28" y="56"/>
                  </a:lnTo>
                  <a:lnTo>
                    <a:pt x="28" y="58"/>
                  </a:lnTo>
                  <a:lnTo>
                    <a:pt x="28" y="58"/>
                  </a:lnTo>
                  <a:lnTo>
                    <a:pt x="24" y="58"/>
                  </a:lnTo>
                  <a:lnTo>
                    <a:pt x="24" y="58"/>
                  </a:lnTo>
                  <a:lnTo>
                    <a:pt x="24" y="62"/>
                  </a:lnTo>
                  <a:lnTo>
                    <a:pt x="24" y="62"/>
                  </a:lnTo>
                  <a:lnTo>
                    <a:pt x="24" y="58"/>
                  </a:lnTo>
                  <a:lnTo>
                    <a:pt x="24" y="58"/>
                  </a:lnTo>
                  <a:lnTo>
                    <a:pt x="24" y="58"/>
                  </a:lnTo>
                  <a:lnTo>
                    <a:pt x="20" y="58"/>
                  </a:lnTo>
                  <a:lnTo>
                    <a:pt x="20" y="58"/>
                  </a:lnTo>
                  <a:lnTo>
                    <a:pt x="20" y="58"/>
                  </a:lnTo>
                  <a:lnTo>
                    <a:pt x="20" y="58"/>
                  </a:lnTo>
                  <a:lnTo>
                    <a:pt x="20" y="58"/>
                  </a:lnTo>
                  <a:lnTo>
                    <a:pt x="20" y="58"/>
                  </a:lnTo>
                  <a:lnTo>
                    <a:pt x="20" y="58"/>
                  </a:lnTo>
                  <a:lnTo>
                    <a:pt x="20" y="58"/>
                  </a:lnTo>
                  <a:lnTo>
                    <a:pt x="16" y="58"/>
                  </a:lnTo>
                  <a:lnTo>
                    <a:pt x="16" y="58"/>
                  </a:lnTo>
                  <a:lnTo>
                    <a:pt x="12" y="58"/>
                  </a:lnTo>
                  <a:lnTo>
                    <a:pt x="12" y="58"/>
                  </a:lnTo>
                  <a:lnTo>
                    <a:pt x="12" y="58"/>
                  </a:lnTo>
                  <a:lnTo>
                    <a:pt x="12" y="58"/>
                  </a:lnTo>
                  <a:lnTo>
                    <a:pt x="12" y="58"/>
                  </a:lnTo>
                  <a:lnTo>
                    <a:pt x="8" y="58"/>
                  </a:lnTo>
                  <a:lnTo>
                    <a:pt x="8" y="58"/>
                  </a:lnTo>
                  <a:lnTo>
                    <a:pt x="8" y="58"/>
                  </a:lnTo>
                  <a:lnTo>
                    <a:pt x="8" y="62"/>
                  </a:lnTo>
                  <a:lnTo>
                    <a:pt x="4" y="62"/>
                  </a:lnTo>
                  <a:lnTo>
                    <a:pt x="0" y="58"/>
                  </a:lnTo>
                  <a:lnTo>
                    <a:pt x="0" y="58"/>
                  </a:lnTo>
                  <a:lnTo>
                    <a:pt x="0" y="58"/>
                  </a:lnTo>
                  <a:lnTo>
                    <a:pt x="0" y="58"/>
                  </a:lnTo>
                  <a:lnTo>
                    <a:pt x="0" y="58"/>
                  </a:lnTo>
                  <a:lnTo>
                    <a:pt x="0" y="58"/>
                  </a:lnTo>
                  <a:lnTo>
                    <a:pt x="0" y="58"/>
                  </a:lnTo>
                  <a:lnTo>
                    <a:pt x="0" y="58"/>
                  </a:lnTo>
                  <a:lnTo>
                    <a:pt x="0" y="5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91" name="Freeform 184"/>
            <p:cNvSpPr>
              <a:spLocks/>
            </p:cNvSpPr>
            <p:nvPr/>
          </p:nvSpPr>
          <p:spPr bwMode="auto">
            <a:xfrm>
              <a:off x="6495197" y="4064990"/>
              <a:ext cx="43959" cy="82378"/>
            </a:xfrm>
            <a:custGeom>
              <a:avLst/>
              <a:gdLst>
                <a:gd name="T0" fmla="*/ 48 w 70"/>
                <a:gd name="T1" fmla="*/ 32 h 126"/>
                <a:gd name="T2" fmla="*/ 52 w 70"/>
                <a:gd name="T3" fmla="*/ 36 h 126"/>
                <a:gd name="T4" fmla="*/ 56 w 70"/>
                <a:gd name="T5" fmla="*/ 40 h 126"/>
                <a:gd name="T6" fmla="*/ 60 w 70"/>
                <a:gd name="T7" fmla="*/ 44 h 126"/>
                <a:gd name="T8" fmla="*/ 60 w 70"/>
                <a:gd name="T9" fmla="*/ 56 h 126"/>
                <a:gd name="T10" fmla="*/ 60 w 70"/>
                <a:gd name="T11" fmla="*/ 58 h 126"/>
                <a:gd name="T12" fmla="*/ 56 w 70"/>
                <a:gd name="T13" fmla="*/ 58 h 126"/>
                <a:gd name="T14" fmla="*/ 52 w 70"/>
                <a:gd name="T15" fmla="*/ 62 h 126"/>
                <a:gd name="T16" fmla="*/ 48 w 70"/>
                <a:gd name="T17" fmla="*/ 66 h 126"/>
                <a:gd name="T18" fmla="*/ 48 w 70"/>
                <a:gd name="T19" fmla="*/ 74 h 126"/>
                <a:gd name="T20" fmla="*/ 48 w 70"/>
                <a:gd name="T21" fmla="*/ 78 h 126"/>
                <a:gd name="T22" fmla="*/ 48 w 70"/>
                <a:gd name="T23" fmla="*/ 82 h 126"/>
                <a:gd name="T24" fmla="*/ 52 w 70"/>
                <a:gd name="T25" fmla="*/ 86 h 126"/>
                <a:gd name="T26" fmla="*/ 52 w 70"/>
                <a:gd name="T27" fmla="*/ 88 h 126"/>
                <a:gd name="T28" fmla="*/ 60 w 70"/>
                <a:gd name="T29" fmla="*/ 92 h 126"/>
                <a:gd name="T30" fmla="*/ 60 w 70"/>
                <a:gd name="T31" fmla="*/ 96 h 126"/>
                <a:gd name="T32" fmla="*/ 64 w 70"/>
                <a:gd name="T33" fmla="*/ 108 h 126"/>
                <a:gd name="T34" fmla="*/ 70 w 70"/>
                <a:gd name="T35" fmla="*/ 114 h 126"/>
                <a:gd name="T36" fmla="*/ 68 w 70"/>
                <a:gd name="T37" fmla="*/ 114 h 126"/>
                <a:gd name="T38" fmla="*/ 60 w 70"/>
                <a:gd name="T39" fmla="*/ 112 h 126"/>
                <a:gd name="T40" fmla="*/ 60 w 70"/>
                <a:gd name="T41" fmla="*/ 112 h 126"/>
                <a:gd name="T42" fmla="*/ 56 w 70"/>
                <a:gd name="T43" fmla="*/ 118 h 126"/>
                <a:gd name="T44" fmla="*/ 52 w 70"/>
                <a:gd name="T45" fmla="*/ 118 h 126"/>
                <a:gd name="T46" fmla="*/ 44 w 70"/>
                <a:gd name="T47" fmla="*/ 122 h 126"/>
                <a:gd name="T48" fmla="*/ 40 w 70"/>
                <a:gd name="T49" fmla="*/ 122 h 126"/>
                <a:gd name="T50" fmla="*/ 38 w 70"/>
                <a:gd name="T51" fmla="*/ 126 h 126"/>
                <a:gd name="T52" fmla="*/ 34 w 70"/>
                <a:gd name="T53" fmla="*/ 126 h 126"/>
                <a:gd name="T54" fmla="*/ 30 w 70"/>
                <a:gd name="T55" fmla="*/ 118 h 126"/>
                <a:gd name="T56" fmla="*/ 26 w 70"/>
                <a:gd name="T57" fmla="*/ 114 h 126"/>
                <a:gd name="T58" fmla="*/ 22 w 70"/>
                <a:gd name="T59" fmla="*/ 108 h 126"/>
                <a:gd name="T60" fmla="*/ 22 w 70"/>
                <a:gd name="T61" fmla="*/ 104 h 126"/>
                <a:gd name="T62" fmla="*/ 18 w 70"/>
                <a:gd name="T63" fmla="*/ 96 h 126"/>
                <a:gd name="T64" fmla="*/ 22 w 70"/>
                <a:gd name="T65" fmla="*/ 88 h 126"/>
                <a:gd name="T66" fmla="*/ 26 w 70"/>
                <a:gd name="T67" fmla="*/ 82 h 126"/>
                <a:gd name="T68" fmla="*/ 26 w 70"/>
                <a:gd name="T69" fmla="*/ 70 h 126"/>
                <a:gd name="T70" fmla="*/ 18 w 70"/>
                <a:gd name="T71" fmla="*/ 70 h 126"/>
                <a:gd name="T72" fmla="*/ 18 w 70"/>
                <a:gd name="T73" fmla="*/ 66 h 126"/>
                <a:gd name="T74" fmla="*/ 18 w 70"/>
                <a:gd name="T75" fmla="*/ 58 h 126"/>
                <a:gd name="T76" fmla="*/ 14 w 70"/>
                <a:gd name="T77" fmla="*/ 58 h 126"/>
                <a:gd name="T78" fmla="*/ 12 w 70"/>
                <a:gd name="T79" fmla="*/ 58 h 126"/>
                <a:gd name="T80" fmla="*/ 0 w 70"/>
                <a:gd name="T81" fmla="*/ 44 h 126"/>
                <a:gd name="T82" fmla="*/ 4 w 70"/>
                <a:gd name="T83" fmla="*/ 40 h 126"/>
                <a:gd name="T84" fmla="*/ 4 w 70"/>
                <a:gd name="T85" fmla="*/ 32 h 126"/>
                <a:gd name="T86" fmla="*/ 12 w 70"/>
                <a:gd name="T87" fmla="*/ 32 h 126"/>
                <a:gd name="T88" fmla="*/ 12 w 70"/>
                <a:gd name="T89" fmla="*/ 30 h 126"/>
                <a:gd name="T90" fmla="*/ 14 w 70"/>
                <a:gd name="T91" fmla="*/ 26 h 126"/>
                <a:gd name="T92" fmla="*/ 12 w 70"/>
                <a:gd name="T93" fmla="*/ 26 h 126"/>
                <a:gd name="T94" fmla="*/ 12 w 70"/>
                <a:gd name="T95" fmla="*/ 22 h 126"/>
                <a:gd name="T96" fmla="*/ 12 w 70"/>
                <a:gd name="T97" fmla="*/ 18 h 126"/>
                <a:gd name="T98" fmla="*/ 12 w 70"/>
                <a:gd name="T99" fmla="*/ 14 h 126"/>
                <a:gd name="T100" fmla="*/ 18 w 70"/>
                <a:gd name="T101" fmla="*/ 10 h 126"/>
                <a:gd name="T102" fmla="*/ 22 w 70"/>
                <a:gd name="T103" fmla="*/ 6 h 126"/>
                <a:gd name="T104" fmla="*/ 18 w 70"/>
                <a:gd name="T105" fmla="*/ 0 h 126"/>
                <a:gd name="T106" fmla="*/ 22 w 70"/>
                <a:gd name="T107" fmla="*/ 4 h 126"/>
                <a:gd name="T108" fmla="*/ 26 w 70"/>
                <a:gd name="T109" fmla="*/ 4 h 126"/>
                <a:gd name="T110" fmla="*/ 34 w 70"/>
                <a:gd name="T111" fmla="*/ 10 h 126"/>
                <a:gd name="T112" fmla="*/ 38 w 70"/>
                <a:gd name="T113" fmla="*/ 18 h 126"/>
                <a:gd name="T114" fmla="*/ 40 w 70"/>
                <a:gd name="T115" fmla="*/ 26 h 126"/>
                <a:gd name="T116" fmla="*/ 40 w 70"/>
                <a:gd name="T117" fmla="*/ 30 h 126"/>
                <a:gd name="T118" fmla="*/ 40 w 70"/>
                <a:gd name="T119" fmla="*/ 36 h 126"/>
                <a:gd name="T120" fmla="*/ 40 w 70"/>
                <a:gd name="T121" fmla="*/ 32 h 126"/>
                <a:gd name="T122" fmla="*/ 44 w 70"/>
                <a:gd name="T123" fmla="*/ 3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 h="126">
                  <a:moveTo>
                    <a:pt x="44" y="30"/>
                  </a:moveTo>
                  <a:lnTo>
                    <a:pt x="44" y="30"/>
                  </a:lnTo>
                  <a:lnTo>
                    <a:pt x="48" y="30"/>
                  </a:lnTo>
                  <a:lnTo>
                    <a:pt x="48" y="30"/>
                  </a:lnTo>
                  <a:lnTo>
                    <a:pt x="48" y="30"/>
                  </a:lnTo>
                  <a:lnTo>
                    <a:pt x="48" y="32"/>
                  </a:lnTo>
                  <a:lnTo>
                    <a:pt x="48" y="32"/>
                  </a:lnTo>
                  <a:lnTo>
                    <a:pt x="48" y="32"/>
                  </a:lnTo>
                  <a:lnTo>
                    <a:pt x="48" y="32"/>
                  </a:lnTo>
                  <a:lnTo>
                    <a:pt x="48" y="32"/>
                  </a:lnTo>
                  <a:lnTo>
                    <a:pt x="52" y="32"/>
                  </a:lnTo>
                  <a:lnTo>
                    <a:pt x="52" y="36"/>
                  </a:lnTo>
                  <a:lnTo>
                    <a:pt x="52" y="36"/>
                  </a:lnTo>
                  <a:lnTo>
                    <a:pt x="56" y="40"/>
                  </a:lnTo>
                  <a:lnTo>
                    <a:pt x="56" y="40"/>
                  </a:lnTo>
                  <a:lnTo>
                    <a:pt x="56" y="36"/>
                  </a:lnTo>
                  <a:lnTo>
                    <a:pt x="56" y="36"/>
                  </a:lnTo>
                  <a:lnTo>
                    <a:pt x="56" y="40"/>
                  </a:lnTo>
                  <a:lnTo>
                    <a:pt x="56" y="40"/>
                  </a:lnTo>
                  <a:lnTo>
                    <a:pt x="60" y="40"/>
                  </a:lnTo>
                  <a:lnTo>
                    <a:pt x="60" y="40"/>
                  </a:lnTo>
                  <a:lnTo>
                    <a:pt x="60" y="40"/>
                  </a:lnTo>
                  <a:lnTo>
                    <a:pt x="60" y="40"/>
                  </a:lnTo>
                  <a:lnTo>
                    <a:pt x="60" y="44"/>
                  </a:lnTo>
                  <a:lnTo>
                    <a:pt x="60" y="44"/>
                  </a:lnTo>
                  <a:lnTo>
                    <a:pt x="60" y="52"/>
                  </a:lnTo>
                  <a:lnTo>
                    <a:pt x="60" y="52"/>
                  </a:lnTo>
                  <a:lnTo>
                    <a:pt x="60" y="52"/>
                  </a:lnTo>
                  <a:lnTo>
                    <a:pt x="60" y="52"/>
                  </a:lnTo>
                  <a:lnTo>
                    <a:pt x="60" y="56"/>
                  </a:lnTo>
                  <a:lnTo>
                    <a:pt x="60" y="56"/>
                  </a:lnTo>
                  <a:lnTo>
                    <a:pt x="56" y="56"/>
                  </a:lnTo>
                  <a:lnTo>
                    <a:pt x="60" y="58"/>
                  </a:lnTo>
                  <a:lnTo>
                    <a:pt x="60" y="58"/>
                  </a:lnTo>
                  <a:lnTo>
                    <a:pt x="60" y="56"/>
                  </a:lnTo>
                  <a:lnTo>
                    <a:pt x="60" y="58"/>
                  </a:lnTo>
                  <a:lnTo>
                    <a:pt x="60" y="58"/>
                  </a:lnTo>
                  <a:lnTo>
                    <a:pt x="60" y="58"/>
                  </a:lnTo>
                  <a:lnTo>
                    <a:pt x="60" y="58"/>
                  </a:lnTo>
                  <a:lnTo>
                    <a:pt x="60" y="58"/>
                  </a:lnTo>
                  <a:lnTo>
                    <a:pt x="60" y="58"/>
                  </a:lnTo>
                  <a:lnTo>
                    <a:pt x="56" y="58"/>
                  </a:lnTo>
                  <a:lnTo>
                    <a:pt x="56" y="58"/>
                  </a:lnTo>
                  <a:lnTo>
                    <a:pt x="56" y="62"/>
                  </a:lnTo>
                  <a:lnTo>
                    <a:pt x="56" y="62"/>
                  </a:lnTo>
                  <a:lnTo>
                    <a:pt x="52" y="62"/>
                  </a:lnTo>
                  <a:lnTo>
                    <a:pt x="52" y="62"/>
                  </a:lnTo>
                  <a:lnTo>
                    <a:pt x="52" y="62"/>
                  </a:lnTo>
                  <a:lnTo>
                    <a:pt x="52" y="62"/>
                  </a:lnTo>
                  <a:lnTo>
                    <a:pt x="48" y="62"/>
                  </a:lnTo>
                  <a:lnTo>
                    <a:pt x="48" y="62"/>
                  </a:lnTo>
                  <a:lnTo>
                    <a:pt x="48" y="66"/>
                  </a:lnTo>
                  <a:lnTo>
                    <a:pt x="48" y="66"/>
                  </a:lnTo>
                  <a:lnTo>
                    <a:pt x="48" y="66"/>
                  </a:lnTo>
                  <a:lnTo>
                    <a:pt x="52" y="66"/>
                  </a:lnTo>
                  <a:lnTo>
                    <a:pt x="48" y="66"/>
                  </a:lnTo>
                  <a:lnTo>
                    <a:pt x="48" y="70"/>
                  </a:lnTo>
                  <a:lnTo>
                    <a:pt x="48" y="74"/>
                  </a:lnTo>
                  <a:lnTo>
                    <a:pt x="48" y="74"/>
                  </a:lnTo>
                  <a:lnTo>
                    <a:pt x="48" y="74"/>
                  </a:lnTo>
                  <a:lnTo>
                    <a:pt x="48" y="74"/>
                  </a:lnTo>
                  <a:lnTo>
                    <a:pt x="48" y="74"/>
                  </a:lnTo>
                  <a:lnTo>
                    <a:pt x="48" y="74"/>
                  </a:lnTo>
                  <a:lnTo>
                    <a:pt x="48" y="74"/>
                  </a:lnTo>
                  <a:lnTo>
                    <a:pt x="48" y="78"/>
                  </a:lnTo>
                  <a:lnTo>
                    <a:pt x="48" y="78"/>
                  </a:lnTo>
                  <a:lnTo>
                    <a:pt x="48" y="78"/>
                  </a:lnTo>
                  <a:lnTo>
                    <a:pt x="48" y="82"/>
                  </a:lnTo>
                  <a:lnTo>
                    <a:pt x="48" y="82"/>
                  </a:lnTo>
                  <a:lnTo>
                    <a:pt x="48" y="82"/>
                  </a:lnTo>
                  <a:lnTo>
                    <a:pt x="48" y="82"/>
                  </a:lnTo>
                  <a:lnTo>
                    <a:pt x="48" y="82"/>
                  </a:lnTo>
                  <a:lnTo>
                    <a:pt x="48" y="82"/>
                  </a:lnTo>
                  <a:lnTo>
                    <a:pt x="48" y="86"/>
                  </a:lnTo>
                  <a:lnTo>
                    <a:pt x="52" y="86"/>
                  </a:lnTo>
                  <a:lnTo>
                    <a:pt x="52" y="86"/>
                  </a:lnTo>
                  <a:lnTo>
                    <a:pt x="52" y="86"/>
                  </a:lnTo>
                  <a:lnTo>
                    <a:pt x="52" y="86"/>
                  </a:lnTo>
                  <a:lnTo>
                    <a:pt x="52" y="86"/>
                  </a:lnTo>
                  <a:lnTo>
                    <a:pt x="52" y="86"/>
                  </a:lnTo>
                  <a:lnTo>
                    <a:pt x="52" y="88"/>
                  </a:lnTo>
                  <a:lnTo>
                    <a:pt x="52" y="88"/>
                  </a:lnTo>
                  <a:lnTo>
                    <a:pt x="52" y="88"/>
                  </a:lnTo>
                  <a:lnTo>
                    <a:pt x="52" y="88"/>
                  </a:lnTo>
                  <a:lnTo>
                    <a:pt x="56" y="88"/>
                  </a:lnTo>
                  <a:lnTo>
                    <a:pt x="56" y="88"/>
                  </a:lnTo>
                  <a:lnTo>
                    <a:pt x="60" y="88"/>
                  </a:lnTo>
                  <a:lnTo>
                    <a:pt x="60" y="88"/>
                  </a:lnTo>
                  <a:lnTo>
                    <a:pt x="60" y="92"/>
                  </a:lnTo>
                  <a:lnTo>
                    <a:pt x="60" y="92"/>
                  </a:lnTo>
                  <a:lnTo>
                    <a:pt x="60" y="92"/>
                  </a:lnTo>
                  <a:lnTo>
                    <a:pt x="60" y="92"/>
                  </a:lnTo>
                  <a:lnTo>
                    <a:pt x="60" y="92"/>
                  </a:lnTo>
                  <a:lnTo>
                    <a:pt x="60" y="96"/>
                  </a:lnTo>
                  <a:lnTo>
                    <a:pt x="60" y="96"/>
                  </a:lnTo>
                  <a:lnTo>
                    <a:pt x="60" y="96"/>
                  </a:lnTo>
                  <a:lnTo>
                    <a:pt x="60" y="100"/>
                  </a:lnTo>
                  <a:lnTo>
                    <a:pt x="60" y="100"/>
                  </a:lnTo>
                  <a:lnTo>
                    <a:pt x="64" y="104"/>
                  </a:lnTo>
                  <a:lnTo>
                    <a:pt x="64" y="104"/>
                  </a:lnTo>
                  <a:lnTo>
                    <a:pt x="64" y="108"/>
                  </a:lnTo>
                  <a:lnTo>
                    <a:pt x="64" y="108"/>
                  </a:lnTo>
                  <a:lnTo>
                    <a:pt x="68" y="112"/>
                  </a:lnTo>
                  <a:lnTo>
                    <a:pt x="68" y="112"/>
                  </a:lnTo>
                  <a:lnTo>
                    <a:pt x="68" y="112"/>
                  </a:lnTo>
                  <a:lnTo>
                    <a:pt x="68" y="112"/>
                  </a:lnTo>
                  <a:lnTo>
                    <a:pt x="68" y="112"/>
                  </a:lnTo>
                  <a:lnTo>
                    <a:pt x="70" y="114"/>
                  </a:lnTo>
                  <a:lnTo>
                    <a:pt x="70" y="114"/>
                  </a:lnTo>
                  <a:lnTo>
                    <a:pt x="68" y="114"/>
                  </a:lnTo>
                  <a:lnTo>
                    <a:pt x="68" y="114"/>
                  </a:lnTo>
                  <a:lnTo>
                    <a:pt x="68" y="114"/>
                  </a:lnTo>
                  <a:lnTo>
                    <a:pt x="68" y="114"/>
                  </a:lnTo>
                  <a:lnTo>
                    <a:pt x="68" y="114"/>
                  </a:lnTo>
                  <a:lnTo>
                    <a:pt x="68" y="114"/>
                  </a:lnTo>
                  <a:lnTo>
                    <a:pt x="68" y="114"/>
                  </a:lnTo>
                  <a:lnTo>
                    <a:pt x="64" y="114"/>
                  </a:lnTo>
                  <a:lnTo>
                    <a:pt x="64" y="114"/>
                  </a:lnTo>
                  <a:lnTo>
                    <a:pt x="64" y="114"/>
                  </a:lnTo>
                  <a:lnTo>
                    <a:pt x="60" y="112"/>
                  </a:lnTo>
                  <a:lnTo>
                    <a:pt x="60" y="112"/>
                  </a:lnTo>
                  <a:lnTo>
                    <a:pt x="60" y="112"/>
                  </a:lnTo>
                  <a:lnTo>
                    <a:pt x="60" y="112"/>
                  </a:lnTo>
                  <a:lnTo>
                    <a:pt x="60" y="112"/>
                  </a:lnTo>
                  <a:lnTo>
                    <a:pt x="60" y="114"/>
                  </a:lnTo>
                  <a:lnTo>
                    <a:pt x="60" y="112"/>
                  </a:lnTo>
                  <a:lnTo>
                    <a:pt x="60" y="112"/>
                  </a:lnTo>
                  <a:lnTo>
                    <a:pt x="56" y="112"/>
                  </a:lnTo>
                  <a:lnTo>
                    <a:pt x="56" y="114"/>
                  </a:lnTo>
                  <a:lnTo>
                    <a:pt x="56" y="114"/>
                  </a:lnTo>
                  <a:lnTo>
                    <a:pt x="56" y="114"/>
                  </a:lnTo>
                  <a:lnTo>
                    <a:pt x="56" y="118"/>
                  </a:lnTo>
                  <a:lnTo>
                    <a:pt x="56" y="118"/>
                  </a:lnTo>
                  <a:lnTo>
                    <a:pt x="56" y="118"/>
                  </a:lnTo>
                  <a:lnTo>
                    <a:pt x="52" y="118"/>
                  </a:lnTo>
                  <a:lnTo>
                    <a:pt x="52" y="118"/>
                  </a:lnTo>
                  <a:lnTo>
                    <a:pt x="52" y="118"/>
                  </a:lnTo>
                  <a:lnTo>
                    <a:pt x="52" y="118"/>
                  </a:lnTo>
                  <a:lnTo>
                    <a:pt x="52" y="118"/>
                  </a:lnTo>
                  <a:lnTo>
                    <a:pt x="48" y="118"/>
                  </a:lnTo>
                  <a:lnTo>
                    <a:pt x="48" y="118"/>
                  </a:lnTo>
                  <a:lnTo>
                    <a:pt x="48" y="118"/>
                  </a:lnTo>
                  <a:lnTo>
                    <a:pt x="48" y="122"/>
                  </a:lnTo>
                  <a:lnTo>
                    <a:pt x="44" y="122"/>
                  </a:lnTo>
                  <a:lnTo>
                    <a:pt x="44" y="118"/>
                  </a:lnTo>
                  <a:lnTo>
                    <a:pt x="44" y="118"/>
                  </a:lnTo>
                  <a:lnTo>
                    <a:pt x="40" y="122"/>
                  </a:lnTo>
                  <a:lnTo>
                    <a:pt x="40" y="122"/>
                  </a:lnTo>
                  <a:lnTo>
                    <a:pt x="40" y="122"/>
                  </a:lnTo>
                  <a:lnTo>
                    <a:pt x="40" y="122"/>
                  </a:lnTo>
                  <a:lnTo>
                    <a:pt x="40" y="122"/>
                  </a:lnTo>
                  <a:lnTo>
                    <a:pt x="40" y="126"/>
                  </a:lnTo>
                  <a:lnTo>
                    <a:pt x="40" y="126"/>
                  </a:lnTo>
                  <a:lnTo>
                    <a:pt x="38" y="126"/>
                  </a:lnTo>
                  <a:lnTo>
                    <a:pt x="38" y="126"/>
                  </a:lnTo>
                  <a:lnTo>
                    <a:pt x="38" y="126"/>
                  </a:lnTo>
                  <a:lnTo>
                    <a:pt x="38" y="126"/>
                  </a:lnTo>
                  <a:lnTo>
                    <a:pt x="38" y="126"/>
                  </a:lnTo>
                  <a:lnTo>
                    <a:pt x="38" y="126"/>
                  </a:lnTo>
                  <a:lnTo>
                    <a:pt x="38" y="126"/>
                  </a:lnTo>
                  <a:lnTo>
                    <a:pt x="34" y="126"/>
                  </a:lnTo>
                  <a:lnTo>
                    <a:pt x="34" y="126"/>
                  </a:lnTo>
                  <a:lnTo>
                    <a:pt x="34" y="126"/>
                  </a:lnTo>
                  <a:lnTo>
                    <a:pt x="34" y="122"/>
                  </a:lnTo>
                  <a:lnTo>
                    <a:pt x="34" y="122"/>
                  </a:lnTo>
                  <a:lnTo>
                    <a:pt x="34" y="122"/>
                  </a:lnTo>
                  <a:lnTo>
                    <a:pt x="30" y="122"/>
                  </a:lnTo>
                  <a:lnTo>
                    <a:pt x="30" y="118"/>
                  </a:lnTo>
                  <a:lnTo>
                    <a:pt x="26" y="118"/>
                  </a:lnTo>
                  <a:lnTo>
                    <a:pt x="26" y="118"/>
                  </a:lnTo>
                  <a:lnTo>
                    <a:pt x="26" y="118"/>
                  </a:lnTo>
                  <a:lnTo>
                    <a:pt x="26" y="118"/>
                  </a:lnTo>
                  <a:lnTo>
                    <a:pt x="26" y="114"/>
                  </a:lnTo>
                  <a:lnTo>
                    <a:pt x="26" y="114"/>
                  </a:lnTo>
                  <a:lnTo>
                    <a:pt x="26" y="114"/>
                  </a:lnTo>
                  <a:lnTo>
                    <a:pt x="22" y="114"/>
                  </a:lnTo>
                  <a:lnTo>
                    <a:pt x="22" y="114"/>
                  </a:lnTo>
                  <a:lnTo>
                    <a:pt x="22" y="114"/>
                  </a:lnTo>
                  <a:lnTo>
                    <a:pt x="22" y="112"/>
                  </a:lnTo>
                  <a:lnTo>
                    <a:pt x="22" y="108"/>
                  </a:lnTo>
                  <a:lnTo>
                    <a:pt x="22" y="108"/>
                  </a:lnTo>
                  <a:lnTo>
                    <a:pt x="22" y="108"/>
                  </a:lnTo>
                  <a:lnTo>
                    <a:pt x="22" y="108"/>
                  </a:lnTo>
                  <a:lnTo>
                    <a:pt x="22" y="108"/>
                  </a:lnTo>
                  <a:lnTo>
                    <a:pt x="22" y="108"/>
                  </a:lnTo>
                  <a:lnTo>
                    <a:pt x="22" y="104"/>
                  </a:lnTo>
                  <a:lnTo>
                    <a:pt x="22" y="104"/>
                  </a:lnTo>
                  <a:lnTo>
                    <a:pt x="22" y="104"/>
                  </a:lnTo>
                  <a:lnTo>
                    <a:pt x="18" y="104"/>
                  </a:lnTo>
                  <a:lnTo>
                    <a:pt x="18" y="100"/>
                  </a:lnTo>
                  <a:lnTo>
                    <a:pt x="18" y="96"/>
                  </a:lnTo>
                  <a:lnTo>
                    <a:pt x="18" y="96"/>
                  </a:lnTo>
                  <a:lnTo>
                    <a:pt x="18" y="96"/>
                  </a:lnTo>
                  <a:lnTo>
                    <a:pt x="22" y="92"/>
                  </a:lnTo>
                  <a:lnTo>
                    <a:pt x="22" y="92"/>
                  </a:lnTo>
                  <a:lnTo>
                    <a:pt x="22" y="88"/>
                  </a:lnTo>
                  <a:lnTo>
                    <a:pt x="22" y="88"/>
                  </a:lnTo>
                  <a:lnTo>
                    <a:pt x="22" y="88"/>
                  </a:lnTo>
                  <a:lnTo>
                    <a:pt x="22" y="88"/>
                  </a:lnTo>
                  <a:lnTo>
                    <a:pt x="22" y="86"/>
                  </a:lnTo>
                  <a:lnTo>
                    <a:pt x="22" y="86"/>
                  </a:lnTo>
                  <a:lnTo>
                    <a:pt x="22" y="86"/>
                  </a:lnTo>
                  <a:lnTo>
                    <a:pt x="26" y="82"/>
                  </a:lnTo>
                  <a:lnTo>
                    <a:pt x="26" y="82"/>
                  </a:lnTo>
                  <a:lnTo>
                    <a:pt x="26" y="78"/>
                  </a:lnTo>
                  <a:lnTo>
                    <a:pt x="22" y="74"/>
                  </a:lnTo>
                  <a:lnTo>
                    <a:pt x="22" y="74"/>
                  </a:lnTo>
                  <a:lnTo>
                    <a:pt x="22" y="74"/>
                  </a:lnTo>
                  <a:lnTo>
                    <a:pt x="22" y="74"/>
                  </a:lnTo>
                  <a:lnTo>
                    <a:pt x="26" y="70"/>
                  </a:lnTo>
                  <a:lnTo>
                    <a:pt x="26" y="70"/>
                  </a:lnTo>
                  <a:lnTo>
                    <a:pt x="22" y="70"/>
                  </a:lnTo>
                  <a:lnTo>
                    <a:pt x="22" y="70"/>
                  </a:lnTo>
                  <a:lnTo>
                    <a:pt x="22" y="70"/>
                  </a:lnTo>
                  <a:lnTo>
                    <a:pt x="18" y="70"/>
                  </a:lnTo>
                  <a:lnTo>
                    <a:pt x="18" y="70"/>
                  </a:lnTo>
                  <a:lnTo>
                    <a:pt x="18" y="70"/>
                  </a:lnTo>
                  <a:lnTo>
                    <a:pt x="18" y="70"/>
                  </a:lnTo>
                  <a:lnTo>
                    <a:pt x="18" y="70"/>
                  </a:lnTo>
                  <a:lnTo>
                    <a:pt x="18" y="66"/>
                  </a:lnTo>
                  <a:lnTo>
                    <a:pt x="18" y="66"/>
                  </a:lnTo>
                  <a:lnTo>
                    <a:pt x="18" y="66"/>
                  </a:lnTo>
                  <a:lnTo>
                    <a:pt x="18" y="66"/>
                  </a:lnTo>
                  <a:lnTo>
                    <a:pt x="18" y="66"/>
                  </a:lnTo>
                  <a:lnTo>
                    <a:pt x="18" y="62"/>
                  </a:lnTo>
                  <a:lnTo>
                    <a:pt x="18" y="58"/>
                  </a:lnTo>
                  <a:lnTo>
                    <a:pt x="18" y="58"/>
                  </a:lnTo>
                  <a:lnTo>
                    <a:pt x="18" y="58"/>
                  </a:lnTo>
                  <a:lnTo>
                    <a:pt x="18" y="58"/>
                  </a:lnTo>
                  <a:lnTo>
                    <a:pt x="18" y="58"/>
                  </a:lnTo>
                  <a:lnTo>
                    <a:pt x="18" y="56"/>
                  </a:lnTo>
                  <a:lnTo>
                    <a:pt x="18" y="56"/>
                  </a:lnTo>
                  <a:lnTo>
                    <a:pt x="14" y="56"/>
                  </a:lnTo>
                  <a:lnTo>
                    <a:pt x="14" y="58"/>
                  </a:lnTo>
                  <a:lnTo>
                    <a:pt x="14" y="58"/>
                  </a:lnTo>
                  <a:lnTo>
                    <a:pt x="12" y="58"/>
                  </a:lnTo>
                  <a:lnTo>
                    <a:pt x="12" y="58"/>
                  </a:lnTo>
                  <a:lnTo>
                    <a:pt x="12" y="58"/>
                  </a:lnTo>
                  <a:lnTo>
                    <a:pt x="12" y="58"/>
                  </a:lnTo>
                  <a:lnTo>
                    <a:pt x="12" y="58"/>
                  </a:lnTo>
                  <a:lnTo>
                    <a:pt x="8" y="58"/>
                  </a:lnTo>
                  <a:lnTo>
                    <a:pt x="8" y="56"/>
                  </a:lnTo>
                  <a:lnTo>
                    <a:pt x="8" y="56"/>
                  </a:lnTo>
                  <a:lnTo>
                    <a:pt x="4" y="52"/>
                  </a:lnTo>
                  <a:lnTo>
                    <a:pt x="0" y="44"/>
                  </a:lnTo>
                  <a:lnTo>
                    <a:pt x="0" y="44"/>
                  </a:lnTo>
                  <a:lnTo>
                    <a:pt x="0" y="44"/>
                  </a:lnTo>
                  <a:lnTo>
                    <a:pt x="0" y="44"/>
                  </a:lnTo>
                  <a:lnTo>
                    <a:pt x="0" y="44"/>
                  </a:lnTo>
                  <a:lnTo>
                    <a:pt x="0" y="44"/>
                  </a:lnTo>
                  <a:lnTo>
                    <a:pt x="4" y="40"/>
                  </a:lnTo>
                  <a:lnTo>
                    <a:pt x="4" y="40"/>
                  </a:lnTo>
                  <a:lnTo>
                    <a:pt x="4" y="40"/>
                  </a:lnTo>
                  <a:lnTo>
                    <a:pt x="4" y="36"/>
                  </a:lnTo>
                  <a:lnTo>
                    <a:pt x="4" y="36"/>
                  </a:lnTo>
                  <a:lnTo>
                    <a:pt x="4" y="32"/>
                  </a:lnTo>
                  <a:lnTo>
                    <a:pt x="4" y="32"/>
                  </a:lnTo>
                  <a:lnTo>
                    <a:pt x="4" y="32"/>
                  </a:lnTo>
                  <a:lnTo>
                    <a:pt x="4" y="32"/>
                  </a:lnTo>
                  <a:lnTo>
                    <a:pt x="4" y="32"/>
                  </a:lnTo>
                  <a:lnTo>
                    <a:pt x="8" y="32"/>
                  </a:lnTo>
                  <a:lnTo>
                    <a:pt x="8" y="30"/>
                  </a:lnTo>
                  <a:lnTo>
                    <a:pt x="8" y="30"/>
                  </a:lnTo>
                  <a:lnTo>
                    <a:pt x="12" y="32"/>
                  </a:lnTo>
                  <a:lnTo>
                    <a:pt x="12" y="30"/>
                  </a:lnTo>
                  <a:lnTo>
                    <a:pt x="12" y="30"/>
                  </a:lnTo>
                  <a:lnTo>
                    <a:pt x="12" y="30"/>
                  </a:lnTo>
                  <a:lnTo>
                    <a:pt x="12" y="30"/>
                  </a:lnTo>
                  <a:lnTo>
                    <a:pt x="12" y="30"/>
                  </a:lnTo>
                  <a:lnTo>
                    <a:pt x="12" y="30"/>
                  </a:lnTo>
                  <a:lnTo>
                    <a:pt x="12" y="30"/>
                  </a:lnTo>
                  <a:lnTo>
                    <a:pt x="14" y="30"/>
                  </a:lnTo>
                  <a:lnTo>
                    <a:pt x="14" y="30"/>
                  </a:lnTo>
                  <a:lnTo>
                    <a:pt x="14" y="26"/>
                  </a:lnTo>
                  <a:lnTo>
                    <a:pt x="14" y="26"/>
                  </a:lnTo>
                  <a:lnTo>
                    <a:pt x="14" y="26"/>
                  </a:lnTo>
                  <a:lnTo>
                    <a:pt x="14" y="26"/>
                  </a:lnTo>
                  <a:lnTo>
                    <a:pt x="14" y="26"/>
                  </a:lnTo>
                  <a:lnTo>
                    <a:pt x="14" y="26"/>
                  </a:lnTo>
                  <a:lnTo>
                    <a:pt x="14" y="22"/>
                  </a:lnTo>
                  <a:lnTo>
                    <a:pt x="12" y="26"/>
                  </a:lnTo>
                  <a:lnTo>
                    <a:pt x="12" y="26"/>
                  </a:lnTo>
                  <a:lnTo>
                    <a:pt x="12" y="26"/>
                  </a:lnTo>
                  <a:lnTo>
                    <a:pt x="12" y="26"/>
                  </a:lnTo>
                  <a:lnTo>
                    <a:pt x="12" y="22"/>
                  </a:lnTo>
                  <a:lnTo>
                    <a:pt x="12" y="22"/>
                  </a:lnTo>
                  <a:lnTo>
                    <a:pt x="12" y="22"/>
                  </a:lnTo>
                  <a:lnTo>
                    <a:pt x="12" y="22"/>
                  </a:lnTo>
                  <a:lnTo>
                    <a:pt x="12" y="22"/>
                  </a:lnTo>
                  <a:lnTo>
                    <a:pt x="12" y="22"/>
                  </a:lnTo>
                  <a:lnTo>
                    <a:pt x="12" y="18"/>
                  </a:lnTo>
                  <a:lnTo>
                    <a:pt x="12" y="18"/>
                  </a:lnTo>
                  <a:lnTo>
                    <a:pt x="12" y="18"/>
                  </a:lnTo>
                  <a:lnTo>
                    <a:pt x="12" y="18"/>
                  </a:lnTo>
                  <a:lnTo>
                    <a:pt x="12" y="18"/>
                  </a:lnTo>
                  <a:lnTo>
                    <a:pt x="12" y="18"/>
                  </a:lnTo>
                  <a:lnTo>
                    <a:pt x="12" y="14"/>
                  </a:lnTo>
                  <a:lnTo>
                    <a:pt x="12" y="14"/>
                  </a:lnTo>
                  <a:lnTo>
                    <a:pt x="12" y="14"/>
                  </a:lnTo>
                  <a:lnTo>
                    <a:pt x="12" y="14"/>
                  </a:lnTo>
                  <a:lnTo>
                    <a:pt x="14" y="10"/>
                  </a:lnTo>
                  <a:lnTo>
                    <a:pt x="14" y="10"/>
                  </a:lnTo>
                  <a:lnTo>
                    <a:pt x="14" y="10"/>
                  </a:lnTo>
                  <a:lnTo>
                    <a:pt x="18" y="10"/>
                  </a:lnTo>
                  <a:lnTo>
                    <a:pt x="18" y="10"/>
                  </a:lnTo>
                  <a:lnTo>
                    <a:pt x="18" y="10"/>
                  </a:lnTo>
                  <a:lnTo>
                    <a:pt x="18" y="10"/>
                  </a:lnTo>
                  <a:lnTo>
                    <a:pt x="18" y="6"/>
                  </a:lnTo>
                  <a:lnTo>
                    <a:pt x="18" y="6"/>
                  </a:lnTo>
                  <a:lnTo>
                    <a:pt x="22" y="6"/>
                  </a:lnTo>
                  <a:lnTo>
                    <a:pt x="22" y="6"/>
                  </a:lnTo>
                  <a:lnTo>
                    <a:pt x="22" y="6"/>
                  </a:lnTo>
                  <a:lnTo>
                    <a:pt x="22" y="6"/>
                  </a:lnTo>
                  <a:lnTo>
                    <a:pt x="22" y="4"/>
                  </a:lnTo>
                  <a:lnTo>
                    <a:pt x="22" y="4"/>
                  </a:lnTo>
                  <a:lnTo>
                    <a:pt x="22" y="4"/>
                  </a:lnTo>
                  <a:lnTo>
                    <a:pt x="18" y="0"/>
                  </a:lnTo>
                  <a:lnTo>
                    <a:pt x="18" y="0"/>
                  </a:lnTo>
                  <a:lnTo>
                    <a:pt x="18" y="0"/>
                  </a:lnTo>
                  <a:lnTo>
                    <a:pt x="22" y="4"/>
                  </a:lnTo>
                  <a:lnTo>
                    <a:pt x="22" y="4"/>
                  </a:lnTo>
                  <a:lnTo>
                    <a:pt x="22" y="4"/>
                  </a:lnTo>
                  <a:lnTo>
                    <a:pt x="22" y="4"/>
                  </a:lnTo>
                  <a:lnTo>
                    <a:pt x="22" y="4"/>
                  </a:lnTo>
                  <a:lnTo>
                    <a:pt x="22" y="4"/>
                  </a:lnTo>
                  <a:lnTo>
                    <a:pt x="22" y="4"/>
                  </a:lnTo>
                  <a:lnTo>
                    <a:pt x="22" y="4"/>
                  </a:lnTo>
                  <a:lnTo>
                    <a:pt x="22" y="4"/>
                  </a:lnTo>
                  <a:lnTo>
                    <a:pt x="22" y="4"/>
                  </a:lnTo>
                  <a:lnTo>
                    <a:pt x="26" y="4"/>
                  </a:lnTo>
                  <a:lnTo>
                    <a:pt x="26" y="4"/>
                  </a:lnTo>
                  <a:lnTo>
                    <a:pt x="30" y="6"/>
                  </a:lnTo>
                  <a:lnTo>
                    <a:pt x="34" y="10"/>
                  </a:lnTo>
                  <a:lnTo>
                    <a:pt x="34" y="10"/>
                  </a:lnTo>
                  <a:lnTo>
                    <a:pt x="34" y="10"/>
                  </a:lnTo>
                  <a:lnTo>
                    <a:pt x="34" y="10"/>
                  </a:lnTo>
                  <a:lnTo>
                    <a:pt x="34" y="10"/>
                  </a:lnTo>
                  <a:lnTo>
                    <a:pt x="34" y="10"/>
                  </a:lnTo>
                  <a:lnTo>
                    <a:pt x="38" y="14"/>
                  </a:lnTo>
                  <a:lnTo>
                    <a:pt x="38" y="14"/>
                  </a:lnTo>
                  <a:lnTo>
                    <a:pt x="38" y="14"/>
                  </a:lnTo>
                  <a:lnTo>
                    <a:pt x="38" y="18"/>
                  </a:lnTo>
                  <a:lnTo>
                    <a:pt x="38" y="18"/>
                  </a:lnTo>
                  <a:lnTo>
                    <a:pt x="40" y="22"/>
                  </a:lnTo>
                  <a:lnTo>
                    <a:pt x="40" y="22"/>
                  </a:lnTo>
                  <a:lnTo>
                    <a:pt x="40" y="26"/>
                  </a:lnTo>
                  <a:lnTo>
                    <a:pt x="40" y="26"/>
                  </a:lnTo>
                  <a:lnTo>
                    <a:pt x="40" y="26"/>
                  </a:lnTo>
                  <a:lnTo>
                    <a:pt x="40" y="26"/>
                  </a:lnTo>
                  <a:lnTo>
                    <a:pt x="40" y="26"/>
                  </a:lnTo>
                  <a:lnTo>
                    <a:pt x="40" y="30"/>
                  </a:lnTo>
                  <a:lnTo>
                    <a:pt x="40" y="30"/>
                  </a:lnTo>
                  <a:lnTo>
                    <a:pt x="40" y="30"/>
                  </a:lnTo>
                  <a:lnTo>
                    <a:pt x="40" y="30"/>
                  </a:lnTo>
                  <a:lnTo>
                    <a:pt x="40" y="30"/>
                  </a:lnTo>
                  <a:lnTo>
                    <a:pt x="40" y="32"/>
                  </a:lnTo>
                  <a:lnTo>
                    <a:pt x="40" y="36"/>
                  </a:lnTo>
                  <a:lnTo>
                    <a:pt x="38" y="36"/>
                  </a:lnTo>
                  <a:lnTo>
                    <a:pt x="40" y="36"/>
                  </a:lnTo>
                  <a:lnTo>
                    <a:pt x="40" y="36"/>
                  </a:lnTo>
                  <a:lnTo>
                    <a:pt x="40" y="36"/>
                  </a:lnTo>
                  <a:lnTo>
                    <a:pt x="40" y="36"/>
                  </a:lnTo>
                  <a:lnTo>
                    <a:pt x="40" y="36"/>
                  </a:lnTo>
                  <a:lnTo>
                    <a:pt x="40" y="32"/>
                  </a:lnTo>
                  <a:lnTo>
                    <a:pt x="40" y="32"/>
                  </a:lnTo>
                  <a:lnTo>
                    <a:pt x="40" y="32"/>
                  </a:lnTo>
                  <a:lnTo>
                    <a:pt x="40" y="30"/>
                  </a:lnTo>
                  <a:lnTo>
                    <a:pt x="40" y="30"/>
                  </a:lnTo>
                  <a:lnTo>
                    <a:pt x="40" y="30"/>
                  </a:lnTo>
                  <a:lnTo>
                    <a:pt x="40" y="30"/>
                  </a:lnTo>
                  <a:lnTo>
                    <a:pt x="44" y="30"/>
                  </a:lnTo>
                  <a:lnTo>
                    <a:pt x="44" y="30"/>
                  </a:lnTo>
                  <a:lnTo>
                    <a:pt x="44" y="30"/>
                  </a:lnTo>
                  <a:lnTo>
                    <a:pt x="44" y="30"/>
                  </a:lnTo>
                  <a:lnTo>
                    <a:pt x="44" y="30"/>
                  </a:lnTo>
                  <a:lnTo>
                    <a:pt x="44" y="3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92" name="Freeform 185"/>
            <p:cNvSpPr>
              <a:spLocks/>
            </p:cNvSpPr>
            <p:nvPr/>
          </p:nvSpPr>
          <p:spPr bwMode="auto">
            <a:xfrm>
              <a:off x="6482638" y="4378810"/>
              <a:ext cx="75358" cy="95454"/>
            </a:xfrm>
            <a:custGeom>
              <a:avLst/>
              <a:gdLst>
                <a:gd name="T0" fmla="*/ 68 w 120"/>
                <a:gd name="T1" fmla="*/ 102 h 146"/>
                <a:gd name="T2" fmla="*/ 64 w 120"/>
                <a:gd name="T3" fmla="*/ 102 h 146"/>
                <a:gd name="T4" fmla="*/ 56 w 120"/>
                <a:gd name="T5" fmla="*/ 98 h 146"/>
                <a:gd name="T6" fmla="*/ 50 w 120"/>
                <a:gd name="T7" fmla="*/ 90 h 146"/>
                <a:gd name="T8" fmla="*/ 38 w 120"/>
                <a:gd name="T9" fmla="*/ 82 h 146"/>
                <a:gd name="T10" fmla="*/ 34 w 120"/>
                <a:gd name="T11" fmla="*/ 82 h 146"/>
                <a:gd name="T12" fmla="*/ 26 w 120"/>
                <a:gd name="T13" fmla="*/ 78 h 146"/>
                <a:gd name="T14" fmla="*/ 20 w 120"/>
                <a:gd name="T15" fmla="*/ 72 h 146"/>
                <a:gd name="T16" fmla="*/ 16 w 120"/>
                <a:gd name="T17" fmla="*/ 68 h 146"/>
                <a:gd name="T18" fmla="*/ 12 w 120"/>
                <a:gd name="T19" fmla="*/ 64 h 146"/>
                <a:gd name="T20" fmla="*/ 8 w 120"/>
                <a:gd name="T21" fmla="*/ 56 h 146"/>
                <a:gd name="T22" fmla="*/ 0 w 120"/>
                <a:gd name="T23" fmla="*/ 52 h 146"/>
                <a:gd name="T24" fmla="*/ 4 w 120"/>
                <a:gd name="T25" fmla="*/ 38 h 146"/>
                <a:gd name="T26" fmla="*/ 8 w 120"/>
                <a:gd name="T27" fmla="*/ 18 h 146"/>
                <a:gd name="T28" fmla="*/ 20 w 120"/>
                <a:gd name="T29" fmla="*/ 4 h 146"/>
                <a:gd name="T30" fmla="*/ 38 w 120"/>
                <a:gd name="T31" fmla="*/ 0 h 146"/>
                <a:gd name="T32" fmla="*/ 64 w 120"/>
                <a:gd name="T33" fmla="*/ 8 h 146"/>
                <a:gd name="T34" fmla="*/ 64 w 120"/>
                <a:gd name="T35" fmla="*/ 16 h 146"/>
                <a:gd name="T36" fmla="*/ 68 w 120"/>
                <a:gd name="T37" fmla="*/ 22 h 146"/>
                <a:gd name="T38" fmla="*/ 68 w 120"/>
                <a:gd name="T39" fmla="*/ 38 h 146"/>
                <a:gd name="T40" fmla="*/ 68 w 120"/>
                <a:gd name="T41" fmla="*/ 48 h 146"/>
                <a:gd name="T42" fmla="*/ 72 w 120"/>
                <a:gd name="T43" fmla="*/ 48 h 146"/>
                <a:gd name="T44" fmla="*/ 80 w 120"/>
                <a:gd name="T45" fmla="*/ 52 h 146"/>
                <a:gd name="T46" fmla="*/ 86 w 120"/>
                <a:gd name="T47" fmla="*/ 52 h 146"/>
                <a:gd name="T48" fmla="*/ 90 w 120"/>
                <a:gd name="T49" fmla="*/ 48 h 146"/>
                <a:gd name="T50" fmla="*/ 94 w 120"/>
                <a:gd name="T51" fmla="*/ 52 h 146"/>
                <a:gd name="T52" fmla="*/ 98 w 120"/>
                <a:gd name="T53" fmla="*/ 56 h 146"/>
                <a:gd name="T54" fmla="*/ 102 w 120"/>
                <a:gd name="T55" fmla="*/ 56 h 146"/>
                <a:gd name="T56" fmla="*/ 102 w 120"/>
                <a:gd name="T57" fmla="*/ 68 h 146"/>
                <a:gd name="T58" fmla="*/ 102 w 120"/>
                <a:gd name="T59" fmla="*/ 76 h 146"/>
                <a:gd name="T60" fmla="*/ 106 w 120"/>
                <a:gd name="T61" fmla="*/ 82 h 146"/>
                <a:gd name="T62" fmla="*/ 110 w 120"/>
                <a:gd name="T63" fmla="*/ 82 h 146"/>
                <a:gd name="T64" fmla="*/ 120 w 120"/>
                <a:gd name="T65" fmla="*/ 82 h 146"/>
                <a:gd name="T66" fmla="*/ 120 w 120"/>
                <a:gd name="T67" fmla="*/ 86 h 146"/>
                <a:gd name="T68" fmla="*/ 120 w 120"/>
                <a:gd name="T69" fmla="*/ 90 h 146"/>
                <a:gd name="T70" fmla="*/ 120 w 120"/>
                <a:gd name="T71" fmla="*/ 94 h 146"/>
                <a:gd name="T72" fmla="*/ 116 w 120"/>
                <a:gd name="T73" fmla="*/ 104 h 146"/>
                <a:gd name="T74" fmla="*/ 116 w 120"/>
                <a:gd name="T75" fmla="*/ 108 h 146"/>
                <a:gd name="T76" fmla="*/ 116 w 120"/>
                <a:gd name="T77" fmla="*/ 124 h 146"/>
                <a:gd name="T78" fmla="*/ 114 w 120"/>
                <a:gd name="T79" fmla="*/ 130 h 146"/>
                <a:gd name="T80" fmla="*/ 110 w 120"/>
                <a:gd name="T81" fmla="*/ 134 h 146"/>
                <a:gd name="T82" fmla="*/ 102 w 120"/>
                <a:gd name="T83" fmla="*/ 138 h 146"/>
                <a:gd name="T84" fmla="*/ 102 w 120"/>
                <a:gd name="T85" fmla="*/ 146 h 146"/>
                <a:gd name="T86" fmla="*/ 98 w 120"/>
                <a:gd name="T87" fmla="*/ 142 h 146"/>
                <a:gd name="T88" fmla="*/ 90 w 120"/>
                <a:gd name="T89" fmla="*/ 146 h 146"/>
                <a:gd name="T90" fmla="*/ 90 w 120"/>
                <a:gd name="T91" fmla="*/ 146 h 146"/>
                <a:gd name="T92" fmla="*/ 86 w 120"/>
                <a:gd name="T93" fmla="*/ 146 h 146"/>
                <a:gd name="T94" fmla="*/ 84 w 120"/>
                <a:gd name="T95" fmla="*/ 146 h 146"/>
                <a:gd name="T96" fmla="*/ 80 w 120"/>
                <a:gd name="T97" fmla="*/ 146 h 146"/>
                <a:gd name="T98" fmla="*/ 76 w 120"/>
                <a:gd name="T99" fmla="*/ 146 h 146"/>
                <a:gd name="T100" fmla="*/ 72 w 120"/>
                <a:gd name="T101" fmla="*/ 142 h 146"/>
                <a:gd name="T102" fmla="*/ 60 w 120"/>
                <a:gd name="T103" fmla="*/ 142 h 146"/>
                <a:gd name="T104" fmla="*/ 56 w 120"/>
                <a:gd name="T105" fmla="*/ 138 h 146"/>
                <a:gd name="T106" fmla="*/ 64 w 120"/>
                <a:gd name="T107" fmla="*/ 134 h 146"/>
                <a:gd name="T108" fmla="*/ 64 w 120"/>
                <a:gd name="T109" fmla="*/ 124 h 146"/>
                <a:gd name="T110" fmla="*/ 68 w 120"/>
                <a:gd name="T111" fmla="*/ 116 h 146"/>
                <a:gd name="T112" fmla="*/ 76 w 120"/>
                <a:gd name="T113" fmla="*/ 10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 h="146">
                  <a:moveTo>
                    <a:pt x="72" y="104"/>
                  </a:moveTo>
                  <a:lnTo>
                    <a:pt x="72" y="104"/>
                  </a:lnTo>
                  <a:lnTo>
                    <a:pt x="72" y="104"/>
                  </a:lnTo>
                  <a:lnTo>
                    <a:pt x="72" y="104"/>
                  </a:lnTo>
                  <a:lnTo>
                    <a:pt x="72" y="104"/>
                  </a:lnTo>
                  <a:lnTo>
                    <a:pt x="68" y="102"/>
                  </a:lnTo>
                  <a:lnTo>
                    <a:pt x="68" y="102"/>
                  </a:lnTo>
                  <a:lnTo>
                    <a:pt x="68" y="102"/>
                  </a:lnTo>
                  <a:lnTo>
                    <a:pt x="68" y="102"/>
                  </a:lnTo>
                  <a:lnTo>
                    <a:pt x="68" y="102"/>
                  </a:lnTo>
                  <a:lnTo>
                    <a:pt x="64" y="102"/>
                  </a:lnTo>
                  <a:lnTo>
                    <a:pt x="64" y="102"/>
                  </a:lnTo>
                  <a:lnTo>
                    <a:pt x="64" y="102"/>
                  </a:lnTo>
                  <a:lnTo>
                    <a:pt x="64" y="102"/>
                  </a:lnTo>
                  <a:lnTo>
                    <a:pt x="60" y="98"/>
                  </a:lnTo>
                  <a:lnTo>
                    <a:pt x="60" y="98"/>
                  </a:lnTo>
                  <a:lnTo>
                    <a:pt x="60" y="98"/>
                  </a:lnTo>
                  <a:lnTo>
                    <a:pt x="60" y="98"/>
                  </a:lnTo>
                  <a:lnTo>
                    <a:pt x="56" y="98"/>
                  </a:lnTo>
                  <a:lnTo>
                    <a:pt x="56" y="98"/>
                  </a:lnTo>
                  <a:lnTo>
                    <a:pt x="56" y="98"/>
                  </a:lnTo>
                  <a:lnTo>
                    <a:pt x="54" y="94"/>
                  </a:lnTo>
                  <a:lnTo>
                    <a:pt x="54" y="94"/>
                  </a:lnTo>
                  <a:lnTo>
                    <a:pt x="54" y="94"/>
                  </a:lnTo>
                  <a:lnTo>
                    <a:pt x="54" y="94"/>
                  </a:lnTo>
                  <a:lnTo>
                    <a:pt x="54" y="94"/>
                  </a:lnTo>
                  <a:lnTo>
                    <a:pt x="50" y="94"/>
                  </a:lnTo>
                  <a:lnTo>
                    <a:pt x="50" y="90"/>
                  </a:lnTo>
                  <a:lnTo>
                    <a:pt x="50" y="90"/>
                  </a:lnTo>
                  <a:lnTo>
                    <a:pt x="50" y="90"/>
                  </a:lnTo>
                  <a:lnTo>
                    <a:pt x="46" y="90"/>
                  </a:lnTo>
                  <a:lnTo>
                    <a:pt x="46" y="90"/>
                  </a:lnTo>
                  <a:lnTo>
                    <a:pt x="46" y="86"/>
                  </a:lnTo>
                  <a:lnTo>
                    <a:pt x="38" y="82"/>
                  </a:lnTo>
                  <a:lnTo>
                    <a:pt x="38" y="82"/>
                  </a:lnTo>
                  <a:lnTo>
                    <a:pt x="38" y="82"/>
                  </a:lnTo>
                  <a:lnTo>
                    <a:pt x="38" y="82"/>
                  </a:lnTo>
                  <a:lnTo>
                    <a:pt x="38" y="82"/>
                  </a:lnTo>
                  <a:lnTo>
                    <a:pt x="38" y="82"/>
                  </a:lnTo>
                  <a:lnTo>
                    <a:pt x="38" y="82"/>
                  </a:lnTo>
                  <a:lnTo>
                    <a:pt x="34" y="82"/>
                  </a:lnTo>
                  <a:lnTo>
                    <a:pt x="34" y="82"/>
                  </a:lnTo>
                  <a:lnTo>
                    <a:pt x="30" y="82"/>
                  </a:lnTo>
                  <a:lnTo>
                    <a:pt x="30" y="82"/>
                  </a:lnTo>
                  <a:lnTo>
                    <a:pt x="30" y="82"/>
                  </a:lnTo>
                  <a:lnTo>
                    <a:pt x="30" y="78"/>
                  </a:lnTo>
                  <a:lnTo>
                    <a:pt x="26" y="78"/>
                  </a:lnTo>
                  <a:lnTo>
                    <a:pt x="26" y="78"/>
                  </a:lnTo>
                  <a:lnTo>
                    <a:pt x="26" y="78"/>
                  </a:lnTo>
                  <a:lnTo>
                    <a:pt x="24" y="78"/>
                  </a:lnTo>
                  <a:lnTo>
                    <a:pt x="24" y="78"/>
                  </a:lnTo>
                  <a:lnTo>
                    <a:pt x="24" y="78"/>
                  </a:lnTo>
                  <a:lnTo>
                    <a:pt x="24" y="76"/>
                  </a:lnTo>
                  <a:lnTo>
                    <a:pt x="24" y="76"/>
                  </a:lnTo>
                  <a:lnTo>
                    <a:pt x="20" y="76"/>
                  </a:lnTo>
                  <a:lnTo>
                    <a:pt x="20" y="72"/>
                  </a:lnTo>
                  <a:lnTo>
                    <a:pt x="20" y="72"/>
                  </a:lnTo>
                  <a:lnTo>
                    <a:pt x="16" y="72"/>
                  </a:lnTo>
                  <a:lnTo>
                    <a:pt x="16" y="72"/>
                  </a:lnTo>
                  <a:lnTo>
                    <a:pt x="16" y="72"/>
                  </a:lnTo>
                  <a:lnTo>
                    <a:pt x="16" y="68"/>
                  </a:lnTo>
                  <a:lnTo>
                    <a:pt x="16" y="68"/>
                  </a:lnTo>
                  <a:lnTo>
                    <a:pt x="16" y="68"/>
                  </a:lnTo>
                  <a:lnTo>
                    <a:pt x="12" y="68"/>
                  </a:lnTo>
                  <a:lnTo>
                    <a:pt x="12" y="68"/>
                  </a:lnTo>
                  <a:lnTo>
                    <a:pt x="12" y="68"/>
                  </a:lnTo>
                  <a:lnTo>
                    <a:pt x="12" y="64"/>
                  </a:lnTo>
                  <a:lnTo>
                    <a:pt x="12" y="64"/>
                  </a:lnTo>
                  <a:lnTo>
                    <a:pt x="12" y="64"/>
                  </a:lnTo>
                  <a:lnTo>
                    <a:pt x="12" y="64"/>
                  </a:lnTo>
                  <a:lnTo>
                    <a:pt x="12" y="64"/>
                  </a:lnTo>
                  <a:lnTo>
                    <a:pt x="8" y="60"/>
                  </a:lnTo>
                  <a:lnTo>
                    <a:pt x="8" y="60"/>
                  </a:lnTo>
                  <a:lnTo>
                    <a:pt x="8" y="56"/>
                  </a:lnTo>
                  <a:lnTo>
                    <a:pt x="8" y="56"/>
                  </a:lnTo>
                  <a:lnTo>
                    <a:pt x="8" y="56"/>
                  </a:lnTo>
                  <a:lnTo>
                    <a:pt x="8" y="56"/>
                  </a:lnTo>
                  <a:lnTo>
                    <a:pt x="8" y="56"/>
                  </a:lnTo>
                  <a:lnTo>
                    <a:pt x="4" y="56"/>
                  </a:lnTo>
                  <a:lnTo>
                    <a:pt x="4" y="56"/>
                  </a:lnTo>
                  <a:lnTo>
                    <a:pt x="4" y="56"/>
                  </a:lnTo>
                  <a:lnTo>
                    <a:pt x="4" y="52"/>
                  </a:lnTo>
                  <a:lnTo>
                    <a:pt x="0" y="52"/>
                  </a:lnTo>
                  <a:lnTo>
                    <a:pt x="0" y="52"/>
                  </a:lnTo>
                  <a:lnTo>
                    <a:pt x="0" y="52"/>
                  </a:lnTo>
                  <a:lnTo>
                    <a:pt x="0" y="48"/>
                  </a:lnTo>
                  <a:lnTo>
                    <a:pt x="4" y="46"/>
                  </a:lnTo>
                  <a:lnTo>
                    <a:pt x="4" y="42"/>
                  </a:lnTo>
                  <a:lnTo>
                    <a:pt x="4" y="42"/>
                  </a:lnTo>
                  <a:lnTo>
                    <a:pt x="4" y="42"/>
                  </a:lnTo>
                  <a:lnTo>
                    <a:pt x="4" y="38"/>
                  </a:lnTo>
                  <a:lnTo>
                    <a:pt x="8" y="30"/>
                  </a:lnTo>
                  <a:lnTo>
                    <a:pt x="8" y="30"/>
                  </a:lnTo>
                  <a:lnTo>
                    <a:pt x="8" y="26"/>
                  </a:lnTo>
                  <a:lnTo>
                    <a:pt x="8" y="26"/>
                  </a:lnTo>
                  <a:lnTo>
                    <a:pt x="8" y="22"/>
                  </a:lnTo>
                  <a:lnTo>
                    <a:pt x="8" y="22"/>
                  </a:lnTo>
                  <a:lnTo>
                    <a:pt x="8" y="18"/>
                  </a:lnTo>
                  <a:lnTo>
                    <a:pt x="8" y="18"/>
                  </a:lnTo>
                  <a:lnTo>
                    <a:pt x="12" y="12"/>
                  </a:lnTo>
                  <a:lnTo>
                    <a:pt x="12" y="12"/>
                  </a:lnTo>
                  <a:lnTo>
                    <a:pt x="16" y="8"/>
                  </a:lnTo>
                  <a:lnTo>
                    <a:pt x="16" y="4"/>
                  </a:lnTo>
                  <a:lnTo>
                    <a:pt x="16" y="4"/>
                  </a:lnTo>
                  <a:lnTo>
                    <a:pt x="20" y="4"/>
                  </a:lnTo>
                  <a:lnTo>
                    <a:pt x="26" y="4"/>
                  </a:lnTo>
                  <a:lnTo>
                    <a:pt x="30" y="4"/>
                  </a:lnTo>
                  <a:lnTo>
                    <a:pt x="30" y="0"/>
                  </a:lnTo>
                  <a:lnTo>
                    <a:pt x="34" y="0"/>
                  </a:lnTo>
                  <a:lnTo>
                    <a:pt x="38" y="0"/>
                  </a:lnTo>
                  <a:lnTo>
                    <a:pt x="38" y="0"/>
                  </a:lnTo>
                  <a:lnTo>
                    <a:pt x="38" y="0"/>
                  </a:lnTo>
                  <a:lnTo>
                    <a:pt x="46" y="0"/>
                  </a:lnTo>
                  <a:lnTo>
                    <a:pt x="46" y="0"/>
                  </a:lnTo>
                  <a:lnTo>
                    <a:pt x="54" y="0"/>
                  </a:lnTo>
                  <a:lnTo>
                    <a:pt x="54" y="0"/>
                  </a:lnTo>
                  <a:lnTo>
                    <a:pt x="56" y="4"/>
                  </a:lnTo>
                  <a:lnTo>
                    <a:pt x="60" y="4"/>
                  </a:lnTo>
                  <a:lnTo>
                    <a:pt x="64" y="8"/>
                  </a:lnTo>
                  <a:lnTo>
                    <a:pt x="64" y="8"/>
                  </a:lnTo>
                  <a:lnTo>
                    <a:pt x="64" y="8"/>
                  </a:lnTo>
                  <a:lnTo>
                    <a:pt x="64" y="12"/>
                  </a:lnTo>
                  <a:lnTo>
                    <a:pt x="64" y="12"/>
                  </a:lnTo>
                  <a:lnTo>
                    <a:pt x="64" y="16"/>
                  </a:lnTo>
                  <a:lnTo>
                    <a:pt x="64" y="16"/>
                  </a:lnTo>
                  <a:lnTo>
                    <a:pt x="64" y="16"/>
                  </a:lnTo>
                  <a:lnTo>
                    <a:pt x="64" y="16"/>
                  </a:lnTo>
                  <a:lnTo>
                    <a:pt x="68" y="18"/>
                  </a:lnTo>
                  <a:lnTo>
                    <a:pt x="68" y="18"/>
                  </a:lnTo>
                  <a:lnTo>
                    <a:pt x="68" y="18"/>
                  </a:lnTo>
                  <a:lnTo>
                    <a:pt x="68" y="22"/>
                  </a:lnTo>
                  <a:lnTo>
                    <a:pt x="68" y="22"/>
                  </a:lnTo>
                  <a:lnTo>
                    <a:pt x="68" y="22"/>
                  </a:lnTo>
                  <a:lnTo>
                    <a:pt x="68" y="22"/>
                  </a:lnTo>
                  <a:lnTo>
                    <a:pt x="68" y="26"/>
                  </a:lnTo>
                  <a:lnTo>
                    <a:pt x="68" y="26"/>
                  </a:lnTo>
                  <a:lnTo>
                    <a:pt x="72" y="30"/>
                  </a:lnTo>
                  <a:lnTo>
                    <a:pt x="68" y="34"/>
                  </a:lnTo>
                  <a:lnTo>
                    <a:pt x="68" y="38"/>
                  </a:lnTo>
                  <a:lnTo>
                    <a:pt x="68" y="38"/>
                  </a:lnTo>
                  <a:lnTo>
                    <a:pt x="68" y="38"/>
                  </a:lnTo>
                  <a:lnTo>
                    <a:pt x="68" y="38"/>
                  </a:lnTo>
                  <a:lnTo>
                    <a:pt x="68" y="42"/>
                  </a:lnTo>
                  <a:lnTo>
                    <a:pt x="68" y="42"/>
                  </a:lnTo>
                  <a:lnTo>
                    <a:pt x="68" y="42"/>
                  </a:lnTo>
                  <a:lnTo>
                    <a:pt x="68" y="46"/>
                  </a:lnTo>
                  <a:lnTo>
                    <a:pt x="68" y="48"/>
                  </a:lnTo>
                  <a:lnTo>
                    <a:pt x="68" y="48"/>
                  </a:lnTo>
                  <a:lnTo>
                    <a:pt x="68" y="48"/>
                  </a:lnTo>
                  <a:lnTo>
                    <a:pt x="68" y="48"/>
                  </a:lnTo>
                  <a:lnTo>
                    <a:pt x="68" y="48"/>
                  </a:lnTo>
                  <a:lnTo>
                    <a:pt x="72" y="48"/>
                  </a:lnTo>
                  <a:lnTo>
                    <a:pt x="72" y="48"/>
                  </a:lnTo>
                  <a:lnTo>
                    <a:pt x="72" y="48"/>
                  </a:lnTo>
                  <a:lnTo>
                    <a:pt x="72" y="48"/>
                  </a:lnTo>
                  <a:lnTo>
                    <a:pt x="72" y="48"/>
                  </a:lnTo>
                  <a:lnTo>
                    <a:pt x="76" y="52"/>
                  </a:lnTo>
                  <a:lnTo>
                    <a:pt x="76" y="52"/>
                  </a:lnTo>
                  <a:lnTo>
                    <a:pt x="80" y="52"/>
                  </a:lnTo>
                  <a:lnTo>
                    <a:pt x="80" y="52"/>
                  </a:lnTo>
                  <a:lnTo>
                    <a:pt x="80" y="52"/>
                  </a:lnTo>
                  <a:lnTo>
                    <a:pt x="84" y="52"/>
                  </a:lnTo>
                  <a:lnTo>
                    <a:pt x="84" y="52"/>
                  </a:lnTo>
                  <a:lnTo>
                    <a:pt x="84" y="52"/>
                  </a:lnTo>
                  <a:lnTo>
                    <a:pt x="86" y="52"/>
                  </a:lnTo>
                  <a:lnTo>
                    <a:pt x="86" y="52"/>
                  </a:lnTo>
                  <a:lnTo>
                    <a:pt x="86" y="52"/>
                  </a:lnTo>
                  <a:lnTo>
                    <a:pt x="86" y="52"/>
                  </a:lnTo>
                  <a:lnTo>
                    <a:pt x="86" y="52"/>
                  </a:lnTo>
                  <a:lnTo>
                    <a:pt x="86" y="48"/>
                  </a:lnTo>
                  <a:lnTo>
                    <a:pt x="86" y="48"/>
                  </a:lnTo>
                  <a:lnTo>
                    <a:pt x="86" y="48"/>
                  </a:lnTo>
                  <a:lnTo>
                    <a:pt x="86" y="48"/>
                  </a:lnTo>
                  <a:lnTo>
                    <a:pt x="90" y="48"/>
                  </a:lnTo>
                  <a:lnTo>
                    <a:pt x="90" y="48"/>
                  </a:lnTo>
                  <a:lnTo>
                    <a:pt x="90" y="48"/>
                  </a:lnTo>
                  <a:lnTo>
                    <a:pt x="90" y="48"/>
                  </a:lnTo>
                  <a:lnTo>
                    <a:pt x="90" y="48"/>
                  </a:lnTo>
                  <a:lnTo>
                    <a:pt x="90" y="48"/>
                  </a:lnTo>
                  <a:lnTo>
                    <a:pt x="90" y="52"/>
                  </a:lnTo>
                  <a:lnTo>
                    <a:pt x="94" y="52"/>
                  </a:lnTo>
                  <a:lnTo>
                    <a:pt x="94" y="52"/>
                  </a:lnTo>
                  <a:lnTo>
                    <a:pt x="94" y="52"/>
                  </a:lnTo>
                  <a:lnTo>
                    <a:pt x="94" y="52"/>
                  </a:lnTo>
                  <a:lnTo>
                    <a:pt x="98" y="52"/>
                  </a:lnTo>
                  <a:lnTo>
                    <a:pt x="98" y="52"/>
                  </a:lnTo>
                  <a:lnTo>
                    <a:pt x="98" y="52"/>
                  </a:lnTo>
                  <a:lnTo>
                    <a:pt x="98" y="56"/>
                  </a:lnTo>
                  <a:lnTo>
                    <a:pt x="98" y="56"/>
                  </a:lnTo>
                  <a:lnTo>
                    <a:pt x="98" y="56"/>
                  </a:lnTo>
                  <a:lnTo>
                    <a:pt x="98" y="56"/>
                  </a:lnTo>
                  <a:lnTo>
                    <a:pt x="102" y="56"/>
                  </a:lnTo>
                  <a:lnTo>
                    <a:pt x="102" y="56"/>
                  </a:lnTo>
                  <a:lnTo>
                    <a:pt x="102" y="56"/>
                  </a:lnTo>
                  <a:lnTo>
                    <a:pt x="102" y="56"/>
                  </a:lnTo>
                  <a:lnTo>
                    <a:pt x="102" y="56"/>
                  </a:lnTo>
                  <a:lnTo>
                    <a:pt x="102" y="60"/>
                  </a:lnTo>
                  <a:lnTo>
                    <a:pt x="102" y="60"/>
                  </a:lnTo>
                  <a:lnTo>
                    <a:pt x="102" y="60"/>
                  </a:lnTo>
                  <a:lnTo>
                    <a:pt x="102" y="60"/>
                  </a:lnTo>
                  <a:lnTo>
                    <a:pt x="102" y="64"/>
                  </a:lnTo>
                  <a:lnTo>
                    <a:pt x="102" y="64"/>
                  </a:lnTo>
                  <a:lnTo>
                    <a:pt x="102" y="68"/>
                  </a:lnTo>
                  <a:lnTo>
                    <a:pt x="102" y="68"/>
                  </a:lnTo>
                  <a:lnTo>
                    <a:pt x="102" y="72"/>
                  </a:lnTo>
                  <a:lnTo>
                    <a:pt x="102" y="72"/>
                  </a:lnTo>
                  <a:lnTo>
                    <a:pt x="102" y="72"/>
                  </a:lnTo>
                  <a:lnTo>
                    <a:pt x="102" y="72"/>
                  </a:lnTo>
                  <a:lnTo>
                    <a:pt x="102" y="76"/>
                  </a:lnTo>
                  <a:lnTo>
                    <a:pt x="102" y="76"/>
                  </a:lnTo>
                  <a:lnTo>
                    <a:pt x="102" y="76"/>
                  </a:lnTo>
                  <a:lnTo>
                    <a:pt x="106" y="76"/>
                  </a:lnTo>
                  <a:lnTo>
                    <a:pt x="106" y="78"/>
                  </a:lnTo>
                  <a:lnTo>
                    <a:pt x="106" y="78"/>
                  </a:lnTo>
                  <a:lnTo>
                    <a:pt x="106" y="78"/>
                  </a:lnTo>
                  <a:lnTo>
                    <a:pt x="106" y="78"/>
                  </a:lnTo>
                  <a:lnTo>
                    <a:pt x="106" y="82"/>
                  </a:lnTo>
                  <a:lnTo>
                    <a:pt x="106" y="82"/>
                  </a:lnTo>
                  <a:lnTo>
                    <a:pt x="106" y="82"/>
                  </a:lnTo>
                  <a:lnTo>
                    <a:pt x="106" y="82"/>
                  </a:lnTo>
                  <a:lnTo>
                    <a:pt x="106" y="82"/>
                  </a:lnTo>
                  <a:lnTo>
                    <a:pt x="110" y="82"/>
                  </a:lnTo>
                  <a:lnTo>
                    <a:pt x="110" y="82"/>
                  </a:lnTo>
                  <a:lnTo>
                    <a:pt x="110" y="82"/>
                  </a:lnTo>
                  <a:lnTo>
                    <a:pt x="110" y="82"/>
                  </a:lnTo>
                  <a:lnTo>
                    <a:pt x="114" y="82"/>
                  </a:lnTo>
                  <a:lnTo>
                    <a:pt x="114" y="82"/>
                  </a:lnTo>
                  <a:lnTo>
                    <a:pt x="114" y="82"/>
                  </a:lnTo>
                  <a:lnTo>
                    <a:pt x="116" y="78"/>
                  </a:lnTo>
                  <a:lnTo>
                    <a:pt x="116" y="78"/>
                  </a:lnTo>
                  <a:lnTo>
                    <a:pt x="120" y="82"/>
                  </a:lnTo>
                  <a:lnTo>
                    <a:pt x="120" y="82"/>
                  </a:lnTo>
                  <a:lnTo>
                    <a:pt x="120" y="82"/>
                  </a:lnTo>
                  <a:lnTo>
                    <a:pt x="120" y="82"/>
                  </a:lnTo>
                  <a:lnTo>
                    <a:pt x="120" y="82"/>
                  </a:lnTo>
                  <a:lnTo>
                    <a:pt x="120" y="86"/>
                  </a:lnTo>
                  <a:lnTo>
                    <a:pt x="120" y="86"/>
                  </a:lnTo>
                  <a:lnTo>
                    <a:pt x="120" y="86"/>
                  </a:lnTo>
                  <a:lnTo>
                    <a:pt x="120" y="86"/>
                  </a:lnTo>
                  <a:lnTo>
                    <a:pt x="120" y="86"/>
                  </a:lnTo>
                  <a:lnTo>
                    <a:pt x="120" y="86"/>
                  </a:lnTo>
                  <a:lnTo>
                    <a:pt x="120" y="90"/>
                  </a:lnTo>
                  <a:lnTo>
                    <a:pt x="120" y="90"/>
                  </a:lnTo>
                  <a:lnTo>
                    <a:pt x="120" y="90"/>
                  </a:lnTo>
                  <a:lnTo>
                    <a:pt x="120" y="90"/>
                  </a:lnTo>
                  <a:lnTo>
                    <a:pt x="120" y="90"/>
                  </a:lnTo>
                  <a:lnTo>
                    <a:pt x="120" y="90"/>
                  </a:lnTo>
                  <a:lnTo>
                    <a:pt x="120" y="94"/>
                  </a:lnTo>
                  <a:lnTo>
                    <a:pt x="120" y="94"/>
                  </a:lnTo>
                  <a:lnTo>
                    <a:pt x="120" y="94"/>
                  </a:lnTo>
                  <a:lnTo>
                    <a:pt x="120" y="94"/>
                  </a:lnTo>
                  <a:lnTo>
                    <a:pt x="120" y="94"/>
                  </a:lnTo>
                  <a:lnTo>
                    <a:pt x="120" y="94"/>
                  </a:lnTo>
                  <a:lnTo>
                    <a:pt x="120" y="98"/>
                  </a:lnTo>
                  <a:lnTo>
                    <a:pt x="120" y="98"/>
                  </a:lnTo>
                  <a:lnTo>
                    <a:pt x="116" y="102"/>
                  </a:lnTo>
                  <a:lnTo>
                    <a:pt x="116" y="102"/>
                  </a:lnTo>
                  <a:lnTo>
                    <a:pt x="116" y="102"/>
                  </a:lnTo>
                  <a:lnTo>
                    <a:pt x="116" y="104"/>
                  </a:lnTo>
                  <a:lnTo>
                    <a:pt x="116" y="104"/>
                  </a:lnTo>
                  <a:lnTo>
                    <a:pt x="116" y="104"/>
                  </a:lnTo>
                  <a:lnTo>
                    <a:pt x="116" y="104"/>
                  </a:lnTo>
                  <a:lnTo>
                    <a:pt x="116" y="104"/>
                  </a:lnTo>
                  <a:lnTo>
                    <a:pt x="116" y="108"/>
                  </a:lnTo>
                  <a:lnTo>
                    <a:pt x="116" y="108"/>
                  </a:lnTo>
                  <a:lnTo>
                    <a:pt x="116" y="108"/>
                  </a:lnTo>
                  <a:lnTo>
                    <a:pt x="116" y="112"/>
                  </a:lnTo>
                  <a:lnTo>
                    <a:pt x="116" y="112"/>
                  </a:lnTo>
                  <a:lnTo>
                    <a:pt x="116" y="116"/>
                  </a:lnTo>
                  <a:lnTo>
                    <a:pt x="116" y="116"/>
                  </a:lnTo>
                  <a:lnTo>
                    <a:pt x="116" y="120"/>
                  </a:lnTo>
                  <a:lnTo>
                    <a:pt x="116" y="120"/>
                  </a:lnTo>
                  <a:lnTo>
                    <a:pt x="116" y="124"/>
                  </a:lnTo>
                  <a:lnTo>
                    <a:pt x="116" y="124"/>
                  </a:lnTo>
                  <a:lnTo>
                    <a:pt x="116" y="124"/>
                  </a:lnTo>
                  <a:lnTo>
                    <a:pt x="116" y="124"/>
                  </a:lnTo>
                  <a:lnTo>
                    <a:pt x="114" y="126"/>
                  </a:lnTo>
                  <a:lnTo>
                    <a:pt x="114" y="130"/>
                  </a:lnTo>
                  <a:lnTo>
                    <a:pt x="114" y="130"/>
                  </a:lnTo>
                  <a:lnTo>
                    <a:pt x="114" y="130"/>
                  </a:lnTo>
                  <a:lnTo>
                    <a:pt x="114" y="130"/>
                  </a:lnTo>
                  <a:lnTo>
                    <a:pt x="114" y="130"/>
                  </a:lnTo>
                  <a:lnTo>
                    <a:pt x="110" y="130"/>
                  </a:lnTo>
                  <a:lnTo>
                    <a:pt x="110" y="130"/>
                  </a:lnTo>
                  <a:lnTo>
                    <a:pt x="110" y="134"/>
                  </a:lnTo>
                  <a:lnTo>
                    <a:pt x="110" y="134"/>
                  </a:lnTo>
                  <a:lnTo>
                    <a:pt x="110" y="134"/>
                  </a:lnTo>
                  <a:lnTo>
                    <a:pt x="110" y="134"/>
                  </a:lnTo>
                  <a:lnTo>
                    <a:pt x="106" y="134"/>
                  </a:lnTo>
                  <a:lnTo>
                    <a:pt x="106" y="134"/>
                  </a:lnTo>
                  <a:lnTo>
                    <a:pt x="106" y="134"/>
                  </a:lnTo>
                  <a:lnTo>
                    <a:pt x="106" y="134"/>
                  </a:lnTo>
                  <a:lnTo>
                    <a:pt x="106" y="134"/>
                  </a:lnTo>
                  <a:lnTo>
                    <a:pt x="102" y="138"/>
                  </a:lnTo>
                  <a:lnTo>
                    <a:pt x="102" y="138"/>
                  </a:lnTo>
                  <a:lnTo>
                    <a:pt x="102" y="142"/>
                  </a:lnTo>
                  <a:lnTo>
                    <a:pt x="102" y="142"/>
                  </a:lnTo>
                  <a:lnTo>
                    <a:pt x="102" y="142"/>
                  </a:lnTo>
                  <a:lnTo>
                    <a:pt x="102" y="142"/>
                  </a:lnTo>
                  <a:lnTo>
                    <a:pt x="102" y="142"/>
                  </a:lnTo>
                  <a:lnTo>
                    <a:pt x="102" y="146"/>
                  </a:lnTo>
                  <a:lnTo>
                    <a:pt x="98" y="146"/>
                  </a:lnTo>
                  <a:lnTo>
                    <a:pt x="98" y="142"/>
                  </a:lnTo>
                  <a:lnTo>
                    <a:pt x="98" y="142"/>
                  </a:lnTo>
                  <a:lnTo>
                    <a:pt x="98" y="142"/>
                  </a:lnTo>
                  <a:lnTo>
                    <a:pt x="98" y="142"/>
                  </a:lnTo>
                  <a:lnTo>
                    <a:pt x="98" y="142"/>
                  </a:lnTo>
                  <a:lnTo>
                    <a:pt x="98" y="142"/>
                  </a:lnTo>
                  <a:lnTo>
                    <a:pt x="94" y="142"/>
                  </a:lnTo>
                  <a:lnTo>
                    <a:pt x="94" y="142"/>
                  </a:lnTo>
                  <a:lnTo>
                    <a:pt x="94" y="142"/>
                  </a:lnTo>
                  <a:lnTo>
                    <a:pt x="94" y="142"/>
                  </a:lnTo>
                  <a:lnTo>
                    <a:pt x="90" y="142"/>
                  </a:lnTo>
                  <a:lnTo>
                    <a:pt x="90" y="146"/>
                  </a:lnTo>
                  <a:lnTo>
                    <a:pt x="90" y="146"/>
                  </a:lnTo>
                  <a:lnTo>
                    <a:pt x="90" y="146"/>
                  </a:lnTo>
                  <a:lnTo>
                    <a:pt x="90" y="146"/>
                  </a:lnTo>
                  <a:lnTo>
                    <a:pt x="90" y="146"/>
                  </a:lnTo>
                  <a:lnTo>
                    <a:pt x="90" y="146"/>
                  </a:lnTo>
                  <a:lnTo>
                    <a:pt x="90" y="146"/>
                  </a:lnTo>
                  <a:lnTo>
                    <a:pt x="90" y="146"/>
                  </a:lnTo>
                  <a:lnTo>
                    <a:pt x="90" y="146"/>
                  </a:lnTo>
                  <a:lnTo>
                    <a:pt x="90" y="146"/>
                  </a:lnTo>
                  <a:lnTo>
                    <a:pt x="90" y="146"/>
                  </a:lnTo>
                  <a:lnTo>
                    <a:pt x="86" y="146"/>
                  </a:lnTo>
                  <a:lnTo>
                    <a:pt x="86" y="146"/>
                  </a:lnTo>
                  <a:lnTo>
                    <a:pt x="86" y="146"/>
                  </a:lnTo>
                  <a:lnTo>
                    <a:pt x="86" y="146"/>
                  </a:lnTo>
                  <a:lnTo>
                    <a:pt x="86" y="146"/>
                  </a:lnTo>
                  <a:lnTo>
                    <a:pt x="86" y="146"/>
                  </a:lnTo>
                  <a:lnTo>
                    <a:pt x="86" y="146"/>
                  </a:lnTo>
                  <a:lnTo>
                    <a:pt x="86" y="146"/>
                  </a:lnTo>
                  <a:lnTo>
                    <a:pt x="86" y="146"/>
                  </a:lnTo>
                  <a:lnTo>
                    <a:pt x="84" y="146"/>
                  </a:lnTo>
                  <a:lnTo>
                    <a:pt x="84" y="146"/>
                  </a:lnTo>
                  <a:lnTo>
                    <a:pt x="84" y="146"/>
                  </a:lnTo>
                  <a:lnTo>
                    <a:pt x="84" y="146"/>
                  </a:lnTo>
                  <a:lnTo>
                    <a:pt x="84" y="146"/>
                  </a:lnTo>
                  <a:lnTo>
                    <a:pt x="84" y="146"/>
                  </a:lnTo>
                  <a:lnTo>
                    <a:pt x="84" y="146"/>
                  </a:lnTo>
                  <a:lnTo>
                    <a:pt x="84" y="146"/>
                  </a:lnTo>
                  <a:lnTo>
                    <a:pt x="84" y="146"/>
                  </a:lnTo>
                  <a:lnTo>
                    <a:pt x="80" y="146"/>
                  </a:lnTo>
                  <a:lnTo>
                    <a:pt x="80" y="146"/>
                  </a:lnTo>
                  <a:lnTo>
                    <a:pt x="80" y="146"/>
                  </a:lnTo>
                  <a:lnTo>
                    <a:pt x="80" y="146"/>
                  </a:lnTo>
                  <a:lnTo>
                    <a:pt x="80" y="146"/>
                  </a:lnTo>
                  <a:lnTo>
                    <a:pt x="80" y="146"/>
                  </a:lnTo>
                  <a:lnTo>
                    <a:pt x="80" y="146"/>
                  </a:lnTo>
                  <a:lnTo>
                    <a:pt x="76" y="146"/>
                  </a:lnTo>
                  <a:lnTo>
                    <a:pt x="76" y="146"/>
                  </a:lnTo>
                  <a:lnTo>
                    <a:pt x="76" y="146"/>
                  </a:lnTo>
                  <a:lnTo>
                    <a:pt x="72" y="142"/>
                  </a:lnTo>
                  <a:lnTo>
                    <a:pt x="72" y="142"/>
                  </a:lnTo>
                  <a:lnTo>
                    <a:pt x="72" y="142"/>
                  </a:lnTo>
                  <a:lnTo>
                    <a:pt x="72" y="142"/>
                  </a:lnTo>
                  <a:lnTo>
                    <a:pt x="72" y="142"/>
                  </a:lnTo>
                  <a:lnTo>
                    <a:pt x="72" y="142"/>
                  </a:lnTo>
                  <a:lnTo>
                    <a:pt x="68" y="142"/>
                  </a:lnTo>
                  <a:lnTo>
                    <a:pt x="68" y="142"/>
                  </a:lnTo>
                  <a:lnTo>
                    <a:pt x="64" y="142"/>
                  </a:lnTo>
                  <a:lnTo>
                    <a:pt x="64" y="142"/>
                  </a:lnTo>
                  <a:lnTo>
                    <a:pt x="60" y="142"/>
                  </a:lnTo>
                  <a:lnTo>
                    <a:pt x="60" y="142"/>
                  </a:lnTo>
                  <a:lnTo>
                    <a:pt x="60" y="142"/>
                  </a:lnTo>
                  <a:lnTo>
                    <a:pt x="60" y="142"/>
                  </a:lnTo>
                  <a:lnTo>
                    <a:pt x="60" y="142"/>
                  </a:lnTo>
                  <a:lnTo>
                    <a:pt x="60" y="142"/>
                  </a:lnTo>
                  <a:lnTo>
                    <a:pt x="60" y="142"/>
                  </a:lnTo>
                  <a:lnTo>
                    <a:pt x="56" y="138"/>
                  </a:lnTo>
                  <a:lnTo>
                    <a:pt x="56" y="138"/>
                  </a:lnTo>
                  <a:lnTo>
                    <a:pt x="60" y="138"/>
                  </a:lnTo>
                  <a:lnTo>
                    <a:pt x="60" y="138"/>
                  </a:lnTo>
                  <a:lnTo>
                    <a:pt x="60" y="138"/>
                  </a:lnTo>
                  <a:lnTo>
                    <a:pt x="60" y="134"/>
                  </a:lnTo>
                  <a:lnTo>
                    <a:pt x="60" y="134"/>
                  </a:lnTo>
                  <a:lnTo>
                    <a:pt x="64" y="134"/>
                  </a:lnTo>
                  <a:lnTo>
                    <a:pt x="64" y="134"/>
                  </a:lnTo>
                  <a:lnTo>
                    <a:pt x="64" y="130"/>
                  </a:lnTo>
                  <a:lnTo>
                    <a:pt x="64" y="130"/>
                  </a:lnTo>
                  <a:lnTo>
                    <a:pt x="64" y="126"/>
                  </a:lnTo>
                  <a:lnTo>
                    <a:pt x="64" y="126"/>
                  </a:lnTo>
                  <a:lnTo>
                    <a:pt x="64" y="126"/>
                  </a:lnTo>
                  <a:lnTo>
                    <a:pt x="64" y="124"/>
                  </a:lnTo>
                  <a:lnTo>
                    <a:pt x="64" y="124"/>
                  </a:lnTo>
                  <a:lnTo>
                    <a:pt x="64" y="124"/>
                  </a:lnTo>
                  <a:lnTo>
                    <a:pt x="68" y="120"/>
                  </a:lnTo>
                  <a:lnTo>
                    <a:pt x="68" y="120"/>
                  </a:lnTo>
                  <a:lnTo>
                    <a:pt x="68" y="120"/>
                  </a:lnTo>
                  <a:lnTo>
                    <a:pt x="68" y="120"/>
                  </a:lnTo>
                  <a:lnTo>
                    <a:pt x="68" y="116"/>
                  </a:lnTo>
                  <a:lnTo>
                    <a:pt x="68" y="116"/>
                  </a:lnTo>
                  <a:lnTo>
                    <a:pt x="72" y="116"/>
                  </a:lnTo>
                  <a:lnTo>
                    <a:pt x="72" y="116"/>
                  </a:lnTo>
                  <a:lnTo>
                    <a:pt x="72" y="116"/>
                  </a:lnTo>
                  <a:lnTo>
                    <a:pt x="72" y="112"/>
                  </a:lnTo>
                  <a:lnTo>
                    <a:pt x="76" y="112"/>
                  </a:lnTo>
                  <a:lnTo>
                    <a:pt x="76" y="108"/>
                  </a:lnTo>
                  <a:lnTo>
                    <a:pt x="76" y="108"/>
                  </a:lnTo>
                  <a:lnTo>
                    <a:pt x="72" y="108"/>
                  </a:lnTo>
                  <a:lnTo>
                    <a:pt x="72" y="108"/>
                  </a:lnTo>
                  <a:lnTo>
                    <a:pt x="72" y="104"/>
                  </a:lnTo>
                  <a:lnTo>
                    <a:pt x="72" y="104"/>
                  </a:lnTo>
                  <a:lnTo>
                    <a:pt x="72" y="104"/>
                  </a:lnTo>
                  <a:lnTo>
                    <a:pt x="72" y="10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93" name="Freeform 186"/>
            <p:cNvSpPr>
              <a:spLocks/>
            </p:cNvSpPr>
            <p:nvPr/>
          </p:nvSpPr>
          <p:spPr bwMode="auto">
            <a:xfrm>
              <a:off x="6316851" y="4161751"/>
              <a:ext cx="113037" cy="205291"/>
            </a:xfrm>
            <a:custGeom>
              <a:avLst/>
              <a:gdLst>
                <a:gd name="T0" fmla="*/ 166 w 180"/>
                <a:gd name="T1" fmla="*/ 310 h 314"/>
                <a:gd name="T2" fmla="*/ 154 w 180"/>
                <a:gd name="T3" fmla="*/ 310 h 314"/>
                <a:gd name="T4" fmla="*/ 142 w 180"/>
                <a:gd name="T5" fmla="*/ 298 h 314"/>
                <a:gd name="T6" fmla="*/ 132 w 180"/>
                <a:gd name="T7" fmla="*/ 290 h 314"/>
                <a:gd name="T8" fmla="*/ 120 w 180"/>
                <a:gd name="T9" fmla="*/ 284 h 314"/>
                <a:gd name="T10" fmla="*/ 106 w 180"/>
                <a:gd name="T11" fmla="*/ 276 h 314"/>
                <a:gd name="T12" fmla="*/ 94 w 180"/>
                <a:gd name="T13" fmla="*/ 264 h 314"/>
                <a:gd name="T14" fmla="*/ 82 w 180"/>
                <a:gd name="T15" fmla="*/ 254 h 314"/>
                <a:gd name="T16" fmla="*/ 76 w 180"/>
                <a:gd name="T17" fmla="*/ 238 h 314"/>
                <a:gd name="T18" fmla="*/ 76 w 180"/>
                <a:gd name="T19" fmla="*/ 230 h 314"/>
                <a:gd name="T20" fmla="*/ 68 w 180"/>
                <a:gd name="T21" fmla="*/ 212 h 314"/>
                <a:gd name="T22" fmla="*/ 60 w 180"/>
                <a:gd name="T23" fmla="*/ 200 h 314"/>
                <a:gd name="T24" fmla="*/ 54 w 180"/>
                <a:gd name="T25" fmla="*/ 186 h 314"/>
                <a:gd name="T26" fmla="*/ 46 w 180"/>
                <a:gd name="T27" fmla="*/ 168 h 314"/>
                <a:gd name="T28" fmla="*/ 38 w 180"/>
                <a:gd name="T29" fmla="*/ 152 h 314"/>
                <a:gd name="T30" fmla="*/ 34 w 180"/>
                <a:gd name="T31" fmla="*/ 138 h 314"/>
                <a:gd name="T32" fmla="*/ 26 w 180"/>
                <a:gd name="T33" fmla="*/ 126 h 314"/>
                <a:gd name="T34" fmla="*/ 20 w 180"/>
                <a:gd name="T35" fmla="*/ 114 h 314"/>
                <a:gd name="T36" fmla="*/ 12 w 180"/>
                <a:gd name="T37" fmla="*/ 104 h 314"/>
                <a:gd name="T38" fmla="*/ 8 w 180"/>
                <a:gd name="T39" fmla="*/ 96 h 314"/>
                <a:gd name="T40" fmla="*/ 4 w 180"/>
                <a:gd name="T41" fmla="*/ 82 h 314"/>
                <a:gd name="T42" fmla="*/ 4 w 180"/>
                <a:gd name="T43" fmla="*/ 66 h 314"/>
                <a:gd name="T44" fmla="*/ 16 w 180"/>
                <a:gd name="T45" fmla="*/ 56 h 314"/>
                <a:gd name="T46" fmla="*/ 16 w 180"/>
                <a:gd name="T47" fmla="*/ 74 h 314"/>
                <a:gd name="T48" fmla="*/ 26 w 180"/>
                <a:gd name="T49" fmla="*/ 74 h 314"/>
                <a:gd name="T50" fmla="*/ 38 w 180"/>
                <a:gd name="T51" fmla="*/ 78 h 314"/>
                <a:gd name="T52" fmla="*/ 42 w 180"/>
                <a:gd name="T53" fmla="*/ 70 h 314"/>
                <a:gd name="T54" fmla="*/ 46 w 180"/>
                <a:gd name="T55" fmla="*/ 56 h 314"/>
                <a:gd name="T56" fmla="*/ 50 w 180"/>
                <a:gd name="T57" fmla="*/ 48 h 314"/>
                <a:gd name="T58" fmla="*/ 68 w 180"/>
                <a:gd name="T59" fmla="*/ 42 h 314"/>
                <a:gd name="T60" fmla="*/ 82 w 180"/>
                <a:gd name="T61" fmla="*/ 26 h 314"/>
                <a:gd name="T62" fmla="*/ 86 w 180"/>
                <a:gd name="T63" fmla="*/ 12 h 314"/>
                <a:gd name="T64" fmla="*/ 90 w 180"/>
                <a:gd name="T65" fmla="*/ 0 h 314"/>
                <a:gd name="T66" fmla="*/ 98 w 180"/>
                <a:gd name="T67" fmla="*/ 4 h 314"/>
                <a:gd name="T68" fmla="*/ 110 w 180"/>
                <a:gd name="T69" fmla="*/ 18 h 314"/>
                <a:gd name="T70" fmla="*/ 120 w 180"/>
                <a:gd name="T71" fmla="*/ 30 h 314"/>
                <a:gd name="T72" fmla="*/ 120 w 180"/>
                <a:gd name="T73" fmla="*/ 42 h 314"/>
                <a:gd name="T74" fmla="*/ 132 w 180"/>
                <a:gd name="T75" fmla="*/ 42 h 314"/>
                <a:gd name="T76" fmla="*/ 142 w 180"/>
                <a:gd name="T77" fmla="*/ 38 h 314"/>
                <a:gd name="T78" fmla="*/ 158 w 180"/>
                <a:gd name="T79" fmla="*/ 42 h 314"/>
                <a:gd name="T80" fmla="*/ 154 w 180"/>
                <a:gd name="T81" fmla="*/ 62 h 314"/>
                <a:gd name="T82" fmla="*/ 162 w 180"/>
                <a:gd name="T83" fmla="*/ 70 h 314"/>
                <a:gd name="T84" fmla="*/ 150 w 180"/>
                <a:gd name="T85" fmla="*/ 70 h 314"/>
                <a:gd name="T86" fmla="*/ 140 w 180"/>
                <a:gd name="T87" fmla="*/ 74 h 314"/>
                <a:gd name="T88" fmla="*/ 128 w 180"/>
                <a:gd name="T89" fmla="*/ 82 h 314"/>
                <a:gd name="T90" fmla="*/ 120 w 180"/>
                <a:gd name="T91" fmla="*/ 96 h 314"/>
                <a:gd name="T92" fmla="*/ 116 w 180"/>
                <a:gd name="T93" fmla="*/ 108 h 314"/>
                <a:gd name="T94" fmla="*/ 110 w 180"/>
                <a:gd name="T95" fmla="*/ 122 h 314"/>
                <a:gd name="T96" fmla="*/ 112 w 180"/>
                <a:gd name="T97" fmla="*/ 134 h 314"/>
                <a:gd name="T98" fmla="*/ 120 w 180"/>
                <a:gd name="T99" fmla="*/ 148 h 314"/>
                <a:gd name="T100" fmla="*/ 120 w 180"/>
                <a:gd name="T101" fmla="*/ 160 h 314"/>
                <a:gd name="T102" fmla="*/ 132 w 180"/>
                <a:gd name="T103" fmla="*/ 168 h 314"/>
                <a:gd name="T104" fmla="*/ 150 w 180"/>
                <a:gd name="T105" fmla="*/ 168 h 314"/>
                <a:gd name="T106" fmla="*/ 154 w 180"/>
                <a:gd name="T107" fmla="*/ 172 h 314"/>
                <a:gd name="T108" fmla="*/ 158 w 180"/>
                <a:gd name="T109" fmla="*/ 186 h 314"/>
                <a:gd name="T110" fmla="*/ 172 w 180"/>
                <a:gd name="T111" fmla="*/ 194 h 314"/>
                <a:gd name="T112" fmla="*/ 180 w 180"/>
                <a:gd name="T113" fmla="*/ 208 h 314"/>
                <a:gd name="T114" fmla="*/ 176 w 180"/>
                <a:gd name="T115" fmla="*/ 224 h 314"/>
                <a:gd name="T116" fmla="*/ 180 w 180"/>
                <a:gd name="T117" fmla="*/ 238 h 314"/>
                <a:gd name="T118" fmla="*/ 172 w 180"/>
                <a:gd name="T119" fmla="*/ 254 h 314"/>
                <a:gd name="T120" fmla="*/ 172 w 180"/>
                <a:gd name="T121" fmla="*/ 264 h 314"/>
                <a:gd name="T122" fmla="*/ 176 w 180"/>
                <a:gd name="T123" fmla="*/ 280 h 314"/>
                <a:gd name="T124" fmla="*/ 168 w 180"/>
                <a:gd name="T125" fmla="*/ 29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314">
                  <a:moveTo>
                    <a:pt x="168" y="298"/>
                  </a:moveTo>
                  <a:lnTo>
                    <a:pt x="168" y="302"/>
                  </a:lnTo>
                  <a:lnTo>
                    <a:pt x="166" y="302"/>
                  </a:lnTo>
                  <a:lnTo>
                    <a:pt x="166" y="306"/>
                  </a:lnTo>
                  <a:lnTo>
                    <a:pt x="166" y="310"/>
                  </a:lnTo>
                  <a:lnTo>
                    <a:pt x="166" y="314"/>
                  </a:lnTo>
                  <a:lnTo>
                    <a:pt x="162" y="314"/>
                  </a:lnTo>
                  <a:lnTo>
                    <a:pt x="158" y="314"/>
                  </a:lnTo>
                  <a:lnTo>
                    <a:pt x="154" y="314"/>
                  </a:lnTo>
                  <a:lnTo>
                    <a:pt x="154" y="310"/>
                  </a:lnTo>
                  <a:lnTo>
                    <a:pt x="150" y="310"/>
                  </a:lnTo>
                  <a:lnTo>
                    <a:pt x="150" y="306"/>
                  </a:lnTo>
                  <a:lnTo>
                    <a:pt x="146" y="306"/>
                  </a:lnTo>
                  <a:lnTo>
                    <a:pt x="142" y="302"/>
                  </a:lnTo>
                  <a:lnTo>
                    <a:pt x="142" y="298"/>
                  </a:lnTo>
                  <a:lnTo>
                    <a:pt x="142" y="294"/>
                  </a:lnTo>
                  <a:lnTo>
                    <a:pt x="140" y="294"/>
                  </a:lnTo>
                  <a:lnTo>
                    <a:pt x="136" y="294"/>
                  </a:lnTo>
                  <a:lnTo>
                    <a:pt x="136" y="290"/>
                  </a:lnTo>
                  <a:lnTo>
                    <a:pt x="132" y="290"/>
                  </a:lnTo>
                  <a:lnTo>
                    <a:pt x="132" y="286"/>
                  </a:lnTo>
                  <a:lnTo>
                    <a:pt x="128" y="286"/>
                  </a:lnTo>
                  <a:lnTo>
                    <a:pt x="128" y="284"/>
                  </a:lnTo>
                  <a:lnTo>
                    <a:pt x="124" y="284"/>
                  </a:lnTo>
                  <a:lnTo>
                    <a:pt x="120" y="284"/>
                  </a:lnTo>
                  <a:lnTo>
                    <a:pt x="116" y="280"/>
                  </a:lnTo>
                  <a:lnTo>
                    <a:pt x="112" y="280"/>
                  </a:lnTo>
                  <a:lnTo>
                    <a:pt x="112" y="276"/>
                  </a:lnTo>
                  <a:lnTo>
                    <a:pt x="110" y="276"/>
                  </a:lnTo>
                  <a:lnTo>
                    <a:pt x="106" y="276"/>
                  </a:lnTo>
                  <a:lnTo>
                    <a:pt x="106" y="272"/>
                  </a:lnTo>
                  <a:lnTo>
                    <a:pt x="102" y="272"/>
                  </a:lnTo>
                  <a:lnTo>
                    <a:pt x="102" y="268"/>
                  </a:lnTo>
                  <a:lnTo>
                    <a:pt x="98" y="268"/>
                  </a:lnTo>
                  <a:lnTo>
                    <a:pt x="94" y="264"/>
                  </a:lnTo>
                  <a:lnTo>
                    <a:pt x="90" y="264"/>
                  </a:lnTo>
                  <a:lnTo>
                    <a:pt x="90" y="260"/>
                  </a:lnTo>
                  <a:lnTo>
                    <a:pt x="86" y="260"/>
                  </a:lnTo>
                  <a:lnTo>
                    <a:pt x="86" y="256"/>
                  </a:lnTo>
                  <a:lnTo>
                    <a:pt x="82" y="254"/>
                  </a:lnTo>
                  <a:lnTo>
                    <a:pt x="80" y="250"/>
                  </a:lnTo>
                  <a:lnTo>
                    <a:pt x="80" y="246"/>
                  </a:lnTo>
                  <a:lnTo>
                    <a:pt x="76" y="246"/>
                  </a:lnTo>
                  <a:lnTo>
                    <a:pt x="76" y="242"/>
                  </a:lnTo>
                  <a:lnTo>
                    <a:pt x="76" y="238"/>
                  </a:lnTo>
                  <a:lnTo>
                    <a:pt x="72" y="234"/>
                  </a:lnTo>
                  <a:lnTo>
                    <a:pt x="72" y="238"/>
                  </a:lnTo>
                  <a:lnTo>
                    <a:pt x="72" y="234"/>
                  </a:lnTo>
                  <a:lnTo>
                    <a:pt x="76" y="234"/>
                  </a:lnTo>
                  <a:lnTo>
                    <a:pt x="76" y="230"/>
                  </a:lnTo>
                  <a:lnTo>
                    <a:pt x="76" y="228"/>
                  </a:lnTo>
                  <a:lnTo>
                    <a:pt x="72" y="224"/>
                  </a:lnTo>
                  <a:lnTo>
                    <a:pt x="72" y="220"/>
                  </a:lnTo>
                  <a:lnTo>
                    <a:pt x="68" y="216"/>
                  </a:lnTo>
                  <a:lnTo>
                    <a:pt x="68" y="212"/>
                  </a:lnTo>
                  <a:lnTo>
                    <a:pt x="68" y="208"/>
                  </a:lnTo>
                  <a:lnTo>
                    <a:pt x="64" y="208"/>
                  </a:lnTo>
                  <a:lnTo>
                    <a:pt x="64" y="204"/>
                  </a:lnTo>
                  <a:lnTo>
                    <a:pt x="60" y="204"/>
                  </a:lnTo>
                  <a:lnTo>
                    <a:pt x="60" y="200"/>
                  </a:lnTo>
                  <a:lnTo>
                    <a:pt x="60" y="198"/>
                  </a:lnTo>
                  <a:lnTo>
                    <a:pt x="60" y="194"/>
                  </a:lnTo>
                  <a:lnTo>
                    <a:pt x="56" y="194"/>
                  </a:lnTo>
                  <a:lnTo>
                    <a:pt x="54" y="190"/>
                  </a:lnTo>
                  <a:lnTo>
                    <a:pt x="54" y="186"/>
                  </a:lnTo>
                  <a:lnTo>
                    <a:pt x="54" y="182"/>
                  </a:lnTo>
                  <a:lnTo>
                    <a:pt x="50" y="178"/>
                  </a:lnTo>
                  <a:lnTo>
                    <a:pt x="50" y="174"/>
                  </a:lnTo>
                  <a:lnTo>
                    <a:pt x="46" y="172"/>
                  </a:lnTo>
                  <a:lnTo>
                    <a:pt x="46" y="168"/>
                  </a:lnTo>
                  <a:lnTo>
                    <a:pt x="46" y="164"/>
                  </a:lnTo>
                  <a:lnTo>
                    <a:pt x="42" y="160"/>
                  </a:lnTo>
                  <a:lnTo>
                    <a:pt x="42" y="156"/>
                  </a:lnTo>
                  <a:lnTo>
                    <a:pt x="42" y="152"/>
                  </a:lnTo>
                  <a:lnTo>
                    <a:pt x="38" y="152"/>
                  </a:lnTo>
                  <a:lnTo>
                    <a:pt x="38" y="148"/>
                  </a:lnTo>
                  <a:lnTo>
                    <a:pt x="38" y="144"/>
                  </a:lnTo>
                  <a:lnTo>
                    <a:pt x="34" y="142"/>
                  </a:lnTo>
                  <a:lnTo>
                    <a:pt x="38" y="142"/>
                  </a:lnTo>
                  <a:lnTo>
                    <a:pt x="34" y="138"/>
                  </a:lnTo>
                  <a:lnTo>
                    <a:pt x="34" y="134"/>
                  </a:lnTo>
                  <a:lnTo>
                    <a:pt x="30" y="134"/>
                  </a:lnTo>
                  <a:lnTo>
                    <a:pt x="30" y="130"/>
                  </a:lnTo>
                  <a:lnTo>
                    <a:pt x="26" y="130"/>
                  </a:lnTo>
                  <a:lnTo>
                    <a:pt x="26" y="126"/>
                  </a:lnTo>
                  <a:lnTo>
                    <a:pt x="26" y="122"/>
                  </a:lnTo>
                  <a:lnTo>
                    <a:pt x="26" y="118"/>
                  </a:lnTo>
                  <a:lnTo>
                    <a:pt x="24" y="118"/>
                  </a:lnTo>
                  <a:lnTo>
                    <a:pt x="24" y="114"/>
                  </a:lnTo>
                  <a:lnTo>
                    <a:pt x="20" y="114"/>
                  </a:lnTo>
                  <a:lnTo>
                    <a:pt x="20" y="112"/>
                  </a:lnTo>
                  <a:lnTo>
                    <a:pt x="16" y="112"/>
                  </a:lnTo>
                  <a:lnTo>
                    <a:pt x="16" y="108"/>
                  </a:lnTo>
                  <a:lnTo>
                    <a:pt x="12" y="108"/>
                  </a:lnTo>
                  <a:lnTo>
                    <a:pt x="12" y="104"/>
                  </a:lnTo>
                  <a:lnTo>
                    <a:pt x="8" y="104"/>
                  </a:lnTo>
                  <a:lnTo>
                    <a:pt x="4" y="104"/>
                  </a:lnTo>
                  <a:lnTo>
                    <a:pt x="4" y="100"/>
                  </a:lnTo>
                  <a:lnTo>
                    <a:pt x="4" y="96"/>
                  </a:lnTo>
                  <a:lnTo>
                    <a:pt x="8" y="96"/>
                  </a:lnTo>
                  <a:lnTo>
                    <a:pt x="8" y="92"/>
                  </a:lnTo>
                  <a:lnTo>
                    <a:pt x="8" y="88"/>
                  </a:lnTo>
                  <a:lnTo>
                    <a:pt x="4" y="88"/>
                  </a:lnTo>
                  <a:lnTo>
                    <a:pt x="4" y="86"/>
                  </a:lnTo>
                  <a:lnTo>
                    <a:pt x="4" y="82"/>
                  </a:lnTo>
                  <a:lnTo>
                    <a:pt x="0" y="78"/>
                  </a:lnTo>
                  <a:lnTo>
                    <a:pt x="0" y="74"/>
                  </a:lnTo>
                  <a:lnTo>
                    <a:pt x="4" y="74"/>
                  </a:lnTo>
                  <a:lnTo>
                    <a:pt x="4" y="70"/>
                  </a:lnTo>
                  <a:lnTo>
                    <a:pt x="4" y="66"/>
                  </a:lnTo>
                  <a:lnTo>
                    <a:pt x="8" y="66"/>
                  </a:lnTo>
                  <a:lnTo>
                    <a:pt x="8" y="62"/>
                  </a:lnTo>
                  <a:lnTo>
                    <a:pt x="12" y="58"/>
                  </a:lnTo>
                  <a:lnTo>
                    <a:pt x="16" y="58"/>
                  </a:lnTo>
                  <a:lnTo>
                    <a:pt x="16" y="56"/>
                  </a:lnTo>
                  <a:lnTo>
                    <a:pt x="20" y="58"/>
                  </a:lnTo>
                  <a:lnTo>
                    <a:pt x="20" y="62"/>
                  </a:lnTo>
                  <a:lnTo>
                    <a:pt x="16" y="66"/>
                  </a:lnTo>
                  <a:lnTo>
                    <a:pt x="16" y="70"/>
                  </a:lnTo>
                  <a:lnTo>
                    <a:pt x="16" y="74"/>
                  </a:lnTo>
                  <a:lnTo>
                    <a:pt x="20" y="74"/>
                  </a:lnTo>
                  <a:lnTo>
                    <a:pt x="20" y="70"/>
                  </a:lnTo>
                  <a:lnTo>
                    <a:pt x="20" y="74"/>
                  </a:lnTo>
                  <a:lnTo>
                    <a:pt x="24" y="74"/>
                  </a:lnTo>
                  <a:lnTo>
                    <a:pt x="26" y="74"/>
                  </a:lnTo>
                  <a:lnTo>
                    <a:pt x="26" y="78"/>
                  </a:lnTo>
                  <a:lnTo>
                    <a:pt x="30" y="78"/>
                  </a:lnTo>
                  <a:lnTo>
                    <a:pt x="30" y="82"/>
                  </a:lnTo>
                  <a:lnTo>
                    <a:pt x="34" y="82"/>
                  </a:lnTo>
                  <a:lnTo>
                    <a:pt x="38" y="78"/>
                  </a:lnTo>
                  <a:lnTo>
                    <a:pt x="38" y="74"/>
                  </a:lnTo>
                  <a:lnTo>
                    <a:pt x="42" y="74"/>
                  </a:lnTo>
                  <a:lnTo>
                    <a:pt x="38" y="74"/>
                  </a:lnTo>
                  <a:lnTo>
                    <a:pt x="38" y="70"/>
                  </a:lnTo>
                  <a:lnTo>
                    <a:pt x="42" y="70"/>
                  </a:lnTo>
                  <a:lnTo>
                    <a:pt x="42" y="66"/>
                  </a:lnTo>
                  <a:lnTo>
                    <a:pt x="42" y="62"/>
                  </a:lnTo>
                  <a:lnTo>
                    <a:pt x="46" y="62"/>
                  </a:lnTo>
                  <a:lnTo>
                    <a:pt x="46" y="58"/>
                  </a:lnTo>
                  <a:lnTo>
                    <a:pt x="46" y="56"/>
                  </a:lnTo>
                  <a:lnTo>
                    <a:pt x="46" y="58"/>
                  </a:lnTo>
                  <a:lnTo>
                    <a:pt x="46" y="56"/>
                  </a:lnTo>
                  <a:lnTo>
                    <a:pt x="50" y="56"/>
                  </a:lnTo>
                  <a:lnTo>
                    <a:pt x="50" y="52"/>
                  </a:lnTo>
                  <a:lnTo>
                    <a:pt x="50" y="48"/>
                  </a:lnTo>
                  <a:lnTo>
                    <a:pt x="54" y="48"/>
                  </a:lnTo>
                  <a:lnTo>
                    <a:pt x="56" y="48"/>
                  </a:lnTo>
                  <a:lnTo>
                    <a:pt x="60" y="44"/>
                  </a:lnTo>
                  <a:lnTo>
                    <a:pt x="64" y="44"/>
                  </a:lnTo>
                  <a:lnTo>
                    <a:pt x="68" y="42"/>
                  </a:lnTo>
                  <a:lnTo>
                    <a:pt x="72" y="38"/>
                  </a:lnTo>
                  <a:lnTo>
                    <a:pt x="76" y="34"/>
                  </a:lnTo>
                  <a:lnTo>
                    <a:pt x="80" y="34"/>
                  </a:lnTo>
                  <a:lnTo>
                    <a:pt x="80" y="30"/>
                  </a:lnTo>
                  <a:lnTo>
                    <a:pt x="82" y="26"/>
                  </a:lnTo>
                  <a:lnTo>
                    <a:pt x="82" y="22"/>
                  </a:lnTo>
                  <a:lnTo>
                    <a:pt x="86" y="18"/>
                  </a:lnTo>
                  <a:lnTo>
                    <a:pt x="86" y="16"/>
                  </a:lnTo>
                  <a:lnTo>
                    <a:pt x="90" y="16"/>
                  </a:lnTo>
                  <a:lnTo>
                    <a:pt x="86" y="12"/>
                  </a:lnTo>
                  <a:lnTo>
                    <a:pt x="86" y="8"/>
                  </a:lnTo>
                  <a:lnTo>
                    <a:pt x="86" y="4"/>
                  </a:lnTo>
                  <a:lnTo>
                    <a:pt x="82" y="0"/>
                  </a:lnTo>
                  <a:lnTo>
                    <a:pt x="86" y="0"/>
                  </a:lnTo>
                  <a:lnTo>
                    <a:pt x="90" y="0"/>
                  </a:lnTo>
                  <a:lnTo>
                    <a:pt x="94" y="0"/>
                  </a:lnTo>
                  <a:lnTo>
                    <a:pt x="94" y="4"/>
                  </a:lnTo>
                  <a:lnTo>
                    <a:pt x="94" y="0"/>
                  </a:lnTo>
                  <a:lnTo>
                    <a:pt x="94" y="4"/>
                  </a:lnTo>
                  <a:lnTo>
                    <a:pt x="98" y="4"/>
                  </a:lnTo>
                  <a:lnTo>
                    <a:pt x="102" y="8"/>
                  </a:lnTo>
                  <a:lnTo>
                    <a:pt x="102" y="12"/>
                  </a:lnTo>
                  <a:lnTo>
                    <a:pt x="102" y="16"/>
                  </a:lnTo>
                  <a:lnTo>
                    <a:pt x="106" y="16"/>
                  </a:lnTo>
                  <a:lnTo>
                    <a:pt x="110" y="18"/>
                  </a:lnTo>
                  <a:lnTo>
                    <a:pt x="112" y="22"/>
                  </a:lnTo>
                  <a:lnTo>
                    <a:pt x="112" y="26"/>
                  </a:lnTo>
                  <a:lnTo>
                    <a:pt x="112" y="30"/>
                  </a:lnTo>
                  <a:lnTo>
                    <a:pt x="116" y="30"/>
                  </a:lnTo>
                  <a:lnTo>
                    <a:pt x="120" y="30"/>
                  </a:lnTo>
                  <a:lnTo>
                    <a:pt x="120" y="34"/>
                  </a:lnTo>
                  <a:lnTo>
                    <a:pt x="120" y="38"/>
                  </a:lnTo>
                  <a:lnTo>
                    <a:pt x="116" y="38"/>
                  </a:lnTo>
                  <a:lnTo>
                    <a:pt x="120" y="38"/>
                  </a:lnTo>
                  <a:lnTo>
                    <a:pt x="120" y="42"/>
                  </a:lnTo>
                  <a:lnTo>
                    <a:pt x="120" y="38"/>
                  </a:lnTo>
                  <a:lnTo>
                    <a:pt x="120" y="42"/>
                  </a:lnTo>
                  <a:lnTo>
                    <a:pt x="124" y="42"/>
                  </a:lnTo>
                  <a:lnTo>
                    <a:pt x="128" y="42"/>
                  </a:lnTo>
                  <a:lnTo>
                    <a:pt x="132" y="42"/>
                  </a:lnTo>
                  <a:lnTo>
                    <a:pt x="136" y="42"/>
                  </a:lnTo>
                  <a:lnTo>
                    <a:pt x="136" y="38"/>
                  </a:lnTo>
                  <a:lnTo>
                    <a:pt x="140" y="34"/>
                  </a:lnTo>
                  <a:lnTo>
                    <a:pt x="140" y="38"/>
                  </a:lnTo>
                  <a:lnTo>
                    <a:pt x="142" y="38"/>
                  </a:lnTo>
                  <a:lnTo>
                    <a:pt x="146" y="38"/>
                  </a:lnTo>
                  <a:lnTo>
                    <a:pt x="150" y="38"/>
                  </a:lnTo>
                  <a:lnTo>
                    <a:pt x="154" y="38"/>
                  </a:lnTo>
                  <a:lnTo>
                    <a:pt x="154" y="42"/>
                  </a:lnTo>
                  <a:lnTo>
                    <a:pt x="158" y="42"/>
                  </a:lnTo>
                  <a:lnTo>
                    <a:pt x="162" y="42"/>
                  </a:lnTo>
                  <a:lnTo>
                    <a:pt x="162" y="44"/>
                  </a:lnTo>
                  <a:lnTo>
                    <a:pt x="158" y="56"/>
                  </a:lnTo>
                  <a:lnTo>
                    <a:pt x="154" y="58"/>
                  </a:lnTo>
                  <a:lnTo>
                    <a:pt x="154" y="62"/>
                  </a:lnTo>
                  <a:lnTo>
                    <a:pt x="158" y="62"/>
                  </a:lnTo>
                  <a:lnTo>
                    <a:pt x="162" y="66"/>
                  </a:lnTo>
                  <a:lnTo>
                    <a:pt x="162" y="70"/>
                  </a:lnTo>
                  <a:lnTo>
                    <a:pt x="166" y="70"/>
                  </a:lnTo>
                  <a:lnTo>
                    <a:pt x="162" y="70"/>
                  </a:lnTo>
                  <a:lnTo>
                    <a:pt x="158" y="70"/>
                  </a:lnTo>
                  <a:lnTo>
                    <a:pt x="158" y="66"/>
                  </a:lnTo>
                  <a:lnTo>
                    <a:pt x="158" y="70"/>
                  </a:lnTo>
                  <a:lnTo>
                    <a:pt x="154" y="70"/>
                  </a:lnTo>
                  <a:lnTo>
                    <a:pt x="150" y="70"/>
                  </a:lnTo>
                  <a:lnTo>
                    <a:pt x="150" y="74"/>
                  </a:lnTo>
                  <a:lnTo>
                    <a:pt x="146" y="74"/>
                  </a:lnTo>
                  <a:lnTo>
                    <a:pt x="146" y="70"/>
                  </a:lnTo>
                  <a:lnTo>
                    <a:pt x="142" y="74"/>
                  </a:lnTo>
                  <a:lnTo>
                    <a:pt x="140" y="74"/>
                  </a:lnTo>
                  <a:lnTo>
                    <a:pt x="136" y="74"/>
                  </a:lnTo>
                  <a:lnTo>
                    <a:pt x="136" y="78"/>
                  </a:lnTo>
                  <a:lnTo>
                    <a:pt x="132" y="78"/>
                  </a:lnTo>
                  <a:lnTo>
                    <a:pt x="128" y="78"/>
                  </a:lnTo>
                  <a:lnTo>
                    <a:pt x="128" y="82"/>
                  </a:lnTo>
                  <a:lnTo>
                    <a:pt x="124" y="86"/>
                  </a:lnTo>
                  <a:lnTo>
                    <a:pt x="120" y="86"/>
                  </a:lnTo>
                  <a:lnTo>
                    <a:pt x="120" y="88"/>
                  </a:lnTo>
                  <a:lnTo>
                    <a:pt x="120" y="92"/>
                  </a:lnTo>
                  <a:lnTo>
                    <a:pt x="120" y="96"/>
                  </a:lnTo>
                  <a:lnTo>
                    <a:pt x="116" y="96"/>
                  </a:lnTo>
                  <a:lnTo>
                    <a:pt x="116" y="100"/>
                  </a:lnTo>
                  <a:lnTo>
                    <a:pt x="116" y="104"/>
                  </a:lnTo>
                  <a:lnTo>
                    <a:pt x="120" y="108"/>
                  </a:lnTo>
                  <a:lnTo>
                    <a:pt x="116" y="108"/>
                  </a:lnTo>
                  <a:lnTo>
                    <a:pt x="116" y="112"/>
                  </a:lnTo>
                  <a:lnTo>
                    <a:pt x="112" y="112"/>
                  </a:lnTo>
                  <a:lnTo>
                    <a:pt x="110" y="114"/>
                  </a:lnTo>
                  <a:lnTo>
                    <a:pt x="110" y="118"/>
                  </a:lnTo>
                  <a:lnTo>
                    <a:pt x="110" y="122"/>
                  </a:lnTo>
                  <a:lnTo>
                    <a:pt x="106" y="122"/>
                  </a:lnTo>
                  <a:lnTo>
                    <a:pt x="106" y="126"/>
                  </a:lnTo>
                  <a:lnTo>
                    <a:pt x="110" y="130"/>
                  </a:lnTo>
                  <a:lnTo>
                    <a:pt x="110" y="134"/>
                  </a:lnTo>
                  <a:lnTo>
                    <a:pt x="112" y="134"/>
                  </a:lnTo>
                  <a:lnTo>
                    <a:pt x="112" y="138"/>
                  </a:lnTo>
                  <a:lnTo>
                    <a:pt x="112" y="142"/>
                  </a:lnTo>
                  <a:lnTo>
                    <a:pt x="116" y="144"/>
                  </a:lnTo>
                  <a:lnTo>
                    <a:pt x="116" y="148"/>
                  </a:lnTo>
                  <a:lnTo>
                    <a:pt x="120" y="148"/>
                  </a:lnTo>
                  <a:lnTo>
                    <a:pt x="120" y="152"/>
                  </a:lnTo>
                  <a:lnTo>
                    <a:pt x="120" y="156"/>
                  </a:lnTo>
                  <a:lnTo>
                    <a:pt x="116" y="156"/>
                  </a:lnTo>
                  <a:lnTo>
                    <a:pt x="116" y="160"/>
                  </a:lnTo>
                  <a:lnTo>
                    <a:pt x="120" y="160"/>
                  </a:lnTo>
                  <a:lnTo>
                    <a:pt x="124" y="160"/>
                  </a:lnTo>
                  <a:lnTo>
                    <a:pt x="128" y="160"/>
                  </a:lnTo>
                  <a:lnTo>
                    <a:pt x="132" y="160"/>
                  </a:lnTo>
                  <a:lnTo>
                    <a:pt x="132" y="164"/>
                  </a:lnTo>
                  <a:lnTo>
                    <a:pt x="132" y="168"/>
                  </a:lnTo>
                  <a:lnTo>
                    <a:pt x="136" y="168"/>
                  </a:lnTo>
                  <a:lnTo>
                    <a:pt x="140" y="168"/>
                  </a:lnTo>
                  <a:lnTo>
                    <a:pt x="142" y="168"/>
                  </a:lnTo>
                  <a:lnTo>
                    <a:pt x="146" y="168"/>
                  </a:lnTo>
                  <a:lnTo>
                    <a:pt x="150" y="168"/>
                  </a:lnTo>
                  <a:lnTo>
                    <a:pt x="150" y="164"/>
                  </a:lnTo>
                  <a:lnTo>
                    <a:pt x="154" y="160"/>
                  </a:lnTo>
                  <a:lnTo>
                    <a:pt x="154" y="164"/>
                  </a:lnTo>
                  <a:lnTo>
                    <a:pt x="154" y="168"/>
                  </a:lnTo>
                  <a:lnTo>
                    <a:pt x="154" y="172"/>
                  </a:lnTo>
                  <a:lnTo>
                    <a:pt x="154" y="174"/>
                  </a:lnTo>
                  <a:lnTo>
                    <a:pt x="154" y="178"/>
                  </a:lnTo>
                  <a:lnTo>
                    <a:pt x="154" y="182"/>
                  </a:lnTo>
                  <a:lnTo>
                    <a:pt x="154" y="186"/>
                  </a:lnTo>
                  <a:lnTo>
                    <a:pt x="158" y="186"/>
                  </a:lnTo>
                  <a:lnTo>
                    <a:pt x="162" y="186"/>
                  </a:lnTo>
                  <a:lnTo>
                    <a:pt x="166" y="186"/>
                  </a:lnTo>
                  <a:lnTo>
                    <a:pt x="168" y="186"/>
                  </a:lnTo>
                  <a:lnTo>
                    <a:pt x="172" y="190"/>
                  </a:lnTo>
                  <a:lnTo>
                    <a:pt x="172" y="194"/>
                  </a:lnTo>
                  <a:lnTo>
                    <a:pt x="172" y="198"/>
                  </a:lnTo>
                  <a:lnTo>
                    <a:pt x="176" y="200"/>
                  </a:lnTo>
                  <a:lnTo>
                    <a:pt x="176" y="204"/>
                  </a:lnTo>
                  <a:lnTo>
                    <a:pt x="180" y="204"/>
                  </a:lnTo>
                  <a:lnTo>
                    <a:pt x="180" y="208"/>
                  </a:lnTo>
                  <a:lnTo>
                    <a:pt x="180" y="212"/>
                  </a:lnTo>
                  <a:lnTo>
                    <a:pt x="180" y="216"/>
                  </a:lnTo>
                  <a:lnTo>
                    <a:pt x="176" y="216"/>
                  </a:lnTo>
                  <a:lnTo>
                    <a:pt x="176" y="220"/>
                  </a:lnTo>
                  <a:lnTo>
                    <a:pt x="176" y="224"/>
                  </a:lnTo>
                  <a:lnTo>
                    <a:pt x="176" y="228"/>
                  </a:lnTo>
                  <a:lnTo>
                    <a:pt x="176" y="230"/>
                  </a:lnTo>
                  <a:lnTo>
                    <a:pt x="176" y="234"/>
                  </a:lnTo>
                  <a:lnTo>
                    <a:pt x="176" y="238"/>
                  </a:lnTo>
                  <a:lnTo>
                    <a:pt x="180" y="238"/>
                  </a:lnTo>
                  <a:lnTo>
                    <a:pt x="180" y="242"/>
                  </a:lnTo>
                  <a:lnTo>
                    <a:pt x="176" y="242"/>
                  </a:lnTo>
                  <a:lnTo>
                    <a:pt x="176" y="246"/>
                  </a:lnTo>
                  <a:lnTo>
                    <a:pt x="172" y="250"/>
                  </a:lnTo>
                  <a:lnTo>
                    <a:pt x="172" y="254"/>
                  </a:lnTo>
                  <a:lnTo>
                    <a:pt x="172" y="256"/>
                  </a:lnTo>
                  <a:lnTo>
                    <a:pt x="176" y="256"/>
                  </a:lnTo>
                  <a:lnTo>
                    <a:pt x="176" y="260"/>
                  </a:lnTo>
                  <a:lnTo>
                    <a:pt x="172" y="260"/>
                  </a:lnTo>
                  <a:lnTo>
                    <a:pt x="172" y="264"/>
                  </a:lnTo>
                  <a:lnTo>
                    <a:pt x="172" y="268"/>
                  </a:lnTo>
                  <a:lnTo>
                    <a:pt x="172" y="276"/>
                  </a:lnTo>
                  <a:lnTo>
                    <a:pt x="176" y="276"/>
                  </a:lnTo>
                  <a:lnTo>
                    <a:pt x="180" y="280"/>
                  </a:lnTo>
                  <a:lnTo>
                    <a:pt x="176" y="280"/>
                  </a:lnTo>
                  <a:lnTo>
                    <a:pt x="176" y="284"/>
                  </a:lnTo>
                  <a:lnTo>
                    <a:pt x="176" y="286"/>
                  </a:lnTo>
                  <a:lnTo>
                    <a:pt x="172" y="286"/>
                  </a:lnTo>
                  <a:lnTo>
                    <a:pt x="172" y="290"/>
                  </a:lnTo>
                  <a:lnTo>
                    <a:pt x="168" y="290"/>
                  </a:lnTo>
                  <a:lnTo>
                    <a:pt x="168" y="294"/>
                  </a:lnTo>
                  <a:lnTo>
                    <a:pt x="168" y="298"/>
                  </a:lnTo>
                  <a:lnTo>
                    <a:pt x="168" y="298"/>
                  </a:lnTo>
                  <a:lnTo>
                    <a:pt x="168" y="29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94" name="Freeform 187"/>
            <p:cNvSpPr>
              <a:spLocks/>
            </p:cNvSpPr>
            <p:nvPr/>
          </p:nvSpPr>
          <p:spPr bwMode="auto">
            <a:xfrm>
              <a:off x="6525340" y="4093757"/>
              <a:ext cx="35167" cy="45765"/>
            </a:xfrm>
            <a:custGeom>
              <a:avLst/>
              <a:gdLst>
                <a:gd name="T0" fmla="*/ 42 w 56"/>
                <a:gd name="T1" fmla="*/ 4 h 70"/>
                <a:gd name="T2" fmla="*/ 42 w 56"/>
                <a:gd name="T3" fmla="*/ 4 h 70"/>
                <a:gd name="T4" fmla="*/ 42 w 56"/>
                <a:gd name="T5" fmla="*/ 0 h 70"/>
                <a:gd name="T6" fmla="*/ 46 w 56"/>
                <a:gd name="T7" fmla="*/ 0 h 70"/>
                <a:gd name="T8" fmla="*/ 52 w 56"/>
                <a:gd name="T9" fmla="*/ 4 h 70"/>
                <a:gd name="T10" fmla="*/ 56 w 56"/>
                <a:gd name="T11" fmla="*/ 4 h 70"/>
                <a:gd name="T12" fmla="*/ 56 w 56"/>
                <a:gd name="T13" fmla="*/ 6 h 70"/>
                <a:gd name="T14" fmla="*/ 52 w 56"/>
                <a:gd name="T15" fmla="*/ 10 h 70"/>
                <a:gd name="T16" fmla="*/ 52 w 56"/>
                <a:gd name="T17" fmla="*/ 10 h 70"/>
                <a:gd name="T18" fmla="*/ 52 w 56"/>
                <a:gd name="T19" fmla="*/ 14 h 70"/>
                <a:gd name="T20" fmla="*/ 48 w 56"/>
                <a:gd name="T21" fmla="*/ 22 h 70"/>
                <a:gd name="T22" fmla="*/ 48 w 56"/>
                <a:gd name="T23" fmla="*/ 26 h 70"/>
                <a:gd name="T24" fmla="*/ 48 w 56"/>
                <a:gd name="T25" fmla="*/ 26 h 70"/>
                <a:gd name="T26" fmla="*/ 52 w 56"/>
                <a:gd name="T27" fmla="*/ 34 h 70"/>
                <a:gd name="T28" fmla="*/ 56 w 56"/>
                <a:gd name="T29" fmla="*/ 40 h 70"/>
                <a:gd name="T30" fmla="*/ 56 w 56"/>
                <a:gd name="T31" fmla="*/ 44 h 70"/>
                <a:gd name="T32" fmla="*/ 52 w 56"/>
                <a:gd name="T33" fmla="*/ 48 h 70"/>
                <a:gd name="T34" fmla="*/ 52 w 56"/>
                <a:gd name="T35" fmla="*/ 56 h 70"/>
                <a:gd name="T36" fmla="*/ 52 w 56"/>
                <a:gd name="T37" fmla="*/ 56 h 70"/>
                <a:gd name="T38" fmla="*/ 48 w 56"/>
                <a:gd name="T39" fmla="*/ 60 h 70"/>
                <a:gd name="T40" fmla="*/ 46 w 56"/>
                <a:gd name="T41" fmla="*/ 64 h 70"/>
                <a:gd name="T42" fmla="*/ 46 w 56"/>
                <a:gd name="T43" fmla="*/ 60 h 70"/>
                <a:gd name="T44" fmla="*/ 46 w 56"/>
                <a:gd name="T45" fmla="*/ 60 h 70"/>
                <a:gd name="T46" fmla="*/ 34 w 56"/>
                <a:gd name="T47" fmla="*/ 60 h 70"/>
                <a:gd name="T48" fmla="*/ 30 w 56"/>
                <a:gd name="T49" fmla="*/ 60 h 70"/>
                <a:gd name="T50" fmla="*/ 26 w 56"/>
                <a:gd name="T51" fmla="*/ 60 h 70"/>
                <a:gd name="T52" fmla="*/ 30 w 56"/>
                <a:gd name="T53" fmla="*/ 66 h 70"/>
                <a:gd name="T54" fmla="*/ 30 w 56"/>
                <a:gd name="T55" fmla="*/ 70 h 70"/>
                <a:gd name="T56" fmla="*/ 26 w 56"/>
                <a:gd name="T57" fmla="*/ 70 h 70"/>
                <a:gd name="T58" fmla="*/ 22 w 56"/>
                <a:gd name="T59" fmla="*/ 70 h 70"/>
                <a:gd name="T60" fmla="*/ 18 w 56"/>
                <a:gd name="T61" fmla="*/ 66 h 70"/>
                <a:gd name="T62" fmla="*/ 14 w 56"/>
                <a:gd name="T63" fmla="*/ 60 h 70"/>
                <a:gd name="T64" fmla="*/ 12 w 56"/>
                <a:gd name="T65" fmla="*/ 52 h 70"/>
                <a:gd name="T66" fmla="*/ 12 w 56"/>
                <a:gd name="T67" fmla="*/ 48 h 70"/>
                <a:gd name="T68" fmla="*/ 12 w 56"/>
                <a:gd name="T69" fmla="*/ 44 h 70"/>
                <a:gd name="T70" fmla="*/ 4 w 56"/>
                <a:gd name="T71" fmla="*/ 44 h 70"/>
                <a:gd name="T72" fmla="*/ 4 w 56"/>
                <a:gd name="T73" fmla="*/ 40 h 70"/>
                <a:gd name="T74" fmla="*/ 4 w 56"/>
                <a:gd name="T75" fmla="*/ 40 h 70"/>
                <a:gd name="T76" fmla="*/ 0 w 56"/>
                <a:gd name="T77" fmla="*/ 36 h 70"/>
                <a:gd name="T78" fmla="*/ 0 w 56"/>
                <a:gd name="T79" fmla="*/ 36 h 70"/>
                <a:gd name="T80" fmla="*/ 0 w 56"/>
                <a:gd name="T81" fmla="*/ 30 h 70"/>
                <a:gd name="T82" fmla="*/ 0 w 56"/>
                <a:gd name="T83" fmla="*/ 30 h 70"/>
                <a:gd name="T84" fmla="*/ 0 w 56"/>
                <a:gd name="T85" fmla="*/ 22 h 70"/>
                <a:gd name="T86" fmla="*/ 0 w 56"/>
                <a:gd name="T87" fmla="*/ 22 h 70"/>
                <a:gd name="T88" fmla="*/ 4 w 56"/>
                <a:gd name="T89" fmla="*/ 18 h 70"/>
                <a:gd name="T90" fmla="*/ 8 w 56"/>
                <a:gd name="T91" fmla="*/ 18 h 70"/>
                <a:gd name="T92" fmla="*/ 12 w 56"/>
                <a:gd name="T93" fmla="*/ 14 h 70"/>
                <a:gd name="T94" fmla="*/ 12 w 56"/>
                <a:gd name="T95" fmla="*/ 14 h 70"/>
                <a:gd name="T96" fmla="*/ 8 w 56"/>
                <a:gd name="T97" fmla="*/ 10 h 70"/>
                <a:gd name="T98" fmla="*/ 12 w 56"/>
                <a:gd name="T99" fmla="*/ 6 h 70"/>
                <a:gd name="T100" fmla="*/ 12 w 56"/>
                <a:gd name="T101" fmla="*/ 4 h 70"/>
                <a:gd name="T102" fmla="*/ 18 w 56"/>
                <a:gd name="T103" fmla="*/ 0 h 70"/>
                <a:gd name="T104" fmla="*/ 26 w 56"/>
                <a:gd name="T105" fmla="*/ 0 h 70"/>
                <a:gd name="T106" fmla="*/ 30 w 56"/>
                <a:gd name="T107" fmla="*/ 4 h 70"/>
                <a:gd name="T108" fmla="*/ 30 w 56"/>
                <a:gd name="T109" fmla="*/ 4 h 70"/>
                <a:gd name="T110" fmla="*/ 30 w 56"/>
                <a:gd name="T111" fmla="*/ 0 h 70"/>
                <a:gd name="T112" fmla="*/ 38 w 56"/>
                <a:gd name="T113" fmla="*/ 0 h 70"/>
                <a:gd name="T114" fmla="*/ 38 w 56"/>
                <a:gd name="T115" fmla="*/ 0 h 70"/>
                <a:gd name="T116" fmla="*/ 42 w 56"/>
                <a:gd name="T117" fmla="*/ 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 h="70">
                  <a:moveTo>
                    <a:pt x="42" y="4"/>
                  </a:moveTo>
                  <a:lnTo>
                    <a:pt x="42" y="4"/>
                  </a:lnTo>
                  <a:lnTo>
                    <a:pt x="42" y="4"/>
                  </a:lnTo>
                  <a:lnTo>
                    <a:pt x="42" y="4"/>
                  </a:lnTo>
                  <a:lnTo>
                    <a:pt x="46" y="4"/>
                  </a:lnTo>
                  <a:lnTo>
                    <a:pt x="46" y="4"/>
                  </a:lnTo>
                  <a:lnTo>
                    <a:pt x="42" y="4"/>
                  </a:lnTo>
                  <a:lnTo>
                    <a:pt x="42" y="4"/>
                  </a:lnTo>
                  <a:lnTo>
                    <a:pt x="42" y="0"/>
                  </a:lnTo>
                  <a:lnTo>
                    <a:pt x="42" y="0"/>
                  </a:lnTo>
                  <a:lnTo>
                    <a:pt x="42" y="0"/>
                  </a:lnTo>
                  <a:lnTo>
                    <a:pt x="42" y="0"/>
                  </a:lnTo>
                  <a:lnTo>
                    <a:pt x="42" y="0"/>
                  </a:lnTo>
                  <a:lnTo>
                    <a:pt x="46" y="0"/>
                  </a:lnTo>
                  <a:lnTo>
                    <a:pt x="46" y="0"/>
                  </a:lnTo>
                  <a:lnTo>
                    <a:pt x="46" y="0"/>
                  </a:lnTo>
                  <a:lnTo>
                    <a:pt x="48" y="0"/>
                  </a:lnTo>
                  <a:lnTo>
                    <a:pt x="52" y="0"/>
                  </a:lnTo>
                  <a:lnTo>
                    <a:pt x="52" y="0"/>
                  </a:lnTo>
                  <a:lnTo>
                    <a:pt x="52" y="4"/>
                  </a:lnTo>
                  <a:lnTo>
                    <a:pt x="52" y="4"/>
                  </a:lnTo>
                  <a:lnTo>
                    <a:pt x="56" y="4"/>
                  </a:lnTo>
                  <a:lnTo>
                    <a:pt x="56" y="4"/>
                  </a:lnTo>
                  <a:lnTo>
                    <a:pt x="56" y="4"/>
                  </a:lnTo>
                  <a:lnTo>
                    <a:pt x="56" y="6"/>
                  </a:lnTo>
                  <a:lnTo>
                    <a:pt x="56" y="6"/>
                  </a:lnTo>
                  <a:lnTo>
                    <a:pt x="56" y="6"/>
                  </a:lnTo>
                  <a:lnTo>
                    <a:pt x="56" y="6"/>
                  </a:lnTo>
                  <a:lnTo>
                    <a:pt x="56" y="6"/>
                  </a:lnTo>
                  <a:lnTo>
                    <a:pt x="56" y="10"/>
                  </a:lnTo>
                  <a:lnTo>
                    <a:pt x="56" y="10"/>
                  </a:lnTo>
                  <a:lnTo>
                    <a:pt x="52" y="10"/>
                  </a:lnTo>
                  <a:lnTo>
                    <a:pt x="52" y="10"/>
                  </a:lnTo>
                  <a:lnTo>
                    <a:pt x="52" y="10"/>
                  </a:lnTo>
                  <a:lnTo>
                    <a:pt x="52" y="10"/>
                  </a:lnTo>
                  <a:lnTo>
                    <a:pt x="52" y="10"/>
                  </a:lnTo>
                  <a:lnTo>
                    <a:pt x="52" y="14"/>
                  </a:lnTo>
                  <a:lnTo>
                    <a:pt x="52" y="14"/>
                  </a:lnTo>
                  <a:lnTo>
                    <a:pt x="52" y="14"/>
                  </a:lnTo>
                  <a:lnTo>
                    <a:pt x="52" y="14"/>
                  </a:lnTo>
                  <a:lnTo>
                    <a:pt x="48" y="14"/>
                  </a:lnTo>
                  <a:lnTo>
                    <a:pt x="48" y="18"/>
                  </a:lnTo>
                  <a:lnTo>
                    <a:pt x="48" y="18"/>
                  </a:lnTo>
                  <a:lnTo>
                    <a:pt x="48" y="22"/>
                  </a:lnTo>
                  <a:lnTo>
                    <a:pt x="48" y="22"/>
                  </a:lnTo>
                  <a:lnTo>
                    <a:pt x="48" y="22"/>
                  </a:lnTo>
                  <a:lnTo>
                    <a:pt x="48" y="22"/>
                  </a:lnTo>
                  <a:lnTo>
                    <a:pt x="48" y="26"/>
                  </a:lnTo>
                  <a:lnTo>
                    <a:pt x="48" y="26"/>
                  </a:lnTo>
                  <a:lnTo>
                    <a:pt x="48" y="26"/>
                  </a:lnTo>
                  <a:lnTo>
                    <a:pt x="48" y="26"/>
                  </a:lnTo>
                  <a:lnTo>
                    <a:pt x="48" y="26"/>
                  </a:lnTo>
                  <a:lnTo>
                    <a:pt x="52" y="30"/>
                  </a:lnTo>
                  <a:lnTo>
                    <a:pt x="52" y="30"/>
                  </a:lnTo>
                  <a:lnTo>
                    <a:pt x="52" y="34"/>
                  </a:lnTo>
                  <a:lnTo>
                    <a:pt x="52" y="34"/>
                  </a:lnTo>
                  <a:lnTo>
                    <a:pt x="52" y="36"/>
                  </a:lnTo>
                  <a:lnTo>
                    <a:pt x="56" y="36"/>
                  </a:lnTo>
                  <a:lnTo>
                    <a:pt x="56" y="36"/>
                  </a:lnTo>
                  <a:lnTo>
                    <a:pt x="56" y="40"/>
                  </a:lnTo>
                  <a:lnTo>
                    <a:pt x="56" y="40"/>
                  </a:lnTo>
                  <a:lnTo>
                    <a:pt x="56" y="44"/>
                  </a:lnTo>
                  <a:lnTo>
                    <a:pt x="56" y="44"/>
                  </a:lnTo>
                  <a:lnTo>
                    <a:pt x="56" y="44"/>
                  </a:lnTo>
                  <a:lnTo>
                    <a:pt x="56" y="44"/>
                  </a:lnTo>
                  <a:lnTo>
                    <a:pt x="52" y="48"/>
                  </a:lnTo>
                  <a:lnTo>
                    <a:pt x="52" y="48"/>
                  </a:lnTo>
                  <a:lnTo>
                    <a:pt x="52" y="48"/>
                  </a:lnTo>
                  <a:lnTo>
                    <a:pt x="52" y="48"/>
                  </a:lnTo>
                  <a:lnTo>
                    <a:pt x="52" y="52"/>
                  </a:lnTo>
                  <a:lnTo>
                    <a:pt x="52" y="52"/>
                  </a:lnTo>
                  <a:lnTo>
                    <a:pt x="52" y="56"/>
                  </a:lnTo>
                  <a:lnTo>
                    <a:pt x="52" y="56"/>
                  </a:lnTo>
                  <a:lnTo>
                    <a:pt x="52" y="56"/>
                  </a:lnTo>
                  <a:lnTo>
                    <a:pt x="52" y="56"/>
                  </a:lnTo>
                  <a:lnTo>
                    <a:pt x="52" y="56"/>
                  </a:lnTo>
                  <a:lnTo>
                    <a:pt x="52" y="60"/>
                  </a:lnTo>
                  <a:lnTo>
                    <a:pt x="52" y="60"/>
                  </a:lnTo>
                  <a:lnTo>
                    <a:pt x="52" y="60"/>
                  </a:lnTo>
                  <a:lnTo>
                    <a:pt x="48" y="60"/>
                  </a:lnTo>
                  <a:lnTo>
                    <a:pt x="48" y="64"/>
                  </a:lnTo>
                  <a:lnTo>
                    <a:pt x="48" y="64"/>
                  </a:lnTo>
                  <a:lnTo>
                    <a:pt x="48" y="64"/>
                  </a:lnTo>
                  <a:lnTo>
                    <a:pt x="46" y="64"/>
                  </a:lnTo>
                  <a:lnTo>
                    <a:pt x="46" y="64"/>
                  </a:lnTo>
                  <a:lnTo>
                    <a:pt x="46" y="64"/>
                  </a:lnTo>
                  <a:lnTo>
                    <a:pt x="46" y="60"/>
                  </a:lnTo>
                  <a:lnTo>
                    <a:pt x="46" y="60"/>
                  </a:lnTo>
                  <a:lnTo>
                    <a:pt x="46" y="60"/>
                  </a:lnTo>
                  <a:lnTo>
                    <a:pt x="46" y="60"/>
                  </a:lnTo>
                  <a:lnTo>
                    <a:pt x="46" y="60"/>
                  </a:lnTo>
                  <a:lnTo>
                    <a:pt x="46" y="60"/>
                  </a:lnTo>
                  <a:lnTo>
                    <a:pt x="42" y="60"/>
                  </a:lnTo>
                  <a:lnTo>
                    <a:pt x="42" y="60"/>
                  </a:lnTo>
                  <a:lnTo>
                    <a:pt x="42" y="60"/>
                  </a:lnTo>
                  <a:lnTo>
                    <a:pt x="34" y="60"/>
                  </a:lnTo>
                  <a:lnTo>
                    <a:pt x="34" y="64"/>
                  </a:lnTo>
                  <a:lnTo>
                    <a:pt x="30" y="60"/>
                  </a:lnTo>
                  <a:lnTo>
                    <a:pt x="30" y="60"/>
                  </a:lnTo>
                  <a:lnTo>
                    <a:pt x="30" y="60"/>
                  </a:lnTo>
                  <a:lnTo>
                    <a:pt x="30" y="60"/>
                  </a:lnTo>
                  <a:lnTo>
                    <a:pt x="30" y="60"/>
                  </a:lnTo>
                  <a:lnTo>
                    <a:pt x="30" y="60"/>
                  </a:lnTo>
                  <a:lnTo>
                    <a:pt x="26" y="60"/>
                  </a:lnTo>
                  <a:lnTo>
                    <a:pt x="26" y="64"/>
                  </a:lnTo>
                  <a:lnTo>
                    <a:pt x="26" y="64"/>
                  </a:lnTo>
                  <a:lnTo>
                    <a:pt x="26" y="64"/>
                  </a:lnTo>
                  <a:lnTo>
                    <a:pt x="30" y="66"/>
                  </a:lnTo>
                  <a:lnTo>
                    <a:pt x="30" y="70"/>
                  </a:lnTo>
                  <a:lnTo>
                    <a:pt x="30" y="70"/>
                  </a:lnTo>
                  <a:lnTo>
                    <a:pt x="30" y="70"/>
                  </a:lnTo>
                  <a:lnTo>
                    <a:pt x="30" y="70"/>
                  </a:lnTo>
                  <a:lnTo>
                    <a:pt x="26" y="70"/>
                  </a:lnTo>
                  <a:lnTo>
                    <a:pt x="26" y="70"/>
                  </a:lnTo>
                  <a:lnTo>
                    <a:pt x="26" y="70"/>
                  </a:lnTo>
                  <a:lnTo>
                    <a:pt x="26" y="70"/>
                  </a:lnTo>
                  <a:lnTo>
                    <a:pt x="22" y="70"/>
                  </a:lnTo>
                  <a:lnTo>
                    <a:pt x="22" y="70"/>
                  </a:lnTo>
                  <a:lnTo>
                    <a:pt x="22" y="70"/>
                  </a:lnTo>
                  <a:lnTo>
                    <a:pt x="22" y="70"/>
                  </a:lnTo>
                  <a:lnTo>
                    <a:pt x="18" y="66"/>
                  </a:lnTo>
                  <a:lnTo>
                    <a:pt x="18" y="66"/>
                  </a:lnTo>
                  <a:lnTo>
                    <a:pt x="18" y="66"/>
                  </a:lnTo>
                  <a:lnTo>
                    <a:pt x="18" y="66"/>
                  </a:lnTo>
                  <a:lnTo>
                    <a:pt x="18" y="66"/>
                  </a:lnTo>
                  <a:lnTo>
                    <a:pt x="14" y="64"/>
                  </a:lnTo>
                  <a:lnTo>
                    <a:pt x="14" y="64"/>
                  </a:lnTo>
                  <a:lnTo>
                    <a:pt x="14" y="60"/>
                  </a:lnTo>
                  <a:lnTo>
                    <a:pt x="14" y="60"/>
                  </a:lnTo>
                  <a:lnTo>
                    <a:pt x="12" y="56"/>
                  </a:lnTo>
                  <a:lnTo>
                    <a:pt x="12" y="56"/>
                  </a:lnTo>
                  <a:lnTo>
                    <a:pt x="12" y="52"/>
                  </a:lnTo>
                  <a:lnTo>
                    <a:pt x="12" y="52"/>
                  </a:lnTo>
                  <a:lnTo>
                    <a:pt x="12" y="52"/>
                  </a:lnTo>
                  <a:lnTo>
                    <a:pt x="12" y="48"/>
                  </a:lnTo>
                  <a:lnTo>
                    <a:pt x="12" y="48"/>
                  </a:lnTo>
                  <a:lnTo>
                    <a:pt x="12" y="48"/>
                  </a:lnTo>
                  <a:lnTo>
                    <a:pt x="12" y="48"/>
                  </a:lnTo>
                  <a:lnTo>
                    <a:pt x="12" y="48"/>
                  </a:lnTo>
                  <a:lnTo>
                    <a:pt x="12" y="44"/>
                  </a:lnTo>
                  <a:lnTo>
                    <a:pt x="12" y="44"/>
                  </a:lnTo>
                  <a:lnTo>
                    <a:pt x="8" y="44"/>
                  </a:lnTo>
                  <a:lnTo>
                    <a:pt x="8" y="44"/>
                  </a:lnTo>
                  <a:lnTo>
                    <a:pt x="4" y="44"/>
                  </a:lnTo>
                  <a:lnTo>
                    <a:pt x="4" y="44"/>
                  </a:lnTo>
                  <a:lnTo>
                    <a:pt x="4" y="44"/>
                  </a:lnTo>
                  <a:lnTo>
                    <a:pt x="4" y="44"/>
                  </a:lnTo>
                  <a:lnTo>
                    <a:pt x="4" y="40"/>
                  </a:lnTo>
                  <a:lnTo>
                    <a:pt x="4" y="40"/>
                  </a:lnTo>
                  <a:lnTo>
                    <a:pt x="4" y="40"/>
                  </a:lnTo>
                  <a:lnTo>
                    <a:pt x="4" y="40"/>
                  </a:lnTo>
                  <a:lnTo>
                    <a:pt x="4" y="40"/>
                  </a:lnTo>
                  <a:lnTo>
                    <a:pt x="4" y="40"/>
                  </a:lnTo>
                  <a:lnTo>
                    <a:pt x="0" y="40"/>
                  </a:lnTo>
                  <a:lnTo>
                    <a:pt x="0" y="36"/>
                  </a:lnTo>
                  <a:lnTo>
                    <a:pt x="0" y="36"/>
                  </a:lnTo>
                  <a:lnTo>
                    <a:pt x="0" y="36"/>
                  </a:lnTo>
                  <a:lnTo>
                    <a:pt x="0" y="36"/>
                  </a:lnTo>
                  <a:lnTo>
                    <a:pt x="0" y="36"/>
                  </a:lnTo>
                  <a:lnTo>
                    <a:pt x="0" y="36"/>
                  </a:lnTo>
                  <a:lnTo>
                    <a:pt x="0" y="34"/>
                  </a:lnTo>
                  <a:lnTo>
                    <a:pt x="0" y="34"/>
                  </a:lnTo>
                  <a:lnTo>
                    <a:pt x="0" y="34"/>
                  </a:lnTo>
                  <a:lnTo>
                    <a:pt x="0" y="30"/>
                  </a:lnTo>
                  <a:lnTo>
                    <a:pt x="0" y="30"/>
                  </a:lnTo>
                  <a:lnTo>
                    <a:pt x="0" y="30"/>
                  </a:lnTo>
                  <a:lnTo>
                    <a:pt x="0" y="30"/>
                  </a:lnTo>
                  <a:lnTo>
                    <a:pt x="0" y="30"/>
                  </a:lnTo>
                  <a:lnTo>
                    <a:pt x="0" y="30"/>
                  </a:lnTo>
                  <a:lnTo>
                    <a:pt x="0" y="30"/>
                  </a:lnTo>
                  <a:lnTo>
                    <a:pt x="0" y="26"/>
                  </a:lnTo>
                  <a:lnTo>
                    <a:pt x="0" y="22"/>
                  </a:lnTo>
                  <a:lnTo>
                    <a:pt x="4" y="22"/>
                  </a:lnTo>
                  <a:lnTo>
                    <a:pt x="0" y="22"/>
                  </a:lnTo>
                  <a:lnTo>
                    <a:pt x="0" y="22"/>
                  </a:lnTo>
                  <a:lnTo>
                    <a:pt x="0" y="22"/>
                  </a:lnTo>
                  <a:lnTo>
                    <a:pt x="0" y="18"/>
                  </a:lnTo>
                  <a:lnTo>
                    <a:pt x="0" y="18"/>
                  </a:lnTo>
                  <a:lnTo>
                    <a:pt x="4" y="18"/>
                  </a:lnTo>
                  <a:lnTo>
                    <a:pt x="4" y="18"/>
                  </a:lnTo>
                  <a:lnTo>
                    <a:pt x="4" y="18"/>
                  </a:lnTo>
                  <a:lnTo>
                    <a:pt x="4" y="18"/>
                  </a:lnTo>
                  <a:lnTo>
                    <a:pt x="8" y="18"/>
                  </a:lnTo>
                  <a:lnTo>
                    <a:pt x="8" y="18"/>
                  </a:lnTo>
                  <a:lnTo>
                    <a:pt x="8" y="14"/>
                  </a:lnTo>
                  <a:lnTo>
                    <a:pt x="8" y="14"/>
                  </a:lnTo>
                  <a:lnTo>
                    <a:pt x="12" y="14"/>
                  </a:lnTo>
                  <a:lnTo>
                    <a:pt x="12" y="14"/>
                  </a:lnTo>
                  <a:lnTo>
                    <a:pt x="12" y="14"/>
                  </a:lnTo>
                  <a:lnTo>
                    <a:pt x="12" y="14"/>
                  </a:lnTo>
                  <a:lnTo>
                    <a:pt x="12" y="14"/>
                  </a:lnTo>
                  <a:lnTo>
                    <a:pt x="12" y="14"/>
                  </a:lnTo>
                  <a:lnTo>
                    <a:pt x="12" y="10"/>
                  </a:lnTo>
                  <a:lnTo>
                    <a:pt x="12" y="14"/>
                  </a:lnTo>
                  <a:lnTo>
                    <a:pt x="12" y="14"/>
                  </a:lnTo>
                  <a:lnTo>
                    <a:pt x="8" y="10"/>
                  </a:lnTo>
                  <a:lnTo>
                    <a:pt x="12" y="10"/>
                  </a:lnTo>
                  <a:lnTo>
                    <a:pt x="12" y="10"/>
                  </a:lnTo>
                  <a:lnTo>
                    <a:pt x="12" y="6"/>
                  </a:lnTo>
                  <a:lnTo>
                    <a:pt x="12" y="6"/>
                  </a:lnTo>
                  <a:lnTo>
                    <a:pt x="12" y="6"/>
                  </a:lnTo>
                  <a:lnTo>
                    <a:pt x="12" y="4"/>
                  </a:lnTo>
                  <a:lnTo>
                    <a:pt x="12" y="4"/>
                  </a:lnTo>
                  <a:lnTo>
                    <a:pt x="12" y="4"/>
                  </a:lnTo>
                  <a:lnTo>
                    <a:pt x="12" y="0"/>
                  </a:lnTo>
                  <a:lnTo>
                    <a:pt x="14" y="0"/>
                  </a:lnTo>
                  <a:lnTo>
                    <a:pt x="14" y="0"/>
                  </a:lnTo>
                  <a:lnTo>
                    <a:pt x="18" y="0"/>
                  </a:lnTo>
                  <a:lnTo>
                    <a:pt x="18" y="0"/>
                  </a:lnTo>
                  <a:lnTo>
                    <a:pt x="18" y="0"/>
                  </a:lnTo>
                  <a:lnTo>
                    <a:pt x="22" y="0"/>
                  </a:lnTo>
                  <a:lnTo>
                    <a:pt x="26" y="0"/>
                  </a:lnTo>
                  <a:lnTo>
                    <a:pt x="26" y="4"/>
                  </a:lnTo>
                  <a:lnTo>
                    <a:pt x="30" y="4"/>
                  </a:lnTo>
                  <a:lnTo>
                    <a:pt x="30" y="4"/>
                  </a:lnTo>
                  <a:lnTo>
                    <a:pt x="30" y="4"/>
                  </a:lnTo>
                  <a:lnTo>
                    <a:pt x="30" y="4"/>
                  </a:lnTo>
                  <a:lnTo>
                    <a:pt x="30" y="4"/>
                  </a:lnTo>
                  <a:lnTo>
                    <a:pt x="30" y="4"/>
                  </a:lnTo>
                  <a:lnTo>
                    <a:pt x="30" y="4"/>
                  </a:lnTo>
                  <a:lnTo>
                    <a:pt x="30" y="4"/>
                  </a:lnTo>
                  <a:lnTo>
                    <a:pt x="30" y="0"/>
                  </a:lnTo>
                  <a:lnTo>
                    <a:pt x="30" y="0"/>
                  </a:lnTo>
                  <a:lnTo>
                    <a:pt x="30" y="0"/>
                  </a:lnTo>
                  <a:lnTo>
                    <a:pt x="34" y="0"/>
                  </a:lnTo>
                  <a:lnTo>
                    <a:pt x="34" y="0"/>
                  </a:lnTo>
                  <a:lnTo>
                    <a:pt x="38" y="0"/>
                  </a:lnTo>
                  <a:lnTo>
                    <a:pt x="38" y="0"/>
                  </a:lnTo>
                  <a:lnTo>
                    <a:pt x="38" y="0"/>
                  </a:lnTo>
                  <a:lnTo>
                    <a:pt x="38" y="0"/>
                  </a:lnTo>
                  <a:lnTo>
                    <a:pt x="38" y="0"/>
                  </a:lnTo>
                  <a:lnTo>
                    <a:pt x="38" y="0"/>
                  </a:lnTo>
                  <a:lnTo>
                    <a:pt x="42" y="0"/>
                  </a:lnTo>
                  <a:lnTo>
                    <a:pt x="42" y="4"/>
                  </a:lnTo>
                  <a:lnTo>
                    <a:pt x="42" y="4"/>
                  </a:lnTo>
                  <a:lnTo>
                    <a:pt x="42" y="4"/>
                  </a:lnTo>
                  <a:lnTo>
                    <a:pt x="42" y="4"/>
                  </a:lnTo>
                  <a:lnTo>
                    <a:pt x="42" y="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95" name="Freeform 188"/>
            <p:cNvSpPr>
              <a:spLocks/>
            </p:cNvSpPr>
            <p:nvPr/>
          </p:nvSpPr>
          <p:spPr bwMode="auto">
            <a:xfrm>
              <a:off x="6520317" y="4505645"/>
              <a:ext cx="48983" cy="58841"/>
            </a:xfrm>
            <a:custGeom>
              <a:avLst/>
              <a:gdLst>
                <a:gd name="T0" fmla="*/ 4 w 78"/>
                <a:gd name="T1" fmla="*/ 60 h 90"/>
                <a:gd name="T2" fmla="*/ 4 w 78"/>
                <a:gd name="T3" fmla="*/ 56 h 90"/>
                <a:gd name="T4" fmla="*/ 4 w 78"/>
                <a:gd name="T5" fmla="*/ 56 h 90"/>
                <a:gd name="T6" fmla="*/ 8 w 78"/>
                <a:gd name="T7" fmla="*/ 48 h 90"/>
                <a:gd name="T8" fmla="*/ 4 w 78"/>
                <a:gd name="T9" fmla="*/ 48 h 90"/>
                <a:gd name="T10" fmla="*/ 4 w 78"/>
                <a:gd name="T11" fmla="*/ 40 h 90"/>
                <a:gd name="T12" fmla="*/ 4 w 78"/>
                <a:gd name="T13" fmla="*/ 40 h 90"/>
                <a:gd name="T14" fmla="*/ 4 w 78"/>
                <a:gd name="T15" fmla="*/ 36 h 90"/>
                <a:gd name="T16" fmla="*/ 4 w 78"/>
                <a:gd name="T17" fmla="*/ 34 h 90"/>
                <a:gd name="T18" fmla="*/ 4 w 78"/>
                <a:gd name="T19" fmla="*/ 30 h 90"/>
                <a:gd name="T20" fmla="*/ 8 w 78"/>
                <a:gd name="T21" fmla="*/ 26 h 90"/>
                <a:gd name="T22" fmla="*/ 8 w 78"/>
                <a:gd name="T23" fmla="*/ 22 h 90"/>
                <a:gd name="T24" fmla="*/ 8 w 78"/>
                <a:gd name="T25" fmla="*/ 14 h 90"/>
                <a:gd name="T26" fmla="*/ 12 w 78"/>
                <a:gd name="T27" fmla="*/ 10 h 90"/>
                <a:gd name="T28" fmla="*/ 8 w 78"/>
                <a:gd name="T29" fmla="*/ 6 h 90"/>
                <a:gd name="T30" fmla="*/ 12 w 78"/>
                <a:gd name="T31" fmla="*/ 2 h 90"/>
                <a:gd name="T32" fmla="*/ 16 w 78"/>
                <a:gd name="T33" fmla="*/ 0 h 90"/>
                <a:gd name="T34" fmla="*/ 16 w 78"/>
                <a:gd name="T35" fmla="*/ 2 h 90"/>
                <a:gd name="T36" fmla="*/ 18 w 78"/>
                <a:gd name="T37" fmla="*/ 2 h 90"/>
                <a:gd name="T38" fmla="*/ 18 w 78"/>
                <a:gd name="T39" fmla="*/ 0 h 90"/>
                <a:gd name="T40" fmla="*/ 22 w 78"/>
                <a:gd name="T41" fmla="*/ 0 h 90"/>
                <a:gd name="T42" fmla="*/ 26 w 78"/>
                <a:gd name="T43" fmla="*/ 2 h 90"/>
                <a:gd name="T44" fmla="*/ 34 w 78"/>
                <a:gd name="T45" fmla="*/ 6 h 90"/>
                <a:gd name="T46" fmla="*/ 38 w 78"/>
                <a:gd name="T47" fmla="*/ 14 h 90"/>
                <a:gd name="T48" fmla="*/ 38 w 78"/>
                <a:gd name="T49" fmla="*/ 14 h 90"/>
                <a:gd name="T50" fmla="*/ 42 w 78"/>
                <a:gd name="T51" fmla="*/ 14 h 90"/>
                <a:gd name="T52" fmla="*/ 46 w 78"/>
                <a:gd name="T53" fmla="*/ 14 h 90"/>
                <a:gd name="T54" fmla="*/ 48 w 78"/>
                <a:gd name="T55" fmla="*/ 22 h 90"/>
                <a:gd name="T56" fmla="*/ 52 w 78"/>
                <a:gd name="T57" fmla="*/ 22 h 90"/>
                <a:gd name="T58" fmla="*/ 52 w 78"/>
                <a:gd name="T59" fmla="*/ 22 h 90"/>
                <a:gd name="T60" fmla="*/ 60 w 78"/>
                <a:gd name="T61" fmla="*/ 30 h 90"/>
                <a:gd name="T62" fmla="*/ 64 w 78"/>
                <a:gd name="T63" fmla="*/ 30 h 90"/>
                <a:gd name="T64" fmla="*/ 68 w 78"/>
                <a:gd name="T65" fmla="*/ 36 h 90"/>
                <a:gd name="T66" fmla="*/ 72 w 78"/>
                <a:gd name="T67" fmla="*/ 40 h 90"/>
                <a:gd name="T68" fmla="*/ 76 w 78"/>
                <a:gd name="T69" fmla="*/ 44 h 90"/>
                <a:gd name="T70" fmla="*/ 76 w 78"/>
                <a:gd name="T71" fmla="*/ 48 h 90"/>
                <a:gd name="T72" fmla="*/ 72 w 78"/>
                <a:gd name="T73" fmla="*/ 52 h 90"/>
                <a:gd name="T74" fmla="*/ 72 w 78"/>
                <a:gd name="T75" fmla="*/ 56 h 90"/>
                <a:gd name="T76" fmla="*/ 72 w 78"/>
                <a:gd name="T77" fmla="*/ 60 h 90"/>
                <a:gd name="T78" fmla="*/ 72 w 78"/>
                <a:gd name="T79" fmla="*/ 64 h 90"/>
                <a:gd name="T80" fmla="*/ 72 w 78"/>
                <a:gd name="T81" fmla="*/ 66 h 90"/>
                <a:gd name="T82" fmla="*/ 72 w 78"/>
                <a:gd name="T83" fmla="*/ 66 h 90"/>
                <a:gd name="T84" fmla="*/ 72 w 78"/>
                <a:gd name="T85" fmla="*/ 70 h 90"/>
                <a:gd name="T86" fmla="*/ 68 w 78"/>
                <a:gd name="T87" fmla="*/ 78 h 90"/>
                <a:gd name="T88" fmla="*/ 64 w 78"/>
                <a:gd name="T89" fmla="*/ 82 h 90"/>
                <a:gd name="T90" fmla="*/ 60 w 78"/>
                <a:gd name="T91" fmla="*/ 82 h 90"/>
                <a:gd name="T92" fmla="*/ 60 w 78"/>
                <a:gd name="T93" fmla="*/ 82 h 90"/>
                <a:gd name="T94" fmla="*/ 52 w 78"/>
                <a:gd name="T95" fmla="*/ 86 h 90"/>
                <a:gd name="T96" fmla="*/ 48 w 78"/>
                <a:gd name="T97" fmla="*/ 86 h 90"/>
                <a:gd name="T98" fmla="*/ 46 w 78"/>
                <a:gd name="T99" fmla="*/ 90 h 90"/>
                <a:gd name="T100" fmla="*/ 46 w 78"/>
                <a:gd name="T101" fmla="*/ 86 h 90"/>
                <a:gd name="T102" fmla="*/ 38 w 78"/>
                <a:gd name="T103" fmla="*/ 86 h 90"/>
                <a:gd name="T104" fmla="*/ 34 w 78"/>
                <a:gd name="T105" fmla="*/ 86 h 90"/>
                <a:gd name="T106" fmla="*/ 30 w 78"/>
                <a:gd name="T107" fmla="*/ 86 h 90"/>
                <a:gd name="T108" fmla="*/ 22 w 78"/>
                <a:gd name="T109" fmla="*/ 82 h 90"/>
                <a:gd name="T110" fmla="*/ 16 w 78"/>
                <a:gd name="T111" fmla="*/ 78 h 90"/>
                <a:gd name="T112" fmla="*/ 8 w 78"/>
                <a:gd name="T113" fmla="*/ 78 h 90"/>
                <a:gd name="T114" fmla="*/ 4 w 78"/>
                <a:gd name="T115" fmla="*/ 74 h 90"/>
                <a:gd name="T116" fmla="*/ 4 w 78"/>
                <a:gd name="T117" fmla="*/ 70 h 90"/>
                <a:gd name="T118" fmla="*/ 0 w 78"/>
                <a:gd name="T119" fmla="*/ 64 h 90"/>
                <a:gd name="T120" fmla="*/ 0 w 78"/>
                <a:gd name="T121" fmla="*/ 6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 h="90">
                  <a:moveTo>
                    <a:pt x="0" y="60"/>
                  </a:moveTo>
                  <a:lnTo>
                    <a:pt x="0" y="60"/>
                  </a:lnTo>
                  <a:lnTo>
                    <a:pt x="0" y="60"/>
                  </a:lnTo>
                  <a:lnTo>
                    <a:pt x="0" y="60"/>
                  </a:lnTo>
                  <a:lnTo>
                    <a:pt x="4" y="60"/>
                  </a:lnTo>
                  <a:lnTo>
                    <a:pt x="4" y="56"/>
                  </a:lnTo>
                  <a:lnTo>
                    <a:pt x="4" y="56"/>
                  </a:lnTo>
                  <a:lnTo>
                    <a:pt x="4" y="56"/>
                  </a:lnTo>
                  <a:lnTo>
                    <a:pt x="4" y="56"/>
                  </a:lnTo>
                  <a:lnTo>
                    <a:pt x="4" y="56"/>
                  </a:lnTo>
                  <a:lnTo>
                    <a:pt x="4" y="56"/>
                  </a:lnTo>
                  <a:lnTo>
                    <a:pt x="4" y="56"/>
                  </a:lnTo>
                  <a:lnTo>
                    <a:pt x="4" y="56"/>
                  </a:lnTo>
                  <a:lnTo>
                    <a:pt x="4" y="56"/>
                  </a:lnTo>
                  <a:lnTo>
                    <a:pt x="4" y="56"/>
                  </a:lnTo>
                  <a:lnTo>
                    <a:pt x="4" y="56"/>
                  </a:lnTo>
                  <a:lnTo>
                    <a:pt x="4" y="52"/>
                  </a:lnTo>
                  <a:lnTo>
                    <a:pt x="8" y="52"/>
                  </a:lnTo>
                  <a:lnTo>
                    <a:pt x="8" y="52"/>
                  </a:lnTo>
                  <a:lnTo>
                    <a:pt x="8" y="48"/>
                  </a:lnTo>
                  <a:lnTo>
                    <a:pt x="8" y="48"/>
                  </a:lnTo>
                  <a:lnTo>
                    <a:pt x="8" y="48"/>
                  </a:lnTo>
                  <a:lnTo>
                    <a:pt x="4" y="48"/>
                  </a:lnTo>
                  <a:lnTo>
                    <a:pt x="4" y="48"/>
                  </a:lnTo>
                  <a:lnTo>
                    <a:pt x="4" y="48"/>
                  </a:lnTo>
                  <a:lnTo>
                    <a:pt x="4" y="48"/>
                  </a:lnTo>
                  <a:lnTo>
                    <a:pt x="4" y="48"/>
                  </a:lnTo>
                  <a:lnTo>
                    <a:pt x="4" y="44"/>
                  </a:lnTo>
                  <a:lnTo>
                    <a:pt x="4" y="44"/>
                  </a:lnTo>
                  <a:lnTo>
                    <a:pt x="4" y="40"/>
                  </a:lnTo>
                  <a:lnTo>
                    <a:pt x="4" y="40"/>
                  </a:lnTo>
                  <a:lnTo>
                    <a:pt x="4" y="40"/>
                  </a:lnTo>
                  <a:lnTo>
                    <a:pt x="4" y="40"/>
                  </a:lnTo>
                  <a:lnTo>
                    <a:pt x="4" y="40"/>
                  </a:lnTo>
                  <a:lnTo>
                    <a:pt x="4" y="40"/>
                  </a:lnTo>
                  <a:lnTo>
                    <a:pt x="8" y="40"/>
                  </a:lnTo>
                  <a:lnTo>
                    <a:pt x="8" y="36"/>
                  </a:lnTo>
                  <a:lnTo>
                    <a:pt x="8" y="36"/>
                  </a:lnTo>
                  <a:lnTo>
                    <a:pt x="4" y="36"/>
                  </a:lnTo>
                  <a:lnTo>
                    <a:pt x="4" y="36"/>
                  </a:lnTo>
                  <a:lnTo>
                    <a:pt x="4" y="36"/>
                  </a:lnTo>
                  <a:lnTo>
                    <a:pt x="4" y="36"/>
                  </a:lnTo>
                  <a:lnTo>
                    <a:pt x="4" y="36"/>
                  </a:lnTo>
                  <a:lnTo>
                    <a:pt x="4" y="34"/>
                  </a:lnTo>
                  <a:lnTo>
                    <a:pt x="4" y="34"/>
                  </a:lnTo>
                  <a:lnTo>
                    <a:pt x="4" y="34"/>
                  </a:lnTo>
                  <a:lnTo>
                    <a:pt x="4" y="30"/>
                  </a:lnTo>
                  <a:lnTo>
                    <a:pt x="4" y="30"/>
                  </a:lnTo>
                  <a:lnTo>
                    <a:pt x="4" y="30"/>
                  </a:lnTo>
                  <a:lnTo>
                    <a:pt x="4" y="30"/>
                  </a:lnTo>
                  <a:lnTo>
                    <a:pt x="8" y="30"/>
                  </a:lnTo>
                  <a:lnTo>
                    <a:pt x="8" y="30"/>
                  </a:lnTo>
                  <a:lnTo>
                    <a:pt x="8" y="30"/>
                  </a:lnTo>
                  <a:lnTo>
                    <a:pt x="8" y="26"/>
                  </a:lnTo>
                  <a:lnTo>
                    <a:pt x="8" y="26"/>
                  </a:lnTo>
                  <a:lnTo>
                    <a:pt x="8" y="26"/>
                  </a:lnTo>
                  <a:lnTo>
                    <a:pt x="8" y="26"/>
                  </a:lnTo>
                  <a:lnTo>
                    <a:pt x="8" y="26"/>
                  </a:lnTo>
                  <a:lnTo>
                    <a:pt x="8" y="26"/>
                  </a:lnTo>
                  <a:lnTo>
                    <a:pt x="8" y="22"/>
                  </a:lnTo>
                  <a:lnTo>
                    <a:pt x="8" y="22"/>
                  </a:lnTo>
                  <a:lnTo>
                    <a:pt x="8" y="22"/>
                  </a:lnTo>
                  <a:lnTo>
                    <a:pt x="8" y="22"/>
                  </a:lnTo>
                  <a:lnTo>
                    <a:pt x="8" y="18"/>
                  </a:lnTo>
                  <a:lnTo>
                    <a:pt x="8" y="14"/>
                  </a:lnTo>
                  <a:lnTo>
                    <a:pt x="12" y="10"/>
                  </a:lnTo>
                  <a:lnTo>
                    <a:pt x="12" y="10"/>
                  </a:lnTo>
                  <a:lnTo>
                    <a:pt x="12" y="10"/>
                  </a:lnTo>
                  <a:lnTo>
                    <a:pt x="12" y="10"/>
                  </a:lnTo>
                  <a:lnTo>
                    <a:pt x="12" y="10"/>
                  </a:lnTo>
                  <a:lnTo>
                    <a:pt x="12" y="10"/>
                  </a:lnTo>
                  <a:lnTo>
                    <a:pt x="8" y="6"/>
                  </a:lnTo>
                  <a:lnTo>
                    <a:pt x="8" y="6"/>
                  </a:lnTo>
                  <a:lnTo>
                    <a:pt x="8" y="6"/>
                  </a:lnTo>
                  <a:lnTo>
                    <a:pt x="8" y="6"/>
                  </a:lnTo>
                  <a:lnTo>
                    <a:pt x="8" y="6"/>
                  </a:lnTo>
                  <a:lnTo>
                    <a:pt x="8" y="6"/>
                  </a:lnTo>
                  <a:lnTo>
                    <a:pt x="12" y="2"/>
                  </a:lnTo>
                  <a:lnTo>
                    <a:pt x="12" y="2"/>
                  </a:lnTo>
                  <a:lnTo>
                    <a:pt x="12" y="2"/>
                  </a:lnTo>
                  <a:lnTo>
                    <a:pt x="12" y="2"/>
                  </a:lnTo>
                  <a:lnTo>
                    <a:pt x="12" y="2"/>
                  </a:lnTo>
                  <a:lnTo>
                    <a:pt x="12" y="0"/>
                  </a:lnTo>
                  <a:lnTo>
                    <a:pt x="12" y="0"/>
                  </a:lnTo>
                  <a:lnTo>
                    <a:pt x="16" y="0"/>
                  </a:lnTo>
                  <a:lnTo>
                    <a:pt x="16" y="0"/>
                  </a:lnTo>
                  <a:lnTo>
                    <a:pt x="16" y="0"/>
                  </a:lnTo>
                  <a:lnTo>
                    <a:pt x="16" y="0"/>
                  </a:lnTo>
                  <a:lnTo>
                    <a:pt x="16" y="2"/>
                  </a:lnTo>
                  <a:lnTo>
                    <a:pt x="16" y="2"/>
                  </a:lnTo>
                  <a:lnTo>
                    <a:pt x="16" y="0"/>
                  </a:lnTo>
                  <a:lnTo>
                    <a:pt x="16" y="0"/>
                  </a:lnTo>
                  <a:lnTo>
                    <a:pt x="18" y="2"/>
                  </a:lnTo>
                  <a:lnTo>
                    <a:pt x="18" y="2"/>
                  </a:lnTo>
                  <a:lnTo>
                    <a:pt x="18" y="2"/>
                  </a:lnTo>
                  <a:lnTo>
                    <a:pt x="18" y="2"/>
                  </a:lnTo>
                  <a:lnTo>
                    <a:pt x="18" y="2"/>
                  </a:lnTo>
                  <a:lnTo>
                    <a:pt x="18" y="0"/>
                  </a:lnTo>
                  <a:lnTo>
                    <a:pt x="18" y="0"/>
                  </a:lnTo>
                  <a:lnTo>
                    <a:pt x="18" y="0"/>
                  </a:lnTo>
                  <a:lnTo>
                    <a:pt x="18" y="0"/>
                  </a:lnTo>
                  <a:lnTo>
                    <a:pt x="18" y="0"/>
                  </a:lnTo>
                  <a:lnTo>
                    <a:pt x="22" y="0"/>
                  </a:lnTo>
                  <a:lnTo>
                    <a:pt x="22" y="0"/>
                  </a:lnTo>
                  <a:lnTo>
                    <a:pt x="22" y="0"/>
                  </a:lnTo>
                  <a:lnTo>
                    <a:pt x="22" y="0"/>
                  </a:lnTo>
                  <a:lnTo>
                    <a:pt x="26" y="0"/>
                  </a:lnTo>
                  <a:lnTo>
                    <a:pt x="26" y="2"/>
                  </a:lnTo>
                  <a:lnTo>
                    <a:pt x="26" y="2"/>
                  </a:lnTo>
                  <a:lnTo>
                    <a:pt x="26" y="2"/>
                  </a:lnTo>
                  <a:lnTo>
                    <a:pt x="30" y="2"/>
                  </a:lnTo>
                  <a:lnTo>
                    <a:pt x="30" y="2"/>
                  </a:lnTo>
                  <a:lnTo>
                    <a:pt x="30" y="6"/>
                  </a:lnTo>
                  <a:lnTo>
                    <a:pt x="30" y="6"/>
                  </a:lnTo>
                  <a:lnTo>
                    <a:pt x="34" y="6"/>
                  </a:lnTo>
                  <a:lnTo>
                    <a:pt x="34" y="6"/>
                  </a:lnTo>
                  <a:lnTo>
                    <a:pt x="34" y="10"/>
                  </a:lnTo>
                  <a:lnTo>
                    <a:pt x="38" y="10"/>
                  </a:lnTo>
                  <a:lnTo>
                    <a:pt x="38" y="10"/>
                  </a:lnTo>
                  <a:lnTo>
                    <a:pt x="38" y="14"/>
                  </a:lnTo>
                  <a:lnTo>
                    <a:pt x="34" y="14"/>
                  </a:lnTo>
                  <a:lnTo>
                    <a:pt x="34" y="14"/>
                  </a:lnTo>
                  <a:lnTo>
                    <a:pt x="34" y="14"/>
                  </a:lnTo>
                  <a:lnTo>
                    <a:pt x="34" y="14"/>
                  </a:lnTo>
                  <a:lnTo>
                    <a:pt x="38" y="14"/>
                  </a:lnTo>
                  <a:lnTo>
                    <a:pt x="38" y="14"/>
                  </a:lnTo>
                  <a:lnTo>
                    <a:pt x="38" y="14"/>
                  </a:lnTo>
                  <a:lnTo>
                    <a:pt x="38" y="14"/>
                  </a:lnTo>
                  <a:lnTo>
                    <a:pt x="38" y="14"/>
                  </a:lnTo>
                  <a:lnTo>
                    <a:pt x="42" y="14"/>
                  </a:lnTo>
                  <a:lnTo>
                    <a:pt x="42" y="10"/>
                  </a:lnTo>
                  <a:lnTo>
                    <a:pt x="42" y="10"/>
                  </a:lnTo>
                  <a:lnTo>
                    <a:pt x="42" y="10"/>
                  </a:lnTo>
                  <a:lnTo>
                    <a:pt x="42" y="14"/>
                  </a:lnTo>
                  <a:lnTo>
                    <a:pt x="46" y="14"/>
                  </a:lnTo>
                  <a:lnTo>
                    <a:pt x="46" y="14"/>
                  </a:lnTo>
                  <a:lnTo>
                    <a:pt x="46" y="14"/>
                  </a:lnTo>
                  <a:lnTo>
                    <a:pt x="46" y="18"/>
                  </a:lnTo>
                  <a:lnTo>
                    <a:pt x="46" y="18"/>
                  </a:lnTo>
                  <a:lnTo>
                    <a:pt x="48" y="22"/>
                  </a:lnTo>
                  <a:lnTo>
                    <a:pt x="48" y="22"/>
                  </a:lnTo>
                  <a:lnTo>
                    <a:pt x="48" y="22"/>
                  </a:lnTo>
                  <a:lnTo>
                    <a:pt x="52" y="22"/>
                  </a:lnTo>
                  <a:lnTo>
                    <a:pt x="52" y="22"/>
                  </a:lnTo>
                  <a:lnTo>
                    <a:pt x="52" y="22"/>
                  </a:lnTo>
                  <a:lnTo>
                    <a:pt x="52" y="22"/>
                  </a:lnTo>
                  <a:lnTo>
                    <a:pt x="52" y="22"/>
                  </a:lnTo>
                  <a:lnTo>
                    <a:pt x="52" y="22"/>
                  </a:lnTo>
                  <a:lnTo>
                    <a:pt x="52" y="22"/>
                  </a:lnTo>
                  <a:lnTo>
                    <a:pt x="52" y="22"/>
                  </a:lnTo>
                  <a:lnTo>
                    <a:pt x="56" y="22"/>
                  </a:lnTo>
                  <a:lnTo>
                    <a:pt x="56" y="26"/>
                  </a:lnTo>
                  <a:lnTo>
                    <a:pt x="56" y="26"/>
                  </a:lnTo>
                  <a:lnTo>
                    <a:pt x="56" y="26"/>
                  </a:lnTo>
                  <a:lnTo>
                    <a:pt x="60" y="30"/>
                  </a:lnTo>
                  <a:lnTo>
                    <a:pt x="60" y="30"/>
                  </a:lnTo>
                  <a:lnTo>
                    <a:pt x="60" y="30"/>
                  </a:lnTo>
                  <a:lnTo>
                    <a:pt x="60" y="30"/>
                  </a:lnTo>
                  <a:lnTo>
                    <a:pt x="60" y="30"/>
                  </a:lnTo>
                  <a:lnTo>
                    <a:pt x="64" y="30"/>
                  </a:lnTo>
                  <a:lnTo>
                    <a:pt x="64" y="30"/>
                  </a:lnTo>
                  <a:lnTo>
                    <a:pt x="64" y="34"/>
                  </a:lnTo>
                  <a:lnTo>
                    <a:pt x="68" y="34"/>
                  </a:lnTo>
                  <a:lnTo>
                    <a:pt x="68" y="34"/>
                  </a:lnTo>
                  <a:lnTo>
                    <a:pt x="68" y="36"/>
                  </a:lnTo>
                  <a:lnTo>
                    <a:pt x="68" y="36"/>
                  </a:lnTo>
                  <a:lnTo>
                    <a:pt x="68" y="40"/>
                  </a:lnTo>
                  <a:lnTo>
                    <a:pt x="68" y="40"/>
                  </a:lnTo>
                  <a:lnTo>
                    <a:pt x="72" y="40"/>
                  </a:lnTo>
                  <a:lnTo>
                    <a:pt x="72" y="40"/>
                  </a:lnTo>
                  <a:lnTo>
                    <a:pt x="72" y="40"/>
                  </a:lnTo>
                  <a:lnTo>
                    <a:pt x="72" y="40"/>
                  </a:lnTo>
                  <a:lnTo>
                    <a:pt x="72" y="44"/>
                  </a:lnTo>
                  <a:lnTo>
                    <a:pt x="72" y="44"/>
                  </a:lnTo>
                  <a:lnTo>
                    <a:pt x="76" y="44"/>
                  </a:lnTo>
                  <a:lnTo>
                    <a:pt x="76" y="44"/>
                  </a:lnTo>
                  <a:lnTo>
                    <a:pt x="76" y="44"/>
                  </a:lnTo>
                  <a:lnTo>
                    <a:pt x="76" y="44"/>
                  </a:lnTo>
                  <a:lnTo>
                    <a:pt x="78" y="48"/>
                  </a:lnTo>
                  <a:lnTo>
                    <a:pt x="76" y="48"/>
                  </a:lnTo>
                  <a:lnTo>
                    <a:pt x="76" y="48"/>
                  </a:lnTo>
                  <a:lnTo>
                    <a:pt x="76" y="52"/>
                  </a:lnTo>
                  <a:lnTo>
                    <a:pt x="72" y="52"/>
                  </a:lnTo>
                  <a:lnTo>
                    <a:pt x="72" y="52"/>
                  </a:lnTo>
                  <a:lnTo>
                    <a:pt x="72" y="52"/>
                  </a:lnTo>
                  <a:lnTo>
                    <a:pt x="72" y="52"/>
                  </a:lnTo>
                  <a:lnTo>
                    <a:pt x="72" y="56"/>
                  </a:lnTo>
                  <a:lnTo>
                    <a:pt x="72" y="56"/>
                  </a:lnTo>
                  <a:lnTo>
                    <a:pt x="72" y="56"/>
                  </a:lnTo>
                  <a:lnTo>
                    <a:pt x="72" y="56"/>
                  </a:lnTo>
                  <a:lnTo>
                    <a:pt x="72" y="56"/>
                  </a:lnTo>
                  <a:lnTo>
                    <a:pt x="72" y="56"/>
                  </a:lnTo>
                  <a:lnTo>
                    <a:pt x="72" y="56"/>
                  </a:lnTo>
                  <a:lnTo>
                    <a:pt x="72" y="60"/>
                  </a:lnTo>
                  <a:lnTo>
                    <a:pt x="72" y="60"/>
                  </a:lnTo>
                  <a:lnTo>
                    <a:pt x="72" y="60"/>
                  </a:lnTo>
                  <a:lnTo>
                    <a:pt x="72" y="60"/>
                  </a:lnTo>
                  <a:lnTo>
                    <a:pt x="72" y="60"/>
                  </a:lnTo>
                  <a:lnTo>
                    <a:pt x="72" y="64"/>
                  </a:lnTo>
                  <a:lnTo>
                    <a:pt x="72" y="64"/>
                  </a:lnTo>
                  <a:lnTo>
                    <a:pt x="72" y="64"/>
                  </a:lnTo>
                  <a:lnTo>
                    <a:pt x="72" y="64"/>
                  </a:lnTo>
                  <a:lnTo>
                    <a:pt x="72" y="64"/>
                  </a:lnTo>
                  <a:lnTo>
                    <a:pt x="72" y="66"/>
                  </a:lnTo>
                  <a:lnTo>
                    <a:pt x="72" y="66"/>
                  </a:lnTo>
                  <a:lnTo>
                    <a:pt x="72" y="66"/>
                  </a:lnTo>
                  <a:lnTo>
                    <a:pt x="72" y="66"/>
                  </a:lnTo>
                  <a:lnTo>
                    <a:pt x="72" y="66"/>
                  </a:lnTo>
                  <a:lnTo>
                    <a:pt x="72" y="66"/>
                  </a:lnTo>
                  <a:lnTo>
                    <a:pt x="72" y="66"/>
                  </a:lnTo>
                  <a:lnTo>
                    <a:pt x="72" y="66"/>
                  </a:lnTo>
                  <a:lnTo>
                    <a:pt x="72" y="70"/>
                  </a:lnTo>
                  <a:lnTo>
                    <a:pt x="72" y="70"/>
                  </a:lnTo>
                  <a:lnTo>
                    <a:pt x="72" y="70"/>
                  </a:lnTo>
                  <a:lnTo>
                    <a:pt x="72" y="70"/>
                  </a:lnTo>
                  <a:lnTo>
                    <a:pt x="72" y="74"/>
                  </a:lnTo>
                  <a:lnTo>
                    <a:pt x="68" y="74"/>
                  </a:lnTo>
                  <a:lnTo>
                    <a:pt x="68" y="74"/>
                  </a:lnTo>
                  <a:lnTo>
                    <a:pt x="68" y="74"/>
                  </a:lnTo>
                  <a:lnTo>
                    <a:pt x="68" y="78"/>
                  </a:lnTo>
                  <a:lnTo>
                    <a:pt x="68" y="78"/>
                  </a:lnTo>
                  <a:lnTo>
                    <a:pt x="64" y="78"/>
                  </a:lnTo>
                  <a:lnTo>
                    <a:pt x="64" y="78"/>
                  </a:lnTo>
                  <a:lnTo>
                    <a:pt x="64" y="82"/>
                  </a:lnTo>
                  <a:lnTo>
                    <a:pt x="64" y="82"/>
                  </a:lnTo>
                  <a:lnTo>
                    <a:pt x="64" y="82"/>
                  </a:lnTo>
                  <a:lnTo>
                    <a:pt x="64" y="82"/>
                  </a:lnTo>
                  <a:lnTo>
                    <a:pt x="60" y="82"/>
                  </a:lnTo>
                  <a:lnTo>
                    <a:pt x="60" y="82"/>
                  </a:lnTo>
                  <a:lnTo>
                    <a:pt x="60" y="82"/>
                  </a:lnTo>
                  <a:lnTo>
                    <a:pt x="60" y="82"/>
                  </a:lnTo>
                  <a:lnTo>
                    <a:pt x="60" y="82"/>
                  </a:lnTo>
                  <a:lnTo>
                    <a:pt x="60" y="82"/>
                  </a:lnTo>
                  <a:lnTo>
                    <a:pt x="60" y="82"/>
                  </a:lnTo>
                  <a:lnTo>
                    <a:pt x="60" y="82"/>
                  </a:lnTo>
                  <a:lnTo>
                    <a:pt x="60" y="86"/>
                  </a:lnTo>
                  <a:lnTo>
                    <a:pt x="56" y="86"/>
                  </a:lnTo>
                  <a:lnTo>
                    <a:pt x="56" y="86"/>
                  </a:lnTo>
                  <a:lnTo>
                    <a:pt x="56" y="86"/>
                  </a:lnTo>
                  <a:lnTo>
                    <a:pt x="52" y="86"/>
                  </a:lnTo>
                  <a:lnTo>
                    <a:pt x="52" y="86"/>
                  </a:lnTo>
                  <a:lnTo>
                    <a:pt x="52" y="90"/>
                  </a:lnTo>
                  <a:lnTo>
                    <a:pt x="52" y="90"/>
                  </a:lnTo>
                  <a:lnTo>
                    <a:pt x="48" y="90"/>
                  </a:lnTo>
                  <a:lnTo>
                    <a:pt x="48" y="86"/>
                  </a:lnTo>
                  <a:lnTo>
                    <a:pt x="48" y="86"/>
                  </a:lnTo>
                  <a:lnTo>
                    <a:pt x="48" y="86"/>
                  </a:lnTo>
                  <a:lnTo>
                    <a:pt x="48" y="86"/>
                  </a:lnTo>
                  <a:lnTo>
                    <a:pt x="46" y="90"/>
                  </a:lnTo>
                  <a:lnTo>
                    <a:pt x="46" y="90"/>
                  </a:lnTo>
                  <a:lnTo>
                    <a:pt x="46" y="86"/>
                  </a:lnTo>
                  <a:lnTo>
                    <a:pt x="46" y="86"/>
                  </a:lnTo>
                  <a:lnTo>
                    <a:pt x="46" y="86"/>
                  </a:lnTo>
                  <a:lnTo>
                    <a:pt x="46" y="86"/>
                  </a:lnTo>
                  <a:lnTo>
                    <a:pt x="46" y="86"/>
                  </a:lnTo>
                  <a:lnTo>
                    <a:pt x="46" y="86"/>
                  </a:lnTo>
                  <a:lnTo>
                    <a:pt x="42" y="86"/>
                  </a:lnTo>
                  <a:lnTo>
                    <a:pt x="42" y="86"/>
                  </a:lnTo>
                  <a:lnTo>
                    <a:pt x="38" y="86"/>
                  </a:lnTo>
                  <a:lnTo>
                    <a:pt x="38" y="86"/>
                  </a:lnTo>
                  <a:lnTo>
                    <a:pt x="38" y="86"/>
                  </a:lnTo>
                  <a:lnTo>
                    <a:pt x="38" y="86"/>
                  </a:lnTo>
                  <a:lnTo>
                    <a:pt x="38" y="86"/>
                  </a:lnTo>
                  <a:lnTo>
                    <a:pt x="34" y="86"/>
                  </a:lnTo>
                  <a:lnTo>
                    <a:pt x="34" y="86"/>
                  </a:lnTo>
                  <a:lnTo>
                    <a:pt x="34" y="86"/>
                  </a:lnTo>
                  <a:lnTo>
                    <a:pt x="34" y="90"/>
                  </a:lnTo>
                  <a:lnTo>
                    <a:pt x="30" y="90"/>
                  </a:lnTo>
                  <a:lnTo>
                    <a:pt x="30" y="86"/>
                  </a:lnTo>
                  <a:lnTo>
                    <a:pt x="30" y="86"/>
                  </a:lnTo>
                  <a:lnTo>
                    <a:pt x="30" y="86"/>
                  </a:lnTo>
                  <a:lnTo>
                    <a:pt x="30" y="86"/>
                  </a:lnTo>
                  <a:lnTo>
                    <a:pt x="26" y="86"/>
                  </a:lnTo>
                  <a:lnTo>
                    <a:pt x="22" y="82"/>
                  </a:lnTo>
                  <a:lnTo>
                    <a:pt x="22" y="82"/>
                  </a:lnTo>
                  <a:lnTo>
                    <a:pt x="18" y="78"/>
                  </a:lnTo>
                  <a:lnTo>
                    <a:pt x="18" y="78"/>
                  </a:lnTo>
                  <a:lnTo>
                    <a:pt x="18" y="78"/>
                  </a:lnTo>
                  <a:lnTo>
                    <a:pt x="16" y="78"/>
                  </a:lnTo>
                  <a:lnTo>
                    <a:pt x="16" y="78"/>
                  </a:lnTo>
                  <a:lnTo>
                    <a:pt x="12" y="78"/>
                  </a:lnTo>
                  <a:lnTo>
                    <a:pt x="12" y="78"/>
                  </a:lnTo>
                  <a:lnTo>
                    <a:pt x="8" y="78"/>
                  </a:lnTo>
                  <a:lnTo>
                    <a:pt x="8" y="78"/>
                  </a:lnTo>
                  <a:lnTo>
                    <a:pt x="8" y="78"/>
                  </a:lnTo>
                  <a:lnTo>
                    <a:pt x="8" y="78"/>
                  </a:lnTo>
                  <a:lnTo>
                    <a:pt x="8" y="74"/>
                  </a:lnTo>
                  <a:lnTo>
                    <a:pt x="8" y="74"/>
                  </a:lnTo>
                  <a:lnTo>
                    <a:pt x="4" y="74"/>
                  </a:lnTo>
                  <a:lnTo>
                    <a:pt x="4" y="74"/>
                  </a:lnTo>
                  <a:lnTo>
                    <a:pt x="4" y="70"/>
                  </a:lnTo>
                  <a:lnTo>
                    <a:pt x="4" y="70"/>
                  </a:lnTo>
                  <a:lnTo>
                    <a:pt x="4" y="70"/>
                  </a:lnTo>
                  <a:lnTo>
                    <a:pt x="4" y="70"/>
                  </a:lnTo>
                  <a:lnTo>
                    <a:pt x="4" y="70"/>
                  </a:lnTo>
                  <a:lnTo>
                    <a:pt x="0" y="70"/>
                  </a:lnTo>
                  <a:lnTo>
                    <a:pt x="0" y="66"/>
                  </a:lnTo>
                  <a:lnTo>
                    <a:pt x="0" y="66"/>
                  </a:lnTo>
                  <a:lnTo>
                    <a:pt x="0" y="66"/>
                  </a:lnTo>
                  <a:lnTo>
                    <a:pt x="0" y="64"/>
                  </a:lnTo>
                  <a:lnTo>
                    <a:pt x="0" y="64"/>
                  </a:lnTo>
                  <a:lnTo>
                    <a:pt x="0" y="64"/>
                  </a:lnTo>
                  <a:lnTo>
                    <a:pt x="0" y="64"/>
                  </a:lnTo>
                  <a:lnTo>
                    <a:pt x="0" y="60"/>
                  </a:lnTo>
                  <a:lnTo>
                    <a:pt x="0" y="60"/>
                  </a:lnTo>
                  <a:lnTo>
                    <a:pt x="0" y="60"/>
                  </a:lnTo>
                  <a:lnTo>
                    <a:pt x="0" y="60"/>
                  </a:lnTo>
                  <a:lnTo>
                    <a:pt x="0" y="6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96" name="Freeform 189"/>
            <p:cNvSpPr>
              <a:spLocks noEditPoints="1"/>
            </p:cNvSpPr>
            <p:nvPr/>
          </p:nvSpPr>
          <p:spPr bwMode="auto">
            <a:xfrm>
              <a:off x="6389697" y="4021839"/>
              <a:ext cx="119316" cy="133373"/>
            </a:xfrm>
            <a:custGeom>
              <a:avLst/>
              <a:gdLst>
                <a:gd name="T0" fmla="*/ 108 w 190"/>
                <a:gd name="T1" fmla="*/ 38 h 204"/>
                <a:gd name="T2" fmla="*/ 126 w 190"/>
                <a:gd name="T3" fmla="*/ 30 h 204"/>
                <a:gd name="T4" fmla="*/ 126 w 190"/>
                <a:gd name="T5" fmla="*/ 30 h 204"/>
                <a:gd name="T6" fmla="*/ 148 w 190"/>
                <a:gd name="T7" fmla="*/ 28 h 204"/>
                <a:gd name="T8" fmla="*/ 152 w 190"/>
                <a:gd name="T9" fmla="*/ 30 h 204"/>
                <a:gd name="T10" fmla="*/ 148 w 190"/>
                <a:gd name="T11" fmla="*/ 34 h 204"/>
                <a:gd name="T12" fmla="*/ 152 w 190"/>
                <a:gd name="T13" fmla="*/ 42 h 204"/>
                <a:gd name="T14" fmla="*/ 156 w 190"/>
                <a:gd name="T15" fmla="*/ 42 h 204"/>
                <a:gd name="T16" fmla="*/ 160 w 190"/>
                <a:gd name="T17" fmla="*/ 42 h 204"/>
                <a:gd name="T18" fmla="*/ 172 w 190"/>
                <a:gd name="T19" fmla="*/ 46 h 204"/>
                <a:gd name="T20" fmla="*/ 172 w 190"/>
                <a:gd name="T21" fmla="*/ 58 h 204"/>
                <a:gd name="T22" fmla="*/ 168 w 190"/>
                <a:gd name="T23" fmla="*/ 68 h 204"/>
                <a:gd name="T24" fmla="*/ 190 w 190"/>
                <a:gd name="T25" fmla="*/ 68 h 204"/>
                <a:gd name="T26" fmla="*/ 178 w 190"/>
                <a:gd name="T27" fmla="*/ 84 h 204"/>
                <a:gd name="T28" fmla="*/ 178 w 190"/>
                <a:gd name="T29" fmla="*/ 94 h 204"/>
                <a:gd name="T30" fmla="*/ 172 w 190"/>
                <a:gd name="T31" fmla="*/ 106 h 204"/>
                <a:gd name="T32" fmla="*/ 178 w 190"/>
                <a:gd name="T33" fmla="*/ 128 h 204"/>
                <a:gd name="T34" fmla="*/ 168 w 190"/>
                <a:gd name="T35" fmla="*/ 140 h 204"/>
                <a:gd name="T36" fmla="*/ 152 w 190"/>
                <a:gd name="T37" fmla="*/ 144 h 204"/>
                <a:gd name="T38" fmla="*/ 142 w 190"/>
                <a:gd name="T39" fmla="*/ 144 h 204"/>
                <a:gd name="T40" fmla="*/ 130 w 190"/>
                <a:gd name="T41" fmla="*/ 148 h 204"/>
                <a:gd name="T42" fmla="*/ 118 w 190"/>
                <a:gd name="T43" fmla="*/ 140 h 204"/>
                <a:gd name="T44" fmla="*/ 126 w 190"/>
                <a:gd name="T45" fmla="*/ 154 h 204"/>
                <a:gd name="T46" fmla="*/ 134 w 190"/>
                <a:gd name="T47" fmla="*/ 170 h 204"/>
                <a:gd name="T48" fmla="*/ 134 w 190"/>
                <a:gd name="T49" fmla="*/ 178 h 204"/>
                <a:gd name="T50" fmla="*/ 118 w 190"/>
                <a:gd name="T51" fmla="*/ 192 h 204"/>
                <a:gd name="T52" fmla="*/ 108 w 190"/>
                <a:gd name="T53" fmla="*/ 204 h 204"/>
                <a:gd name="T54" fmla="*/ 98 w 190"/>
                <a:gd name="T55" fmla="*/ 200 h 204"/>
                <a:gd name="T56" fmla="*/ 86 w 190"/>
                <a:gd name="T57" fmla="*/ 174 h 204"/>
                <a:gd name="T58" fmla="*/ 82 w 190"/>
                <a:gd name="T59" fmla="*/ 154 h 204"/>
                <a:gd name="T60" fmla="*/ 78 w 190"/>
                <a:gd name="T61" fmla="*/ 144 h 204"/>
                <a:gd name="T62" fmla="*/ 78 w 190"/>
                <a:gd name="T63" fmla="*/ 120 h 204"/>
                <a:gd name="T64" fmla="*/ 74 w 190"/>
                <a:gd name="T65" fmla="*/ 106 h 204"/>
                <a:gd name="T66" fmla="*/ 56 w 190"/>
                <a:gd name="T67" fmla="*/ 106 h 204"/>
                <a:gd name="T68" fmla="*/ 42 w 190"/>
                <a:gd name="T69" fmla="*/ 90 h 204"/>
                <a:gd name="T70" fmla="*/ 26 w 190"/>
                <a:gd name="T71" fmla="*/ 90 h 204"/>
                <a:gd name="T72" fmla="*/ 12 w 190"/>
                <a:gd name="T73" fmla="*/ 84 h 204"/>
                <a:gd name="T74" fmla="*/ 12 w 190"/>
                <a:gd name="T75" fmla="*/ 68 h 204"/>
                <a:gd name="T76" fmla="*/ 0 w 190"/>
                <a:gd name="T77" fmla="*/ 54 h 204"/>
                <a:gd name="T78" fmla="*/ 4 w 190"/>
                <a:gd name="T79" fmla="*/ 34 h 204"/>
                <a:gd name="T80" fmla="*/ 14 w 190"/>
                <a:gd name="T81" fmla="*/ 20 h 204"/>
                <a:gd name="T82" fmla="*/ 26 w 190"/>
                <a:gd name="T83" fmla="*/ 12 h 204"/>
                <a:gd name="T84" fmla="*/ 22 w 190"/>
                <a:gd name="T85" fmla="*/ 24 h 204"/>
                <a:gd name="T86" fmla="*/ 14 w 190"/>
                <a:gd name="T87" fmla="*/ 42 h 204"/>
                <a:gd name="T88" fmla="*/ 22 w 190"/>
                <a:gd name="T89" fmla="*/ 58 h 204"/>
                <a:gd name="T90" fmla="*/ 30 w 190"/>
                <a:gd name="T91" fmla="*/ 38 h 204"/>
                <a:gd name="T92" fmla="*/ 26 w 190"/>
                <a:gd name="T93" fmla="*/ 24 h 204"/>
                <a:gd name="T94" fmla="*/ 42 w 190"/>
                <a:gd name="T95" fmla="*/ 16 h 204"/>
                <a:gd name="T96" fmla="*/ 44 w 190"/>
                <a:gd name="T97" fmla="*/ 12 h 204"/>
                <a:gd name="T98" fmla="*/ 48 w 190"/>
                <a:gd name="T99" fmla="*/ 8 h 204"/>
                <a:gd name="T100" fmla="*/ 64 w 190"/>
                <a:gd name="T101" fmla="*/ 16 h 204"/>
                <a:gd name="T102" fmla="*/ 78 w 190"/>
                <a:gd name="T103" fmla="*/ 30 h 204"/>
                <a:gd name="T104" fmla="*/ 98 w 190"/>
                <a:gd name="T105" fmla="*/ 30 h 204"/>
                <a:gd name="T106" fmla="*/ 174 w 190"/>
                <a:gd name="T107" fmla="*/ 58 h 204"/>
                <a:gd name="T108" fmla="*/ 174 w 190"/>
                <a:gd name="T109" fmla="*/ 60 h 204"/>
                <a:gd name="T110" fmla="*/ 172 w 190"/>
                <a:gd name="T111" fmla="*/ 64 h 204"/>
                <a:gd name="T112" fmla="*/ 172 w 190"/>
                <a:gd name="T113" fmla="*/ 64 h 204"/>
                <a:gd name="T114" fmla="*/ 172 w 190"/>
                <a:gd name="T115" fmla="*/ 64 h 204"/>
                <a:gd name="T116" fmla="*/ 168 w 190"/>
                <a:gd name="T117" fmla="*/ 68 h 204"/>
                <a:gd name="T118" fmla="*/ 172 w 190"/>
                <a:gd name="T119" fmla="*/ 64 h 204"/>
                <a:gd name="T120" fmla="*/ 126 w 190"/>
                <a:gd name="T121" fmla="*/ 24 h 204"/>
                <a:gd name="T122" fmla="*/ 130 w 190"/>
                <a:gd name="T123" fmla="*/ 28 h 204"/>
                <a:gd name="T124" fmla="*/ 112 w 190"/>
                <a:gd name="T125" fmla="*/ 2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0" h="204">
                  <a:moveTo>
                    <a:pt x="98" y="30"/>
                  </a:moveTo>
                  <a:lnTo>
                    <a:pt x="100" y="30"/>
                  </a:lnTo>
                  <a:lnTo>
                    <a:pt x="100" y="34"/>
                  </a:lnTo>
                  <a:lnTo>
                    <a:pt x="104" y="34"/>
                  </a:lnTo>
                  <a:lnTo>
                    <a:pt x="104" y="38"/>
                  </a:lnTo>
                  <a:lnTo>
                    <a:pt x="108" y="38"/>
                  </a:lnTo>
                  <a:lnTo>
                    <a:pt x="112" y="38"/>
                  </a:lnTo>
                  <a:lnTo>
                    <a:pt x="116" y="38"/>
                  </a:lnTo>
                  <a:lnTo>
                    <a:pt x="118" y="38"/>
                  </a:lnTo>
                  <a:lnTo>
                    <a:pt x="122" y="34"/>
                  </a:lnTo>
                  <a:lnTo>
                    <a:pt x="126" y="34"/>
                  </a:lnTo>
                  <a:lnTo>
                    <a:pt x="126" y="30"/>
                  </a:lnTo>
                  <a:lnTo>
                    <a:pt x="130" y="30"/>
                  </a:lnTo>
                  <a:lnTo>
                    <a:pt x="130" y="34"/>
                  </a:lnTo>
                  <a:lnTo>
                    <a:pt x="134" y="34"/>
                  </a:lnTo>
                  <a:lnTo>
                    <a:pt x="134" y="30"/>
                  </a:lnTo>
                  <a:lnTo>
                    <a:pt x="130" y="30"/>
                  </a:lnTo>
                  <a:lnTo>
                    <a:pt x="126" y="30"/>
                  </a:lnTo>
                  <a:lnTo>
                    <a:pt x="130" y="30"/>
                  </a:lnTo>
                  <a:lnTo>
                    <a:pt x="134" y="30"/>
                  </a:lnTo>
                  <a:lnTo>
                    <a:pt x="138" y="30"/>
                  </a:lnTo>
                  <a:lnTo>
                    <a:pt x="142" y="28"/>
                  </a:lnTo>
                  <a:lnTo>
                    <a:pt x="144" y="28"/>
                  </a:lnTo>
                  <a:lnTo>
                    <a:pt x="148" y="28"/>
                  </a:lnTo>
                  <a:lnTo>
                    <a:pt x="152" y="28"/>
                  </a:lnTo>
                  <a:lnTo>
                    <a:pt x="156" y="28"/>
                  </a:lnTo>
                  <a:lnTo>
                    <a:pt x="160" y="28"/>
                  </a:lnTo>
                  <a:lnTo>
                    <a:pt x="160" y="30"/>
                  </a:lnTo>
                  <a:lnTo>
                    <a:pt x="156" y="30"/>
                  </a:lnTo>
                  <a:lnTo>
                    <a:pt x="152" y="30"/>
                  </a:lnTo>
                  <a:lnTo>
                    <a:pt x="148" y="30"/>
                  </a:lnTo>
                  <a:lnTo>
                    <a:pt x="144" y="30"/>
                  </a:lnTo>
                  <a:lnTo>
                    <a:pt x="148" y="30"/>
                  </a:lnTo>
                  <a:lnTo>
                    <a:pt x="148" y="34"/>
                  </a:lnTo>
                  <a:lnTo>
                    <a:pt x="144" y="34"/>
                  </a:lnTo>
                  <a:lnTo>
                    <a:pt x="148" y="34"/>
                  </a:lnTo>
                  <a:lnTo>
                    <a:pt x="148" y="38"/>
                  </a:lnTo>
                  <a:lnTo>
                    <a:pt x="144" y="38"/>
                  </a:lnTo>
                  <a:lnTo>
                    <a:pt x="148" y="42"/>
                  </a:lnTo>
                  <a:lnTo>
                    <a:pt x="148" y="38"/>
                  </a:lnTo>
                  <a:lnTo>
                    <a:pt x="152" y="38"/>
                  </a:lnTo>
                  <a:lnTo>
                    <a:pt x="152" y="42"/>
                  </a:lnTo>
                  <a:lnTo>
                    <a:pt x="156" y="46"/>
                  </a:lnTo>
                  <a:lnTo>
                    <a:pt x="152" y="46"/>
                  </a:lnTo>
                  <a:lnTo>
                    <a:pt x="156" y="46"/>
                  </a:lnTo>
                  <a:lnTo>
                    <a:pt x="156" y="42"/>
                  </a:lnTo>
                  <a:lnTo>
                    <a:pt x="156" y="46"/>
                  </a:lnTo>
                  <a:lnTo>
                    <a:pt x="156" y="42"/>
                  </a:lnTo>
                  <a:lnTo>
                    <a:pt x="160" y="42"/>
                  </a:lnTo>
                  <a:lnTo>
                    <a:pt x="156" y="42"/>
                  </a:lnTo>
                  <a:lnTo>
                    <a:pt x="160" y="42"/>
                  </a:lnTo>
                  <a:lnTo>
                    <a:pt x="160" y="46"/>
                  </a:lnTo>
                  <a:lnTo>
                    <a:pt x="164" y="46"/>
                  </a:lnTo>
                  <a:lnTo>
                    <a:pt x="160" y="42"/>
                  </a:lnTo>
                  <a:lnTo>
                    <a:pt x="164" y="42"/>
                  </a:lnTo>
                  <a:lnTo>
                    <a:pt x="164" y="46"/>
                  </a:lnTo>
                  <a:lnTo>
                    <a:pt x="164" y="42"/>
                  </a:lnTo>
                  <a:lnTo>
                    <a:pt x="168" y="42"/>
                  </a:lnTo>
                  <a:lnTo>
                    <a:pt x="168" y="46"/>
                  </a:lnTo>
                  <a:lnTo>
                    <a:pt x="172" y="46"/>
                  </a:lnTo>
                  <a:lnTo>
                    <a:pt x="172" y="50"/>
                  </a:lnTo>
                  <a:lnTo>
                    <a:pt x="174" y="50"/>
                  </a:lnTo>
                  <a:lnTo>
                    <a:pt x="174" y="54"/>
                  </a:lnTo>
                  <a:lnTo>
                    <a:pt x="172" y="58"/>
                  </a:lnTo>
                  <a:lnTo>
                    <a:pt x="174" y="54"/>
                  </a:lnTo>
                  <a:lnTo>
                    <a:pt x="172" y="58"/>
                  </a:lnTo>
                  <a:lnTo>
                    <a:pt x="172" y="60"/>
                  </a:lnTo>
                  <a:lnTo>
                    <a:pt x="172" y="64"/>
                  </a:lnTo>
                  <a:lnTo>
                    <a:pt x="168" y="64"/>
                  </a:lnTo>
                  <a:lnTo>
                    <a:pt x="164" y="64"/>
                  </a:lnTo>
                  <a:lnTo>
                    <a:pt x="168" y="64"/>
                  </a:lnTo>
                  <a:lnTo>
                    <a:pt x="168" y="68"/>
                  </a:lnTo>
                  <a:lnTo>
                    <a:pt x="172" y="68"/>
                  </a:lnTo>
                  <a:lnTo>
                    <a:pt x="174" y="64"/>
                  </a:lnTo>
                  <a:lnTo>
                    <a:pt x="178" y="64"/>
                  </a:lnTo>
                  <a:lnTo>
                    <a:pt x="182" y="64"/>
                  </a:lnTo>
                  <a:lnTo>
                    <a:pt x="186" y="64"/>
                  </a:lnTo>
                  <a:lnTo>
                    <a:pt x="190" y="68"/>
                  </a:lnTo>
                  <a:lnTo>
                    <a:pt x="190" y="72"/>
                  </a:lnTo>
                  <a:lnTo>
                    <a:pt x="186" y="72"/>
                  </a:lnTo>
                  <a:lnTo>
                    <a:pt x="186" y="76"/>
                  </a:lnTo>
                  <a:lnTo>
                    <a:pt x="182" y="76"/>
                  </a:lnTo>
                  <a:lnTo>
                    <a:pt x="178" y="80"/>
                  </a:lnTo>
                  <a:lnTo>
                    <a:pt x="178" y="84"/>
                  </a:lnTo>
                  <a:lnTo>
                    <a:pt x="178" y="88"/>
                  </a:lnTo>
                  <a:lnTo>
                    <a:pt x="178" y="90"/>
                  </a:lnTo>
                  <a:lnTo>
                    <a:pt x="182" y="88"/>
                  </a:lnTo>
                  <a:lnTo>
                    <a:pt x="182" y="90"/>
                  </a:lnTo>
                  <a:lnTo>
                    <a:pt x="182" y="94"/>
                  </a:lnTo>
                  <a:lnTo>
                    <a:pt x="178" y="94"/>
                  </a:lnTo>
                  <a:lnTo>
                    <a:pt x="178" y="98"/>
                  </a:lnTo>
                  <a:lnTo>
                    <a:pt x="174" y="94"/>
                  </a:lnTo>
                  <a:lnTo>
                    <a:pt x="174" y="98"/>
                  </a:lnTo>
                  <a:lnTo>
                    <a:pt x="172" y="98"/>
                  </a:lnTo>
                  <a:lnTo>
                    <a:pt x="172" y="102"/>
                  </a:lnTo>
                  <a:lnTo>
                    <a:pt x="172" y="106"/>
                  </a:lnTo>
                  <a:lnTo>
                    <a:pt x="168" y="110"/>
                  </a:lnTo>
                  <a:lnTo>
                    <a:pt x="172" y="118"/>
                  </a:lnTo>
                  <a:lnTo>
                    <a:pt x="174" y="120"/>
                  </a:lnTo>
                  <a:lnTo>
                    <a:pt x="174" y="124"/>
                  </a:lnTo>
                  <a:lnTo>
                    <a:pt x="178" y="124"/>
                  </a:lnTo>
                  <a:lnTo>
                    <a:pt x="178" y="128"/>
                  </a:lnTo>
                  <a:lnTo>
                    <a:pt x="178" y="132"/>
                  </a:lnTo>
                  <a:lnTo>
                    <a:pt x="174" y="132"/>
                  </a:lnTo>
                  <a:lnTo>
                    <a:pt x="174" y="136"/>
                  </a:lnTo>
                  <a:lnTo>
                    <a:pt x="172" y="136"/>
                  </a:lnTo>
                  <a:lnTo>
                    <a:pt x="168" y="136"/>
                  </a:lnTo>
                  <a:lnTo>
                    <a:pt x="168" y="140"/>
                  </a:lnTo>
                  <a:lnTo>
                    <a:pt x="164" y="140"/>
                  </a:lnTo>
                  <a:lnTo>
                    <a:pt x="160" y="140"/>
                  </a:lnTo>
                  <a:lnTo>
                    <a:pt x="156" y="144"/>
                  </a:lnTo>
                  <a:lnTo>
                    <a:pt x="156" y="140"/>
                  </a:lnTo>
                  <a:lnTo>
                    <a:pt x="152" y="140"/>
                  </a:lnTo>
                  <a:lnTo>
                    <a:pt x="152" y="144"/>
                  </a:lnTo>
                  <a:lnTo>
                    <a:pt x="148" y="144"/>
                  </a:lnTo>
                  <a:lnTo>
                    <a:pt x="148" y="148"/>
                  </a:lnTo>
                  <a:lnTo>
                    <a:pt x="148" y="152"/>
                  </a:lnTo>
                  <a:lnTo>
                    <a:pt x="144" y="152"/>
                  </a:lnTo>
                  <a:lnTo>
                    <a:pt x="142" y="148"/>
                  </a:lnTo>
                  <a:lnTo>
                    <a:pt x="142" y="144"/>
                  </a:lnTo>
                  <a:lnTo>
                    <a:pt x="138" y="144"/>
                  </a:lnTo>
                  <a:lnTo>
                    <a:pt x="138" y="148"/>
                  </a:lnTo>
                  <a:lnTo>
                    <a:pt x="138" y="144"/>
                  </a:lnTo>
                  <a:lnTo>
                    <a:pt x="134" y="144"/>
                  </a:lnTo>
                  <a:lnTo>
                    <a:pt x="130" y="144"/>
                  </a:lnTo>
                  <a:lnTo>
                    <a:pt x="130" y="148"/>
                  </a:lnTo>
                  <a:lnTo>
                    <a:pt x="130" y="144"/>
                  </a:lnTo>
                  <a:lnTo>
                    <a:pt x="126" y="144"/>
                  </a:lnTo>
                  <a:lnTo>
                    <a:pt x="126" y="140"/>
                  </a:lnTo>
                  <a:lnTo>
                    <a:pt x="122" y="144"/>
                  </a:lnTo>
                  <a:lnTo>
                    <a:pt x="122" y="140"/>
                  </a:lnTo>
                  <a:lnTo>
                    <a:pt x="118" y="140"/>
                  </a:lnTo>
                  <a:lnTo>
                    <a:pt x="118" y="144"/>
                  </a:lnTo>
                  <a:lnTo>
                    <a:pt x="122" y="144"/>
                  </a:lnTo>
                  <a:lnTo>
                    <a:pt x="122" y="148"/>
                  </a:lnTo>
                  <a:lnTo>
                    <a:pt x="126" y="148"/>
                  </a:lnTo>
                  <a:lnTo>
                    <a:pt x="126" y="152"/>
                  </a:lnTo>
                  <a:lnTo>
                    <a:pt x="126" y="154"/>
                  </a:lnTo>
                  <a:lnTo>
                    <a:pt x="126" y="158"/>
                  </a:lnTo>
                  <a:lnTo>
                    <a:pt x="130" y="158"/>
                  </a:lnTo>
                  <a:lnTo>
                    <a:pt x="130" y="162"/>
                  </a:lnTo>
                  <a:lnTo>
                    <a:pt x="130" y="166"/>
                  </a:lnTo>
                  <a:lnTo>
                    <a:pt x="130" y="170"/>
                  </a:lnTo>
                  <a:lnTo>
                    <a:pt x="134" y="170"/>
                  </a:lnTo>
                  <a:lnTo>
                    <a:pt x="138" y="170"/>
                  </a:lnTo>
                  <a:lnTo>
                    <a:pt x="142" y="170"/>
                  </a:lnTo>
                  <a:lnTo>
                    <a:pt x="142" y="174"/>
                  </a:lnTo>
                  <a:lnTo>
                    <a:pt x="138" y="174"/>
                  </a:lnTo>
                  <a:lnTo>
                    <a:pt x="138" y="178"/>
                  </a:lnTo>
                  <a:lnTo>
                    <a:pt x="134" y="178"/>
                  </a:lnTo>
                  <a:lnTo>
                    <a:pt x="130" y="178"/>
                  </a:lnTo>
                  <a:lnTo>
                    <a:pt x="130" y="182"/>
                  </a:lnTo>
                  <a:lnTo>
                    <a:pt x="130" y="184"/>
                  </a:lnTo>
                  <a:lnTo>
                    <a:pt x="126" y="188"/>
                  </a:lnTo>
                  <a:lnTo>
                    <a:pt x="122" y="188"/>
                  </a:lnTo>
                  <a:lnTo>
                    <a:pt x="118" y="192"/>
                  </a:lnTo>
                  <a:lnTo>
                    <a:pt x="116" y="192"/>
                  </a:lnTo>
                  <a:lnTo>
                    <a:pt x="116" y="196"/>
                  </a:lnTo>
                  <a:lnTo>
                    <a:pt x="112" y="196"/>
                  </a:lnTo>
                  <a:lnTo>
                    <a:pt x="112" y="200"/>
                  </a:lnTo>
                  <a:lnTo>
                    <a:pt x="108" y="200"/>
                  </a:lnTo>
                  <a:lnTo>
                    <a:pt x="108" y="204"/>
                  </a:lnTo>
                  <a:lnTo>
                    <a:pt x="108" y="200"/>
                  </a:lnTo>
                  <a:lnTo>
                    <a:pt x="108" y="196"/>
                  </a:lnTo>
                  <a:lnTo>
                    <a:pt x="104" y="196"/>
                  </a:lnTo>
                  <a:lnTo>
                    <a:pt x="104" y="200"/>
                  </a:lnTo>
                  <a:lnTo>
                    <a:pt x="100" y="200"/>
                  </a:lnTo>
                  <a:lnTo>
                    <a:pt x="98" y="200"/>
                  </a:lnTo>
                  <a:lnTo>
                    <a:pt x="94" y="192"/>
                  </a:lnTo>
                  <a:lnTo>
                    <a:pt x="90" y="192"/>
                  </a:lnTo>
                  <a:lnTo>
                    <a:pt x="90" y="188"/>
                  </a:lnTo>
                  <a:lnTo>
                    <a:pt x="90" y="184"/>
                  </a:lnTo>
                  <a:lnTo>
                    <a:pt x="86" y="178"/>
                  </a:lnTo>
                  <a:lnTo>
                    <a:pt x="86" y="174"/>
                  </a:lnTo>
                  <a:lnTo>
                    <a:pt x="86" y="170"/>
                  </a:lnTo>
                  <a:lnTo>
                    <a:pt x="82" y="166"/>
                  </a:lnTo>
                  <a:lnTo>
                    <a:pt x="78" y="166"/>
                  </a:lnTo>
                  <a:lnTo>
                    <a:pt x="78" y="162"/>
                  </a:lnTo>
                  <a:lnTo>
                    <a:pt x="82" y="158"/>
                  </a:lnTo>
                  <a:lnTo>
                    <a:pt x="82" y="154"/>
                  </a:lnTo>
                  <a:lnTo>
                    <a:pt x="86" y="154"/>
                  </a:lnTo>
                  <a:lnTo>
                    <a:pt x="82" y="154"/>
                  </a:lnTo>
                  <a:lnTo>
                    <a:pt x="82" y="152"/>
                  </a:lnTo>
                  <a:lnTo>
                    <a:pt x="82" y="148"/>
                  </a:lnTo>
                  <a:lnTo>
                    <a:pt x="78" y="148"/>
                  </a:lnTo>
                  <a:lnTo>
                    <a:pt x="78" y="144"/>
                  </a:lnTo>
                  <a:lnTo>
                    <a:pt x="78" y="140"/>
                  </a:lnTo>
                  <a:lnTo>
                    <a:pt x="74" y="136"/>
                  </a:lnTo>
                  <a:lnTo>
                    <a:pt x="78" y="132"/>
                  </a:lnTo>
                  <a:lnTo>
                    <a:pt x="78" y="128"/>
                  </a:lnTo>
                  <a:lnTo>
                    <a:pt x="78" y="124"/>
                  </a:lnTo>
                  <a:lnTo>
                    <a:pt x="78" y="120"/>
                  </a:lnTo>
                  <a:lnTo>
                    <a:pt x="78" y="118"/>
                  </a:lnTo>
                  <a:lnTo>
                    <a:pt x="78" y="114"/>
                  </a:lnTo>
                  <a:lnTo>
                    <a:pt x="82" y="110"/>
                  </a:lnTo>
                  <a:lnTo>
                    <a:pt x="82" y="106"/>
                  </a:lnTo>
                  <a:lnTo>
                    <a:pt x="78" y="106"/>
                  </a:lnTo>
                  <a:lnTo>
                    <a:pt x="74" y="106"/>
                  </a:lnTo>
                  <a:lnTo>
                    <a:pt x="72" y="106"/>
                  </a:lnTo>
                  <a:lnTo>
                    <a:pt x="68" y="106"/>
                  </a:lnTo>
                  <a:lnTo>
                    <a:pt x="64" y="106"/>
                  </a:lnTo>
                  <a:lnTo>
                    <a:pt x="60" y="106"/>
                  </a:lnTo>
                  <a:lnTo>
                    <a:pt x="56" y="110"/>
                  </a:lnTo>
                  <a:lnTo>
                    <a:pt x="56" y="106"/>
                  </a:lnTo>
                  <a:lnTo>
                    <a:pt x="48" y="102"/>
                  </a:lnTo>
                  <a:lnTo>
                    <a:pt x="44" y="94"/>
                  </a:lnTo>
                  <a:lnTo>
                    <a:pt x="44" y="90"/>
                  </a:lnTo>
                  <a:lnTo>
                    <a:pt x="44" y="94"/>
                  </a:lnTo>
                  <a:lnTo>
                    <a:pt x="42" y="94"/>
                  </a:lnTo>
                  <a:lnTo>
                    <a:pt x="42" y="90"/>
                  </a:lnTo>
                  <a:lnTo>
                    <a:pt x="38" y="90"/>
                  </a:lnTo>
                  <a:lnTo>
                    <a:pt x="34" y="90"/>
                  </a:lnTo>
                  <a:lnTo>
                    <a:pt x="30" y="90"/>
                  </a:lnTo>
                  <a:lnTo>
                    <a:pt x="30" y="94"/>
                  </a:lnTo>
                  <a:lnTo>
                    <a:pt x="30" y="90"/>
                  </a:lnTo>
                  <a:lnTo>
                    <a:pt x="26" y="90"/>
                  </a:lnTo>
                  <a:lnTo>
                    <a:pt x="22" y="90"/>
                  </a:lnTo>
                  <a:lnTo>
                    <a:pt x="18" y="90"/>
                  </a:lnTo>
                  <a:lnTo>
                    <a:pt x="14" y="90"/>
                  </a:lnTo>
                  <a:lnTo>
                    <a:pt x="14" y="88"/>
                  </a:lnTo>
                  <a:lnTo>
                    <a:pt x="12" y="88"/>
                  </a:lnTo>
                  <a:lnTo>
                    <a:pt x="12" y="84"/>
                  </a:lnTo>
                  <a:lnTo>
                    <a:pt x="12" y="80"/>
                  </a:lnTo>
                  <a:lnTo>
                    <a:pt x="12" y="76"/>
                  </a:lnTo>
                  <a:lnTo>
                    <a:pt x="14" y="76"/>
                  </a:lnTo>
                  <a:lnTo>
                    <a:pt x="14" y="72"/>
                  </a:lnTo>
                  <a:lnTo>
                    <a:pt x="12" y="72"/>
                  </a:lnTo>
                  <a:lnTo>
                    <a:pt x="12" y="68"/>
                  </a:lnTo>
                  <a:lnTo>
                    <a:pt x="8" y="64"/>
                  </a:lnTo>
                  <a:lnTo>
                    <a:pt x="8" y="60"/>
                  </a:lnTo>
                  <a:lnTo>
                    <a:pt x="8" y="58"/>
                  </a:lnTo>
                  <a:lnTo>
                    <a:pt x="4" y="58"/>
                  </a:lnTo>
                  <a:lnTo>
                    <a:pt x="4" y="54"/>
                  </a:lnTo>
                  <a:lnTo>
                    <a:pt x="0" y="54"/>
                  </a:lnTo>
                  <a:lnTo>
                    <a:pt x="0" y="50"/>
                  </a:lnTo>
                  <a:lnTo>
                    <a:pt x="4" y="50"/>
                  </a:lnTo>
                  <a:lnTo>
                    <a:pt x="4" y="46"/>
                  </a:lnTo>
                  <a:lnTo>
                    <a:pt x="4" y="42"/>
                  </a:lnTo>
                  <a:lnTo>
                    <a:pt x="4" y="38"/>
                  </a:lnTo>
                  <a:lnTo>
                    <a:pt x="4" y="34"/>
                  </a:lnTo>
                  <a:lnTo>
                    <a:pt x="8" y="30"/>
                  </a:lnTo>
                  <a:lnTo>
                    <a:pt x="8" y="28"/>
                  </a:lnTo>
                  <a:lnTo>
                    <a:pt x="8" y="24"/>
                  </a:lnTo>
                  <a:lnTo>
                    <a:pt x="12" y="24"/>
                  </a:lnTo>
                  <a:lnTo>
                    <a:pt x="12" y="20"/>
                  </a:lnTo>
                  <a:lnTo>
                    <a:pt x="14" y="20"/>
                  </a:lnTo>
                  <a:lnTo>
                    <a:pt x="14" y="16"/>
                  </a:lnTo>
                  <a:lnTo>
                    <a:pt x="18" y="12"/>
                  </a:lnTo>
                  <a:lnTo>
                    <a:pt x="22" y="12"/>
                  </a:lnTo>
                  <a:lnTo>
                    <a:pt x="22" y="8"/>
                  </a:lnTo>
                  <a:lnTo>
                    <a:pt x="26" y="8"/>
                  </a:lnTo>
                  <a:lnTo>
                    <a:pt x="26" y="12"/>
                  </a:lnTo>
                  <a:lnTo>
                    <a:pt x="22" y="12"/>
                  </a:lnTo>
                  <a:lnTo>
                    <a:pt x="18" y="12"/>
                  </a:lnTo>
                  <a:lnTo>
                    <a:pt x="18" y="16"/>
                  </a:lnTo>
                  <a:lnTo>
                    <a:pt x="18" y="20"/>
                  </a:lnTo>
                  <a:lnTo>
                    <a:pt x="22" y="20"/>
                  </a:lnTo>
                  <a:lnTo>
                    <a:pt x="22" y="24"/>
                  </a:lnTo>
                  <a:lnTo>
                    <a:pt x="22" y="28"/>
                  </a:lnTo>
                  <a:lnTo>
                    <a:pt x="22" y="30"/>
                  </a:lnTo>
                  <a:lnTo>
                    <a:pt x="22" y="34"/>
                  </a:lnTo>
                  <a:lnTo>
                    <a:pt x="18" y="34"/>
                  </a:lnTo>
                  <a:lnTo>
                    <a:pt x="18" y="38"/>
                  </a:lnTo>
                  <a:lnTo>
                    <a:pt x="14" y="42"/>
                  </a:lnTo>
                  <a:lnTo>
                    <a:pt x="14" y="46"/>
                  </a:lnTo>
                  <a:lnTo>
                    <a:pt x="18" y="46"/>
                  </a:lnTo>
                  <a:lnTo>
                    <a:pt x="18" y="50"/>
                  </a:lnTo>
                  <a:lnTo>
                    <a:pt x="22" y="50"/>
                  </a:lnTo>
                  <a:lnTo>
                    <a:pt x="22" y="54"/>
                  </a:lnTo>
                  <a:lnTo>
                    <a:pt x="22" y="58"/>
                  </a:lnTo>
                  <a:lnTo>
                    <a:pt x="26" y="58"/>
                  </a:lnTo>
                  <a:lnTo>
                    <a:pt x="30" y="54"/>
                  </a:lnTo>
                  <a:lnTo>
                    <a:pt x="30" y="50"/>
                  </a:lnTo>
                  <a:lnTo>
                    <a:pt x="30" y="46"/>
                  </a:lnTo>
                  <a:lnTo>
                    <a:pt x="30" y="42"/>
                  </a:lnTo>
                  <a:lnTo>
                    <a:pt x="30" y="38"/>
                  </a:lnTo>
                  <a:lnTo>
                    <a:pt x="26" y="38"/>
                  </a:lnTo>
                  <a:lnTo>
                    <a:pt x="26" y="34"/>
                  </a:lnTo>
                  <a:lnTo>
                    <a:pt x="26" y="30"/>
                  </a:lnTo>
                  <a:lnTo>
                    <a:pt x="22" y="30"/>
                  </a:lnTo>
                  <a:lnTo>
                    <a:pt x="26" y="28"/>
                  </a:lnTo>
                  <a:lnTo>
                    <a:pt x="26" y="24"/>
                  </a:lnTo>
                  <a:lnTo>
                    <a:pt x="30" y="24"/>
                  </a:lnTo>
                  <a:lnTo>
                    <a:pt x="30" y="20"/>
                  </a:lnTo>
                  <a:lnTo>
                    <a:pt x="34" y="20"/>
                  </a:lnTo>
                  <a:lnTo>
                    <a:pt x="38" y="20"/>
                  </a:lnTo>
                  <a:lnTo>
                    <a:pt x="42" y="20"/>
                  </a:lnTo>
                  <a:lnTo>
                    <a:pt x="42" y="16"/>
                  </a:lnTo>
                  <a:lnTo>
                    <a:pt x="44" y="16"/>
                  </a:lnTo>
                  <a:lnTo>
                    <a:pt x="48" y="16"/>
                  </a:lnTo>
                  <a:lnTo>
                    <a:pt x="48" y="12"/>
                  </a:lnTo>
                  <a:lnTo>
                    <a:pt x="44" y="12"/>
                  </a:lnTo>
                  <a:lnTo>
                    <a:pt x="42" y="12"/>
                  </a:lnTo>
                  <a:lnTo>
                    <a:pt x="44" y="12"/>
                  </a:lnTo>
                  <a:lnTo>
                    <a:pt x="42" y="8"/>
                  </a:lnTo>
                  <a:lnTo>
                    <a:pt x="42" y="4"/>
                  </a:lnTo>
                  <a:lnTo>
                    <a:pt x="44" y="4"/>
                  </a:lnTo>
                  <a:lnTo>
                    <a:pt x="44" y="0"/>
                  </a:lnTo>
                  <a:lnTo>
                    <a:pt x="48" y="4"/>
                  </a:lnTo>
                  <a:lnTo>
                    <a:pt x="48" y="8"/>
                  </a:lnTo>
                  <a:lnTo>
                    <a:pt x="48" y="12"/>
                  </a:lnTo>
                  <a:lnTo>
                    <a:pt x="52" y="16"/>
                  </a:lnTo>
                  <a:lnTo>
                    <a:pt x="56" y="16"/>
                  </a:lnTo>
                  <a:lnTo>
                    <a:pt x="56" y="12"/>
                  </a:lnTo>
                  <a:lnTo>
                    <a:pt x="60" y="16"/>
                  </a:lnTo>
                  <a:lnTo>
                    <a:pt x="64" y="16"/>
                  </a:lnTo>
                  <a:lnTo>
                    <a:pt x="68" y="20"/>
                  </a:lnTo>
                  <a:lnTo>
                    <a:pt x="72" y="24"/>
                  </a:lnTo>
                  <a:lnTo>
                    <a:pt x="72" y="28"/>
                  </a:lnTo>
                  <a:lnTo>
                    <a:pt x="72" y="30"/>
                  </a:lnTo>
                  <a:lnTo>
                    <a:pt x="74" y="30"/>
                  </a:lnTo>
                  <a:lnTo>
                    <a:pt x="78" y="30"/>
                  </a:lnTo>
                  <a:lnTo>
                    <a:pt x="82" y="30"/>
                  </a:lnTo>
                  <a:lnTo>
                    <a:pt x="86" y="30"/>
                  </a:lnTo>
                  <a:lnTo>
                    <a:pt x="90" y="30"/>
                  </a:lnTo>
                  <a:lnTo>
                    <a:pt x="98" y="30"/>
                  </a:lnTo>
                  <a:lnTo>
                    <a:pt x="98" y="30"/>
                  </a:lnTo>
                  <a:lnTo>
                    <a:pt x="98" y="30"/>
                  </a:lnTo>
                  <a:close/>
                  <a:moveTo>
                    <a:pt x="174" y="58"/>
                  </a:moveTo>
                  <a:lnTo>
                    <a:pt x="172" y="60"/>
                  </a:lnTo>
                  <a:lnTo>
                    <a:pt x="172" y="58"/>
                  </a:lnTo>
                  <a:lnTo>
                    <a:pt x="174" y="58"/>
                  </a:lnTo>
                  <a:lnTo>
                    <a:pt x="174" y="58"/>
                  </a:lnTo>
                  <a:lnTo>
                    <a:pt x="174" y="58"/>
                  </a:lnTo>
                  <a:close/>
                  <a:moveTo>
                    <a:pt x="174" y="60"/>
                  </a:moveTo>
                  <a:lnTo>
                    <a:pt x="172" y="60"/>
                  </a:lnTo>
                  <a:lnTo>
                    <a:pt x="174" y="58"/>
                  </a:lnTo>
                  <a:lnTo>
                    <a:pt x="174" y="60"/>
                  </a:lnTo>
                  <a:lnTo>
                    <a:pt x="174" y="60"/>
                  </a:lnTo>
                  <a:lnTo>
                    <a:pt x="174" y="60"/>
                  </a:lnTo>
                  <a:close/>
                  <a:moveTo>
                    <a:pt x="172" y="64"/>
                  </a:moveTo>
                  <a:lnTo>
                    <a:pt x="172" y="60"/>
                  </a:lnTo>
                  <a:lnTo>
                    <a:pt x="174" y="60"/>
                  </a:lnTo>
                  <a:lnTo>
                    <a:pt x="172" y="64"/>
                  </a:lnTo>
                  <a:lnTo>
                    <a:pt x="172" y="64"/>
                  </a:lnTo>
                  <a:lnTo>
                    <a:pt x="172" y="64"/>
                  </a:lnTo>
                  <a:close/>
                  <a:moveTo>
                    <a:pt x="174" y="64"/>
                  </a:moveTo>
                  <a:lnTo>
                    <a:pt x="174" y="60"/>
                  </a:lnTo>
                  <a:lnTo>
                    <a:pt x="174" y="64"/>
                  </a:lnTo>
                  <a:lnTo>
                    <a:pt x="174" y="64"/>
                  </a:lnTo>
                  <a:lnTo>
                    <a:pt x="174" y="64"/>
                  </a:lnTo>
                  <a:close/>
                  <a:moveTo>
                    <a:pt x="172" y="64"/>
                  </a:moveTo>
                  <a:lnTo>
                    <a:pt x="174" y="60"/>
                  </a:lnTo>
                  <a:lnTo>
                    <a:pt x="174" y="64"/>
                  </a:lnTo>
                  <a:lnTo>
                    <a:pt x="172" y="64"/>
                  </a:lnTo>
                  <a:lnTo>
                    <a:pt x="172" y="64"/>
                  </a:lnTo>
                  <a:lnTo>
                    <a:pt x="172" y="64"/>
                  </a:lnTo>
                  <a:close/>
                  <a:moveTo>
                    <a:pt x="172" y="64"/>
                  </a:moveTo>
                  <a:lnTo>
                    <a:pt x="174" y="64"/>
                  </a:lnTo>
                  <a:lnTo>
                    <a:pt x="172" y="64"/>
                  </a:lnTo>
                  <a:lnTo>
                    <a:pt x="172" y="64"/>
                  </a:lnTo>
                  <a:lnTo>
                    <a:pt x="172" y="64"/>
                  </a:lnTo>
                  <a:close/>
                  <a:moveTo>
                    <a:pt x="172" y="68"/>
                  </a:moveTo>
                  <a:lnTo>
                    <a:pt x="168" y="68"/>
                  </a:lnTo>
                  <a:lnTo>
                    <a:pt x="168" y="64"/>
                  </a:lnTo>
                  <a:lnTo>
                    <a:pt x="164" y="64"/>
                  </a:lnTo>
                  <a:lnTo>
                    <a:pt x="168" y="64"/>
                  </a:lnTo>
                  <a:lnTo>
                    <a:pt x="172" y="64"/>
                  </a:lnTo>
                  <a:lnTo>
                    <a:pt x="168" y="64"/>
                  </a:lnTo>
                  <a:lnTo>
                    <a:pt x="172" y="64"/>
                  </a:lnTo>
                  <a:lnTo>
                    <a:pt x="172" y="68"/>
                  </a:lnTo>
                  <a:lnTo>
                    <a:pt x="172" y="68"/>
                  </a:lnTo>
                  <a:lnTo>
                    <a:pt x="172" y="68"/>
                  </a:lnTo>
                  <a:close/>
                  <a:moveTo>
                    <a:pt x="130" y="28"/>
                  </a:moveTo>
                  <a:lnTo>
                    <a:pt x="130" y="24"/>
                  </a:lnTo>
                  <a:lnTo>
                    <a:pt x="126" y="24"/>
                  </a:lnTo>
                  <a:lnTo>
                    <a:pt x="130" y="24"/>
                  </a:lnTo>
                  <a:lnTo>
                    <a:pt x="130" y="20"/>
                  </a:lnTo>
                  <a:lnTo>
                    <a:pt x="134" y="20"/>
                  </a:lnTo>
                  <a:lnTo>
                    <a:pt x="134" y="24"/>
                  </a:lnTo>
                  <a:lnTo>
                    <a:pt x="130" y="24"/>
                  </a:lnTo>
                  <a:lnTo>
                    <a:pt x="130" y="28"/>
                  </a:lnTo>
                  <a:lnTo>
                    <a:pt x="130" y="28"/>
                  </a:lnTo>
                  <a:lnTo>
                    <a:pt x="130" y="28"/>
                  </a:lnTo>
                  <a:close/>
                  <a:moveTo>
                    <a:pt x="112" y="28"/>
                  </a:moveTo>
                  <a:lnTo>
                    <a:pt x="112" y="24"/>
                  </a:lnTo>
                  <a:lnTo>
                    <a:pt x="116" y="24"/>
                  </a:lnTo>
                  <a:lnTo>
                    <a:pt x="112" y="28"/>
                  </a:lnTo>
                  <a:lnTo>
                    <a:pt x="112" y="28"/>
                  </a:lnTo>
                  <a:lnTo>
                    <a:pt x="112" y="2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97" name="Freeform 190"/>
            <p:cNvSpPr>
              <a:spLocks noEditPoints="1"/>
            </p:cNvSpPr>
            <p:nvPr/>
          </p:nvSpPr>
          <p:spPr bwMode="auto">
            <a:xfrm>
              <a:off x="8041286" y="4272895"/>
              <a:ext cx="409444" cy="549185"/>
            </a:xfrm>
            <a:custGeom>
              <a:avLst/>
              <a:gdLst>
                <a:gd name="T0" fmla="*/ 570 w 652"/>
                <a:gd name="T1" fmla="*/ 288 h 840"/>
                <a:gd name="T2" fmla="*/ 570 w 652"/>
                <a:gd name="T3" fmla="*/ 362 h 840"/>
                <a:gd name="T4" fmla="*/ 540 w 652"/>
                <a:gd name="T5" fmla="*/ 426 h 840"/>
                <a:gd name="T6" fmla="*/ 526 w 652"/>
                <a:gd name="T7" fmla="*/ 482 h 840"/>
                <a:gd name="T8" fmla="*/ 472 w 652"/>
                <a:gd name="T9" fmla="*/ 516 h 840"/>
                <a:gd name="T10" fmla="*/ 454 w 652"/>
                <a:gd name="T11" fmla="*/ 500 h 840"/>
                <a:gd name="T12" fmla="*/ 410 w 652"/>
                <a:gd name="T13" fmla="*/ 508 h 840"/>
                <a:gd name="T14" fmla="*/ 372 w 652"/>
                <a:gd name="T15" fmla="*/ 456 h 840"/>
                <a:gd name="T16" fmla="*/ 362 w 652"/>
                <a:gd name="T17" fmla="*/ 448 h 840"/>
                <a:gd name="T18" fmla="*/ 350 w 652"/>
                <a:gd name="T19" fmla="*/ 442 h 840"/>
                <a:gd name="T20" fmla="*/ 342 w 652"/>
                <a:gd name="T21" fmla="*/ 418 h 840"/>
                <a:gd name="T22" fmla="*/ 320 w 652"/>
                <a:gd name="T23" fmla="*/ 438 h 840"/>
                <a:gd name="T24" fmla="*/ 294 w 652"/>
                <a:gd name="T25" fmla="*/ 392 h 840"/>
                <a:gd name="T26" fmla="*/ 228 w 652"/>
                <a:gd name="T27" fmla="*/ 384 h 840"/>
                <a:gd name="T28" fmla="*/ 160 w 652"/>
                <a:gd name="T29" fmla="*/ 408 h 840"/>
                <a:gd name="T30" fmla="*/ 120 w 652"/>
                <a:gd name="T31" fmla="*/ 422 h 840"/>
                <a:gd name="T32" fmla="*/ 74 w 652"/>
                <a:gd name="T33" fmla="*/ 448 h 840"/>
                <a:gd name="T34" fmla="*/ 30 w 652"/>
                <a:gd name="T35" fmla="*/ 422 h 840"/>
                <a:gd name="T36" fmla="*/ 34 w 652"/>
                <a:gd name="T37" fmla="*/ 366 h 840"/>
                <a:gd name="T38" fmla="*/ 16 w 652"/>
                <a:gd name="T39" fmla="*/ 296 h 840"/>
                <a:gd name="T40" fmla="*/ 12 w 652"/>
                <a:gd name="T41" fmla="*/ 278 h 840"/>
                <a:gd name="T42" fmla="*/ 12 w 652"/>
                <a:gd name="T43" fmla="*/ 244 h 840"/>
                <a:gd name="T44" fmla="*/ 26 w 652"/>
                <a:gd name="T45" fmla="*/ 210 h 840"/>
                <a:gd name="T46" fmla="*/ 78 w 652"/>
                <a:gd name="T47" fmla="*/ 180 h 840"/>
                <a:gd name="T48" fmla="*/ 134 w 652"/>
                <a:gd name="T49" fmla="*/ 132 h 840"/>
                <a:gd name="T50" fmla="*/ 152 w 652"/>
                <a:gd name="T51" fmla="*/ 120 h 840"/>
                <a:gd name="T52" fmla="*/ 164 w 652"/>
                <a:gd name="T53" fmla="*/ 106 h 840"/>
                <a:gd name="T54" fmla="*/ 174 w 652"/>
                <a:gd name="T55" fmla="*/ 86 h 840"/>
                <a:gd name="T56" fmla="*/ 194 w 652"/>
                <a:gd name="T57" fmla="*/ 72 h 840"/>
                <a:gd name="T58" fmla="*/ 216 w 652"/>
                <a:gd name="T59" fmla="*/ 86 h 840"/>
                <a:gd name="T60" fmla="*/ 238 w 652"/>
                <a:gd name="T61" fmla="*/ 80 h 840"/>
                <a:gd name="T62" fmla="*/ 258 w 652"/>
                <a:gd name="T63" fmla="*/ 46 h 840"/>
                <a:gd name="T64" fmla="*/ 280 w 652"/>
                <a:gd name="T65" fmla="*/ 24 h 840"/>
                <a:gd name="T66" fmla="*/ 298 w 652"/>
                <a:gd name="T67" fmla="*/ 30 h 840"/>
                <a:gd name="T68" fmla="*/ 332 w 652"/>
                <a:gd name="T69" fmla="*/ 34 h 840"/>
                <a:gd name="T70" fmla="*/ 324 w 652"/>
                <a:gd name="T71" fmla="*/ 76 h 840"/>
                <a:gd name="T72" fmla="*/ 362 w 652"/>
                <a:gd name="T73" fmla="*/ 116 h 840"/>
                <a:gd name="T74" fmla="*/ 402 w 652"/>
                <a:gd name="T75" fmla="*/ 110 h 840"/>
                <a:gd name="T76" fmla="*/ 410 w 652"/>
                <a:gd name="T77" fmla="*/ 46 h 840"/>
                <a:gd name="T78" fmla="*/ 426 w 652"/>
                <a:gd name="T79" fmla="*/ 20 h 840"/>
                <a:gd name="T80" fmla="*/ 452 w 652"/>
                <a:gd name="T81" fmla="*/ 72 h 840"/>
                <a:gd name="T82" fmla="*/ 470 w 652"/>
                <a:gd name="T83" fmla="*/ 132 h 840"/>
                <a:gd name="T84" fmla="*/ 502 w 652"/>
                <a:gd name="T85" fmla="*/ 172 h 840"/>
                <a:gd name="T86" fmla="*/ 522 w 652"/>
                <a:gd name="T87" fmla="*/ 218 h 840"/>
                <a:gd name="T88" fmla="*/ 548 w 652"/>
                <a:gd name="T89" fmla="*/ 244 h 840"/>
                <a:gd name="T90" fmla="*/ 574 w 652"/>
                <a:gd name="T91" fmla="*/ 266 h 840"/>
                <a:gd name="T92" fmla="*/ 498 w 652"/>
                <a:gd name="T93" fmla="*/ 594 h 840"/>
                <a:gd name="T94" fmla="*/ 652 w 652"/>
                <a:gd name="T95" fmla="*/ 840 h 840"/>
                <a:gd name="T96" fmla="*/ 336 w 652"/>
                <a:gd name="T97" fmla="*/ 24 h 840"/>
                <a:gd name="T98" fmla="*/ 260 w 652"/>
                <a:gd name="T99" fmla="*/ 24 h 840"/>
                <a:gd name="T100" fmla="*/ 250 w 652"/>
                <a:gd name="T101" fmla="*/ 30 h 840"/>
                <a:gd name="T102" fmla="*/ 332 w 652"/>
                <a:gd name="T103" fmla="*/ 64 h 840"/>
                <a:gd name="T104" fmla="*/ 372 w 652"/>
                <a:gd name="T105" fmla="*/ 114 h 840"/>
                <a:gd name="T106" fmla="*/ 0 w 652"/>
                <a:gd name="T107" fmla="*/ 274 h 840"/>
                <a:gd name="T108" fmla="*/ 574 w 652"/>
                <a:gd name="T109" fmla="*/ 310 h 840"/>
                <a:gd name="T110" fmla="*/ 462 w 652"/>
                <a:gd name="T111" fmla="*/ 508 h 840"/>
                <a:gd name="T112" fmla="*/ 502 w 652"/>
                <a:gd name="T113" fmla="*/ 550 h 840"/>
                <a:gd name="T114" fmla="*/ 458 w 652"/>
                <a:gd name="T115" fmla="*/ 586 h 840"/>
                <a:gd name="T116" fmla="*/ 480 w 652"/>
                <a:gd name="T117" fmla="*/ 560 h 840"/>
                <a:gd name="T118" fmla="*/ 498 w 652"/>
                <a:gd name="T119" fmla="*/ 580 h 840"/>
                <a:gd name="T120" fmla="*/ 488 w 652"/>
                <a:gd name="T121" fmla="*/ 598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2" h="840">
                  <a:moveTo>
                    <a:pt x="548" y="244"/>
                  </a:moveTo>
                  <a:lnTo>
                    <a:pt x="548" y="248"/>
                  </a:lnTo>
                  <a:lnTo>
                    <a:pt x="548" y="244"/>
                  </a:lnTo>
                  <a:lnTo>
                    <a:pt x="552" y="244"/>
                  </a:lnTo>
                  <a:lnTo>
                    <a:pt x="552" y="248"/>
                  </a:lnTo>
                  <a:lnTo>
                    <a:pt x="554" y="248"/>
                  </a:lnTo>
                  <a:lnTo>
                    <a:pt x="554" y="252"/>
                  </a:lnTo>
                  <a:lnTo>
                    <a:pt x="554" y="256"/>
                  </a:lnTo>
                  <a:lnTo>
                    <a:pt x="558" y="256"/>
                  </a:lnTo>
                  <a:lnTo>
                    <a:pt x="558" y="258"/>
                  </a:lnTo>
                  <a:lnTo>
                    <a:pt x="562" y="258"/>
                  </a:lnTo>
                  <a:lnTo>
                    <a:pt x="562" y="262"/>
                  </a:lnTo>
                  <a:lnTo>
                    <a:pt x="562" y="266"/>
                  </a:lnTo>
                  <a:lnTo>
                    <a:pt x="566" y="266"/>
                  </a:lnTo>
                  <a:lnTo>
                    <a:pt x="566" y="270"/>
                  </a:lnTo>
                  <a:lnTo>
                    <a:pt x="566" y="274"/>
                  </a:lnTo>
                  <a:lnTo>
                    <a:pt x="566" y="278"/>
                  </a:lnTo>
                  <a:lnTo>
                    <a:pt x="570" y="278"/>
                  </a:lnTo>
                  <a:lnTo>
                    <a:pt x="570" y="282"/>
                  </a:lnTo>
                  <a:lnTo>
                    <a:pt x="570" y="286"/>
                  </a:lnTo>
                  <a:lnTo>
                    <a:pt x="570" y="288"/>
                  </a:lnTo>
                  <a:lnTo>
                    <a:pt x="570" y="292"/>
                  </a:lnTo>
                  <a:lnTo>
                    <a:pt x="570" y="296"/>
                  </a:lnTo>
                  <a:lnTo>
                    <a:pt x="570" y="300"/>
                  </a:lnTo>
                  <a:lnTo>
                    <a:pt x="570" y="302"/>
                  </a:lnTo>
                  <a:lnTo>
                    <a:pt x="574" y="306"/>
                  </a:lnTo>
                  <a:lnTo>
                    <a:pt x="574" y="310"/>
                  </a:lnTo>
                  <a:lnTo>
                    <a:pt x="574" y="314"/>
                  </a:lnTo>
                  <a:lnTo>
                    <a:pt x="574" y="318"/>
                  </a:lnTo>
                  <a:lnTo>
                    <a:pt x="578" y="318"/>
                  </a:lnTo>
                  <a:lnTo>
                    <a:pt x="578" y="322"/>
                  </a:lnTo>
                  <a:lnTo>
                    <a:pt x="578" y="326"/>
                  </a:lnTo>
                  <a:lnTo>
                    <a:pt x="578" y="328"/>
                  </a:lnTo>
                  <a:lnTo>
                    <a:pt x="578" y="332"/>
                  </a:lnTo>
                  <a:lnTo>
                    <a:pt x="574" y="332"/>
                  </a:lnTo>
                  <a:lnTo>
                    <a:pt x="574" y="336"/>
                  </a:lnTo>
                  <a:lnTo>
                    <a:pt x="574" y="340"/>
                  </a:lnTo>
                  <a:lnTo>
                    <a:pt x="574" y="344"/>
                  </a:lnTo>
                  <a:lnTo>
                    <a:pt x="574" y="348"/>
                  </a:lnTo>
                  <a:lnTo>
                    <a:pt x="574" y="352"/>
                  </a:lnTo>
                  <a:lnTo>
                    <a:pt x="570" y="356"/>
                  </a:lnTo>
                  <a:lnTo>
                    <a:pt x="570" y="362"/>
                  </a:lnTo>
                  <a:lnTo>
                    <a:pt x="570" y="366"/>
                  </a:lnTo>
                  <a:lnTo>
                    <a:pt x="570" y="370"/>
                  </a:lnTo>
                  <a:lnTo>
                    <a:pt x="570" y="374"/>
                  </a:lnTo>
                  <a:lnTo>
                    <a:pt x="566" y="378"/>
                  </a:lnTo>
                  <a:lnTo>
                    <a:pt x="566" y="382"/>
                  </a:lnTo>
                  <a:lnTo>
                    <a:pt x="566" y="384"/>
                  </a:lnTo>
                  <a:lnTo>
                    <a:pt x="562" y="384"/>
                  </a:lnTo>
                  <a:lnTo>
                    <a:pt x="562" y="388"/>
                  </a:lnTo>
                  <a:lnTo>
                    <a:pt x="562" y="392"/>
                  </a:lnTo>
                  <a:lnTo>
                    <a:pt x="562" y="396"/>
                  </a:lnTo>
                  <a:lnTo>
                    <a:pt x="558" y="400"/>
                  </a:lnTo>
                  <a:lnTo>
                    <a:pt x="554" y="400"/>
                  </a:lnTo>
                  <a:lnTo>
                    <a:pt x="554" y="404"/>
                  </a:lnTo>
                  <a:lnTo>
                    <a:pt x="552" y="404"/>
                  </a:lnTo>
                  <a:lnTo>
                    <a:pt x="552" y="408"/>
                  </a:lnTo>
                  <a:lnTo>
                    <a:pt x="548" y="412"/>
                  </a:lnTo>
                  <a:lnTo>
                    <a:pt x="548" y="414"/>
                  </a:lnTo>
                  <a:lnTo>
                    <a:pt x="544" y="418"/>
                  </a:lnTo>
                  <a:lnTo>
                    <a:pt x="544" y="422"/>
                  </a:lnTo>
                  <a:lnTo>
                    <a:pt x="544" y="426"/>
                  </a:lnTo>
                  <a:lnTo>
                    <a:pt x="540" y="426"/>
                  </a:lnTo>
                  <a:lnTo>
                    <a:pt x="544" y="426"/>
                  </a:lnTo>
                  <a:lnTo>
                    <a:pt x="540" y="430"/>
                  </a:lnTo>
                  <a:lnTo>
                    <a:pt x="540" y="434"/>
                  </a:lnTo>
                  <a:lnTo>
                    <a:pt x="536" y="438"/>
                  </a:lnTo>
                  <a:lnTo>
                    <a:pt x="540" y="438"/>
                  </a:lnTo>
                  <a:lnTo>
                    <a:pt x="536" y="442"/>
                  </a:lnTo>
                  <a:lnTo>
                    <a:pt x="536" y="444"/>
                  </a:lnTo>
                  <a:lnTo>
                    <a:pt x="536" y="448"/>
                  </a:lnTo>
                  <a:lnTo>
                    <a:pt x="536" y="444"/>
                  </a:lnTo>
                  <a:lnTo>
                    <a:pt x="536" y="448"/>
                  </a:lnTo>
                  <a:lnTo>
                    <a:pt x="532" y="448"/>
                  </a:lnTo>
                  <a:lnTo>
                    <a:pt x="532" y="452"/>
                  </a:lnTo>
                  <a:lnTo>
                    <a:pt x="532" y="456"/>
                  </a:lnTo>
                  <a:lnTo>
                    <a:pt x="528" y="460"/>
                  </a:lnTo>
                  <a:lnTo>
                    <a:pt x="528" y="464"/>
                  </a:lnTo>
                  <a:lnTo>
                    <a:pt x="528" y="468"/>
                  </a:lnTo>
                  <a:lnTo>
                    <a:pt x="528" y="470"/>
                  </a:lnTo>
                  <a:lnTo>
                    <a:pt x="526" y="470"/>
                  </a:lnTo>
                  <a:lnTo>
                    <a:pt x="526" y="474"/>
                  </a:lnTo>
                  <a:lnTo>
                    <a:pt x="526" y="478"/>
                  </a:lnTo>
                  <a:lnTo>
                    <a:pt x="526" y="482"/>
                  </a:lnTo>
                  <a:lnTo>
                    <a:pt x="526" y="486"/>
                  </a:lnTo>
                  <a:lnTo>
                    <a:pt x="526" y="490"/>
                  </a:lnTo>
                  <a:lnTo>
                    <a:pt x="526" y="494"/>
                  </a:lnTo>
                  <a:lnTo>
                    <a:pt x="522" y="494"/>
                  </a:lnTo>
                  <a:lnTo>
                    <a:pt x="522" y="498"/>
                  </a:lnTo>
                  <a:lnTo>
                    <a:pt x="518" y="498"/>
                  </a:lnTo>
                  <a:lnTo>
                    <a:pt x="514" y="498"/>
                  </a:lnTo>
                  <a:lnTo>
                    <a:pt x="510" y="498"/>
                  </a:lnTo>
                  <a:lnTo>
                    <a:pt x="506" y="498"/>
                  </a:lnTo>
                  <a:lnTo>
                    <a:pt x="502" y="498"/>
                  </a:lnTo>
                  <a:lnTo>
                    <a:pt x="498" y="498"/>
                  </a:lnTo>
                  <a:lnTo>
                    <a:pt x="498" y="500"/>
                  </a:lnTo>
                  <a:lnTo>
                    <a:pt x="496" y="500"/>
                  </a:lnTo>
                  <a:lnTo>
                    <a:pt x="492" y="500"/>
                  </a:lnTo>
                  <a:lnTo>
                    <a:pt x="492" y="504"/>
                  </a:lnTo>
                  <a:lnTo>
                    <a:pt x="488" y="504"/>
                  </a:lnTo>
                  <a:lnTo>
                    <a:pt x="488" y="508"/>
                  </a:lnTo>
                  <a:lnTo>
                    <a:pt x="484" y="512"/>
                  </a:lnTo>
                  <a:lnTo>
                    <a:pt x="480" y="516"/>
                  </a:lnTo>
                  <a:lnTo>
                    <a:pt x="476" y="516"/>
                  </a:lnTo>
                  <a:lnTo>
                    <a:pt x="472" y="516"/>
                  </a:lnTo>
                  <a:lnTo>
                    <a:pt x="472" y="520"/>
                  </a:lnTo>
                  <a:lnTo>
                    <a:pt x="476" y="520"/>
                  </a:lnTo>
                  <a:lnTo>
                    <a:pt x="476" y="516"/>
                  </a:lnTo>
                  <a:lnTo>
                    <a:pt x="476" y="524"/>
                  </a:lnTo>
                  <a:lnTo>
                    <a:pt x="472" y="524"/>
                  </a:lnTo>
                  <a:lnTo>
                    <a:pt x="472" y="520"/>
                  </a:lnTo>
                  <a:lnTo>
                    <a:pt x="470" y="516"/>
                  </a:lnTo>
                  <a:lnTo>
                    <a:pt x="470" y="520"/>
                  </a:lnTo>
                  <a:lnTo>
                    <a:pt x="466" y="516"/>
                  </a:lnTo>
                  <a:lnTo>
                    <a:pt x="462" y="516"/>
                  </a:lnTo>
                  <a:lnTo>
                    <a:pt x="462" y="512"/>
                  </a:lnTo>
                  <a:lnTo>
                    <a:pt x="462" y="508"/>
                  </a:lnTo>
                  <a:lnTo>
                    <a:pt x="462" y="504"/>
                  </a:lnTo>
                  <a:lnTo>
                    <a:pt x="458" y="504"/>
                  </a:lnTo>
                  <a:lnTo>
                    <a:pt x="458" y="508"/>
                  </a:lnTo>
                  <a:lnTo>
                    <a:pt x="454" y="512"/>
                  </a:lnTo>
                  <a:lnTo>
                    <a:pt x="452" y="508"/>
                  </a:lnTo>
                  <a:lnTo>
                    <a:pt x="454" y="508"/>
                  </a:lnTo>
                  <a:lnTo>
                    <a:pt x="458" y="504"/>
                  </a:lnTo>
                  <a:lnTo>
                    <a:pt x="458" y="500"/>
                  </a:lnTo>
                  <a:lnTo>
                    <a:pt x="454" y="500"/>
                  </a:lnTo>
                  <a:lnTo>
                    <a:pt x="452" y="500"/>
                  </a:lnTo>
                  <a:lnTo>
                    <a:pt x="448" y="504"/>
                  </a:lnTo>
                  <a:lnTo>
                    <a:pt x="452" y="504"/>
                  </a:lnTo>
                  <a:lnTo>
                    <a:pt x="452" y="508"/>
                  </a:lnTo>
                  <a:lnTo>
                    <a:pt x="448" y="508"/>
                  </a:lnTo>
                  <a:lnTo>
                    <a:pt x="444" y="512"/>
                  </a:lnTo>
                  <a:lnTo>
                    <a:pt x="440" y="512"/>
                  </a:lnTo>
                  <a:lnTo>
                    <a:pt x="440" y="516"/>
                  </a:lnTo>
                  <a:lnTo>
                    <a:pt x="436" y="516"/>
                  </a:lnTo>
                  <a:lnTo>
                    <a:pt x="436" y="520"/>
                  </a:lnTo>
                  <a:lnTo>
                    <a:pt x="432" y="516"/>
                  </a:lnTo>
                  <a:lnTo>
                    <a:pt x="428" y="516"/>
                  </a:lnTo>
                  <a:lnTo>
                    <a:pt x="428" y="512"/>
                  </a:lnTo>
                  <a:lnTo>
                    <a:pt x="426" y="512"/>
                  </a:lnTo>
                  <a:lnTo>
                    <a:pt x="422" y="512"/>
                  </a:lnTo>
                  <a:lnTo>
                    <a:pt x="422" y="508"/>
                  </a:lnTo>
                  <a:lnTo>
                    <a:pt x="418" y="508"/>
                  </a:lnTo>
                  <a:lnTo>
                    <a:pt x="414" y="508"/>
                  </a:lnTo>
                  <a:lnTo>
                    <a:pt x="410" y="508"/>
                  </a:lnTo>
                  <a:lnTo>
                    <a:pt x="406" y="508"/>
                  </a:lnTo>
                  <a:lnTo>
                    <a:pt x="410" y="508"/>
                  </a:lnTo>
                  <a:lnTo>
                    <a:pt x="406" y="508"/>
                  </a:lnTo>
                  <a:lnTo>
                    <a:pt x="402" y="508"/>
                  </a:lnTo>
                  <a:lnTo>
                    <a:pt x="402" y="504"/>
                  </a:lnTo>
                  <a:lnTo>
                    <a:pt x="400" y="504"/>
                  </a:lnTo>
                  <a:lnTo>
                    <a:pt x="396" y="504"/>
                  </a:lnTo>
                  <a:lnTo>
                    <a:pt x="396" y="500"/>
                  </a:lnTo>
                  <a:lnTo>
                    <a:pt x="392" y="500"/>
                  </a:lnTo>
                  <a:lnTo>
                    <a:pt x="392" y="498"/>
                  </a:lnTo>
                  <a:lnTo>
                    <a:pt x="388" y="498"/>
                  </a:lnTo>
                  <a:lnTo>
                    <a:pt x="388" y="494"/>
                  </a:lnTo>
                  <a:lnTo>
                    <a:pt x="384" y="494"/>
                  </a:lnTo>
                  <a:lnTo>
                    <a:pt x="384" y="490"/>
                  </a:lnTo>
                  <a:lnTo>
                    <a:pt x="380" y="486"/>
                  </a:lnTo>
                  <a:lnTo>
                    <a:pt x="380" y="482"/>
                  </a:lnTo>
                  <a:lnTo>
                    <a:pt x="384" y="478"/>
                  </a:lnTo>
                  <a:lnTo>
                    <a:pt x="384" y="474"/>
                  </a:lnTo>
                  <a:lnTo>
                    <a:pt x="380" y="468"/>
                  </a:lnTo>
                  <a:lnTo>
                    <a:pt x="376" y="464"/>
                  </a:lnTo>
                  <a:lnTo>
                    <a:pt x="376" y="460"/>
                  </a:lnTo>
                  <a:lnTo>
                    <a:pt x="372" y="460"/>
                  </a:lnTo>
                  <a:lnTo>
                    <a:pt x="372" y="456"/>
                  </a:lnTo>
                  <a:lnTo>
                    <a:pt x="372" y="460"/>
                  </a:lnTo>
                  <a:lnTo>
                    <a:pt x="376" y="460"/>
                  </a:lnTo>
                  <a:lnTo>
                    <a:pt x="376" y="464"/>
                  </a:lnTo>
                  <a:lnTo>
                    <a:pt x="380" y="468"/>
                  </a:lnTo>
                  <a:lnTo>
                    <a:pt x="380" y="464"/>
                  </a:lnTo>
                  <a:lnTo>
                    <a:pt x="376" y="464"/>
                  </a:lnTo>
                  <a:lnTo>
                    <a:pt x="376" y="460"/>
                  </a:lnTo>
                  <a:lnTo>
                    <a:pt x="372" y="456"/>
                  </a:lnTo>
                  <a:lnTo>
                    <a:pt x="372" y="460"/>
                  </a:lnTo>
                  <a:lnTo>
                    <a:pt x="376" y="456"/>
                  </a:lnTo>
                  <a:lnTo>
                    <a:pt x="376" y="452"/>
                  </a:lnTo>
                  <a:lnTo>
                    <a:pt x="372" y="452"/>
                  </a:lnTo>
                  <a:lnTo>
                    <a:pt x="370" y="452"/>
                  </a:lnTo>
                  <a:lnTo>
                    <a:pt x="372" y="452"/>
                  </a:lnTo>
                  <a:lnTo>
                    <a:pt x="372" y="456"/>
                  </a:lnTo>
                  <a:lnTo>
                    <a:pt x="370" y="456"/>
                  </a:lnTo>
                  <a:lnTo>
                    <a:pt x="366" y="456"/>
                  </a:lnTo>
                  <a:lnTo>
                    <a:pt x="358" y="456"/>
                  </a:lnTo>
                  <a:lnTo>
                    <a:pt x="362" y="456"/>
                  </a:lnTo>
                  <a:lnTo>
                    <a:pt x="362" y="452"/>
                  </a:lnTo>
                  <a:lnTo>
                    <a:pt x="362" y="448"/>
                  </a:lnTo>
                  <a:lnTo>
                    <a:pt x="366" y="444"/>
                  </a:lnTo>
                  <a:lnTo>
                    <a:pt x="366" y="442"/>
                  </a:lnTo>
                  <a:lnTo>
                    <a:pt x="362" y="438"/>
                  </a:lnTo>
                  <a:lnTo>
                    <a:pt x="362" y="434"/>
                  </a:lnTo>
                  <a:lnTo>
                    <a:pt x="358" y="430"/>
                  </a:lnTo>
                  <a:lnTo>
                    <a:pt x="358" y="434"/>
                  </a:lnTo>
                  <a:lnTo>
                    <a:pt x="354" y="434"/>
                  </a:lnTo>
                  <a:lnTo>
                    <a:pt x="354" y="438"/>
                  </a:lnTo>
                  <a:lnTo>
                    <a:pt x="354" y="442"/>
                  </a:lnTo>
                  <a:lnTo>
                    <a:pt x="354" y="444"/>
                  </a:lnTo>
                  <a:lnTo>
                    <a:pt x="354" y="448"/>
                  </a:lnTo>
                  <a:lnTo>
                    <a:pt x="350" y="448"/>
                  </a:lnTo>
                  <a:lnTo>
                    <a:pt x="346" y="448"/>
                  </a:lnTo>
                  <a:lnTo>
                    <a:pt x="342" y="448"/>
                  </a:lnTo>
                  <a:lnTo>
                    <a:pt x="340" y="452"/>
                  </a:lnTo>
                  <a:lnTo>
                    <a:pt x="340" y="448"/>
                  </a:lnTo>
                  <a:lnTo>
                    <a:pt x="342" y="448"/>
                  </a:lnTo>
                  <a:lnTo>
                    <a:pt x="342" y="444"/>
                  </a:lnTo>
                  <a:lnTo>
                    <a:pt x="346" y="444"/>
                  </a:lnTo>
                  <a:lnTo>
                    <a:pt x="350" y="444"/>
                  </a:lnTo>
                  <a:lnTo>
                    <a:pt x="350" y="442"/>
                  </a:lnTo>
                  <a:lnTo>
                    <a:pt x="350" y="438"/>
                  </a:lnTo>
                  <a:lnTo>
                    <a:pt x="350" y="434"/>
                  </a:lnTo>
                  <a:lnTo>
                    <a:pt x="350" y="430"/>
                  </a:lnTo>
                  <a:lnTo>
                    <a:pt x="350" y="426"/>
                  </a:lnTo>
                  <a:lnTo>
                    <a:pt x="350" y="422"/>
                  </a:lnTo>
                  <a:lnTo>
                    <a:pt x="354" y="418"/>
                  </a:lnTo>
                  <a:lnTo>
                    <a:pt x="354" y="414"/>
                  </a:lnTo>
                  <a:lnTo>
                    <a:pt x="354" y="412"/>
                  </a:lnTo>
                  <a:lnTo>
                    <a:pt x="358" y="412"/>
                  </a:lnTo>
                  <a:lnTo>
                    <a:pt x="358" y="408"/>
                  </a:lnTo>
                  <a:lnTo>
                    <a:pt x="354" y="404"/>
                  </a:lnTo>
                  <a:lnTo>
                    <a:pt x="354" y="400"/>
                  </a:lnTo>
                  <a:lnTo>
                    <a:pt x="354" y="404"/>
                  </a:lnTo>
                  <a:lnTo>
                    <a:pt x="354" y="408"/>
                  </a:lnTo>
                  <a:lnTo>
                    <a:pt x="350" y="408"/>
                  </a:lnTo>
                  <a:lnTo>
                    <a:pt x="350" y="412"/>
                  </a:lnTo>
                  <a:lnTo>
                    <a:pt x="346" y="412"/>
                  </a:lnTo>
                  <a:lnTo>
                    <a:pt x="346" y="414"/>
                  </a:lnTo>
                  <a:lnTo>
                    <a:pt x="346" y="418"/>
                  </a:lnTo>
                  <a:lnTo>
                    <a:pt x="342" y="422"/>
                  </a:lnTo>
                  <a:lnTo>
                    <a:pt x="342" y="418"/>
                  </a:lnTo>
                  <a:lnTo>
                    <a:pt x="340" y="422"/>
                  </a:lnTo>
                  <a:lnTo>
                    <a:pt x="342" y="422"/>
                  </a:lnTo>
                  <a:lnTo>
                    <a:pt x="340" y="422"/>
                  </a:lnTo>
                  <a:lnTo>
                    <a:pt x="336" y="426"/>
                  </a:lnTo>
                  <a:lnTo>
                    <a:pt x="332" y="426"/>
                  </a:lnTo>
                  <a:lnTo>
                    <a:pt x="332" y="430"/>
                  </a:lnTo>
                  <a:lnTo>
                    <a:pt x="332" y="434"/>
                  </a:lnTo>
                  <a:lnTo>
                    <a:pt x="328" y="434"/>
                  </a:lnTo>
                  <a:lnTo>
                    <a:pt x="328" y="438"/>
                  </a:lnTo>
                  <a:lnTo>
                    <a:pt x="324" y="442"/>
                  </a:lnTo>
                  <a:lnTo>
                    <a:pt x="328" y="442"/>
                  </a:lnTo>
                  <a:lnTo>
                    <a:pt x="328" y="444"/>
                  </a:lnTo>
                  <a:lnTo>
                    <a:pt x="328" y="442"/>
                  </a:lnTo>
                  <a:lnTo>
                    <a:pt x="324" y="442"/>
                  </a:lnTo>
                  <a:lnTo>
                    <a:pt x="324" y="444"/>
                  </a:lnTo>
                  <a:lnTo>
                    <a:pt x="324" y="442"/>
                  </a:lnTo>
                  <a:lnTo>
                    <a:pt x="320" y="442"/>
                  </a:lnTo>
                  <a:lnTo>
                    <a:pt x="320" y="438"/>
                  </a:lnTo>
                  <a:lnTo>
                    <a:pt x="316" y="438"/>
                  </a:lnTo>
                  <a:lnTo>
                    <a:pt x="316" y="434"/>
                  </a:lnTo>
                  <a:lnTo>
                    <a:pt x="320" y="438"/>
                  </a:lnTo>
                  <a:lnTo>
                    <a:pt x="320" y="434"/>
                  </a:lnTo>
                  <a:lnTo>
                    <a:pt x="320" y="430"/>
                  </a:lnTo>
                  <a:lnTo>
                    <a:pt x="316" y="430"/>
                  </a:lnTo>
                  <a:lnTo>
                    <a:pt x="316" y="426"/>
                  </a:lnTo>
                  <a:lnTo>
                    <a:pt x="316" y="422"/>
                  </a:lnTo>
                  <a:lnTo>
                    <a:pt x="314" y="422"/>
                  </a:lnTo>
                  <a:lnTo>
                    <a:pt x="314" y="418"/>
                  </a:lnTo>
                  <a:lnTo>
                    <a:pt x="314" y="414"/>
                  </a:lnTo>
                  <a:lnTo>
                    <a:pt x="310" y="412"/>
                  </a:lnTo>
                  <a:lnTo>
                    <a:pt x="306" y="412"/>
                  </a:lnTo>
                  <a:lnTo>
                    <a:pt x="302" y="408"/>
                  </a:lnTo>
                  <a:lnTo>
                    <a:pt x="302" y="404"/>
                  </a:lnTo>
                  <a:lnTo>
                    <a:pt x="306" y="404"/>
                  </a:lnTo>
                  <a:lnTo>
                    <a:pt x="306" y="400"/>
                  </a:lnTo>
                  <a:lnTo>
                    <a:pt x="302" y="400"/>
                  </a:lnTo>
                  <a:lnTo>
                    <a:pt x="302" y="396"/>
                  </a:lnTo>
                  <a:lnTo>
                    <a:pt x="298" y="396"/>
                  </a:lnTo>
                  <a:lnTo>
                    <a:pt x="298" y="400"/>
                  </a:lnTo>
                  <a:lnTo>
                    <a:pt x="298" y="396"/>
                  </a:lnTo>
                  <a:lnTo>
                    <a:pt x="298" y="392"/>
                  </a:lnTo>
                  <a:lnTo>
                    <a:pt x="294" y="392"/>
                  </a:lnTo>
                  <a:lnTo>
                    <a:pt x="290" y="392"/>
                  </a:lnTo>
                  <a:lnTo>
                    <a:pt x="286" y="392"/>
                  </a:lnTo>
                  <a:lnTo>
                    <a:pt x="286" y="388"/>
                  </a:lnTo>
                  <a:lnTo>
                    <a:pt x="284" y="388"/>
                  </a:lnTo>
                  <a:lnTo>
                    <a:pt x="280" y="388"/>
                  </a:lnTo>
                  <a:lnTo>
                    <a:pt x="276" y="388"/>
                  </a:lnTo>
                  <a:lnTo>
                    <a:pt x="272" y="388"/>
                  </a:lnTo>
                  <a:lnTo>
                    <a:pt x="272" y="384"/>
                  </a:lnTo>
                  <a:lnTo>
                    <a:pt x="268" y="384"/>
                  </a:lnTo>
                  <a:lnTo>
                    <a:pt x="268" y="382"/>
                  </a:lnTo>
                  <a:lnTo>
                    <a:pt x="264" y="382"/>
                  </a:lnTo>
                  <a:lnTo>
                    <a:pt x="260" y="382"/>
                  </a:lnTo>
                  <a:lnTo>
                    <a:pt x="260" y="378"/>
                  </a:lnTo>
                  <a:lnTo>
                    <a:pt x="258" y="382"/>
                  </a:lnTo>
                  <a:lnTo>
                    <a:pt x="254" y="382"/>
                  </a:lnTo>
                  <a:lnTo>
                    <a:pt x="246" y="382"/>
                  </a:lnTo>
                  <a:lnTo>
                    <a:pt x="242" y="382"/>
                  </a:lnTo>
                  <a:lnTo>
                    <a:pt x="238" y="382"/>
                  </a:lnTo>
                  <a:lnTo>
                    <a:pt x="234" y="382"/>
                  </a:lnTo>
                  <a:lnTo>
                    <a:pt x="230" y="382"/>
                  </a:lnTo>
                  <a:lnTo>
                    <a:pt x="228" y="384"/>
                  </a:lnTo>
                  <a:lnTo>
                    <a:pt x="224" y="384"/>
                  </a:lnTo>
                  <a:lnTo>
                    <a:pt x="216" y="388"/>
                  </a:lnTo>
                  <a:lnTo>
                    <a:pt x="216" y="392"/>
                  </a:lnTo>
                  <a:lnTo>
                    <a:pt x="212" y="392"/>
                  </a:lnTo>
                  <a:lnTo>
                    <a:pt x="208" y="392"/>
                  </a:lnTo>
                  <a:lnTo>
                    <a:pt x="204" y="392"/>
                  </a:lnTo>
                  <a:lnTo>
                    <a:pt x="202" y="392"/>
                  </a:lnTo>
                  <a:lnTo>
                    <a:pt x="202" y="396"/>
                  </a:lnTo>
                  <a:lnTo>
                    <a:pt x="198" y="396"/>
                  </a:lnTo>
                  <a:lnTo>
                    <a:pt x="194" y="396"/>
                  </a:lnTo>
                  <a:lnTo>
                    <a:pt x="194" y="392"/>
                  </a:lnTo>
                  <a:lnTo>
                    <a:pt x="190" y="392"/>
                  </a:lnTo>
                  <a:lnTo>
                    <a:pt x="186" y="392"/>
                  </a:lnTo>
                  <a:lnTo>
                    <a:pt x="182" y="396"/>
                  </a:lnTo>
                  <a:lnTo>
                    <a:pt x="178" y="400"/>
                  </a:lnTo>
                  <a:lnTo>
                    <a:pt x="174" y="400"/>
                  </a:lnTo>
                  <a:lnTo>
                    <a:pt x="172" y="404"/>
                  </a:lnTo>
                  <a:lnTo>
                    <a:pt x="168" y="404"/>
                  </a:lnTo>
                  <a:lnTo>
                    <a:pt x="168" y="408"/>
                  </a:lnTo>
                  <a:lnTo>
                    <a:pt x="164" y="408"/>
                  </a:lnTo>
                  <a:lnTo>
                    <a:pt x="160" y="408"/>
                  </a:lnTo>
                  <a:lnTo>
                    <a:pt x="160" y="412"/>
                  </a:lnTo>
                  <a:lnTo>
                    <a:pt x="160" y="414"/>
                  </a:lnTo>
                  <a:lnTo>
                    <a:pt x="156" y="418"/>
                  </a:lnTo>
                  <a:lnTo>
                    <a:pt x="156" y="422"/>
                  </a:lnTo>
                  <a:lnTo>
                    <a:pt x="152" y="422"/>
                  </a:lnTo>
                  <a:lnTo>
                    <a:pt x="152" y="426"/>
                  </a:lnTo>
                  <a:lnTo>
                    <a:pt x="148" y="422"/>
                  </a:lnTo>
                  <a:lnTo>
                    <a:pt x="148" y="426"/>
                  </a:lnTo>
                  <a:lnTo>
                    <a:pt x="146" y="426"/>
                  </a:lnTo>
                  <a:lnTo>
                    <a:pt x="146" y="422"/>
                  </a:lnTo>
                  <a:lnTo>
                    <a:pt x="142" y="422"/>
                  </a:lnTo>
                  <a:lnTo>
                    <a:pt x="142" y="426"/>
                  </a:lnTo>
                  <a:lnTo>
                    <a:pt x="142" y="422"/>
                  </a:lnTo>
                  <a:lnTo>
                    <a:pt x="138" y="422"/>
                  </a:lnTo>
                  <a:lnTo>
                    <a:pt x="138" y="426"/>
                  </a:lnTo>
                  <a:lnTo>
                    <a:pt x="134" y="426"/>
                  </a:lnTo>
                  <a:lnTo>
                    <a:pt x="130" y="426"/>
                  </a:lnTo>
                  <a:lnTo>
                    <a:pt x="130" y="422"/>
                  </a:lnTo>
                  <a:lnTo>
                    <a:pt x="126" y="422"/>
                  </a:lnTo>
                  <a:lnTo>
                    <a:pt x="122" y="422"/>
                  </a:lnTo>
                  <a:lnTo>
                    <a:pt x="120" y="422"/>
                  </a:lnTo>
                  <a:lnTo>
                    <a:pt x="116" y="422"/>
                  </a:lnTo>
                  <a:lnTo>
                    <a:pt x="112" y="422"/>
                  </a:lnTo>
                  <a:lnTo>
                    <a:pt x="108" y="426"/>
                  </a:lnTo>
                  <a:lnTo>
                    <a:pt x="104" y="426"/>
                  </a:lnTo>
                  <a:lnTo>
                    <a:pt x="102" y="426"/>
                  </a:lnTo>
                  <a:lnTo>
                    <a:pt x="98" y="426"/>
                  </a:lnTo>
                  <a:lnTo>
                    <a:pt x="98" y="430"/>
                  </a:lnTo>
                  <a:lnTo>
                    <a:pt x="94" y="430"/>
                  </a:lnTo>
                  <a:lnTo>
                    <a:pt x="94" y="434"/>
                  </a:lnTo>
                  <a:lnTo>
                    <a:pt x="90" y="438"/>
                  </a:lnTo>
                  <a:lnTo>
                    <a:pt x="90" y="434"/>
                  </a:lnTo>
                  <a:lnTo>
                    <a:pt x="86" y="434"/>
                  </a:lnTo>
                  <a:lnTo>
                    <a:pt x="86" y="438"/>
                  </a:lnTo>
                  <a:lnTo>
                    <a:pt x="82" y="438"/>
                  </a:lnTo>
                  <a:lnTo>
                    <a:pt x="82" y="442"/>
                  </a:lnTo>
                  <a:lnTo>
                    <a:pt x="78" y="442"/>
                  </a:lnTo>
                  <a:lnTo>
                    <a:pt x="78" y="444"/>
                  </a:lnTo>
                  <a:lnTo>
                    <a:pt x="74" y="444"/>
                  </a:lnTo>
                  <a:lnTo>
                    <a:pt x="72" y="444"/>
                  </a:lnTo>
                  <a:lnTo>
                    <a:pt x="74" y="444"/>
                  </a:lnTo>
                  <a:lnTo>
                    <a:pt x="74" y="448"/>
                  </a:lnTo>
                  <a:lnTo>
                    <a:pt x="72" y="448"/>
                  </a:lnTo>
                  <a:lnTo>
                    <a:pt x="72" y="444"/>
                  </a:lnTo>
                  <a:lnTo>
                    <a:pt x="68" y="444"/>
                  </a:lnTo>
                  <a:lnTo>
                    <a:pt x="68" y="448"/>
                  </a:lnTo>
                  <a:lnTo>
                    <a:pt x="68" y="444"/>
                  </a:lnTo>
                  <a:lnTo>
                    <a:pt x="64" y="444"/>
                  </a:lnTo>
                  <a:lnTo>
                    <a:pt x="60" y="444"/>
                  </a:lnTo>
                  <a:lnTo>
                    <a:pt x="56" y="444"/>
                  </a:lnTo>
                  <a:lnTo>
                    <a:pt x="52" y="444"/>
                  </a:lnTo>
                  <a:lnTo>
                    <a:pt x="48" y="444"/>
                  </a:lnTo>
                  <a:lnTo>
                    <a:pt x="48" y="442"/>
                  </a:lnTo>
                  <a:lnTo>
                    <a:pt x="46" y="442"/>
                  </a:lnTo>
                  <a:lnTo>
                    <a:pt x="46" y="438"/>
                  </a:lnTo>
                  <a:lnTo>
                    <a:pt x="42" y="438"/>
                  </a:lnTo>
                  <a:lnTo>
                    <a:pt x="42" y="434"/>
                  </a:lnTo>
                  <a:lnTo>
                    <a:pt x="38" y="434"/>
                  </a:lnTo>
                  <a:lnTo>
                    <a:pt x="34" y="430"/>
                  </a:lnTo>
                  <a:lnTo>
                    <a:pt x="34" y="434"/>
                  </a:lnTo>
                  <a:lnTo>
                    <a:pt x="30" y="430"/>
                  </a:lnTo>
                  <a:lnTo>
                    <a:pt x="30" y="426"/>
                  </a:lnTo>
                  <a:lnTo>
                    <a:pt x="30" y="422"/>
                  </a:lnTo>
                  <a:lnTo>
                    <a:pt x="30" y="418"/>
                  </a:lnTo>
                  <a:lnTo>
                    <a:pt x="34" y="418"/>
                  </a:lnTo>
                  <a:lnTo>
                    <a:pt x="38" y="418"/>
                  </a:lnTo>
                  <a:lnTo>
                    <a:pt x="42" y="414"/>
                  </a:lnTo>
                  <a:lnTo>
                    <a:pt x="42" y="412"/>
                  </a:lnTo>
                  <a:lnTo>
                    <a:pt x="42" y="408"/>
                  </a:lnTo>
                  <a:lnTo>
                    <a:pt x="42" y="404"/>
                  </a:lnTo>
                  <a:lnTo>
                    <a:pt x="42" y="400"/>
                  </a:lnTo>
                  <a:lnTo>
                    <a:pt x="42" y="404"/>
                  </a:lnTo>
                  <a:lnTo>
                    <a:pt x="42" y="400"/>
                  </a:lnTo>
                  <a:lnTo>
                    <a:pt x="42" y="396"/>
                  </a:lnTo>
                  <a:lnTo>
                    <a:pt x="42" y="392"/>
                  </a:lnTo>
                  <a:lnTo>
                    <a:pt x="42" y="388"/>
                  </a:lnTo>
                  <a:lnTo>
                    <a:pt x="42" y="384"/>
                  </a:lnTo>
                  <a:lnTo>
                    <a:pt x="42" y="382"/>
                  </a:lnTo>
                  <a:lnTo>
                    <a:pt x="42" y="378"/>
                  </a:lnTo>
                  <a:lnTo>
                    <a:pt x="38" y="378"/>
                  </a:lnTo>
                  <a:lnTo>
                    <a:pt x="38" y="374"/>
                  </a:lnTo>
                  <a:lnTo>
                    <a:pt x="38" y="370"/>
                  </a:lnTo>
                  <a:lnTo>
                    <a:pt x="34" y="370"/>
                  </a:lnTo>
                  <a:lnTo>
                    <a:pt x="34" y="366"/>
                  </a:lnTo>
                  <a:lnTo>
                    <a:pt x="34" y="362"/>
                  </a:lnTo>
                  <a:lnTo>
                    <a:pt x="34" y="358"/>
                  </a:lnTo>
                  <a:lnTo>
                    <a:pt x="34" y="356"/>
                  </a:lnTo>
                  <a:lnTo>
                    <a:pt x="30" y="356"/>
                  </a:lnTo>
                  <a:lnTo>
                    <a:pt x="30" y="352"/>
                  </a:lnTo>
                  <a:lnTo>
                    <a:pt x="30" y="348"/>
                  </a:lnTo>
                  <a:lnTo>
                    <a:pt x="30" y="344"/>
                  </a:lnTo>
                  <a:lnTo>
                    <a:pt x="30" y="340"/>
                  </a:lnTo>
                  <a:lnTo>
                    <a:pt x="30" y="336"/>
                  </a:lnTo>
                  <a:lnTo>
                    <a:pt x="26" y="332"/>
                  </a:lnTo>
                  <a:lnTo>
                    <a:pt x="26" y="328"/>
                  </a:lnTo>
                  <a:lnTo>
                    <a:pt x="26" y="326"/>
                  </a:lnTo>
                  <a:lnTo>
                    <a:pt x="22" y="322"/>
                  </a:lnTo>
                  <a:lnTo>
                    <a:pt x="22" y="318"/>
                  </a:lnTo>
                  <a:lnTo>
                    <a:pt x="18" y="318"/>
                  </a:lnTo>
                  <a:lnTo>
                    <a:pt x="18" y="314"/>
                  </a:lnTo>
                  <a:lnTo>
                    <a:pt x="18" y="310"/>
                  </a:lnTo>
                  <a:lnTo>
                    <a:pt x="18" y="306"/>
                  </a:lnTo>
                  <a:lnTo>
                    <a:pt x="18" y="302"/>
                  </a:lnTo>
                  <a:lnTo>
                    <a:pt x="16" y="300"/>
                  </a:lnTo>
                  <a:lnTo>
                    <a:pt x="16" y="296"/>
                  </a:lnTo>
                  <a:lnTo>
                    <a:pt x="12" y="296"/>
                  </a:lnTo>
                  <a:lnTo>
                    <a:pt x="12" y="292"/>
                  </a:lnTo>
                  <a:lnTo>
                    <a:pt x="12" y="288"/>
                  </a:lnTo>
                  <a:lnTo>
                    <a:pt x="8" y="288"/>
                  </a:lnTo>
                  <a:lnTo>
                    <a:pt x="8" y="286"/>
                  </a:lnTo>
                  <a:lnTo>
                    <a:pt x="8" y="282"/>
                  </a:lnTo>
                  <a:lnTo>
                    <a:pt x="8" y="286"/>
                  </a:lnTo>
                  <a:lnTo>
                    <a:pt x="8" y="282"/>
                  </a:lnTo>
                  <a:lnTo>
                    <a:pt x="12" y="286"/>
                  </a:lnTo>
                  <a:lnTo>
                    <a:pt x="12" y="288"/>
                  </a:lnTo>
                  <a:lnTo>
                    <a:pt x="12" y="292"/>
                  </a:lnTo>
                  <a:lnTo>
                    <a:pt x="16" y="292"/>
                  </a:lnTo>
                  <a:lnTo>
                    <a:pt x="16" y="288"/>
                  </a:lnTo>
                  <a:lnTo>
                    <a:pt x="16" y="286"/>
                  </a:lnTo>
                  <a:lnTo>
                    <a:pt x="12" y="286"/>
                  </a:lnTo>
                  <a:lnTo>
                    <a:pt x="12" y="282"/>
                  </a:lnTo>
                  <a:lnTo>
                    <a:pt x="12" y="278"/>
                  </a:lnTo>
                  <a:lnTo>
                    <a:pt x="8" y="274"/>
                  </a:lnTo>
                  <a:lnTo>
                    <a:pt x="12" y="270"/>
                  </a:lnTo>
                  <a:lnTo>
                    <a:pt x="12" y="274"/>
                  </a:lnTo>
                  <a:lnTo>
                    <a:pt x="12" y="278"/>
                  </a:lnTo>
                  <a:lnTo>
                    <a:pt x="16" y="278"/>
                  </a:lnTo>
                  <a:lnTo>
                    <a:pt x="16" y="282"/>
                  </a:lnTo>
                  <a:lnTo>
                    <a:pt x="12" y="282"/>
                  </a:lnTo>
                  <a:lnTo>
                    <a:pt x="16" y="286"/>
                  </a:lnTo>
                  <a:lnTo>
                    <a:pt x="16" y="282"/>
                  </a:lnTo>
                  <a:lnTo>
                    <a:pt x="16" y="286"/>
                  </a:lnTo>
                  <a:lnTo>
                    <a:pt x="18" y="288"/>
                  </a:lnTo>
                  <a:lnTo>
                    <a:pt x="18" y="286"/>
                  </a:lnTo>
                  <a:lnTo>
                    <a:pt x="18" y="282"/>
                  </a:lnTo>
                  <a:lnTo>
                    <a:pt x="22" y="282"/>
                  </a:lnTo>
                  <a:lnTo>
                    <a:pt x="22" y="278"/>
                  </a:lnTo>
                  <a:lnTo>
                    <a:pt x="18" y="274"/>
                  </a:lnTo>
                  <a:lnTo>
                    <a:pt x="16" y="270"/>
                  </a:lnTo>
                  <a:lnTo>
                    <a:pt x="16" y="266"/>
                  </a:lnTo>
                  <a:lnTo>
                    <a:pt x="12" y="262"/>
                  </a:lnTo>
                  <a:lnTo>
                    <a:pt x="12" y="258"/>
                  </a:lnTo>
                  <a:lnTo>
                    <a:pt x="12" y="256"/>
                  </a:lnTo>
                  <a:lnTo>
                    <a:pt x="8" y="256"/>
                  </a:lnTo>
                  <a:lnTo>
                    <a:pt x="8" y="252"/>
                  </a:lnTo>
                  <a:lnTo>
                    <a:pt x="8" y="248"/>
                  </a:lnTo>
                  <a:lnTo>
                    <a:pt x="12" y="244"/>
                  </a:lnTo>
                  <a:lnTo>
                    <a:pt x="12" y="240"/>
                  </a:lnTo>
                  <a:lnTo>
                    <a:pt x="12" y="236"/>
                  </a:lnTo>
                  <a:lnTo>
                    <a:pt x="16" y="236"/>
                  </a:lnTo>
                  <a:lnTo>
                    <a:pt x="16" y="232"/>
                  </a:lnTo>
                  <a:lnTo>
                    <a:pt x="16" y="228"/>
                  </a:lnTo>
                  <a:lnTo>
                    <a:pt x="16" y="226"/>
                  </a:lnTo>
                  <a:lnTo>
                    <a:pt x="16" y="222"/>
                  </a:lnTo>
                  <a:lnTo>
                    <a:pt x="12" y="222"/>
                  </a:lnTo>
                  <a:lnTo>
                    <a:pt x="12" y="218"/>
                  </a:lnTo>
                  <a:lnTo>
                    <a:pt x="16" y="218"/>
                  </a:lnTo>
                  <a:lnTo>
                    <a:pt x="16" y="214"/>
                  </a:lnTo>
                  <a:lnTo>
                    <a:pt x="16" y="210"/>
                  </a:lnTo>
                  <a:lnTo>
                    <a:pt x="16" y="206"/>
                  </a:lnTo>
                  <a:lnTo>
                    <a:pt x="18" y="206"/>
                  </a:lnTo>
                  <a:lnTo>
                    <a:pt x="18" y="210"/>
                  </a:lnTo>
                  <a:lnTo>
                    <a:pt x="18" y="214"/>
                  </a:lnTo>
                  <a:lnTo>
                    <a:pt x="18" y="218"/>
                  </a:lnTo>
                  <a:lnTo>
                    <a:pt x="22" y="218"/>
                  </a:lnTo>
                  <a:lnTo>
                    <a:pt x="22" y="214"/>
                  </a:lnTo>
                  <a:lnTo>
                    <a:pt x="22" y="210"/>
                  </a:lnTo>
                  <a:lnTo>
                    <a:pt x="26" y="210"/>
                  </a:lnTo>
                  <a:lnTo>
                    <a:pt x="26" y="206"/>
                  </a:lnTo>
                  <a:lnTo>
                    <a:pt x="30" y="202"/>
                  </a:lnTo>
                  <a:lnTo>
                    <a:pt x="34" y="202"/>
                  </a:lnTo>
                  <a:lnTo>
                    <a:pt x="38" y="200"/>
                  </a:lnTo>
                  <a:lnTo>
                    <a:pt x="42" y="196"/>
                  </a:lnTo>
                  <a:lnTo>
                    <a:pt x="46" y="196"/>
                  </a:lnTo>
                  <a:lnTo>
                    <a:pt x="46" y="192"/>
                  </a:lnTo>
                  <a:lnTo>
                    <a:pt x="48" y="192"/>
                  </a:lnTo>
                  <a:lnTo>
                    <a:pt x="48" y="188"/>
                  </a:lnTo>
                  <a:lnTo>
                    <a:pt x="52" y="188"/>
                  </a:lnTo>
                  <a:lnTo>
                    <a:pt x="56" y="188"/>
                  </a:lnTo>
                  <a:lnTo>
                    <a:pt x="56" y="184"/>
                  </a:lnTo>
                  <a:lnTo>
                    <a:pt x="60" y="184"/>
                  </a:lnTo>
                  <a:lnTo>
                    <a:pt x="64" y="184"/>
                  </a:lnTo>
                  <a:lnTo>
                    <a:pt x="64" y="188"/>
                  </a:lnTo>
                  <a:lnTo>
                    <a:pt x="68" y="188"/>
                  </a:lnTo>
                  <a:lnTo>
                    <a:pt x="68" y="184"/>
                  </a:lnTo>
                  <a:lnTo>
                    <a:pt x="72" y="184"/>
                  </a:lnTo>
                  <a:lnTo>
                    <a:pt x="74" y="184"/>
                  </a:lnTo>
                  <a:lnTo>
                    <a:pt x="74" y="180"/>
                  </a:lnTo>
                  <a:lnTo>
                    <a:pt x="78" y="180"/>
                  </a:lnTo>
                  <a:lnTo>
                    <a:pt x="82" y="180"/>
                  </a:lnTo>
                  <a:lnTo>
                    <a:pt x="86" y="176"/>
                  </a:lnTo>
                  <a:lnTo>
                    <a:pt x="90" y="172"/>
                  </a:lnTo>
                  <a:lnTo>
                    <a:pt x="94" y="172"/>
                  </a:lnTo>
                  <a:lnTo>
                    <a:pt x="98" y="172"/>
                  </a:lnTo>
                  <a:lnTo>
                    <a:pt x="102" y="172"/>
                  </a:lnTo>
                  <a:lnTo>
                    <a:pt x="104" y="172"/>
                  </a:lnTo>
                  <a:lnTo>
                    <a:pt x="108" y="170"/>
                  </a:lnTo>
                  <a:lnTo>
                    <a:pt x="112" y="170"/>
                  </a:lnTo>
                  <a:lnTo>
                    <a:pt x="116" y="166"/>
                  </a:lnTo>
                  <a:lnTo>
                    <a:pt x="120" y="166"/>
                  </a:lnTo>
                  <a:lnTo>
                    <a:pt x="120" y="162"/>
                  </a:lnTo>
                  <a:lnTo>
                    <a:pt x="122" y="158"/>
                  </a:lnTo>
                  <a:lnTo>
                    <a:pt x="122" y="154"/>
                  </a:lnTo>
                  <a:lnTo>
                    <a:pt x="126" y="150"/>
                  </a:lnTo>
                  <a:lnTo>
                    <a:pt x="126" y="146"/>
                  </a:lnTo>
                  <a:lnTo>
                    <a:pt x="130" y="146"/>
                  </a:lnTo>
                  <a:lnTo>
                    <a:pt x="130" y="142"/>
                  </a:lnTo>
                  <a:lnTo>
                    <a:pt x="134" y="140"/>
                  </a:lnTo>
                  <a:lnTo>
                    <a:pt x="134" y="136"/>
                  </a:lnTo>
                  <a:lnTo>
                    <a:pt x="134" y="132"/>
                  </a:lnTo>
                  <a:lnTo>
                    <a:pt x="134" y="128"/>
                  </a:lnTo>
                  <a:lnTo>
                    <a:pt x="134" y="124"/>
                  </a:lnTo>
                  <a:lnTo>
                    <a:pt x="134" y="120"/>
                  </a:lnTo>
                  <a:lnTo>
                    <a:pt x="138" y="120"/>
                  </a:lnTo>
                  <a:lnTo>
                    <a:pt x="138" y="116"/>
                  </a:lnTo>
                  <a:lnTo>
                    <a:pt x="142" y="116"/>
                  </a:lnTo>
                  <a:lnTo>
                    <a:pt x="142" y="114"/>
                  </a:lnTo>
                  <a:lnTo>
                    <a:pt x="142" y="110"/>
                  </a:lnTo>
                  <a:lnTo>
                    <a:pt x="146" y="110"/>
                  </a:lnTo>
                  <a:lnTo>
                    <a:pt x="146" y="114"/>
                  </a:lnTo>
                  <a:lnTo>
                    <a:pt x="146" y="110"/>
                  </a:lnTo>
                  <a:lnTo>
                    <a:pt x="146" y="114"/>
                  </a:lnTo>
                  <a:lnTo>
                    <a:pt x="146" y="116"/>
                  </a:lnTo>
                  <a:lnTo>
                    <a:pt x="148" y="120"/>
                  </a:lnTo>
                  <a:lnTo>
                    <a:pt x="148" y="124"/>
                  </a:lnTo>
                  <a:lnTo>
                    <a:pt x="148" y="128"/>
                  </a:lnTo>
                  <a:lnTo>
                    <a:pt x="152" y="128"/>
                  </a:lnTo>
                  <a:lnTo>
                    <a:pt x="152" y="132"/>
                  </a:lnTo>
                  <a:lnTo>
                    <a:pt x="152" y="128"/>
                  </a:lnTo>
                  <a:lnTo>
                    <a:pt x="152" y="124"/>
                  </a:lnTo>
                  <a:lnTo>
                    <a:pt x="152" y="120"/>
                  </a:lnTo>
                  <a:lnTo>
                    <a:pt x="156" y="120"/>
                  </a:lnTo>
                  <a:lnTo>
                    <a:pt x="156" y="124"/>
                  </a:lnTo>
                  <a:lnTo>
                    <a:pt x="156" y="120"/>
                  </a:lnTo>
                  <a:lnTo>
                    <a:pt x="156" y="116"/>
                  </a:lnTo>
                  <a:lnTo>
                    <a:pt x="152" y="116"/>
                  </a:lnTo>
                  <a:lnTo>
                    <a:pt x="152" y="114"/>
                  </a:lnTo>
                  <a:lnTo>
                    <a:pt x="148" y="114"/>
                  </a:lnTo>
                  <a:lnTo>
                    <a:pt x="152" y="114"/>
                  </a:lnTo>
                  <a:lnTo>
                    <a:pt x="152" y="110"/>
                  </a:lnTo>
                  <a:lnTo>
                    <a:pt x="152" y="106"/>
                  </a:lnTo>
                  <a:lnTo>
                    <a:pt x="156" y="106"/>
                  </a:lnTo>
                  <a:lnTo>
                    <a:pt x="156" y="110"/>
                  </a:lnTo>
                  <a:lnTo>
                    <a:pt x="156" y="106"/>
                  </a:lnTo>
                  <a:lnTo>
                    <a:pt x="160" y="106"/>
                  </a:lnTo>
                  <a:lnTo>
                    <a:pt x="160" y="110"/>
                  </a:lnTo>
                  <a:lnTo>
                    <a:pt x="164" y="110"/>
                  </a:lnTo>
                  <a:lnTo>
                    <a:pt x="168" y="110"/>
                  </a:lnTo>
                  <a:lnTo>
                    <a:pt x="172" y="110"/>
                  </a:lnTo>
                  <a:lnTo>
                    <a:pt x="168" y="110"/>
                  </a:lnTo>
                  <a:lnTo>
                    <a:pt x="164" y="110"/>
                  </a:lnTo>
                  <a:lnTo>
                    <a:pt x="164" y="106"/>
                  </a:lnTo>
                  <a:lnTo>
                    <a:pt x="168" y="106"/>
                  </a:lnTo>
                  <a:lnTo>
                    <a:pt x="168" y="102"/>
                  </a:lnTo>
                  <a:lnTo>
                    <a:pt x="168" y="98"/>
                  </a:lnTo>
                  <a:lnTo>
                    <a:pt x="168" y="102"/>
                  </a:lnTo>
                  <a:lnTo>
                    <a:pt x="164" y="102"/>
                  </a:lnTo>
                  <a:lnTo>
                    <a:pt x="164" y="98"/>
                  </a:lnTo>
                  <a:lnTo>
                    <a:pt x="164" y="94"/>
                  </a:lnTo>
                  <a:lnTo>
                    <a:pt x="168" y="94"/>
                  </a:lnTo>
                  <a:lnTo>
                    <a:pt x="168" y="90"/>
                  </a:lnTo>
                  <a:lnTo>
                    <a:pt x="172" y="90"/>
                  </a:lnTo>
                  <a:lnTo>
                    <a:pt x="172" y="94"/>
                  </a:lnTo>
                  <a:lnTo>
                    <a:pt x="174" y="94"/>
                  </a:lnTo>
                  <a:lnTo>
                    <a:pt x="174" y="90"/>
                  </a:lnTo>
                  <a:lnTo>
                    <a:pt x="172" y="90"/>
                  </a:lnTo>
                  <a:lnTo>
                    <a:pt x="174" y="86"/>
                  </a:lnTo>
                  <a:lnTo>
                    <a:pt x="172" y="86"/>
                  </a:lnTo>
                  <a:lnTo>
                    <a:pt x="172" y="90"/>
                  </a:lnTo>
                  <a:lnTo>
                    <a:pt x="172" y="86"/>
                  </a:lnTo>
                  <a:lnTo>
                    <a:pt x="174" y="86"/>
                  </a:lnTo>
                  <a:lnTo>
                    <a:pt x="178" y="86"/>
                  </a:lnTo>
                  <a:lnTo>
                    <a:pt x="174" y="86"/>
                  </a:lnTo>
                  <a:lnTo>
                    <a:pt x="174" y="84"/>
                  </a:lnTo>
                  <a:lnTo>
                    <a:pt x="174" y="80"/>
                  </a:lnTo>
                  <a:lnTo>
                    <a:pt x="178" y="76"/>
                  </a:lnTo>
                  <a:lnTo>
                    <a:pt x="178" y="80"/>
                  </a:lnTo>
                  <a:lnTo>
                    <a:pt x="182" y="80"/>
                  </a:lnTo>
                  <a:lnTo>
                    <a:pt x="182" y="76"/>
                  </a:lnTo>
                  <a:lnTo>
                    <a:pt x="182" y="72"/>
                  </a:lnTo>
                  <a:lnTo>
                    <a:pt x="182" y="76"/>
                  </a:lnTo>
                  <a:lnTo>
                    <a:pt x="182" y="80"/>
                  </a:lnTo>
                  <a:lnTo>
                    <a:pt x="182" y="76"/>
                  </a:lnTo>
                  <a:lnTo>
                    <a:pt x="186" y="76"/>
                  </a:lnTo>
                  <a:lnTo>
                    <a:pt x="182" y="80"/>
                  </a:lnTo>
                  <a:lnTo>
                    <a:pt x="186" y="80"/>
                  </a:lnTo>
                  <a:lnTo>
                    <a:pt x="186" y="76"/>
                  </a:lnTo>
                  <a:lnTo>
                    <a:pt x="190" y="72"/>
                  </a:lnTo>
                  <a:lnTo>
                    <a:pt x="186" y="68"/>
                  </a:lnTo>
                  <a:lnTo>
                    <a:pt x="190" y="68"/>
                  </a:lnTo>
                  <a:lnTo>
                    <a:pt x="190" y="72"/>
                  </a:lnTo>
                  <a:lnTo>
                    <a:pt x="190" y="68"/>
                  </a:lnTo>
                  <a:lnTo>
                    <a:pt x="194" y="68"/>
                  </a:lnTo>
                  <a:lnTo>
                    <a:pt x="194" y="72"/>
                  </a:lnTo>
                  <a:lnTo>
                    <a:pt x="198" y="72"/>
                  </a:lnTo>
                  <a:lnTo>
                    <a:pt x="198" y="68"/>
                  </a:lnTo>
                  <a:lnTo>
                    <a:pt x="198" y="64"/>
                  </a:lnTo>
                  <a:lnTo>
                    <a:pt x="202" y="64"/>
                  </a:lnTo>
                  <a:lnTo>
                    <a:pt x="202" y="68"/>
                  </a:lnTo>
                  <a:lnTo>
                    <a:pt x="204" y="68"/>
                  </a:lnTo>
                  <a:lnTo>
                    <a:pt x="204" y="64"/>
                  </a:lnTo>
                  <a:lnTo>
                    <a:pt x="204" y="68"/>
                  </a:lnTo>
                  <a:lnTo>
                    <a:pt x="208" y="68"/>
                  </a:lnTo>
                  <a:lnTo>
                    <a:pt x="208" y="72"/>
                  </a:lnTo>
                  <a:lnTo>
                    <a:pt x="212" y="72"/>
                  </a:lnTo>
                  <a:lnTo>
                    <a:pt x="212" y="76"/>
                  </a:lnTo>
                  <a:lnTo>
                    <a:pt x="216" y="80"/>
                  </a:lnTo>
                  <a:lnTo>
                    <a:pt x="216" y="84"/>
                  </a:lnTo>
                  <a:lnTo>
                    <a:pt x="216" y="86"/>
                  </a:lnTo>
                  <a:lnTo>
                    <a:pt x="216" y="90"/>
                  </a:lnTo>
                  <a:lnTo>
                    <a:pt x="216" y="94"/>
                  </a:lnTo>
                  <a:lnTo>
                    <a:pt x="216" y="90"/>
                  </a:lnTo>
                  <a:lnTo>
                    <a:pt x="220" y="90"/>
                  </a:lnTo>
                  <a:lnTo>
                    <a:pt x="220" y="86"/>
                  </a:lnTo>
                  <a:lnTo>
                    <a:pt x="216" y="86"/>
                  </a:lnTo>
                  <a:lnTo>
                    <a:pt x="220" y="86"/>
                  </a:lnTo>
                  <a:lnTo>
                    <a:pt x="220" y="84"/>
                  </a:lnTo>
                  <a:lnTo>
                    <a:pt x="220" y="86"/>
                  </a:lnTo>
                  <a:lnTo>
                    <a:pt x="220" y="84"/>
                  </a:lnTo>
                  <a:lnTo>
                    <a:pt x="224" y="84"/>
                  </a:lnTo>
                  <a:lnTo>
                    <a:pt x="224" y="80"/>
                  </a:lnTo>
                  <a:lnTo>
                    <a:pt x="224" y="84"/>
                  </a:lnTo>
                  <a:lnTo>
                    <a:pt x="228" y="84"/>
                  </a:lnTo>
                  <a:lnTo>
                    <a:pt x="230" y="84"/>
                  </a:lnTo>
                  <a:lnTo>
                    <a:pt x="230" y="86"/>
                  </a:lnTo>
                  <a:lnTo>
                    <a:pt x="234" y="86"/>
                  </a:lnTo>
                  <a:lnTo>
                    <a:pt x="230" y="86"/>
                  </a:lnTo>
                  <a:lnTo>
                    <a:pt x="230" y="84"/>
                  </a:lnTo>
                  <a:lnTo>
                    <a:pt x="234" y="84"/>
                  </a:lnTo>
                  <a:lnTo>
                    <a:pt x="238" y="86"/>
                  </a:lnTo>
                  <a:lnTo>
                    <a:pt x="238" y="90"/>
                  </a:lnTo>
                  <a:lnTo>
                    <a:pt x="238" y="86"/>
                  </a:lnTo>
                  <a:lnTo>
                    <a:pt x="238" y="84"/>
                  </a:lnTo>
                  <a:lnTo>
                    <a:pt x="242" y="84"/>
                  </a:lnTo>
                  <a:lnTo>
                    <a:pt x="238" y="84"/>
                  </a:lnTo>
                  <a:lnTo>
                    <a:pt x="238" y="80"/>
                  </a:lnTo>
                  <a:lnTo>
                    <a:pt x="238" y="76"/>
                  </a:lnTo>
                  <a:lnTo>
                    <a:pt x="238" y="80"/>
                  </a:lnTo>
                  <a:lnTo>
                    <a:pt x="234" y="76"/>
                  </a:lnTo>
                  <a:lnTo>
                    <a:pt x="234" y="72"/>
                  </a:lnTo>
                  <a:lnTo>
                    <a:pt x="238" y="68"/>
                  </a:lnTo>
                  <a:lnTo>
                    <a:pt x="242" y="64"/>
                  </a:lnTo>
                  <a:lnTo>
                    <a:pt x="242" y="60"/>
                  </a:lnTo>
                  <a:lnTo>
                    <a:pt x="242" y="58"/>
                  </a:lnTo>
                  <a:lnTo>
                    <a:pt x="242" y="60"/>
                  </a:lnTo>
                  <a:lnTo>
                    <a:pt x="246" y="58"/>
                  </a:lnTo>
                  <a:lnTo>
                    <a:pt x="246" y="54"/>
                  </a:lnTo>
                  <a:lnTo>
                    <a:pt x="246" y="50"/>
                  </a:lnTo>
                  <a:lnTo>
                    <a:pt x="250" y="50"/>
                  </a:lnTo>
                  <a:lnTo>
                    <a:pt x="250" y="46"/>
                  </a:lnTo>
                  <a:lnTo>
                    <a:pt x="250" y="42"/>
                  </a:lnTo>
                  <a:lnTo>
                    <a:pt x="250" y="46"/>
                  </a:lnTo>
                  <a:lnTo>
                    <a:pt x="254" y="46"/>
                  </a:lnTo>
                  <a:lnTo>
                    <a:pt x="254" y="42"/>
                  </a:lnTo>
                  <a:lnTo>
                    <a:pt x="254" y="38"/>
                  </a:lnTo>
                  <a:lnTo>
                    <a:pt x="254" y="42"/>
                  </a:lnTo>
                  <a:lnTo>
                    <a:pt x="258" y="46"/>
                  </a:lnTo>
                  <a:lnTo>
                    <a:pt x="258" y="42"/>
                  </a:lnTo>
                  <a:lnTo>
                    <a:pt x="254" y="42"/>
                  </a:lnTo>
                  <a:lnTo>
                    <a:pt x="258" y="38"/>
                  </a:lnTo>
                  <a:lnTo>
                    <a:pt x="258" y="34"/>
                  </a:lnTo>
                  <a:lnTo>
                    <a:pt x="260" y="34"/>
                  </a:lnTo>
                  <a:lnTo>
                    <a:pt x="260" y="38"/>
                  </a:lnTo>
                  <a:lnTo>
                    <a:pt x="264" y="38"/>
                  </a:lnTo>
                  <a:lnTo>
                    <a:pt x="268" y="38"/>
                  </a:lnTo>
                  <a:lnTo>
                    <a:pt x="272" y="38"/>
                  </a:lnTo>
                  <a:lnTo>
                    <a:pt x="276" y="38"/>
                  </a:lnTo>
                  <a:lnTo>
                    <a:pt x="280" y="38"/>
                  </a:lnTo>
                  <a:lnTo>
                    <a:pt x="276" y="38"/>
                  </a:lnTo>
                  <a:lnTo>
                    <a:pt x="280" y="38"/>
                  </a:lnTo>
                  <a:lnTo>
                    <a:pt x="280" y="34"/>
                  </a:lnTo>
                  <a:lnTo>
                    <a:pt x="284" y="34"/>
                  </a:lnTo>
                  <a:lnTo>
                    <a:pt x="280" y="34"/>
                  </a:lnTo>
                  <a:lnTo>
                    <a:pt x="280" y="30"/>
                  </a:lnTo>
                  <a:lnTo>
                    <a:pt x="280" y="28"/>
                  </a:lnTo>
                  <a:lnTo>
                    <a:pt x="284" y="28"/>
                  </a:lnTo>
                  <a:lnTo>
                    <a:pt x="280" y="28"/>
                  </a:lnTo>
                  <a:lnTo>
                    <a:pt x="280" y="24"/>
                  </a:lnTo>
                  <a:lnTo>
                    <a:pt x="276" y="24"/>
                  </a:lnTo>
                  <a:lnTo>
                    <a:pt x="272" y="24"/>
                  </a:lnTo>
                  <a:lnTo>
                    <a:pt x="268" y="20"/>
                  </a:lnTo>
                  <a:lnTo>
                    <a:pt x="268" y="24"/>
                  </a:lnTo>
                  <a:lnTo>
                    <a:pt x="268" y="20"/>
                  </a:lnTo>
                  <a:lnTo>
                    <a:pt x="272" y="20"/>
                  </a:lnTo>
                  <a:lnTo>
                    <a:pt x="276" y="24"/>
                  </a:lnTo>
                  <a:lnTo>
                    <a:pt x="276" y="20"/>
                  </a:lnTo>
                  <a:lnTo>
                    <a:pt x="272" y="20"/>
                  </a:lnTo>
                  <a:lnTo>
                    <a:pt x="276" y="20"/>
                  </a:lnTo>
                  <a:lnTo>
                    <a:pt x="280" y="20"/>
                  </a:lnTo>
                  <a:lnTo>
                    <a:pt x="280" y="24"/>
                  </a:lnTo>
                  <a:lnTo>
                    <a:pt x="284" y="24"/>
                  </a:lnTo>
                  <a:lnTo>
                    <a:pt x="286" y="24"/>
                  </a:lnTo>
                  <a:lnTo>
                    <a:pt x="286" y="28"/>
                  </a:lnTo>
                  <a:lnTo>
                    <a:pt x="290" y="28"/>
                  </a:lnTo>
                  <a:lnTo>
                    <a:pt x="290" y="30"/>
                  </a:lnTo>
                  <a:lnTo>
                    <a:pt x="294" y="30"/>
                  </a:lnTo>
                  <a:lnTo>
                    <a:pt x="298" y="30"/>
                  </a:lnTo>
                  <a:lnTo>
                    <a:pt x="298" y="28"/>
                  </a:lnTo>
                  <a:lnTo>
                    <a:pt x="298" y="30"/>
                  </a:lnTo>
                  <a:lnTo>
                    <a:pt x="302" y="30"/>
                  </a:lnTo>
                  <a:lnTo>
                    <a:pt x="302" y="34"/>
                  </a:lnTo>
                  <a:lnTo>
                    <a:pt x="306" y="34"/>
                  </a:lnTo>
                  <a:lnTo>
                    <a:pt x="310" y="34"/>
                  </a:lnTo>
                  <a:lnTo>
                    <a:pt x="314" y="34"/>
                  </a:lnTo>
                  <a:lnTo>
                    <a:pt x="314" y="38"/>
                  </a:lnTo>
                  <a:lnTo>
                    <a:pt x="316" y="38"/>
                  </a:lnTo>
                  <a:lnTo>
                    <a:pt x="316" y="34"/>
                  </a:lnTo>
                  <a:lnTo>
                    <a:pt x="320" y="34"/>
                  </a:lnTo>
                  <a:lnTo>
                    <a:pt x="324" y="34"/>
                  </a:lnTo>
                  <a:lnTo>
                    <a:pt x="320" y="34"/>
                  </a:lnTo>
                  <a:lnTo>
                    <a:pt x="324" y="30"/>
                  </a:lnTo>
                  <a:lnTo>
                    <a:pt x="328" y="30"/>
                  </a:lnTo>
                  <a:lnTo>
                    <a:pt x="324" y="34"/>
                  </a:lnTo>
                  <a:lnTo>
                    <a:pt x="324" y="38"/>
                  </a:lnTo>
                  <a:lnTo>
                    <a:pt x="328" y="34"/>
                  </a:lnTo>
                  <a:lnTo>
                    <a:pt x="328" y="38"/>
                  </a:lnTo>
                  <a:lnTo>
                    <a:pt x="328" y="42"/>
                  </a:lnTo>
                  <a:lnTo>
                    <a:pt x="332" y="42"/>
                  </a:lnTo>
                  <a:lnTo>
                    <a:pt x="332" y="38"/>
                  </a:lnTo>
                  <a:lnTo>
                    <a:pt x="332" y="34"/>
                  </a:lnTo>
                  <a:lnTo>
                    <a:pt x="336" y="30"/>
                  </a:lnTo>
                  <a:lnTo>
                    <a:pt x="336" y="34"/>
                  </a:lnTo>
                  <a:lnTo>
                    <a:pt x="336" y="38"/>
                  </a:lnTo>
                  <a:lnTo>
                    <a:pt x="340" y="38"/>
                  </a:lnTo>
                  <a:lnTo>
                    <a:pt x="340" y="34"/>
                  </a:lnTo>
                  <a:lnTo>
                    <a:pt x="340" y="38"/>
                  </a:lnTo>
                  <a:lnTo>
                    <a:pt x="342" y="38"/>
                  </a:lnTo>
                  <a:lnTo>
                    <a:pt x="340" y="42"/>
                  </a:lnTo>
                  <a:lnTo>
                    <a:pt x="340" y="46"/>
                  </a:lnTo>
                  <a:lnTo>
                    <a:pt x="336" y="46"/>
                  </a:lnTo>
                  <a:lnTo>
                    <a:pt x="336" y="50"/>
                  </a:lnTo>
                  <a:lnTo>
                    <a:pt x="336" y="54"/>
                  </a:lnTo>
                  <a:lnTo>
                    <a:pt x="332" y="54"/>
                  </a:lnTo>
                  <a:lnTo>
                    <a:pt x="328" y="54"/>
                  </a:lnTo>
                  <a:lnTo>
                    <a:pt x="328" y="58"/>
                  </a:lnTo>
                  <a:lnTo>
                    <a:pt x="328" y="60"/>
                  </a:lnTo>
                  <a:lnTo>
                    <a:pt x="328" y="64"/>
                  </a:lnTo>
                  <a:lnTo>
                    <a:pt x="328" y="68"/>
                  </a:lnTo>
                  <a:lnTo>
                    <a:pt x="328" y="72"/>
                  </a:lnTo>
                  <a:lnTo>
                    <a:pt x="324" y="72"/>
                  </a:lnTo>
                  <a:lnTo>
                    <a:pt x="324" y="76"/>
                  </a:lnTo>
                  <a:lnTo>
                    <a:pt x="320" y="76"/>
                  </a:lnTo>
                  <a:lnTo>
                    <a:pt x="320" y="80"/>
                  </a:lnTo>
                  <a:lnTo>
                    <a:pt x="320" y="84"/>
                  </a:lnTo>
                  <a:lnTo>
                    <a:pt x="320" y="86"/>
                  </a:lnTo>
                  <a:lnTo>
                    <a:pt x="324" y="86"/>
                  </a:lnTo>
                  <a:lnTo>
                    <a:pt x="328" y="86"/>
                  </a:lnTo>
                  <a:lnTo>
                    <a:pt x="328" y="90"/>
                  </a:lnTo>
                  <a:lnTo>
                    <a:pt x="332" y="90"/>
                  </a:lnTo>
                  <a:lnTo>
                    <a:pt x="332" y="94"/>
                  </a:lnTo>
                  <a:lnTo>
                    <a:pt x="336" y="98"/>
                  </a:lnTo>
                  <a:lnTo>
                    <a:pt x="340" y="98"/>
                  </a:lnTo>
                  <a:lnTo>
                    <a:pt x="340" y="102"/>
                  </a:lnTo>
                  <a:lnTo>
                    <a:pt x="342" y="102"/>
                  </a:lnTo>
                  <a:lnTo>
                    <a:pt x="346" y="106"/>
                  </a:lnTo>
                  <a:lnTo>
                    <a:pt x="350" y="106"/>
                  </a:lnTo>
                  <a:lnTo>
                    <a:pt x="354" y="106"/>
                  </a:lnTo>
                  <a:lnTo>
                    <a:pt x="354" y="110"/>
                  </a:lnTo>
                  <a:lnTo>
                    <a:pt x="354" y="114"/>
                  </a:lnTo>
                  <a:lnTo>
                    <a:pt x="358" y="114"/>
                  </a:lnTo>
                  <a:lnTo>
                    <a:pt x="358" y="116"/>
                  </a:lnTo>
                  <a:lnTo>
                    <a:pt x="362" y="116"/>
                  </a:lnTo>
                  <a:lnTo>
                    <a:pt x="366" y="116"/>
                  </a:lnTo>
                  <a:lnTo>
                    <a:pt x="370" y="116"/>
                  </a:lnTo>
                  <a:lnTo>
                    <a:pt x="372" y="116"/>
                  </a:lnTo>
                  <a:lnTo>
                    <a:pt x="372" y="120"/>
                  </a:lnTo>
                  <a:lnTo>
                    <a:pt x="372" y="124"/>
                  </a:lnTo>
                  <a:lnTo>
                    <a:pt x="372" y="128"/>
                  </a:lnTo>
                  <a:lnTo>
                    <a:pt x="376" y="128"/>
                  </a:lnTo>
                  <a:lnTo>
                    <a:pt x="380" y="128"/>
                  </a:lnTo>
                  <a:lnTo>
                    <a:pt x="380" y="132"/>
                  </a:lnTo>
                  <a:lnTo>
                    <a:pt x="384" y="132"/>
                  </a:lnTo>
                  <a:lnTo>
                    <a:pt x="388" y="132"/>
                  </a:lnTo>
                  <a:lnTo>
                    <a:pt x="392" y="132"/>
                  </a:lnTo>
                  <a:lnTo>
                    <a:pt x="396" y="132"/>
                  </a:lnTo>
                  <a:lnTo>
                    <a:pt x="396" y="128"/>
                  </a:lnTo>
                  <a:lnTo>
                    <a:pt x="400" y="128"/>
                  </a:lnTo>
                  <a:lnTo>
                    <a:pt x="400" y="124"/>
                  </a:lnTo>
                  <a:lnTo>
                    <a:pt x="400" y="120"/>
                  </a:lnTo>
                  <a:lnTo>
                    <a:pt x="400" y="116"/>
                  </a:lnTo>
                  <a:lnTo>
                    <a:pt x="402" y="116"/>
                  </a:lnTo>
                  <a:lnTo>
                    <a:pt x="402" y="114"/>
                  </a:lnTo>
                  <a:lnTo>
                    <a:pt x="402" y="110"/>
                  </a:lnTo>
                  <a:lnTo>
                    <a:pt x="402" y="106"/>
                  </a:lnTo>
                  <a:lnTo>
                    <a:pt x="406" y="106"/>
                  </a:lnTo>
                  <a:lnTo>
                    <a:pt x="406" y="102"/>
                  </a:lnTo>
                  <a:lnTo>
                    <a:pt x="406" y="98"/>
                  </a:lnTo>
                  <a:lnTo>
                    <a:pt x="406" y="94"/>
                  </a:lnTo>
                  <a:lnTo>
                    <a:pt x="406" y="90"/>
                  </a:lnTo>
                  <a:lnTo>
                    <a:pt x="406" y="86"/>
                  </a:lnTo>
                  <a:lnTo>
                    <a:pt x="410" y="86"/>
                  </a:lnTo>
                  <a:lnTo>
                    <a:pt x="406" y="84"/>
                  </a:lnTo>
                  <a:lnTo>
                    <a:pt x="406" y="76"/>
                  </a:lnTo>
                  <a:lnTo>
                    <a:pt x="406" y="72"/>
                  </a:lnTo>
                  <a:lnTo>
                    <a:pt x="406" y="68"/>
                  </a:lnTo>
                  <a:lnTo>
                    <a:pt x="406" y="64"/>
                  </a:lnTo>
                  <a:lnTo>
                    <a:pt x="406" y="60"/>
                  </a:lnTo>
                  <a:lnTo>
                    <a:pt x="406" y="58"/>
                  </a:lnTo>
                  <a:lnTo>
                    <a:pt x="410" y="58"/>
                  </a:lnTo>
                  <a:lnTo>
                    <a:pt x="410" y="54"/>
                  </a:lnTo>
                  <a:lnTo>
                    <a:pt x="406" y="54"/>
                  </a:lnTo>
                  <a:lnTo>
                    <a:pt x="406" y="50"/>
                  </a:lnTo>
                  <a:lnTo>
                    <a:pt x="410" y="50"/>
                  </a:lnTo>
                  <a:lnTo>
                    <a:pt x="410" y="46"/>
                  </a:lnTo>
                  <a:lnTo>
                    <a:pt x="410" y="50"/>
                  </a:lnTo>
                  <a:lnTo>
                    <a:pt x="414" y="50"/>
                  </a:lnTo>
                  <a:lnTo>
                    <a:pt x="410" y="46"/>
                  </a:lnTo>
                  <a:lnTo>
                    <a:pt x="410" y="42"/>
                  </a:lnTo>
                  <a:lnTo>
                    <a:pt x="406" y="42"/>
                  </a:lnTo>
                  <a:lnTo>
                    <a:pt x="410" y="42"/>
                  </a:lnTo>
                  <a:lnTo>
                    <a:pt x="410" y="38"/>
                  </a:lnTo>
                  <a:lnTo>
                    <a:pt x="410" y="34"/>
                  </a:lnTo>
                  <a:lnTo>
                    <a:pt x="414" y="34"/>
                  </a:lnTo>
                  <a:lnTo>
                    <a:pt x="414" y="30"/>
                  </a:lnTo>
                  <a:lnTo>
                    <a:pt x="414" y="28"/>
                  </a:lnTo>
                  <a:lnTo>
                    <a:pt x="414" y="24"/>
                  </a:lnTo>
                  <a:lnTo>
                    <a:pt x="414" y="20"/>
                  </a:lnTo>
                  <a:lnTo>
                    <a:pt x="414" y="16"/>
                  </a:lnTo>
                  <a:lnTo>
                    <a:pt x="418" y="16"/>
                  </a:lnTo>
                  <a:lnTo>
                    <a:pt x="418" y="12"/>
                  </a:lnTo>
                  <a:lnTo>
                    <a:pt x="422" y="12"/>
                  </a:lnTo>
                  <a:lnTo>
                    <a:pt x="422" y="16"/>
                  </a:lnTo>
                  <a:lnTo>
                    <a:pt x="422" y="12"/>
                  </a:lnTo>
                  <a:lnTo>
                    <a:pt x="426" y="16"/>
                  </a:lnTo>
                  <a:lnTo>
                    <a:pt x="426" y="20"/>
                  </a:lnTo>
                  <a:lnTo>
                    <a:pt x="426" y="24"/>
                  </a:lnTo>
                  <a:lnTo>
                    <a:pt x="426" y="28"/>
                  </a:lnTo>
                  <a:lnTo>
                    <a:pt x="426" y="30"/>
                  </a:lnTo>
                  <a:lnTo>
                    <a:pt x="428" y="30"/>
                  </a:lnTo>
                  <a:lnTo>
                    <a:pt x="428" y="34"/>
                  </a:lnTo>
                  <a:lnTo>
                    <a:pt x="428" y="38"/>
                  </a:lnTo>
                  <a:lnTo>
                    <a:pt x="432" y="38"/>
                  </a:lnTo>
                  <a:lnTo>
                    <a:pt x="432" y="42"/>
                  </a:lnTo>
                  <a:lnTo>
                    <a:pt x="432" y="46"/>
                  </a:lnTo>
                  <a:lnTo>
                    <a:pt x="432" y="50"/>
                  </a:lnTo>
                  <a:lnTo>
                    <a:pt x="436" y="50"/>
                  </a:lnTo>
                  <a:lnTo>
                    <a:pt x="436" y="54"/>
                  </a:lnTo>
                  <a:lnTo>
                    <a:pt x="436" y="58"/>
                  </a:lnTo>
                  <a:lnTo>
                    <a:pt x="436" y="60"/>
                  </a:lnTo>
                  <a:lnTo>
                    <a:pt x="436" y="64"/>
                  </a:lnTo>
                  <a:lnTo>
                    <a:pt x="436" y="68"/>
                  </a:lnTo>
                  <a:lnTo>
                    <a:pt x="436" y="72"/>
                  </a:lnTo>
                  <a:lnTo>
                    <a:pt x="440" y="76"/>
                  </a:lnTo>
                  <a:lnTo>
                    <a:pt x="444" y="76"/>
                  </a:lnTo>
                  <a:lnTo>
                    <a:pt x="448" y="72"/>
                  </a:lnTo>
                  <a:lnTo>
                    <a:pt x="452" y="72"/>
                  </a:lnTo>
                  <a:lnTo>
                    <a:pt x="452" y="76"/>
                  </a:lnTo>
                  <a:lnTo>
                    <a:pt x="452" y="80"/>
                  </a:lnTo>
                  <a:lnTo>
                    <a:pt x="454" y="80"/>
                  </a:lnTo>
                  <a:lnTo>
                    <a:pt x="454" y="84"/>
                  </a:lnTo>
                  <a:lnTo>
                    <a:pt x="458" y="84"/>
                  </a:lnTo>
                  <a:lnTo>
                    <a:pt x="458" y="86"/>
                  </a:lnTo>
                  <a:lnTo>
                    <a:pt x="458" y="90"/>
                  </a:lnTo>
                  <a:lnTo>
                    <a:pt x="458" y="94"/>
                  </a:lnTo>
                  <a:lnTo>
                    <a:pt x="462" y="98"/>
                  </a:lnTo>
                  <a:lnTo>
                    <a:pt x="462" y="102"/>
                  </a:lnTo>
                  <a:lnTo>
                    <a:pt x="462" y="106"/>
                  </a:lnTo>
                  <a:lnTo>
                    <a:pt x="462" y="110"/>
                  </a:lnTo>
                  <a:lnTo>
                    <a:pt x="462" y="114"/>
                  </a:lnTo>
                  <a:lnTo>
                    <a:pt x="466" y="116"/>
                  </a:lnTo>
                  <a:lnTo>
                    <a:pt x="466" y="120"/>
                  </a:lnTo>
                  <a:lnTo>
                    <a:pt x="466" y="116"/>
                  </a:lnTo>
                  <a:lnTo>
                    <a:pt x="470" y="116"/>
                  </a:lnTo>
                  <a:lnTo>
                    <a:pt x="470" y="120"/>
                  </a:lnTo>
                  <a:lnTo>
                    <a:pt x="470" y="124"/>
                  </a:lnTo>
                  <a:lnTo>
                    <a:pt x="470" y="128"/>
                  </a:lnTo>
                  <a:lnTo>
                    <a:pt x="470" y="132"/>
                  </a:lnTo>
                  <a:lnTo>
                    <a:pt x="470" y="136"/>
                  </a:lnTo>
                  <a:lnTo>
                    <a:pt x="470" y="140"/>
                  </a:lnTo>
                  <a:lnTo>
                    <a:pt x="470" y="142"/>
                  </a:lnTo>
                  <a:lnTo>
                    <a:pt x="472" y="146"/>
                  </a:lnTo>
                  <a:lnTo>
                    <a:pt x="472" y="150"/>
                  </a:lnTo>
                  <a:lnTo>
                    <a:pt x="472" y="154"/>
                  </a:lnTo>
                  <a:lnTo>
                    <a:pt x="476" y="154"/>
                  </a:lnTo>
                  <a:lnTo>
                    <a:pt x="476" y="158"/>
                  </a:lnTo>
                  <a:lnTo>
                    <a:pt x="480" y="158"/>
                  </a:lnTo>
                  <a:lnTo>
                    <a:pt x="480" y="162"/>
                  </a:lnTo>
                  <a:lnTo>
                    <a:pt x="484" y="162"/>
                  </a:lnTo>
                  <a:lnTo>
                    <a:pt x="488" y="162"/>
                  </a:lnTo>
                  <a:lnTo>
                    <a:pt x="492" y="162"/>
                  </a:lnTo>
                  <a:lnTo>
                    <a:pt x="488" y="162"/>
                  </a:lnTo>
                  <a:lnTo>
                    <a:pt x="492" y="162"/>
                  </a:lnTo>
                  <a:lnTo>
                    <a:pt x="492" y="166"/>
                  </a:lnTo>
                  <a:lnTo>
                    <a:pt x="492" y="170"/>
                  </a:lnTo>
                  <a:lnTo>
                    <a:pt x="496" y="170"/>
                  </a:lnTo>
                  <a:lnTo>
                    <a:pt x="496" y="172"/>
                  </a:lnTo>
                  <a:lnTo>
                    <a:pt x="498" y="172"/>
                  </a:lnTo>
                  <a:lnTo>
                    <a:pt x="502" y="172"/>
                  </a:lnTo>
                  <a:lnTo>
                    <a:pt x="502" y="176"/>
                  </a:lnTo>
                  <a:lnTo>
                    <a:pt x="502" y="172"/>
                  </a:lnTo>
                  <a:lnTo>
                    <a:pt x="506" y="172"/>
                  </a:lnTo>
                  <a:lnTo>
                    <a:pt x="506" y="176"/>
                  </a:lnTo>
                  <a:lnTo>
                    <a:pt x="510" y="176"/>
                  </a:lnTo>
                  <a:lnTo>
                    <a:pt x="510" y="180"/>
                  </a:lnTo>
                  <a:lnTo>
                    <a:pt x="510" y="184"/>
                  </a:lnTo>
                  <a:lnTo>
                    <a:pt x="510" y="180"/>
                  </a:lnTo>
                  <a:lnTo>
                    <a:pt x="506" y="180"/>
                  </a:lnTo>
                  <a:lnTo>
                    <a:pt x="506" y="184"/>
                  </a:lnTo>
                  <a:lnTo>
                    <a:pt x="510" y="188"/>
                  </a:lnTo>
                  <a:lnTo>
                    <a:pt x="514" y="188"/>
                  </a:lnTo>
                  <a:lnTo>
                    <a:pt x="514" y="192"/>
                  </a:lnTo>
                  <a:lnTo>
                    <a:pt x="514" y="196"/>
                  </a:lnTo>
                  <a:lnTo>
                    <a:pt x="518" y="196"/>
                  </a:lnTo>
                  <a:lnTo>
                    <a:pt x="518" y="200"/>
                  </a:lnTo>
                  <a:lnTo>
                    <a:pt x="518" y="202"/>
                  </a:lnTo>
                  <a:lnTo>
                    <a:pt x="518" y="206"/>
                  </a:lnTo>
                  <a:lnTo>
                    <a:pt x="518" y="210"/>
                  </a:lnTo>
                  <a:lnTo>
                    <a:pt x="522" y="214"/>
                  </a:lnTo>
                  <a:lnTo>
                    <a:pt x="522" y="218"/>
                  </a:lnTo>
                  <a:lnTo>
                    <a:pt x="526" y="214"/>
                  </a:lnTo>
                  <a:lnTo>
                    <a:pt x="526" y="218"/>
                  </a:lnTo>
                  <a:lnTo>
                    <a:pt x="526" y="222"/>
                  </a:lnTo>
                  <a:lnTo>
                    <a:pt x="526" y="218"/>
                  </a:lnTo>
                  <a:lnTo>
                    <a:pt x="526" y="214"/>
                  </a:lnTo>
                  <a:lnTo>
                    <a:pt x="526" y="210"/>
                  </a:lnTo>
                  <a:lnTo>
                    <a:pt x="528" y="210"/>
                  </a:lnTo>
                  <a:lnTo>
                    <a:pt x="528" y="214"/>
                  </a:lnTo>
                  <a:lnTo>
                    <a:pt x="528" y="218"/>
                  </a:lnTo>
                  <a:lnTo>
                    <a:pt x="532" y="218"/>
                  </a:lnTo>
                  <a:lnTo>
                    <a:pt x="532" y="214"/>
                  </a:lnTo>
                  <a:lnTo>
                    <a:pt x="536" y="214"/>
                  </a:lnTo>
                  <a:lnTo>
                    <a:pt x="536" y="218"/>
                  </a:lnTo>
                  <a:lnTo>
                    <a:pt x="536" y="222"/>
                  </a:lnTo>
                  <a:lnTo>
                    <a:pt x="536" y="226"/>
                  </a:lnTo>
                  <a:lnTo>
                    <a:pt x="536" y="228"/>
                  </a:lnTo>
                  <a:lnTo>
                    <a:pt x="536" y="232"/>
                  </a:lnTo>
                  <a:lnTo>
                    <a:pt x="540" y="236"/>
                  </a:lnTo>
                  <a:lnTo>
                    <a:pt x="544" y="240"/>
                  </a:lnTo>
                  <a:lnTo>
                    <a:pt x="548" y="244"/>
                  </a:lnTo>
                  <a:lnTo>
                    <a:pt x="548" y="244"/>
                  </a:lnTo>
                  <a:lnTo>
                    <a:pt x="548" y="244"/>
                  </a:lnTo>
                  <a:close/>
                  <a:moveTo>
                    <a:pt x="168" y="94"/>
                  </a:moveTo>
                  <a:lnTo>
                    <a:pt x="164" y="90"/>
                  </a:lnTo>
                  <a:lnTo>
                    <a:pt x="168" y="90"/>
                  </a:lnTo>
                  <a:lnTo>
                    <a:pt x="168" y="94"/>
                  </a:lnTo>
                  <a:lnTo>
                    <a:pt x="168" y="94"/>
                  </a:lnTo>
                  <a:lnTo>
                    <a:pt x="168" y="94"/>
                  </a:lnTo>
                  <a:close/>
                  <a:moveTo>
                    <a:pt x="570" y="278"/>
                  </a:moveTo>
                  <a:lnTo>
                    <a:pt x="570" y="274"/>
                  </a:lnTo>
                  <a:lnTo>
                    <a:pt x="566" y="274"/>
                  </a:lnTo>
                  <a:lnTo>
                    <a:pt x="570" y="270"/>
                  </a:lnTo>
                  <a:lnTo>
                    <a:pt x="570" y="266"/>
                  </a:lnTo>
                  <a:lnTo>
                    <a:pt x="570" y="262"/>
                  </a:lnTo>
                  <a:lnTo>
                    <a:pt x="574" y="262"/>
                  </a:lnTo>
                  <a:lnTo>
                    <a:pt x="574" y="258"/>
                  </a:lnTo>
                  <a:lnTo>
                    <a:pt x="570" y="258"/>
                  </a:lnTo>
                  <a:lnTo>
                    <a:pt x="574" y="258"/>
                  </a:lnTo>
                  <a:lnTo>
                    <a:pt x="574" y="256"/>
                  </a:lnTo>
                  <a:lnTo>
                    <a:pt x="574" y="258"/>
                  </a:lnTo>
                  <a:lnTo>
                    <a:pt x="574" y="262"/>
                  </a:lnTo>
                  <a:lnTo>
                    <a:pt x="574" y="266"/>
                  </a:lnTo>
                  <a:lnTo>
                    <a:pt x="570" y="270"/>
                  </a:lnTo>
                  <a:lnTo>
                    <a:pt x="570" y="274"/>
                  </a:lnTo>
                  <a:lnTo>
                    <a:pt x="570" y="278"/>
                  </a:lnTo>
                  <a:lnTo>
                    <a:pt x="570" y="278"/>
                  </a:lnTo>
                  <a:lnTo>
                    <a:pt x="570" y="278"/>
                  </a:lnTo>
                  <a:close/>
                  <a:moveTo>
                    <a:pt x="498" y="546"/>
                  </a:moveTo>
                  <a:lnTo>
                    <a:pt x="498" y="542"/>
                  </a:lnTo>
                  <a:lnTo>
                    <a:pt x="496" y="538"/>
                  </a:lnTo>
                  <a:lnTo>
                    <a:pt x="496" y="534"/>
                  </a:lnTo>
                  <a:lnTo>
                    <a:pt x="498" y="534"/>
                  </a:lnTo>
                  <a:lnTo>
                    <a:pt x="498" y="538"/>
                  </a:lnTo>
                  <a:lnTo>
                    <a:pt x="502" y="538"/>
                  </a:lnTo>
                  <a:lnTo>
                    <a:pt x="502" y="542"/>
                  </a:lnTo>
                  <a:lnTo>
                    <a:pt x="502" y="546"/>
                  </a:lnTo>
                  <a:lnTo>
                    <a:pt x="498" y="546"/>
                  </a:lnTo>
                  <a:lnTo>
                    <a:pt x="498" y="546"/>
                  </a:lnTo>
                  <a:lnTo>
                    <a:pt x="498" y="546"/>
                  </a:lnTo>
                  <a:close/>
                  <a:moveTo>
                    <a:pt x="498" y="594"/>
                  </a:moveTo>
                  <a:lnTo>
                    <a:pt x="498" y="590"/>
                  </a:lnTo>
                  <a:lnTo>
                    <a:pt x="498" y="594"/>
                  </a:lnTo>
                  <a:lnTo>
                    <a:pt x="498" y="594"/>
                  </a:lnTo>
                  <a:lnTo>
                    <a:pt x="498" y="594"/>
                  </a:lnTo>
                  <a:close/>
                  <a:moveTo>
                    <a:pt x="376" y="124"/>
                  </a:moveTo>
                  <a:lnTo>
                    <a:pt x="376" y="120"/>
                  </a:lnTo>
                  <a:lnTo>
                    <a:pt x="380" y="120"/>
                  </a:lnTo>
                  <a:lnTo>
                    <a:pt x="376" y="120"/>
                  </a:lnTo>
                  <a:lnTo>
                    <a:pt x="376" y="124"/>
                  </a:lnTo>
                  <a:lnTo>
                    <a:pt x="376" y="124"/>
                  </a:lnTo>
                  <a:lnTo>
                    <a:pt x="376" y="124"/>
                  </a:lnTo>
                  <a:close/>
                  <a:moveTo>
                    <a:pt x="472" y="146"/>
                  </a:moveTo>
                  <a:lnTo>
                    <a:pt x="472" y="142"/>
                  </a:lnTo>
                  <a:lnTo>
                    <a:pt x="470" y="142"/>
                  </a:lnTo>
                  <a:lnTo>
                    <a:pt x="472" y="142"/>
                  </a:lnTo>
                  <a:lnTo>
                    <a:pt x="472" y="146"/>
                  </a:lnTo>
                  <a:lnTo>
                    <a:pt x="472" y="146"/>
                  </a:lnTo>
                  <a:lnTo>
                    <a:pt x="472" y="146"/>
                  </a:lnTo>
                  <a:close/>
                  <a:moveTo>
                    <a:pt x="38" y="188"/>
                  </a:moveTo>
                  <a:lnTo>
                    <a:pt x="38" y="184"/>
                  </a:lnTo>
                  <a:lnTo>
                    <a:pt x="38" y="188"/>
                  </a:lnTo>
                  <a:lnTo>
                    <a:pt x="38" y="188"/>
                  </a:lnTo>
                  <a:lnTo>
                    <a:pt x="38" y="188"/>
                  </a:lnTo>
                  <a:close/>
                  <a:moveTo>
                    <a:pt x="652" y="840"/>
                  </a:moveTo>
                  <a:lnTo>
                    <a:pt x="652" y="836"/>
                  </a:lnTo>
                  <a:lnTo>
                    <a:pt x="652" y="840"/>
                  </a:lnTo>
                  <a:lnTo>
                    <a:pt x="652" y="840"/>
                  </a:lnTo>
                  <a:lnTo>
                    <a:pt x="652" y="840"/>
                  </a:lnTo>
                  <a:close/>
                  <a:moveTo>
                    <a:pt x="418" y="4"/>
                  </a:moveTo>
                  <a:lnTo>
                    <a:pt x="418" y="0"/>
                  </a:lnTo>
                  <a:lnTo>
                    <a:pt x="418" y="4"/>
                  </a:lnTo>
                  <a:lnTo>
                    <a:pt x="418" y="4"/>
                  </a:lnTo>
                  <a:lnTo>
                    <a:pt x="418" y="4"/>
                  </a:lnTo>
                  <a:close/>
                  <a:moveTo>
                    <a:pt x="418" y="12"/>
                  </a:moveTo>
                  <a:lnTo>
                    <a:pt x="414" y="12"/>
                  </a:lnTo>
                  <a:lnTo>
                    <a:pt x="414" y="8"/>
                  </a:lnTo>
                  <a:lnTo>
                    <a:pt x="418" y="8"/>
                  </a:lnTo>
                  <a:lnTo>
                    <a:pt x="418" y="12"/>
                  </a:lnTo>
                  <a:lnTo>
                    <a:pt x="418" y="12"/>
                  </a:lnTo>
                  <a:lnTo>
                    <a:pt x="418" y="12"/>
                  </a:lnTo>
                  <a:close/>
                  <a:moveTo>
                    <a:pt x="336" y="24"/>
                  </a:moveTo>
                  <a:lnTo>
                    <a:pt x="340" y="20"/>
                  </a:lnTo>
                  <a:lnTo>
                    <a:pt x="340" y="16"/>
                  </a:lnTo>
                  <a:lnTo>
                    <a:pt x="340" y="20"/>
                  </a:lnTo>
                  <a:lnTo>
                    <a:pt x="336" y="24"/>
                  </a:lnTo>
                  <a:lnTo>
                    <a:pt x="336" y="24"/>
                  </a:lnTo>
                  <a:lnTo>
                    <a:pt x="336" y="24"/>
                  </a:lnTo>
                  <a:close/>
                  <a:moveTo>
                    <a:pt x="280" y="24"/>
                  </a:moveTo>
                  <a:lnTo>
                    <a:pt x="280" y="20"/>
                  </a:lnTo>
                  <a:lnTo>
                    <a:pt x="280" y="16"/>
                  </a:lnTo>
                  <a:lnTo>
                    <a:pt x="280" y="20"/>
                  </a:lnTo>
                  <a:lnTo>
                    <a:pt x="280" y="24"/>
                  </a:lnTo>
                  <a:lnTo>
                    <a:pt x="280" y="24"/>
                  </a:lnTo>
                  <a:lnTo>
                    <a:pt x="280" y="24"/>
                  </a:lnTo>
                  <a:close/>
                  <a:moveTo>
                    <a:pt x="258" y="30"/>
                  </a:moveTo>
                  <a:lnTo>
                    <a:pt x="254" y="30"/>
                  </a:lnTo>
                  <a:lnTo>
                    <a:pt x="250" y="28"/>
                  </a:lnTo>
                  <a:lnTo>
                    <a:pt x="250" y="24"/>
                  </a:lnTo>
                  <a:lnTo>
                    <a:pt x="250" y="20"/>
                  </a:lnTo>
                  <a:lnTo>
                    <a:pt x="254" y="24"/>
                  </a:lnTo>
                  <a:lnTo>
                    <a:pt x="258" y="24"/>
                  </a:lnTo>
                  <a:lnTo>
                    <a:pt x="258" y="20"/>
                  </a:lnTo>
                  <a:lnTo>
                    <a:pt x="258" y="24"/>
                  </a:lnTo>
                  <a:lnTo>
                    <a:pt x="258" y="20"/>
                  </a:lnTo>
                  <a:lnTo>
                    <a:pt x="260" y="20"/>
                  </a:lnTo>
                  <a:lnTo>
                    <a:pt x="260" y="24"/>
                  </a:lnTo>
                  <a:lnTo>
                    <a:pt x="260" y="20"/>
                  </a:lnTo>
                  <a:lnTo>
                    <a:pt x="264" y="20"/>
                  </a:lnTo>
                  <a:lnTo>
                    <a:pt x="264" y="24"/>
                  </a:lnTo>
                  <a:lnTo>
                    <a:pt x="264" y="28"/>
                  </a:lnTo>
                  <a:lnTo>
                    <a:pt x="260" y="28"/>
                  </a:lnTo>
                  <a:lnTo>
                    <a:pt x="260" y="30"/>
                  </a:lnTo>
                  <a:lnTo>
                    <a:pt x="258" y="30"/>
                  </a:lnTo>
                  <a:lnTo>
                    <a:pt x="258" y="30"/>
                  </a:lnTo>
                  <a:lnTo>
                    <a:pt x="258" y="30"/>
                  </a:lnTo>
                  <a:close/>
                  <a:moveTo>
                    <a:pt x="250" y="30"/>
                  </a:moveTo>
                  <a:lnTo>
                    <a:pt x="246" y="30"/>
                  </a:lnTo>
                  <a:lnTo>
                    <a:pt x="242" y="30"/>
                  </a:lnTo>
                  <a:lnTo>
                    <a:pt x="246" y="28"/>
                  </a:lnTo>
                  <a:lnTo>
                    <a:pt x="246" y="24"/>
                  </a:lnTo>
                  <a:lnTo>
                    <a:pt x="250" y="24"/>
                  </a:lnTo>
                  <a:lnTo>
                    <a:pt x="250" y="28"/>
                  </a:lnTo>
                  <a:lnTo>
                    <a:pt x="254" y="28"/>
                  </a:lnTo>
                  <a:lnTo>
                    <a:pt x="254" y="30"/>
                  </a:lnTo>
                  <a:lnTo>
                    <a:pt x="250" y="30"/>
                  </a:lnTo>
                  <a:lnTo>
                    <a:pt x="250" y="30"/>
                  </a:lnTo>
                  <a:lnTo>
                    <a:pt x="250" y="30"/>
                  </a:lnTo>
                  <a:close/>
                  <a:moveTo>
                    <a:pt x="332" y="28"/>
                  </a:moveTo>
                  <a:lnTo>
                    <a:pt x="336" y="24"/>
                  </a:lnTo>
                  <a:lnTo>
                    <a:pt x="336" y="28"/>
                  </a:lnTo>
                  <a:lnTo>
                    <a:pt x="332" y="28"/>
                  </a:lnTo>
                  <a:lnTo>
                    <a:pt x="332" y="28"/>
                  </a:lnTo>
                  <a:lnTo>
                    <a:pt x="332" y="28"/>
                  </a:lnTo>
                  <a:close/>
                  <a:moveTo>
                    <a:pt x="342" y="72"/>
                  </a:moveTo>
                  <a:lnTo>
                    <a:pt x="340" y="72"/>
                  </a:lnTo>
                  <a:lnTo>
                    <a:pt x="336" y="72"/>
                  </a:lnTo>
                  <a:lnTo>
                    <a:pt x="336" y="68"/>
                  </a:lnTo>
                  <a:lnTo>
                    <a:pt x="336" y="64"/>
                  </a:lnTo>
                  <a:lnTo>
                    <a:pt x="340" y="60"/>
                  </a:lnTo>
                  <a:lnTo>
                    <a:pt x="340" y="64"/>
                  </a:lnTo>
                  <a:lnTo>
                    <a:pt x="342" y="64"/>
                  </a:lnTo>
                  <a:lnTo>
                    <a:pt x="340" y="64"/>
                  </a:lnTo>
                  <a:lnTo>
                    <a:pt x="340" y="68"/>
                  </a:lnTo>
                  <a:lnTo>
                    <a:pt x="340" y="72"/>
                  </a:lnTo>
                  <a:lnTo>
                    <a:pt x="342" y="72"/>
                  </a:lnTo>
                  <a:lnTo>
                    <a:pt x="342" y="72"/>
                  </a:lnTo>
                  <a:lnTo>
                    <a:pt x="342" y="72"/>
                  </a:lnTo>
                  <a:close/>
                  <a:moveTo>
                    <a:pt x="332" y="64"/>
                  </a:moveTo>
                  <a:lnTo>
                    <a:pt x="332" y="60"/>
                  </a:lnTo>
                  <a:lnTo>
                    <a:pt x="332" y="64"/>
                  </a:lnTo>
                  <a:lnTo>
                    <a:pt x="332" y="64"/>
                  </a:lnTo>
                  <a:lnTo>
                    <a:pt x="332" y="64"/>
                  </a:lnTo>
                  <a:close/>
                  <a:moveTo>
                    <a:pt x="174" y="80"/>
                  </a:moveTo>
                  <a:lnTo>
                    <a:pt x="174" y="76"/>
                  </a:lnTo>
                  <a:lnTo>
                    <a:pt x="174" y="80"/>
                  </a:lnTo>
                  <a:lnTo>
                    <a:pt x="174" y="80"/>
                  </a:lnTo>
                  <a:lnTo>
                    <a:pt x="174" y="80"/>
                  </a:lnTo>
                  <a:close/>
                  <a:moveTo>
                    <a:pt x="336" y="98"/>
                  </a:moveTo>
                  <a:lnTo>
                    <a:pt x="336" y="94"/>
                  </a:lnTo>
                  <a:lnTo>
                    <a:pt x="336" y="98"/>
                  </a:lnTo>
                  <a:lnTo>
                    <a:pt x="336" y="98"/>
                  </a:lnTo>
                  <a:lnTo>
                    <a:pt x="336" y="98"/>
                  </a:lnTo>
                  <a:close/>
                  <a:moveTo>
                    <a:pt x="342" y="98"/>
                  </a:moveTo>
                  <a:lnTo>
                    <a:pt x="342" y="94"/>
                  </a:lnTo>
                  <a:lnTo>
                    <a:pt x="342" y="98"/>
                  </a:lnTo>
                  <a:lnTo>
                    <a:pt x="342" y="98"/>
                  </a:lnTo>
                  <a:lnTo>
                    <a:pt x="342" y="98"/>
                  </a:lnTo>
                  <a:close/>
                  <a:moveTo>
                    <a:pt x="372" y="116"/>
                  </a:moveTo>
                  <a:lnTo>
                    <a:pt x="372" y="114"/>
                  </a:lnTo>
                  <a:lnTo>
                    <a:pt x="376" y="114"/>
                  </a:lnTo>
                  <a:lnTo>
                    <a:pt x="376" y="110"/>
                  </a:lnTo>
                  <a:lnTo>
                    <a:pt x="380" y="110"/>
                  </a:lnTo>
                  <a:lnTo>
                    <a:pt x="380" y="114"/>
                  </a:lnTo>
                  <a:lnTo>
                    <a:pt x="376" y="114"/>
                  </a:lnTo>
                  <a:lnTo>
                    <a:pt x="376" y="116"/>
                  </a:lnTo>
                  <a:lnTo>
                    <a:pt x="372" y="116"/>
                  </a:lnTo>
                  <a:lnTo>
                    <a:pt x="372" y="116"/>
                  </a:lnTo>
                  <a:lnTo>
                    <a:pt x="372" y="116"/>
                  </a:lnTo>
                  <a:close/>
                  <a:moveTo>
                    <a:pt x="544" y="240"/>
                  </a:moveTo>
                  <a:lnTo>
                    <a:pt x="544" y="236"/>
                  </a:lnTo>
                  <a:lnTo>
                    <a:pt x="540" y="236"/>
                  </a:lnTo>
                  <a:lnTo>
                    <a:pt x="540" y="232"/>
                  </a:lnTo>
                  <a:lnTo>
                    <a:pt x="544" y="236"/>
                  </a:lnTo>
                  <a:lnTo>
                    <a:pt x="544" y="240"/>
                  </a:lnTo>
                  <a:lnTo>
                    <a:pt x="544" y="240"/>
                  </a:lnTo>
                  <a:lnTo>
                    <a:pt x="544" y="240"/>
                  </a:lnTo>
                  <a:close/>
                  <a:moveTo>
                    <a:pt x="8" y="282"/>
                  </a:moveTo>
                  <a:lnTo>
                    <a:pt x="4" y="282"/>
                  </a:lnTo>
                  <a:lnTo>
                    <a:pt x="4" y="278"/>
                  </a:lnTo>
                  <a:lnTo>
                    <a:pt x="0" y="274"/>
                  </a:lnTo>
                  <a:lnTo>
                    <a:pt x="0" y="270"/>
                  </a:lnTo>
                  <a:lnTo>
                    <a:pt x="4" y="270"/>
                  </a:lnTo>
                  <a:lnTo>
                    <a:pt x="4" y="274"/>
                  </a:lnTo>
                  <a:lnTo>
                    <a:pt x="4" y="278"/>
                  </a:lnTo>
                  <a:lnTo>
                    <a:pt x="4" y="282"/>
                  </a:lnTo>
                  <a:lnTo>
                    <a:pt x="8" y="282"/>
                  </a:lnTo>
                  <a:lnTo>
                    <a:pt x="8" y="282"/>
                  </a:lnTo>
                  <a:lnTo>
                    <a:pt x="8" y="282"/>
                  </a:lnTo>
                  <a:close/>
                  <a:moveTo>
                    <a:pt x="574" y="302"/>
                  </a:moveTo>
                  <a:lnTo>
                    <a:pt x="574" y="300"/>
                  </a:lnTo>
                  <a:lnTo>
                    <a:pt x="574" y="302"/>
                  </a:lnTo>
                  <a:lnTo>
                    <a:pt x="574" y="302"/>
                  </a:lnTo>
                  <a:lnTo>
                    <a:pt x="574" y="302"/>
                  </a:lnTo>
                  <a:close/>
                  <a:moveTo>
                    <a:pt x="574" y="310"/>
                  </a:moveTo>
                  <a:lnTo>
                    <a:pt x="574" y="306"/>
                  </a:lnTo>
                  <a:lnTo>
                    <a:pt x="574" y="302"/>
                  </a:lnTo>
                  <a:lnTo>
                    <a:pt x="578" y="306"/>
                  </a:lnTo>
                  <a:lnTo>
                    <a:pt x="574" y="306"/>
                  </a:lnTo>
                  <a:lnTo>
                    <a:pt x="574" y="310"/>
                  </a:lnTo>
                  <a:lnTo>
                    <a:pt x="574" y="310"/>
                  </a:lnTo>
                  <a:lnTo>
                    <a:pt x="574" y="310"/>
                  </a:lnTo>
                  <a:close/>
                  <a:moveTo>
                    <a:pt x="354" y="460"/>
                  </a:moveTo>
                  <a:lnTo>
                    <a:pt x="358" y="460"/>
                  </a:lnTo>
                  <a:lnTo>
                    <a:pt x="358" y="464"/>
                  </a:lnTo>
                  <a:lnTo>
                    <a:pt x="354" y="460"/>
                  </a:lnTo>
                  <a:lnTo>
                    <a:pt x="350" y="464"/>
                  </a:lnTo>
                  <a:lnTo>
                    <a:pt x="346" y="464"/>
                  </a:lnTo>
                  <a:lnTo>
                    <a:pt x="342" y="464"/>
                  </a:lnTo>
                  <a:lnTo>
                    <a:pt x="340" y="464"/>
                  </a:lnTo>
                  <a:lnTo>
                    <a:pt x="336" y="464"/>
                  </a:lnTo>
                  <a:lnTo>
                    <a:pt x="336" y="460"/>
                  </a:lnTo>
                  <a:lnTo>
                    <a:pt x="342" y="456"/>
                  </a:lnTo>
                  <a:lnTo>
                    <a:pt x="346" y="456"/>
                  </a:lnTo>
                  <a:lnTo>
                    <a:pt x="350" y="456"/>
                  </a:lnTo>
                  <a:lnTo>
                    <a:pt x="350" y="460"/>
                  </a:lnTo>
                  <a:lnTo>
                    <a:pt x="354" y="460"/>
                  </a:lnTo>
                  <a:lnTo>
                    <a:pt x="354" y="460"/>
                  </a:lnTo>
                  <a:lnTo>
                    <a:pt x="354" y="460"/>
                  </a:lnTo>
                  <a:close/>
                  <a:moveTo>
                    <a:pt x="462" y="508"/>
                  </a:moveTo>
                  <a:lnTo>
                    <a:pt x="458" y="508"/>
                  </a:lnTo>
                  <a:lnTo>
                    <a:pt x="462" y="508"/>
                  </a:lnTo>
                  <a:lnTo>
                    <a:pt x="462" y="508"/>
                  </a:lnTo>
                  <a:lnTo>
                    <a:pt x="462" y="508"/>
                  </a:lnTo>
                  <a:close/>
                  <a:moveTo>
                    <a:pt x="462" y="512"/>
                  </a:moveTo>
                  <a:lnTo>
                    <a:pt x="458" y="512"/>
                  </a:lnTo>
                  <a:lnTo>
                    <a:pt x="462" y="512"/>
                  </a:lnTo>
                  <a:lnTo>
                    <a:pt x="462" y="512"/>
                  </a:lnTo>
                  <a:lnTo>
                    <a:pt x="462" y="512"/>
                  </a:lnTo>
                  <a:close/>
                  <a:moveTo>
                    <a:pt x="440" y="542"/>
                  </a:moveTo>
                  <a:lnTo>
                    <a:pt x="440" y="538"/>
                  </a:lnTo>
                  <a:lnTo>
                    <a:pt x="440" y="534"/>
                  </a:lnTo>
                  <a:lnTo>
                    <a:pt x="440" y="530"/>
                  </a:lnTo>
                  <a:lnTo>
                    <a:pt x="444" y="534"/>
                  </a:lnTo>
                  <a:lnTo>
                    <a:pt x="444" y="538"/>
                  </a:lnTo>
                  <a:lnTo>
                    <a:pt x="444" y="542"/>
                  </a:lnTo>
                  <a:lnTo>
                    <a:pt x="440" y="542"/>
                  </a:lnTo>
                  <a:lnTo>
                    <a:pt x="440" y="542"/>
                  </a:lnTo>
                  <a:lnTo>
                    <a:pt x="440" y="542"/>
                  </a:lnTo>
                  <a:close/>
                  <a:moveTo>
                    <a:pt x="502" y="550"/>
                  </a:moveTo>
                  <a:lnTo>
                    <a:pt x="498" y="550"/>
                  </a:lnTo>
                  <a:lnTo>
                    <a:pt x="498" y="546"/>
                  </a:lnTo>
                  <a:lnTo>
                    <a:pt x="502" y="546"/>
                  </a:lnTo>
                  <a:lnTo>
                    <a:pt x="502" y="550"/>
                  </a:lnTo>
                  <a:lnTo>
                    <a:pt x="502" y="550"/>
                  </a:lnTo>
                  <a:lnTo>
                    <a:pt x="502" y="550"/>
                  </a:lnTo>
                  <a:close/>
                  <a:moveTo>
                    <a:pt x="484" y="612"/>
                  </a:moveTo>
                  <a:lnTo>
                    <a:pt x="480" y="612"/>
                  </a:lnTo>
                  <a:lnTo>
                    <a:pt x="480" y="610"/>
                  </a:lnTo>
                  <a:lnTo>
                    <a:pt x="476" y="610"/>
                  </a:lnTo>
                  <a:lnTo>
                    <a:pt x="472" y="610"/>
                  </a:lnTo>
                  <a:lnTo>
                    <a:pt x="470" y="610"/>
                  </a:lnTo>
                  <a:lnTo>
                    <a:pt x="470" y="606"/>
                  </a:lnTo>
                  <a:lnTo>
                    <a:pt x="472" y="606"/>
                  </a:lnTo>
                  <a:lnTo>
                    <a:pt x="470" y="606"/>
                  </a:lnTo>
                  <a:lnTo>
                    <a:pt x="466" y="606"/>
                  </a:lnTo>
                  <a:lnTo>
                    <a:pt x="466" y="602"/>
                  </a:lnTo>
                  <a:lnTo>
                    <a:pt x="466" y="598"/>
                  </a:lnTo>
                  <a:lnTo>
                    <a:pt x="462" y="598"/>
                  </a:lnTo>
                  <a:lnTo>
                    <a:pt x="462" y="594"/>
                  </a:lnTo>
                  <a:lnTo>
                    <a:pt x="462" y="590"/>
                  </a:lnTo>
                  <a:lnTo>
                    <a:pt x="458" y="590"/>
                  </a:lnTo>
                  <a:lnTo>
                    <a:pt x="458" y="586"/>
                  </a:lnTo>
                  <a:lnTo>
                    <a:pt x="458" y="584"/>
                  </a:lnTo>
                  <a:lnTo>
                    <a:pt x="458" y="586"/>
                  </a:lnTo>
                  <a:lnTo>
                    <a:pt x="462" y="586"/>
                  </a:lnTo>
                  <a:lnTo>
                    <a:pt x="462" y="590"/>
                  </a:lnTo>
                  <a:lnTo>
                    <a:pt x="462" y="586"/>
                  </a:lnTo>
                  <a:lnTo>
                    <a:pt x="458" y="584"/>
                  </a:lnTo>
                  <a:lnTo>
                    <a:pt x="458" y="580"/>
                  </a:lnTo>
                  <a:lnTo>
                    <a:pt x="454" y="576"/>
                  </a:lnTo>
                  <a:lnTo>
                    <a:pt x="454" y="572"/>
                  </a:lnTo>
                  <a:lnTo>
                    <a:pt x="452" y="568"/>
                  </a:lnTo>
                  <a:lnTo>
                    <a:pt x="452" y="564"/>
                  </a:lnTo>
                  <a:lnTo>
                    <a:pt x="452" y="560"/>
                  </a:lnTo>
                  <a:lnTo>
                    <a:pt x="452" y="556"/>
                  </a:lnTo>
                  <a:lnTo>
                    <a:pt x="452" y="554"/>
                  </a:lnTo>
                  <a:lnTo>
                    <a:pt x="454" y="554"/>
                  </a:lnTo>
                  <a:lnTo>
                    <a:pt x="454" y="556"/>
                  </a:lnTo>
                  <a:lnTo>
                    <a:pt x="458" y="556"/>
                  </a:lnTo>
                  <a:lnTo>
                    <a:pt x="462" y="556"/>
                  </a:lnTo>
                  <a:lnTo>
                    <a:pt x="466" y="560"/>
                  </a:lnTo>
                  <a:lnTo>
                    <a:pt x="470" y="560"/>
                  </a:lnTo>
                  <a:lnTo>
                    <a:pt x="472" y="564"/>
                  </a:lnTo>
                  <a:lnTo>
                    <a:pt x="476" y="564"/>
                  </a:lnTo>
                  <a:lnTo>
                    <a:pt x="480" y="560"/>
                  </a:lnTo>
                  <a:lnTo>
                    <a:pt x="480" y="564"/>
                  </a:lnTo>
                  <a:lnTo>
                    <a:pt x="484" y="564"/>
                  </a:lnTo>
                  <a:lnTo>
                    <a:pt x="484" y="560"/>
                  </a:lnTo>
                  <a:lnTo>
                    <a:pt x="480" y="560"/>
                  </a:lnTo>
                  <a:lnTo>
                    <a:pt x="484" y="560"/>
                  </a:lnTo>
                  <a:lnTo>
                    <a:pt x="488" y="560"/>
                  </a:lnTo>
                  <a:lnTo>
                    <a:pt x="492" y="560"/>
                  </a:lnTo>
                  <a:lnTo>
                    <a:pt x="492" y="556"/>
                  </a:lnTo>
                  <a:lnTo>
                    <a:pt x="496" y="556"/>
                  </a:lnTo>
                  <a:lnTo>
                    <a:pt x="498" y="554"/>
                  </a:lnTo>
                  <a:lnTo>
                    <a:pt x="498" y="556"/>
                  </a:lnTo>
                  <a:lnTo>
                    <a:pt x="502" y="556"/>
                  </a:lnTo>
                  <a:lnTo>
                    <a:pt x="502" y="560"/>
                  </a:lnTo>
                  <a:lnTo>
                    <a:pt x="502" y="564"/>
                  </a:lnTo>
                  <a:lnTo>
                    <a:pt x="502" y="568"/>
                  </a:lnTo>
                  <a:lnTo>
                    <a:pt x="502" y="572"/>
                  </a:lnTo>
                  <a:lnTo>
                    <a:pt x="502" y="576"/>
                  </a:lnTo>
                  <a:lnTo>
                    <a:pt x="502" y="580"/>
                  </a:lnTo>
                  <a:lnTo>
                    <a:pt x="502" y="584"/>
                  </a:lnTo>
                  <a:lnTo>
                    <a:pt x="502" y="580"/>
                  </a:lnTo>
                  <a:lnTo>
                    <a:pt x="498" y="580"/>
                  </a:lnTo>
                  <a:lnTo>
                    <a:pt x="498" y="584"/>
                  </a:lnTo>
                  <a:lnTo>
                    <a:pt x="498" y="590"/>
                  </a:lnTo>
                  <a:lnTo>
                    <a:pt x="496" y="590"/>
                  </a:lnTo>
                  <a:lnTo>
                    <a:pt x="496" y="594"/>
                  </a:lnTo>
                  <a:lnTo>
                    <a:pt x="496" y="598"/>
                  </a:lnTo>
                  <a:lnTo>
                    <a:pt x="496" y="594"/>
                  </a:lnTo>
                  <a:lnTo>
                    <a:pt x="498" y="598"/>
                  </a:lnTo>
                  <a:lnTo>
                    <a:pt x="496" y="602"/>
                  </a:lnTo>
                  <a:lnTo>
                    <a:pt x="498" y="602"/>
                  </a:lnTo>
                  <a:lnTo>
                    <a:pt x="496" y="602"/>
                  </a:lnTo>
                  <a:lnTo>
                    <a:pt x="496" y="606"/>
                  </a:lnTo>
                  <a:lnTo>
                    <a:pt x="492" y="602"/>
                  </a:lnTo>
                  <a:lnTo>
                    <a:pt x="492" y="598"/>
                  </a:lnTo>
                  <a:lnTo>
                    <a:pt x="496" y="598"/>
                  </a:lnTo>
                  <a:lnTo>
                    <a:pt x="496" y="602"/>
                  </a:lnTo>
                  <a:lnTo>
                    <a:pt x="496" y="598"/>
                  </a:lnTo>
                  <a:lnTo>
                    <a:pt x="492" y="594"/>
                  </a:lnTo>
                  <a:lnTo>
                    <a:pt x="492" y="598"/>
                  </a:lnTo>
                  <a:lnTo>
                    <a:pt x="488" y="598"/>
                  </a:lnTo>
                  <a:lnTo>
                    <a:pt x="488" y="594"/>
                  </a:lnTo>
                  <a:lnTo>
                    <a:pt x="488" y="598"/>
                  </a:lnTo>
                  <a:lnTo>
                    <a:pt x="488" y="602"/>
                  </a:lnTo>
                  <a:lnTo>
                    <a:pt x="488" y="606"/>
                  </a:lnTo>
                  <a:lnTo>
                    <a:pt x="484" y="606"/>
                  </a:lnTo>
                  <a:lnTo>
                    <a:pt x="484" y="602"/>
                  </a:lnTo>
                  <a:lnTo>
                    <a:pt x="484" y="606"/>
                  </a:lnTo>
                  <a:lnTo>
                    <a:pt x="484" y="610"/>
                  </a:lnTo>
                  <a:lnTo>
                    <a:pt x="484" y="612"/>
                  </a:lnTo>
                  <a:lnTo>
                    <a:pt x="484" y="612"/>
                  </a:lnTo>
                  <a:lnTo>
                    <a:pt x="484" y="612"/>
                  </a:lnTo>
                  <a:close/>
                  <a:moveTo>
                    <a:pt x="488" y="606"/>
                  </a:moveTo>
                  <a:lnTo>
                    <a:pt x="488" y="602"/>
                  </a:lnTo>
                  <a:lnTo>
                    <a:pt x="488" y="606"/>
                  </a:lnTo>
                  <a:lnTo>
                    <a:pt x="488" y="606"/>
                  </a:lnTo>
                  <a:lnTo>
                    <a:pt x="488" y="606"/>
                  </a:lnTo>
                  <a:close/>
                  <a:moveTo>
                    <a:pt x="488" y="610"/>
                  </a:moveTo>
                  <a:lnTo>
                    <a:pt x="484" y="610"/>
                  </a:lnTo>
                  <a:lnTo>
                    <a:pt x="488" y="606"/>
                  </a:lnTo>
                  <a:lnTo>
                    <a:pt x="488" y="610"/>
                  </a:lnTo>
                  <a:lnTo>
                    <a:pt x="488" y="610"/>
                  </a:lnTo>
                  <a:lnTo>
                    <a:pt x="488" y="61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98" name="Freeform 191"/>
            <p:cNvSpPr>
              <a:spLocks noEditPoints="1"/>
            </p:cNvSpPr>
            <p:nvPr/>
          </p:nvSpPr>
          <p:spPr bwMode="auto">
            <a:xfrm>
              <a:off x="6069426" y="4356581"/>
              <a:ext cx="381812" cy="482498"/>
            </a:xfrm>
            <a:custGeom>
              <a:avLst/>
              <a:gdLst>
                <a:gd name="T0" fmla="*/ 514 w 608"/>
                <a:gd name="T1" fmla="*/ 444 h 738"/>
                <a:gd name="T2" fmla="*/ 504 w 608"/>
                <a:gd name="T3" fmla="*/ 366 h 738"/>
                <a:gd name="T4" fmla="*/ 532 w 608"/>
                <a:gd name="T5" fmla="*/ 280 h 738"/>
                <a:gd name="T6" fmla="*/ 544 w 608"/>
                <a:gd name="T7" fmla="*/ 180 h 738"/>
                <a:gd name="T8" fmla="*/ 552 w 608"/>
                <a:gd name="T9" fmla="*/ 94 h 738"/>
                <a:gd name="T10" fmla="*/ 570 w 608"/>
                <a:gd name="T11" fmla="*/ 16 h 738"/>
                <a:gd name="T12" fmla="*/ 600 w 608"/>
                <a:gd name="T13" fmla="*/ 98 h 738"/>
                <a:gd name="T14" fmla="*/ 566 w 608"/>
                <a:gd name="T15" fmla="*/ 190 h 738"/>
                <a:gd name="T16" fmla="*/ 556 w 608"/>
                <a:gd name="T17" fmla="*/ 284 h 738"/>
                <a:gd name="T18" fmla="*/ 540 w 608"/>
                <a:gd name="T19" fmla="*/ 374 h 738"/>
                <a:gd name="T20" fmla="*/ 526 w 608"/>
                <a:gd name="T21" fmla="*/ 460 h 738"/>
                <a:gd name="T22" fmla="*/ 536 w 608"/>
                <a:gd name="T23" fmla="*/ 516 h 738"/>
                <a:gd name="T24" fmla="*/ 514 w 608"/>
                <a:gd name="T25" fmla="*/ 596 h 738"/>
                <a:gd name="T26" fmla="*/ 560 w 608"/>
                <a:gd name="T27" fmla="*/ 656 h 738"/>
                <a:gd name="T28" fmla="*/ 526 w 608"/>
                <a:gd name="T29" fmla="*/ 686 h 738"/>
                <a:gd name="T30" fmla="*/ 518 w 608"/>
                <a:gd name="T31" fmla="*/ 682 h 738"/>
                <a:gd name="T32" fmla="*/ 510 w 608"/>
                <a:gd name="T33" fmla="*/ 668 h 738"/>
                <a:gd name="T34" fmla="*/ 518 w 608"/>
                <a:gd name="T35" fmla="*/ 656 h 738"/>
                <a:gd name="T36" fmla="*/ 506 w 608"/>
                <a:gd name="T37" fmla="*/ 652 h 738"/>
                <a:gd name="T38" fmla="*/ 492 w 608"/>
                <a:gd name="T39" fmla="*/ 620 h 738"/>
                <a:gd name="T40" fmla="*/ 500 w 608"/>
                <a:gd name="T41" fmla="*/ 600 h 738"/>
                <a:gd name="T42" fmla="*/ 506 w 608"/>
                <a:gd name="T43" fmla="*/ 570 h 738"/>
                <a:gd name="T44" fmla="*/ 488 w 608"/>
                <a:gd name="T45" fmla="*/ 542 h 738"/>
                <a:gd name="T46" fmla="*/ 496 w 608"/>
                <a:gd name="T47" fmla="*/ 538 h 738"/>
                <a:gd name="T48" fmla="*/ 510 w 608"/>
                <a:gd name="T49" fmla="*/ 516 h 738"/>
                <a:gd name="T50" fmla="*/ 476 w 608"/>
                <a:gd name="T51" fmla="*/ 590 h 738"/>
                <a:gd name="T52" fmla="*/ 484 w 608"/>
                <a:gd name="T53" fmla="*/ 534 h 738"/>
                <a:gd name="T54" fmla="*/ 500 w 608"/>
                <a:gd name="T55" fmla="*/ 642 h 738"/>
                <a:gd name="T56" fmla="*/ 506 w 608"/>
                <a:gd name="T57" fmla="*/ 470 h 738"/>
                <a:gd name="T58" fmla="*/ 506 w 608"/>
                <a:gd name="T59" fmla="*/ 470 h 738"/>
                <a:gd name="T60" fmla="*/ 504 w 608"/>
                <a:gd name="T61" fmla="*/ 494 h 738"/>
                <a:gd name="T62" fmla="*/ 514 w 608"/>
                <a:gd name="T63" fmla="*/ 508 h 738"/>
                <a:gd name="T64" fmla="*/ 500 w 608"/>
                <a:gd name="T65" fmla="*/ 504 h 738"/>
                <a:gd name="T66" fmla="*/ 496 w 608"/>
                <a:gd name="T67" fmla="*/ 512 h 738"/>
                <a:gd name="T68" fmla="*/ 504 w 608"/>
                <a:gd name="T69" fmla="*/ 520 h 738"/>
                <a:gd name="T70" fmla="*/ 500 w 608"/>
                <a:gd name="T71" fmla="*/ 526 h 738"/>
                <a:gd name="T72" fmla="*/ 492 w 608"/>
                <a:gd name="T73" fmla="*/ 556 h 738"/>
                <a:gd name="T74" fmla="*/ 488 w 608"/>
                <a:gd name="T75" fmla="*/ 574 h 738"/>
                <a:gd name="T76" fmla="*/ 496 w 608"/>
                <a:gd name="T77" fmla="*/ 574 h 738"/>
                <a:gd name="T78" fmla="*/ 500 w 608"/>
                <a:gd name="T79" fmla="*/ 578 h 738"/>
                <a:gd name="T80" fmla="*/ 488 w 608"/>
                <a:gd name="T81" fmla="*/ 604 h 738"/>
                <a:gd name="T82" fmla="*/ 484 w 608"/>
                <a:gd name="T83" fmla="*/ 590 h 738"/>
                <a:gd name="T84" fmla="*/ 480 w 608"/>
                <a:gd name="T85" fmla="*/ 608 h 738"/>
                <a:gd name="T86" fmla="*/ 488 w 608"/>
                <a:gd name="T87" fmla="*/ 624 h 738"/>
                <a:gd name="T88" fmla="*/ 492 w 608"/>
                <a:gd name="T89" fmla="*/ 630 h 738"/>
                <a:gd name="T90" fmla="*/ 492 w 608"/>
                <a:gd name="T91" fmla="*/ 642 h 738"/>
                <a:gd name="T92" fmla="*/ 484 w 608"/>
                <a:gd name="T93" fmla="*/ 656 h 738"/>
                <a:gd name="T94" fmla="*/ 500 w 608"/>
                <a:gd name="T95" fmla="*/ 650 h 738"/>
                <a:gd name="T96" fmla="*/ 496 w 608"/>
                <a:gd name="T97" fmla="*/ 664 h 738"/>
                <a:gd name="T98" fmla="*/ 552 w 608"/>
                <a:gd name="T99" fmla="*/ 712 h 738"/>
                <a:gd name="T100" fmla="*/ 540 w 608"/>
                <a:gd name="T101" fmla="*/ 706 h 738"/>
                <a:gd name="T102" fmla="*/ 562 w 608"/>
                <a:gd name="T103" fmla="*/ 702 h 738"/>
                <a:gd name="T104" fmla="*/ 578 w 608"/>
                <a:gd name="T105" fmla="*/ 686 h 738"/>
                <a:gd name="T106" fmla="*/ 504 w 608"/>
                <a:gd name="T107" fmla="*/ 676 h 738"/>
                <a:gd name="T108" fmla="*/ 522 w 608"/>
                <a:gd name="T109" fmla="*/ 690 h 738"/>
                <a:gd name="T110" fmla="*/ 548 w 608"/>
                <a:gd name="T111" fmla="*/ 690 h 738"/>
                <a:gd name="T112" fmla="*/ 544 w 608"/>
                <a:gd name="T113" fmla="*/ 706 h 738"/>
                <a:gd name="T114" fmla="*/ 522 w 608"/>
                <a:gd name="T115" fmla="*/ 706 h 738"/>
                <a:gd name="T116" fmla="*/ 548 w 608"/>
                <a:gd name="T117" fmla="*/ 724 h 738"/>
                <a:gd name="T118" fmla="*/ 556 w 608"/>
                <a:gd name="T119" fmla="*/ 720 h 738"/>
                <a:gd name="T120" fmla="*/ 578 w 608"/>
                <a:gd name="T121" fmla="*/ 716 h 738"/>
                <a:gd name="T122" fmla="*/ 596 w 608"/>
                <a:gd name="T123" fmla="*/ 724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8" h="738">
                  <a:moveTo>
                    <a:pt x="514" y="486"/>
                  </a:moveTo>
                  <a:lnTo>
                    <a:pt x="514" y="482"/>
                  </a:lnTo>
                  <a:lnTo>
                    <a:pt x="514" y="478"/>
                  </a:lnTo>
                  <a:lnTo>
                    <a:pt x="514" y="474"/>
                  </a:lnTo>
                  <a:lnTo>
                    <a:pt x="514" y="470"/>
                  </a:lnTo>
                  <a:lnTo>
                    <a:pt x="518" y="470"/>
                  </a:lnTo>
                  <a:lnTo>
                    <a:pt x="518" y="474"/>
                  </a:lnTo>
                  <a:lnTo>
                    <a:pt x="518" y="470"/>
                  </a:lnTo>
                  <a:lnTo>
                    <a:pt x="518" y="466"/>
                  </a:lnTo>
                  <a:lnTo>
                    <a:pt x="518" y="464"/>
                  </a:lnTo>
                  <a:lnTo>
                    <a:pt x="522" y="464"/>
                  </a:lnTo>
                  <a:lnTo>
                    <a:pt x="518" y="464"/>
                  </a:lnTo>
                  <a:lnTo>
                    <a:pt x="518" y="460"/>
                  </a:lnTo>
                  <a:lnTo>
                    <a:pt x="518" y="456"/>
                  </a:lnTo>
                  <a:lnTo>
                    <a:pt x="522" y="456"/>
                  </a:lnTo>
                  <a:lnTo>
                    <a:pt x="522" y="460"/>
                  </a:lnTo>
                  <a:lnTo>
                    <a:pt x="522" y="456"/>
                  </a:lnTo>
                  <a:lnTo>
                    <a:pt x="522" y="452"/>
                  </a:lnTo>
                  <a:lnTo>
                    <a:pt x="518" y="452"/>
                  </a:lnTo>
                  <a:lnTo>
                    <a:pt x="514" y="452"/>
                  </a:lnTo>
                  <a:lnTo>
                    <a:pt x="518" y="452"/>
                  </a:lnTo>
                  <a:lnTo>
                    <a:pt x="518" y="448"/>
                  </a:lnTo>
                  <a:lnTo>
                    <a:pt x="522" y="448"/>
                  </a:lnTo>
                  <a:lnTo>
                    <a:pt x="522" y="444"/>
                  </a:lnTo>
                  <a:lnTo>
                    <a:pt x="526" y="444"/>
                  </a:lnTo>
                  <a:lnTo>
                    <a:pt x="526" y="440"/>
                  </a:lnTo>
                  <a:lnTo>
                    <a:pt x="522" y="440"/>
                  </a:lnTo>
                  <a:lnTo>
                    <a:pt x="522" y="444"/>
                  </a:lnTo>
                  <a:lnTo>
                    <a:pt x="518" y="444"/>
                  </a:lnTo>
                  <a:lnTo>
                    <a:pt x="518" y="440"/>
                  </a:lnTo>
                  <a:lnTo>
                    <a:pt x="514" y="440"/>
                  </a:lnTo>
                  <a:lnTo>
                    <a:pt x="514" y="444"/>
                  </a:lnTo>
                  <a:lnTo>
                    <a:pt x="510" y="448"/>
                  </a:lnTo>
                  <a:lnTo>
                    <a:pt x="506" y="448"/>
                  </a:lnTo>
                  <a:lnTo>
                    <a:pt x="504" y="448"/>
                  </a:lnTo>
                  <a:lnTo>
                    <a:pt x="504" y="444"/>
                  </a:lnTo>
                  <a:lnTo>
                    <a:pt x="506" y="444"/>
                  </a:lnTo>
                  <a:lnTo>
                    <a:pt x="506" y="440"/>
                  </a:lnTo>
                  <a:lnTo>
                    <a:pt x="506" y="444"/>
                  </a:lnTo>
                  <a:lnTo>
                    <a:pt x="504" y="444"/>
                  </a:lnTo>
                  <a:lnTo>
                    <a:pt x="504" y="440"/>
                  </a:lnTo>
                  <a:lnTo>
                    <a:pt x="504" y="438"/>
                  </a:lnTo>
                  <a:lnTo>
                    <a:pt x="500" y="438"/>
                  </a:lnTo>
                  <a:lnTo>
                    <a:pt x="500" y="434"/>
                  </a:lnTo>
                  <a:lnTo>
                    <a:pt x="500" y="430"/>
                  </a:lnTo>
                  <a:lnTo>
                    <a:pt x="504" y="426"/>
                  </a:lnTo>
                  <a:lnTo>
                    <a:pt x="504" y="422"/>
                  </a:lnTo>
                  <a:lnTo>
                    <a:pt x="504" y="414"/>
                  </a:lnTo>
                  <a:lnTo>
                    <a:pt x="504" y="410"/>
                  </a:lnTo>
                  <a:lnTo>
                    <a:pt x="506" y="410"/>
                  </a:lnTo>
                  <a:lnTo>
                    <a:pt x="510" y="410"/>
                  </a:lnTo>
                  <a:lnTo>
                    <a:pt x="510" y="408"/>
                  </a:lnTo>
                  <a:lnTo>
                    <a:pt x="510" y="404"/>
                  </a:lnTo>
                  <a:lnTo>
                    <a:pt x="510" y="400"/>
                  </a:lnTo>
                  <a:lnTo>
                    <a:pt x="510" y="396"/>
                  </a:lnTo>
                  <a:lnTo>
                    <a:pt x="510" y="392"/>
                  </a:lnTo>
                  <a:lnTo>
                    <a:pt x="506" y="388"/>
                  </a:lnTo>
                  <a:lnTo>
                    <a:pt x="506" y="384"/>
                  </a:lnTo>
                  <a:lnTo>
                    <a:pt x="506" y="380"/>
                  </a:lnTo>
                  <a:lnTo>
                    <a:pt x="506" y="378"/>
                  </a:lnTo>
                  <a:lnTo>
                    <a:pt x="506" y="374"/>
                  </a:lnTo>
                  <a:lnTo>
                    <a:pt x="506" y="370"/>
                  </a:lnTo>
                  <a:lnTo>
                    <a:pt x="504" y="370"/>
                  </a:lnTo>
                  <a:lnTo>
                    <a:pt x="504" y="366"/>
                  </a:lnTo>
                  <a:lnTo>
                    <a:pt x="506" y="366"/>
                  </a:lnTo>
                  <a:lnTo>
                    <a:pt x="506" y="362"/>
                  </a:lnTo>
                  <a:lnTo>
                    <a:pt x="504" y="362"/>
                  </a:lnTo>
                  <a:lnTo>
                    <a:pt x="506" y="358"/>
                  </a:lnTo>
                  <a:lnTo>
                    <a:pt x="510" y="358"/>
                  </a:lnTo>
                  <a:lnTo>
                    <a:pt x="510" y="354"/>
                  </a:lnTo>
                  <a:lnTo>
                    <a:pt x="510" y="352"/>
                  </a:lnTo>
                  <a:lnTo>
                    <a:pt x="514" y="352"/>
                  </a:lnTo>
                  <a:lnTo>
                    <a:pt x="514" y="348"/>
                  </a:lnTo>
                  <a:lnTo>
                    <a:pt x="514" y="344"/>
                  </a:lnTo>
                  <a:lnTo>
                    <a:pt x="518" y="344"/>
                  </a:lnTo>
                  <a:lnTo>
                    <a:pt x="518" y="340"/>
                  </a:lnTo>
                  <a:lnTo>
                    <a:pt x="518" y="336"/>
                  </a:lnTo>
                  <a:lnTo>
                    <a:pt x="518" y="332"/>
                  </a:lnTo>
                  <a:lnTo>
                    <a:pt x="522" y="332"/>
                  </a:lnTo>
                  <a:lnTo>
                    <a:pt x="518" y="328"/>
                  </a:lnTo>
                  <a:lnTo>
                    <a:pt x="522" y="328"/>
                  </a:lnTo>
                  <a:lnTo>
                    <a:pt x="522" y="324"/>
                  </a:lnTo>
                  <a:lnTo>
                    <a:pt x="522" y="322"/>
                  </a:lnTo>
                  <a:lnTo>
                    <a:pt x="526" y="322"/>
                  </a:lnTo>
                  <a:lnTo>
                    <a:pt x="526" y="318"/>
                  </a:lnTo>
                  <a:lnTo>
                    <a:pt x="526" y="314"/>
                  </a:lnTo>
                  <a:lnTo>
                    <a:pt x="530" y="310"/>
                  </a:lnTo>
                  <a:lnTo>
                    <a:pt x="530" y="306"/>
                  </a:lnTo>
                  <a:lnTo>
                    <a:pt x="530" y="302"/>
                  </a:lnTo>
                  <a:lnTo>
                    <a:pt x="530" y="298"/>
                  </a:lnTo>
                  <a:lnTo>
                    <a:pt x="530" y="296"/>
                  </a:lnTo>
                  <a:lnTo>
                    <a:pt x="532" y="296"/>
                  </a:lnTo>
                  <a:lnTo>
                    <a:pt x="532" y="292"/>
                  </a:lnTo>
                  <a:lnTo>
                    <a:pt x="532" y="288"/>
                  </a:lnTo>
                  <a:lnTo>
                    <a:pt x="532" y="284"/>
                  </a:lnTo>
                  <a:lnTo>
                    <a:pt x="532" y="280"/>
                  </a:lnTo>
                  <a:lnTo>
                    <a:pt x="536" y="276"/>
                  </a:lnTo>
                  <a:lnTo>
                    <a:pt x="536" y="272"/>
                  </a:lnTo>
                  <a:lnTo>
                    <a:pt x="536" y="268"/>
                  </a:lnTo>
                  <a:lnTo>
                    <a:pt x="536" y="266"/>
                  </a:lnTo>
                  <a:lnTo>
                    <a:pt x="536" y="262"/>
                  </a:lnTo>
                  <a:lnTo>
                    <a:pt x="536" y="258"/>
                  </a:lnTo>
                  <a:lnTo>
                    <a:pt x="532" y="254"/>
                  </a:lnTo>
                  <a:lnTo>
                    <a:pt x="532" y="250"/>
                  </a:lnTo>
                  <a:lnTo>
                    <a:pt x="532" y="246"/>
                  </a:lnTo>
                  <a:lnTo>
                    <a:pt x="532" y="242"/>
                  </a:lnTo>
                  <a:lnTo>
                    <a:pt x="532" y="238"/>
                  </a:lnTo>
                  <a:lnTo>
                    <a:pt x="532" y="236"/>
                  </a:lnTo>
                  <a:lnTo>
                    <a:pt x="532" y="232"/>
                  </a:lnTo>
                  <a:lnTo>
                    <a:pt x="532" y="228"/>
                  </a:lnTo>
                  <a:lnTo>
                    <a:pt x="532" y="232"/>
                  </a:lnTo>
                  <a:lnTo>
                    <a:pt x="536" y="232"/>
                  </a:lnTo>
                  <a:lnTo>
                    <a:pt x="536" y="228"/>
                  </a:lnTo>
                  <a:lnTo>
                    <a:pt x="536" y="224"/>
                  </a:lnTo>
                  <a:lnTo>
                    <a:pt x="536" y="220"/>
                  </a:lnTo>
                  <a:lnTo>
                    <a:pt x="536" y="216"/>
                  </a:lnTo>
                  <a:lnTo>
                    <a:pt x="536" y="212"/>
                  </a:lnTo>
                  <a:lnTo>
                    <a:pt x="536" y="210"/>
                  </a:lnTo>
                  <a:lnTo>
                    <a:pt x="536" y="206"/>
                  </a:lnTo>
                  <a:lnTo>
                    <a:pt x="536" y="202"/>
                  </a:lnTo>
                  <a:lnTo>
                    <a:pt x="536" y="198"/>
                  </a:lnTo>
                  <a:lnTo>
                    <a:pt x="540" y="198"/>
                  </a:lnTo>
                  <a:lnTo>
                    <a:pt x="540" y="194"/>
                  </a:lnTo>
                  <a:lnTo>
                    <a:pt x="540" y="190"/>
                  </a:lnTo>
                  <a:lnTo>
                    <a:pt x="540" y="186"/>
                  </a:lnTo>
                  <a:lnTo>
                    <a:pt x="540" y="182"/>
                  </a:lnTo>
                  <a:lnTo>
                    <a:pt x="544" y="182"/>
                  </a:lnTo>
                  <a:lnTo>
                    <a:pt x="544" y="180"/>
                  </a:lnTo>
                  <a:lnTo>
                    <a:pt x="544" y="176"/>
                  </a:lnTo>
                  <a:lnTo>
                    <a:pt x="544" y="172"/>
                  </a:lnTo>
                  <a:lnTo>
                    <a:pt x="544" y="168"/>
                  </a:lnTo>
                  <a:lnTo>
                    <a:pt x="544" y="164"/>
                  </a:lnTo>
                  <a:lnTo>
                    <a:pt x="548" y="164"/>
                  </a:lnTo>
                  <a:lnTo>
                    <a:pt x="548" y="160"/>
                  </a:lnTo>
                  <a:lnTo>
                    <a:pt x="548" y="158"/>
                  </a:lnTo>
                  <a:lnTo>
                    <a:pt x="548" y="154"/>
                  </a:lnTo>
                  <a:lnTo>
                    <a:pt x="548" y="150"/>
                  </a:lnTo>
                  <a:lnTo>
                    <a:pt x="548" y="146"/>
                  </a:lnTo>
                  <a:lnTo>
                    <a:pt x="548" y="142"/>
                  </a:lnTo>
                  <a:lnTo>
                    <a:pt x="552" y="142"/>
                  </a:lnTo>
                  <a:lnTo>
                    <a:pt x="552" y="138"/>
                  </a:lnTo>
                  <a:lnTo>
                    <a:pt x="548" y="136"/>
                  </a:lnTo>
                  <a:lnTo>
                    <a:pt x="548" y="132"/>
                  </a:lnTo>
                  <a:lnTo>
                    <a:pt x="548" y="128"/>
                  </a:lnTo>
                  <a:lnTo>
                    <a:pt x="548" y="124"/>
                  </a:lnTo>
                  <a:lnTo>
                    <a:pt x="548" y="120"/>
                  </a:lnTo>
                  <a:lnTo>
                    <a:pt x="548" y="116"/>
                  </a:lnTo>
                  <a:lnTo>
                    <a:pt x="548" y="112"/>
                  </a:lnTo>
                  <a:lnTo>
                    <a:pt x="552" y="112"/>
                  </a:lnTo>
                  <a:lnTo>
                    <a:pt x="552" y="110"/>
                  </a:lnTo>
                  <a:lnTo>
                    <a:pt x="552" y="106"/>
                  </a:lnTo>
                  <a:lnTo>
                    <a:pt x="548" y="106"/>
                  </a:lnTo>
                  <a:lnTo>
                    <a:pt x="548" y="110"/>
                  </a:lnTo>
                  <a:lnTo>
                    <a:pt x="548" y="106"/>
                  </a:lnTo>
                  <a:lnTo>
                    <a:pt x="548" y="102"/>
                  </a:lnTo>
                  <a:lnTo>
                    <a:pt x="548" y="98"/>
                  </a:lnTo>
                  <a:lnTo>
                    <a:pt x="548" y="102"/>
                  </a:lnTo>
                  <a:lnTo>
                    <a:pt x="552" y="102"/>
                  </a:lnTo>
                  <a:lnTo>
                    <a:pt x="552" y="98"/>
                  </a:lnTo>
                  <a:lnTo>
                    <a:pt x="552" y="94"/>
                  </a:lnTo>
                  <a:lnTo>
                    <a:pt x="552" y="90"/>
                  </a:lnTo>
                  <a:lnTo>
                    <a:pt x="552" y="86"/>
                  </a:lnTo>
                  <a:lnTo>
                    <a:pt x="556" y="82"/>
                  </a:lnTo>
                  <a:lnTo>
                    <a:pt x="556" y="76"/>
                  </a:lnTo>
                  <a:lnTo>
                    <a:pt x="556" y="72"/>
                  </a:lnTo>
                  <a:lnTo>
                    <a:pt x="556" y="68"/>
                  </a:lnTo>
                  <a:lnTo>
                    <a:pt x="556" y="64"/>
                  </a:lnTo>
                  <a:lnTo>
                    <a:pt x="556" y="60"/>
                  </a:lnTo>
                  <a:lnTo>
                    <a:pt x="556" y="52"/>
                  </a:lnTo>
                  <a:lnTo>
                    <a:pt x="556" y="50"/>
                  </a:lnTo>
                  <a:lnTo>
                    <a:pt x="556" y="46"/>
                  </a:lnTo>
                  <a:lnTo>
                    <a:pt x="556" y="42"/>
                  </a:lnTo>
                  <a:lnTo>
                    <a:pt x="556" y="38"/>
                  </a:lnTo>
                  <a:lnTo>
                    <a:pt x="552" y="34"/>
                  </a:lnTo>
                  <a:lnTo>
                    <a:pt x="552" y="30"/>
                  </a:lnTo>
                  <a:lnTo>
                    <a:pt x="552" y="26"/>
                  </a:lnTo>
                  <a:lnTo>
                    <a:pt x="552" y="24"/>
                  </a:lnTo>
                  <a:lnTo>
                    <a:pt x="552" y="20"/>
                  </a:lnTo>
                  <a:lnTo>
                    <a:pt x="552" y="16"/>
                  </a:lnTo>
                  <a:lnTo>
                    <a:pt x="556" y="16"/>
                  </a:lnTo>
                  <a:lnTo>
                    <a:pt x="560" y="16"/>
                  </a:lnTo>
                  <a:lnTo>
                    <a:pt x="560" y="12"/>
                  </a:lnTo>
                  <a:lnTo>
                    <a:pt x="560" y="8"/>
                  </a:lnTo>
                  <a:lnTo>
                    <a:pt x="560" y="4"/>
                  </a:lnTo>
                  <a:lnTo>
                    <a:pt x="562" y="4"/>
                  </a:lnTo>
                  <a:lnTo>
                    <a:pt x="562" y="0"/>
                  </a:lnTo>
                  <a:lnTo>
                    <a:pt x="562" y="4"/>
                  </a:lnTo>
                  <a:lnTo>
                    <a:pt x="566" y="4"/>
                  </a:lnTo>
                  <a:lnTo>
                    <a:pt x="566" y="8"/>
                  </a:lnTo>
                  <a:lnTo>
                    <a:pt x="566" y="12"/>
                  </a:lnTo>
                  <a:lnTo>
                    <a:pt x="570" y="12"/>
                  </a:lnTo>
                  <a:lnTo>
                    <a:pt x="570" y="16"/>
                  </a:lnTo>
                  <a:lnTo>
                    <a:pt x="570" y="20"/>
                  </a:lnTo>
                  <a:lnTo>
                    <a:pt x="570" y="24"/>
                  </a:lnTo>
                  <a:lnTo>
                    <a:pt x="570" y="26"/>
                  </a:lnTo>
                  <a:lnTo>
                    <a:pt x="574" y="30"/>
                  </a:lnTo>
                  <a:lnTo>
                    <a:pt x="574" y="34"/>
                  </a:lnTo>
                  <a:lnTo>
                    <a:pt x="578" y="34"/>
                  </a:lnTo>
                  <a:lnTo>
                    <a:pt x="578" y="38"/>
                  </a:lnTo>
                  <a:lnTo>
                    <a:pt x="574" y="42"/>
                  </a:lnTo>
                  <a:lnTo>
                    <a:pt x="578" y="42"/>
                  </a:lnTo>
                  <a:lnTo>
                    <a:pt x="578" y="46"/>
                  </a:lnTo>
                  <a:lnTo>
                    <a:pt x="574" y="46"/>
                  </a:lnTo>
                  <a:lnTo>
                    <a:pt x="574" y="50"/>
                  </a:lnTo>
                  <a:lnTo>
                    <a:pt x="574" y="52"/>
                  </a:lnTo>
                  <a:lnTo>
                    <a:pt x="574" y="56"/>
                  </a:lnTo>
                  <a:lnTo>
                    <a:pt x="578" y="56"/>
                  </a:lnTo>
                  <a:lnTo>
                    <a:pt x="578" y="60"/>
                  </a:lnTo>
                  <a:lnTo>
                    <a:pt x="578" y="64"/>
                  </a:lnTo>
                  <a:lnTo>
                    <a:pt x="578" y="60"/>
                  </a:lnTo>
                  <a:lnTo>
                    <a:pt x="582" y="68"/>
                  </a:lnTo>
                  <a:lnTo>
                    <a:pt x="582" y="76"/>
                  </a:lnTo>
                  <a:lnTo>
                    <a:pt x="586" y="76"/>
                  </a:lnTo>
                  <a:lnTo>
                    <a:pt x="586" y="80"/>
                  </a:lnTo>
                  <a:lnTo>
                    <a:pt x="586" y="82"/>
                  </a:lnTo>
                  <a:lnTo>
                    <a:pt x="586" y="86"/>
                  </a:lnTo>
                  <a:lnTo>
                    <a:pt x="586" y="90"/>
                  </a:lnTo>
                  <a:lnTo>
                    <a:pt x="590" y="90"/>
                  </a:lnTo>
                  <a:lnTo>
                    <a:pt x="586" y="94"/>
                  </a:lnTo>
                  <a:lnTo>
                    <a:pt x="590" y="98"/>
                  </a:lnTo>
                  <a:lnTo>
                    <a:pt x="592" y="98"/>
                  </a:lnTo>
                  <a:lnTo>
                    <a:pt x="596" y="94"/>
                  </a:lnTo>
                  <a:lnTo>
                    <a:pt x="596" y="98"/>
                  </a:lnTo>
                  <a:lnTo>
                    <a:pt x="600" y="98"/>
                  </a:lnTo>
                  <a:lnTo>
                    <a:pt x="600" y="102"/>
                  </a:lnTo>
                  <a:lnTo>
                    <a:pt x="596" y="102"/>
                  </a:lnTo>
                  <a:lnTo>
                    <a:pt x="596" y="106"/>
                  </a:lnTo>
                  <a:lnTo>
                    <a:pt x="596" y="110"/>
                  </a:lnTo>
                  <a:lnTo>
                    <a:pt x="596" y="112"/>
                  </a:lnTo>
                  <a:lnTo>
                    <a:pt x="592" y="116"/>
                  </a:lnTo>
                  <a:lnTo>
                    <a:pt x="592" y="120"/>
                  </a:lnTo>
                  <a:lnTo>
                    <a:pt x="590" y="120"/>
                  </a:lnTo>
                  <a:lnTo>
                    <a:pt x="586" y="120"/>
                  </a:lnTo>
                  <a:lnTo>
                    <a:pt x="582" y="124"/>
                  </a:lnTo>
                  <a:lnTo>
                    <a:pt x="578" y="124"/>
                  </a:lnTo>
                  <a:lnTo>
                    <a:pt x="578" y="128"/>
                  </a:lnTo>
                  <a:lnTo>
                    <a:pt x="578" y="132"/>
                  </a:lnTo>
                  <a:lnTo>
                    <a:pt x="582" y="136"/>
                  </a:lnTo>
                  <a:lnTo>
                    <a:pt x="578" y="138"/>
                  </a:lnTo>
                  <a:lnTo>
                    <a:pt x="578" y="142"/>
                  </a:lnTo>
                  <a:lnTo>
                    <a:pt x="578" y="146"/>
                  </a:lnTo>
                  <a:lnTo>
                    <a:pt x="578" y="150"/>
                  </a:lnTo>
                  <a:lnTo>
                    <a:pt x="578" y="154"/>
                  </a:lnTo>
                  <a:lnTo>
                    <a:pt x="578" y="158"/>
                  </a:lnTo>
                  <a:lnTo>
                    <a:pt x="578" y="160"/>
                  </a:lnTo>
                  <a:lnTo>
                    <a:pt x="578" y="164"/>
                  </a:lnTo>
                  <a:lnTo>
                    <a:pt x="582" y="168"/>
                  </a:lnTo>
                  <a:lnTo>
                    <a:pt x="582" y="172"/>
                  </a:lnTo>
                  <a:lnTo>
                    <a:pt x="578" y="172"/>
                  </a:lnTo>
                  <a:lnTo>
                    <a:pt x="574" y="172"/>
                  </a:lnTo>
                  <a:lnTo>
                    <a:pt x="574" y="176"/>
                  </a:lnTo>
                  <a:lnTo>
                    <a:pt x="570" y="180"/>
                  </a:lnTo>
                  <a:lnTo>
                    <a:pt x="570" y="182"/>
                  </a:lnTo>
                  <a:lnTo>
                    <a:pt x="570" y="186"/>
                  </a:lnTo>
                  <a:lnTo>
                    <a:pt x="566" y="186"/>
                  </a:lnTo>
                  <a:lnTo>
                    <a:pt x="566" y="190"/>
                  </a:lnTo>
                  <a:lnTo>
                    <a:pt x="562" y="194"/>
                  </a:lnTo>
                  <a:lnTo>
                    <a:pt x="562" y="198"/>
                  </a:lnTo>
                  <a:lnTo>
                    <a:pt x="560" y="198"/>
                  </a:lnTo>
                  <a:lnTo>
                    <a:pt x="560" y="202"/>
                  </a:lnTo>
                  <a:lnTo>
                    <a:pt x="560" y="206"/>
                  </a:lnTo>
                  <a:lnTo>
                    <a:pt x="560" y="210"/>
                  </a:lnTo>
                  <a:lnTo>
                    <a:pt x="556" y="212"/>
                  </a:lnTo>
                  <a:lnTo>
                    <a:pt x="556" y="216"/>
                  </a:lnTo>
                  <a:lnTo>
                    <a:pt x="560" y="216"/>
                  </a:lnTo>
                  <a:lnTo>
                    <a:pt x="556" y="216"/>
                  </a:lnTo>
                  <a:lnTo>
                    <a:pt x="560" y="220"/>
                  </a:lnTo>
                  <a:lnTo>
                    <a:pt x="560" y="224"/>
                  </a:lnTo>
                  <a:lnTo>
                    <a:pt x="560" y="228"/>
                  </a:lnTo>
                  <a:lnTo>
                    <a:pt x="560" y="232"/>
                  </a:lnTo>
                  <a:lnTo>
                    <a:pt x="556" y="232"/>
                  </a:lnTo>
                  <a:lnTo>
                    <a:pt x="556" y="236"/>
                  </a:lnTo>
                  <a:lnTo>
                    <a:pt x="552" y="236"/>
                  </a:lnTo>
                  <a:lnTo>
                    <a:pt x="552" y="238"/>
                  </a:lnTo>
                  <a:lnTo>
                    <a:pt x="552" y="242"/>
                  </a:lnTo>
                  <a:lnTo>
                    <a:pt x="552" y="246"/>
                  </a:lnTo>
                  <a:lnTo>
                    <a:pt x="548" y="246"/>
                  </a:lnTo>
                  <a:lnTo>
                    <a:pt x="548" y="250"/>
                  </a:lnTo>
                  <a:lnTo>
                    <a:pt x="548" y="254"/>
                  </a:lnTo>
                  <a:lnTo>
                    <a:pt x="552" y="258"/>
                  </a:lnTo>
                  <a:lnTo>
                    <a:pt x="552" y="262"/>
                  </a:lnTo>
                  <a:lnTo>
                    <a:pt x="552" y="266"/>
                  </a:lnTo>
                  <a:lnTo>
                    <a:pt x="552" y="268"/>
                  </a:lnTo>
                  <a:lnTo>
                    <a:pt x="556" y="268"/>
                  </a:lnTo>
                  <a:lnTo>
                    <a:pt x="556" y="272"/>
                  </a:lnTo>
                  <a:lnTo>
                    <a:pt x="556" y="276"/>
                  </a:lnTo>
                  <a:lnTo>
                    <a:pt x="556" y="280"/>
                  </a:lnTo>
                  <a:lnTo>
                    <a:pt x="556" y="284"/>
                  </a:lnTo>
                  <a:lnTo>
                    <a:pt x="560" y="284"/>
                  </a:lnTo>
                  <a:lnTo>
                    <a:pt x="560" y="288"/>
                  </a:lnTo>
                  <a:lnTo>
                    <a:pt x="560" y="292"/>
                  </a:lnTo>
                  <a:lnTo>
                    <a:pt x="560" y="296"/>
                  </a:lnTo>
                  <a:lnTo>
                    <a:pt x="560" y="298"/>
                  </a:lnTo>
                  <a:lnTo>
                    <a:pt x="560" y="302"/>
                  </a:lnTo>
                  <a:lnTo>
                    <a:pt x="556" y="302"/>
                  </a:lnTo>
                  <a:lnTo>
                    <a:pt x="556" y="306"/>
                  </a:lnTo>
                  <a:lnTo>
                    <a:pt x="556" y="310"/>
                  </a:lnTo>
                  <a:lnTo>
                    <a:pt x="552" y="310"/>
                  </a:lnTo>
                  <a:lnTo>
                    <a:pt x="552" y="314"/>
                  </a:lnTo>
                  <a:lnTo>
                    <a:pt x="552" y="318"/>
                  </a:lnTo>
                  <a:lnTo>
                    <a:pt x="552" y="322"/>
                  </a:lnTo>
                  <a:lnTo>
                    <a:pt x="548" y="322"/>
                  </a:lnTo>
                  <a:lnTo>
                    <a:pt x="548" y="324"/>
                  </a:lnTo>
                  <a:lnTo>
                    <a:pt x="552" y="324"/>
                  </a:lnTo>
                  <a:lnTo>
                    <a:pt x="552" y="328"/>
                  </a:lnTo>
                  <a:lnTo>
                    <a:pt x="552" y="332"/>
                  </a:lnTo>
                  <a:lnTo>
                    <a:pt x="552" y="336"/>
                  </a:lnTo>
                  <a:lnTo>
                    <a:pt x="552" y="340"/>
                  </a:lnTo>
                  <a:lnTo>
                    <a:pt x="548" y="340"/>
                  </a:lnTo>
                  <a:lnTo>
                    <a:pt x="548" y="344"/>
                  </a:lnTo>
                  <a:lnTo>
                    <a:pt x="544" y="348"/>
                  </a:lnTo>
                  <a:lnTo>
                    <a:pt x="544" y="344"/>
                  </a:lnTo>
                  <a:lnTo>
                    <a:pt x="540" y="348"/>
                  </a:lnTo>
                  <a:lnTo>
                    <a:pt x="540" y="352"/>
                  </a:lnTo>
                  <a:lnTo>
                    <a:pt x="540" y="354"/>
                  </a:lnTo>
                  <a:lnTo>
                    <a:pt x="540" y="358"/>
                  </a:lnTo>
                  <a:lnTo>
                    <a:pt x="540" y="362"/>
                  </a:lnTo>
                  <a:lnTo>
                    <a:pt x="540" y="366"/>
                  </a:lnTo>
                  <a:lnTo>
                    <a:pt x="540" y="370"/>
                  </a:lnTo>
                  <a:lnTo>
                    <a:pt x="540" y="374"/>
                  </a:lnTo>
                  <a:lnTo>
                    <a:pt x="544" y="378"/>
                  </a:lnTo>
                  <a:lnTo>
                    <a:pt x="544" y="380"/>
                  </a:lnTo>
                  <a:lnTo>
                    <a:pt x="544" y="384"/>
                  </a:lnTo>
                  <a:lnTo>
                    <a:pt x="544" y="388"/>
                  </a:lnTo>
                  <a:lnTo>
                    <a:pt x="540" y="388"/>
                  </a:lnTo>
                  <a:lnTo>
                    <a:pt x="540" y="392"/>
                  </a:lnTo>
                  <a:lnTo>
                    <a:pt x="536" y="392"/>
                  </a:lnTo>
                  <a:lnTo>
                    <a:pt x="536" y="396"/>
                  </a:lnTo>
                  <a:lnTo>
                    <a:pt x="536" y="400"/>
                  </a:lnTo>
                  <a:lnTo>
                    <a:pt x="536" y="404"/>
                  </a:lnTo>
                  <a:lnTo>
                    <a:pt x="536" y="408"/>
                  </a:lnTo>
                  <a:lnTo>
                    <a:pt x="532" y="408"/>
                  </a:lnTo>
                  <a:lnTo>
                    <a:pt x="532" y="404"/>
                  </a:lnTo>
                  <a:lnTo>
                    <a:pt x="532" y="408"/>
                  </a:lnTo>
                  <a:lnTo>
                    <a:pt x="532" y="410"/>
                  </a:lnTo>
                  <a:lnTo>
                    <a:pt x="532" y="414"/>
                  </a:lnTo>
                  <a:lnTo>
                    <a:pt x="530" y="418"/>
                  </a:lnTo>
                  <a:lnTo>
                    <a:pt x="532" y="418"/>
                  </a:lnTo>
                  <a:lnTo>
                    <a:pt x="532" y="422"/>
                  </a:lnTo>
                  <a:lnTo>
                    <a:pt x="530" y="422"/>
                  </a:lnTo>
                  <a:lnTo>
                    <a:pt x="530" y="426"/>
                  </a:lnTo>
                  <a:lnTo>
                    <a:pt x="530" y="430"/>
                  </a:lnTo>
                  <a:lnTo>
                    <a:pt x="530" y="434"/>
                  </a:lnTo>
                  <a:lnTo>
                    <a:pt x="530" y="438"/>
                  </a:lnTo>
                  <a:lnTo>
                    <a:pt x="530" y="440"/>
                  </a:lnTo>
                  <a:lnTo>
                    <a:pt x="530" y="444"/>
                  </a:lnTo>
                  <a:lnTo>
                    <a:pt x="530" y="448"/>
                  </a:lnTo>
                  <a:lnTo>
                    <a:pt x="532" y="448"/>
                  </a:lnTo>
                  <a:lnTo>
                    <a:pt x="532" y="452"/>
                  </a:lnTo>
                  <a:lnTo>
                    <a:pt x="532" y="456"/>
                  </a:lnTo>
                  <a:lnTo>
                    <a:pt x="530" y="456"/>
                  </a:lnTo>
                  <a:lnTo>
                    <a:pt x="526" y="460"/>
                  </a:lnTo>
                  <a:lnTo>
                    <a:pt x="530" y="460"/>
                  </a:lnTo>
                  <a:lnTo>
                    <a:pt x="526" y="464"/>
                  </a:lnTo>
                  <a:lnTo>
                    <a:pt x="526" y="466"/>
                  </a:lnTo>
                  <a:lnTo>
                    <a:pt x="526" y="470"/>
                  </a:lnTo>
                  <a:lnTo>
                    <a:pt x="526" y="474"/>
                  </a:lnTo>
                  <a:lnTo>
                    <a:pt x="530" y="474"/>
                  </a:lnTo>
                  <a:lnTo>
                    <a:pt x="532" y="474"/>
                  </a:lnTo>
                  <a:lnTo>
                    <a:pt x="532" y="478"/>
                  </a:lnTo>
                  <a:lnTo>
                    <a:pt x="530" y="478"/>
                  </a:lnTo>
                  <a:lnTo>
                    <a:pt x="530" y="482"/>
                  </a:lnTo>
                  <a:lnTo>
                    <a:pt x="532" y="482"/>
                  </a:lnTo>
                  <a:lnTo>
                    <a:pt x="532" y="486"/>
                  </a:lnTo>
                  <a:lnTo>
                    <a:pt x="532" y="490"/>
                  </a:lnTo>
                  <a:lnTo>
                    <a:pt x="532" y="494"/>
                  </a:lnTo>
                  <a:lnTo>
                    <a:pt x="530" y="494"/>
                  </a:lnTo>
                  <a:lnTo>
                    <a:pt x="532" y="496"/>
                  </a:lnTo>
                  <a:lnTo>
                    <a:pt x="530" y="496"/>
                  </a:lnTo>
                  <a:lnTo>
                    <a:pt x="530" y="500"/>
                  </a:lnTo>
                  <a:lnTo>
                    <a:pt x="532" y="500"/>
                  </a:lnTo>
                  <a:lnTo>
                    <a:pt x="536" y="500"/>
                  </a:lnTo>
                  <a:lnTo>
                    <a:pt x="540" y="500"/>
                  </a:lnTo>
                  <a:lnTo>
                    <a:pt x="540" y="504"/>
                  </a:lnTo>
                  <a:lnTo>
                    <a:pt x="540" y="508"/>
                  </a:lnTo>
                  <a:lnTo>
                    <a:pt x="536" y="508"/>
                  </a:lnTo>
                  <a:lnTo>
                    <a:pt x="532" y="508"/>
                  </a:lnTo>
                  <a:lnTo>
                    <a:pt x="530" y="508"/>
                  </a:lnTo>
                  <a:lnTo>
                    <a:pt x="526" y="508"/>
                  </a:lnTo>
                  <a:lnTo>
                    <a:pt x="530" y="508"/>
                  </a:lnTo>
                  <a:lnTo>
                    <a:pt x="530" y="512"/>
                  </a:lnTo>
                  <a:lnTo>
                    <a:pt x="532" y="512"/>
                  </a:lnTo>
                  <a:lnTo>
                    <a:pt x="536" y="512"/>
                  </a:lnTo>
                  <a:lnTo>
                    <a:pt x="536" y="516"/>
                  </a:lnTo>
                  <a:lnTo>
                    <a:pt x="536" y="520"/>
                  </a:lnTo>
                  <a:lnTo>
                    <a:pt x="532" y="524"/>
                  </a:lnTo>
                  <a:lnTo>
                    <a:pt x="532" y="526"/>
                  </a:lnTo>
                  <a:lnTo>
                    <a:pt x="532" y="530"/>
                  </a:lnTo>
                  <a:lnTo>
                    <a:pt x="532" y="534"/>
                  </a:lnTo>
                  <a:lnTo>
                    <a:pt x="530" y="534"/>
                  </a:lnTo>
                  <a:lnTo>
                    <a:pt x="532" y="534"/>
                  </a:lnTo>
                  <a:lnTo>
                    <a:pt x="532" y="538"/>
                  </a:lnTo>
                  <a:lnTo>
                    <a:pt x="532" y="542"/>
                  </a:lnTo>
                  <a:lnTo>
                    <a:pt x="532" y="546"/>
                  </a:lnTo>
                  <a:lnTo>
                    <a:pt x="530" y="550"/>
                  </a:lnTo>
                  <a:lnTo>
                    <a:pt x="530" y="552"/>
                  </a:lnTo>
                  <a:lnTo>
                    <a:pt x="530" y="556"/>
                  </a:lnTo>
                  <a:lnTo>
                    <a:pt x="526" y="560"/>
                  </a:lnTo>
                  <a:lnTo>
                    <a:pt x="522" y="560"/>
                  </a:lnTo>
                  <a:lnTo>
                    <a:pt x="526" y="564"/>
                  </a:lnTo>
                  <a:lnTo>
                    <a:pt x="522" y="564"/>
                  </a:lnTo>
                  <a:lnTo>
                    <a:pt x="522" y="566"/>
                  </a:lnTo>
                  <a:lnTo>
                    <a:pt x="522" y="570"/>
                  </a:lnTo>
                  <a:lnTo>
                    <a:pt x="526" y="574"/>
                  </a:lnTo>
                  <a:lnTo>
                    <a:pt x="526" y="578"/>
                  </a:lnTo>
                  <a:lnTo>
                    <a:pt x="522" y="578"/>
                  </a:lnTo>
                  <a:lnTo>
                    <a:pt x="522" y="582"/>
                  </a:lnTo>
                  <a:lnTo>
                    <a:pt x="518" y="582"/>
                  </a:lnTo>
                  <a:lnTo>
                    <a:pt x="522" y="582"/>
                  </a:lnTo>
                  <a:lnTo>
                    <a:pt x="522" y="586"/>
                  </a:lnTo>
                  <a:lnTo>
                    <a:pt x="522" y="590"/>
                  </a:lnTo>
                  <a:lnTo>
                    <a:pt x="518" y="590"/>
                  </a:lnTo>
                  <a:lnTo>
                    <a:pt x="514" y="590"/>
                  </a:lnTo>
                  <a:lnTo>
                    <a:pt x="514" y="594"/>
                  </a:lnTo>
                  <a:lnTo>
                    <a:pt x="510" y="596"/>
                  </a:lnTo>
                  <a:lnTo>
                    <a:pt x="514" y="596"/>
                  </a:lnTo>
                  <a:lnTo>
                    <a:pt x="510" y="596"/>
                  </a:lnTo>
                  <a:lnTo>
                    <a:pt x="506" y="596"/>
                  </a:lnTo>
                  <a:lnTo>
                    <a:pt x="506" y="600"/>
                  </a:lnTo>
                  <a:lnTo>
                    <a:pt x="506" y="604"/>
                  </a:lnTo>
                  <a:lnTo>
                    <a:pt x="506" y="608"/>
                  </a:lnTo>
                  <a:lnTo>
                    <a:pt x="506" y="612"/>
                  </a:lnTo>
                  <a:lnTo>
                    <a:pt x="506" y="616"/>
                  </a:lnTo>
                  <a:lnTo>
                    <a:pt x="510" y="620"/>
                  </a:lnTo>
                  <a:lnTo>
                    <a:pt x="510" y="624"/>
                  </a:lnTo>
                  <a:lnTo>
                    <a:pt x="510" y="626"/>
                  </a:lnTo>
                  <a:lnTo>
                    <a:pt x="510" y="630"/>
                  </a:lnTo>
                  <a:lnTo>
                    <a:pt x="514" y="630"/>
                  </a:lnTo>
                  <a:lnTo>
                    <a:pt x="514" y="626"/>
                  </a:lnTo>
                  <a:lnTo>
                    <a:pt x="518" y="626"/>
                  </a:lnTo>
                  <a:lnTo>
                    <a:pt x="522" y="626"/>
                  </a:lnTo>
                  <a:lnTo>
                    <a:pt x="526" y="626"/>
                  </a:lnTo>
                  <a:lnTo>
                    <a:pt x="522" y="626"/>
                  </a:lnTo>
                  <a:lnTo>
                    <a:pt x="526" y="630"/>
                  </a:lnTo>
                  <a:lnTo>
                    <a:pt x="526" y="634"/>
                  </a:lnTo>
                  <a:lnTo>
                    <a:pt x="522" y="634"/>
                  </a:lnTo>
                  <a:lnTo>
                    <a:pt x="522" y="638"/>
                  </a:lnTo>
                  <a:lnTo>
                    <a:pt x="526" y="638"/>
                  </a:lnTo>
                  <a:lnTo>
                    <a:pt x="526" y="642"/>
                  </a:lnTo>
                  <a:lnTo>
                    <a:pt x="522" y="646"/>
                  </a:lnTo>
                  <a:lnTo>
                    <a:pt x="526" y="650"/>
                  </a:lnTo>
                  <a:lnTo>
                    <a:pt x="530" y="652"/>
                  </a:lnTo>
                  <a:lnTo>
                    <a:pt x="532" y="656"/>
                  </a:lnTo>
                  <a:lnTo>
                    <a:pt x="540" y="656"/>
                  </a:lnTo>
                  <a:lnTo>
                    <a:pt x="548" y="656"/>
                  </a:lnTo>
                  <a:lnTo>
                    <a:pt x="552" y="656"/>
                  </a:lnTo>
                  <a:lnTo>
                    <a:pt x="556" y="656"/>
                  </a:lnTo>
                  <a:lnTo>
                    <a:pt x="560" y="656"/>
                  </a:lnTo>
                  <a:lnTo>
                    <a:pt x="562" y="656"/>
                  </a:lnTo>
                  <a:lnTo>
                    <a:pt x="566" y="656"/>
                  </a:lnTo>
                  <a:lnTo>
                    <a:pt x="570" y="660"/>
                  </a:lnTo>
                  <a:lnTo>
                    <a:pt x="574" y="660"/>
                  </a:lnTo>
                  <a:lnTo>
                    <a:pt x="578" y="660"/>
                  </a:lnTo>
                  <a:lnTo>
                    <a:pt x="578" y="664"/>
                  </a:lnTo>
                  <a:lnTo>
                    <a:pt x="578" y="660"/>
                  </a:lnTo>
                  <a:lnTo>
                    <a:pt x="574" y="660"/>
                  </a:lnTo>
                  <a:lnTo>
                    <a:pt x="570" y="660"/>
                  </a:lnTo>
                  <a:lnTo>
                    <a:pt x="566" y="660"/>
                  </a:lnTo>
                  <a:lnTo>
                    <a:pt x="562" y="660"/>
                  </a:lnTo>
                  <a:lnTo>
                    <a:pt x="562" y="664"/>
                  </a:lnTo>
                  <a:lnTo>
                    <a:pt x="562" y="668"/>
                  </a:lnTo>
                  <a:lnTo>
                    <a:pt x="560" y="664"/>
                  </a:lnTo>
                  <a:lnTo>
                    <a:pt x="556" y="668"/>
                  </a:lnTo>
                  <a:lnTo>
                    <a:pt x="548" y="672"/>
                  </a:lnTo>
                  <a:lnTo>
                    <a:pt x="544" y="672"/>
                  </a:lnTo>
                  <a:lnTo>
                    <a:pt x="544" y="676"/>
                  </a:lnTo>
                  <a:lnTo>
                    <a:pt x="544" y="680"/>
                  </a:lnTo>
                  <a:lnTo>
                    <a:pt x="544" y="682"/>
                  </a:lnTo>
                  <a:lnTo>
                    <a:pt x="544" y="686"/>
                  </a:lnTo>
                  <a:lnTo>
                    <a:pt x="544" y="690"/>
                  </a:lnTo>
                  <a:lnTo>
                    <a:pt x="544" y="694"/>
                  </a:lnTo>
                  <a:lnTo>
                    <a:pt x="540" y="694"/>
                  </a:lnTo>
                  <a:lnTo>
                    <a:pt x="536" y="694"/>
                  </a:lnTo>
                  <a:lnTo>
                    <a:pt x="532" y="694"/>
                  </a:lnTo>
                  <a:lnTo>
                    <a:pt x="530" y="690"/>
                  </a:lnTo>
                  <a:lnTo>
                    <a:pt x="526" y="690"/>
                  </a:lnTo>
                  <a:lnTo>
                    <a:pt x="522" y="686"/>
                  </a:lnTo>
                  <a:lnTo>
                    <a:pt x="522" y="682"/>
                  </a:lnTo>
                  <a:lnTo>
                    <a:pt x="526" y="682"/>
                  </a:lnTo>
                  <a:lnTo>
                    <a:pt x="526" y="686"/>
                  </a:lnTo>
                  <a:lnTo>
                    <a:pt x="530" y="686"/>
                  </a:lnTo>
                  <a:lnTo>
                    <a:pt x="530" y="682"/>
                  </a:lnTo>
                  <a:lnTo>
                    <a:pt x="530" y="680"/>
                  </a:lnTo>
                  <a:lnTo>
                    <a:pt x="530" y="682"/>
                  </a:lnTo>
                  <a:lnTo>
                    <a:pt x="532" y="686"/>
                  </a:lnTo>
                  <a:lnTo>
                    <a:pt x="530" y="686"/>
                  </a:lnTo>
                  <a:lnTo>
                    <a:pt x="532" y="686"/>
                  </a:lnTo>
                  <a:lnTo>
                    <a:pt x="532" y="682"/>
                  </a:lnTo>
                  <a:lnTo>
                    <a:pt x="532" y="680"/>
                  </a:lnTo>
                  <a:lnTo>
                    <a:pt x="536" y="680"/>
                  </a:lnTo>
                  <a:lnTo>
                    <a:pt x="540" y="676"/>
                  </a:lnTo>
                  <a:lnTo>
                    <a:pt x="540" y="672"/>
                  </a:lnTo>
                  <a:lnTo>
                    <a:pt x="536" y="672"/>
                  </a:lnTo>
                  <a:lnTo>
                    <a:pt x="532" y="676"/>
                  </a:lnTo>
                  <a:lnTo>
                    <a:pt x="530" y="676"/>
                  </a:lnTo>
                  <a:lnTo>
                    <a:pt x="530" y="680"/>
                  </a:lnTo>
                  <a:lnTo>
                    <a:pt x="526" y="680"/>
                  </a:lnTo>
                  <a:lnTo>
                    <a:pt x="526" y="676"/>
                  </a:lnTo>
                  <a:lnTo>
                    <a:pt x="522" y="680"/>
                  </a:lnTo>
                  <a:lnTo>
                    <a:pt x="526" y="680"/>
                  </a:lnTo>
                  <a:lnTo>
                    <a:pt x="522" y="682"/>
                  </a:lnTo>
                  <a:lnTo>
                    <a:pt x="522" y="680"/>
                  </a:lnTo>
                  <a:lnTo>
                    <a:pt x="522" y="682"/>
                  </a:lnTo>
                  <a:lnTo>
                    <a:pt x="518" y="682"/>
                  </a:lnTo>
                  <a:lnTo>
                    <a:pt x="522" y="686"/>
                  </a:lnTo>
                  <a:lnTo>
                    <a:pt x="518" y="686"/>
                  </a:lnTo>
                  <a:lnTo>
                    <a:pt x="514" y="682"/>
                  </a:lnTo>
                  <a:lnTo>
                    <a:pt x="510" y="682"/>
                  </a:lnTo>
                  <a:lnTo>
                    <a:pt x="510" y="680"/>
                  </a:lnTo>
                  <a:lnTo>
                    <a:pt x="514" y="680"/>
                  </a:lnTo>
                  <a:lnTo>
                    <a:pt x="518" y="680"/>
                  </a:lnTo>
                  <a:lnTo>
                    <a:pt x="518" y="682"/>
                  </a:lnTo>
                  <a:lnTo>
                    <a:pt x="518" y="680"/>
                  </a:lnTo>
                  <a:lnTo>
                    <a:pt x="514" y="680"/>
                  </a:lnTo>
                  <a:lnTo>
                    <a:pt x="514" y="676"/>
                  </a:lnTo>
                  <a:lnTo>
                    <a:pt x="514" y="672"/>
                  </a:lnTo>
                  <a:lnTo>
                    <a:pt x="518" y="672"/>
                  </a:lnTo>
                  <a:lnTo>
                    <a:pt x="522" y="672"/>
                  </a:lnTo>
                  <a:lnTo>
                    <a:pt x="526" y="672"/>
                  </a:lnTo>
                  <a:lnTo>
                    <a:pt x="526" y="668"/>
                  </a:lnTo>
                  <a:lnTo>
                    <a:pt x="530" y="668"/>
                  </a:lnTo>
                  <a:lnTo>
                    <a:pt x="532" y="668"/>
                  </a:lnTo>
                  <a:lnTo>
                    <a:pt x="536" y="668"/>
                  </a:lnTo>
                  <a:lnTo>
                    <a:pt x="532" y="668"/>
                  </a:lnTo>
                  <a:lnTo>
                    <a:pt x="530" y="668"/>
                  </a:lnTo>
                  <a:lnTo>
                    <a:pt x="526" y="664"/>
                  </a:lnTo>
                  <a:lnTo>
                    <a:pt x="522" y="668"/>
                  </a:lnTo>
                  <a:lnTo>
                    <a:pt x="522" y="664"/>
                  </a:lnTo>
                  <a:lnTo>
                    <a:pt x="522" y="668"/>
                  </a:lnTo>
                  <a:lnTo>
                    <a:pt x="518" y="668"/>
                  </a:lnTo>
                  <a:lnTo>
                    <a:pt x="514" y="668"/>
                  </a:lnTo>
                  <a:lnTo>
                    <a:pt x="518" y="668"/>
                  </a:lnTo>
                  <a:lnTo>
                    <a:pt x="518" y="672"/>
                  </a:lnTo>
                  <a:lnTo>
                    <a:pt x="514" y="672"/>
                  </a:lnTo>
                  <a:lnTo>
                    <a:pt x="514" y="676"/>
                  </a:lnTo>
                  <a:lnTo>
                    <a:pt x="514" y="680"/>
                  </a:lnTo>
                  <a:lnTo>
                    <a:pt x="510" y="680"/>
                  </a:lnTo>
                  <a:lnTo>
                    <a:pt x="506" y="676"/>
                  </a:lnTo>
                  <a:lnTo>
                    <a:pt x="510" y="676"/>
                  </a:lnTo>
                  <a:lnTo>
                    <a:pt x="506" y="672"/>
                  </a:lnTo>
                  <a:lnTo>
                    <a:pt x="510" y="672"/>
                  </a:lnTo>
                  <a:lnTo>
                    <a:pt x="514" y="664"/>
                  </a:lnTo>
                  <a:lnTo>
                    <a:pt x="510" y="664"/>
                  </a:lnTo>
                  <a:lnTo>
                    <a:pt x="510" y="668"/>
                  </a:lnTo>
                  <a:lnTo>
                    <a:pt x="506" y="668"/>
                  </a:lnTo>
                  <a:lnTo>
                    <a:pt x="506" y="672"/>
                  </a:lnTo>
                  <a:lnTo>
                    <a:pt x="504" y="672"/>
                  </a:lnTo>
                  <a:lnTo>
                    <a:pt x="504" y="668"/>
                  </a:lnTo>
                  <a:lnTo>
                    <a:pt x="506" y="668"/>
                  </a:lnTo>
                  <a:lnTo>
                    <a:pt x="506" y="664"/>
                  </a:lnTo>
                  <a:lnTo>
                    <a:pt x="504" y="664"/>
                  </a:lnTo>
                  <a:lnTo>
                    <a:pt x="506" y="664"/>
                  </a:lnTo>
                  <a:lnTo>
                    <a:pt x="506" y="660"/>
                  </a:lnTo>
                  <a:lnTo>
                    <a:pt x="506" y="656"/>
                  </a:lnTo>
                  <a:lnTo>
                    <a:pt x="504" y="656"/>
                  </a:lnTo>
                  <a:lnTo>
                    <a:pt x="506" y="660"/>
                  </a:lnTo>
                  <a:lnTo>
                    <a:pt x="510" y="660"/>
                  </a:lnTo>
                  <a:lnTo>
                    <a:pt x="510" y="656"/>
                  </a:lnTo>
                  <a:lnTo>
                    <a:pt x="514" y="656"/>
                  </a:lnTo>
                  <a:lnTo>
                    <a:pt x="514" y="660"/>
                  </a:lnTo>
                  <a:lnTo>
                    <a:pt x="518" y="660"/>
                  </a:lnTo>
                  <a:lnTo>
                    <a:pt x="518" y="656"/>
                  </a:lnTo>
                  <a:lnTo>
                    <a:pt x="514" y="660"/>
                  </a:lnTo>
                  <a:lnTo>
                    <a:pt x="514" y="656"/>
                  </a:lnTo>
                  <a:lnTo>
                    <a:pt x="518" y="652"/>
                  </a:lnTo>
                  <a:lnTo>
                    <a:pt x="518" y="656"/>
                  </a:lnTo>
                  <a:lnTo>
                    <a:pt x="522" y="656"/>
                  </a:lnTo>
                  <a:lnTo>
                    <a:pt x="522" y="660"/>
                  </a:lnTo>
                  <a:lnTo>
                    <a:pt x="518" y="660"/>
                  </a:lnTo>
                  <a:lnTo>
                    <a:pt x="518" y="664"/>
                  </a:lnTo>
                  <a:lnTo>
                    <a:pt x="514" y="664"/>
                  </a:lnTo>
                  <a:lnTo>
                    <a:pt x="518" y="664"/>
                  </a:lnTo>
                  <a:lnTo>
                    <a:pt x="522" y="664"/>
                  </a:lnTo>
                  <a:lnTo>
                    <a:pt x="522" y="660"/>
                  </a:lnTo>
                  <a:lnTo>
                    <a:pt x="522" y="656"/>
                  </a:lnTo>
                  <a:lnTo>
                    <a:pt x="518" y="656"/>
                  </a:lnTo>
                  <a:lnTo>
                    <a:pt x="518" y="652"/>
                  </a:lnTo>
                  <a:lnTo>
                    <a:pt x="522" y="652"/>
                  </a:lnTo>
                  <a:lnTo>
                    <a:pt x="522" y="650"/>
                  </a:lnTo>
                  <a:lnTo>
                    <a:pt x="518" y="646"/>
                  </a:lnTo>
                  <a:lnTo>
                    <a:pt x="514" y="646"/>
                  </a:lnTo>
                  <a:lnTo>
                    <a:pt x="514" y="642"/>
                  </a:lnTo>
                  <a:lnTo>
                    <a:pt x="510" y="642"/>
                  </a:lnTo>
                  <a:lnTo>
                    <a:pt x="510" y="646"/>
                  </a:lnTo>
                  <a:lnTo>
                    <a:pt x="514" y="646"/>
                  </a:lnTo>
                  <a:lnTo>
                    <a:pt x="518" y="646"/>
                  </a:lnTo>
                  <a:lnTo>
                    <a:pt x="518" y="650"/>
                  </a:lnTo>
                  <a:lnTo>
                    <a:pt x="522" y="650"/>
                  </a:lnTo>
                  <a:lnTo>
                    <a:pt x="518" y="652"/>
                  </a:lnTo>
                  <a:lnTo>
                    <a:pt x="518" y="650"/>
                  </a:lnTo>
                  <a:lnTo>
                    <a:pt x="514" y="650"/>
                  </a:lnTo>
                  <a:lnTo>
                    <a:pt x="510" y="646"/>
                  </a:lnTo>
                  <a:lnTo>
                    <a:pt x="510" y="650"/>
                  </a:lnTo>
                  <a:lnTo>
                    <a:pt x="514" y="650"/>
                  </a:lnTo>
                  <a:lnTo>
                    <a:pt x="514" y="652"/>
                  </a:lnTo>
                  <a:lnTo>
                    <a:pt x="510" y="652"/>
                  </a:lnTo>
                  <a:lnTo>
                    <a:pt x="514" y="652"/>
                  </a:lnTo>
                  <a:lnTo>
                    <a:pt x="510" y="652"/>
                  </a:lnTo>
                  <a:lnTo>
                    <a:pt x="510" y="656"/>
                  </a:lnTo>
                  <a:lnTo>
                    <a:pt x="510" y="652"/>
                  </a:lnTo>
                  <a:lnTo>
                    <a:pt x="510" y="650"/>
                  </a:lnTo>
                  <a:lnTo>
                    <a:pt x="510" y="656"/>
                  </a:lnTo>
                  <a:lnTo>
                    <a:pt x="506" y="656"/>
                  </a:lnTo>
                  <a:lnTo>
                    <a:pt x="506" y="652"/>
                  </a:lnTo>
                  <a:lnTo>
                    <a:pt x="506" y="650"/>
                  </a:lnTo>
                  <a:lnTo>
                    <a:pt x="506" y="652"/>
                  </a:lnTo>
                  <a:lnTo>
                    <a:pt x="506" y="656"/>
                  </a:lnTo>
                  <a:lnTo>
                    <a:pt x="506" y="652"/>
                  </a:lnTo>
                  <a:lnTo>
                    <a:pt x="506" y="650"/>
                  </a:lnTo>
                  <a:lnTo>
                    <a:pt x="504" y="650"/>
                  </a:lnTo>
                  <a:lnTo>
                    <a:pt x="504" y="646"/>
                  </a:lnTo>
                  <a:lnTo>
                    <a:pt x="500" y="642"/>
                  </a:lnTo>
                  <a:lnTo>
                    <a:pt x="504" y="642"/>
                  </a:lnTo>
                  <a:lnTo>
                    <a:pt x="504" y="646"/>
                  </a:lnTo>
                  <a:lnTo>
                    <a:pt x="506" y="646"/>
                  </a:lnTo>
                  <a:lnTo>
                    <a:pt x="504" y="642"/>
                  </a:lnTo>
                  <a:lnTo>
                    <a:pt x="504" y="638"/>
                  </a:lnTo>
                  <a:lnTo>
                    <a:pt x="500" y="638"/>
                  </a:lnTo>
                  <a:lnTo>
                    <a:pt x="500" y="634"/>
                  </a:lnTo>
                  <a:lnTo>
                    <a:pt x="496" y="634"/>
                  </a:lnTo>
                  <a:lnTo>
                    <a:pt x="496" y="630"/>
                  </a:lnTo>
                  <a:lnTo>
                    <a:pt x="500" y="630"/>
                  </a:lnTo>
                  <a:lnTo>
                    <a:pt x="504" y="630"/>
                  </a:lnTo>
                  <a:lnTo>
                    <a:pt x="504" y="626"/>
                  </a:lnTo>
                  <a:lnTo>
                    <a:pt x="506" y="626"/>
                  </a:lnTo>
                  <a:lnTo>
                    <a:pt x="504" y="626"/>
                  </a:lnTo>
                  <a:lnTo>
                    <a:pt x="504" y="624"/>
                  </a:lnTo>
                  <a:lnTo>
                    <a:pt x="506" y="624"/>
                  </a:lnTo>
                  <a:lnTo>
                    <a:pt x="504" y="624"/>
                  </a:lnTo>
                  <a:lnTo>
                    <a:pt x="504" y="626"/>
                  </a:lnTo>
                  <a:lnTo>
                    <a:pt x="504" y="630"/>
                  </a:lnTo>
                  <a:lnTo>
                    <a:pt x="500" y="630"/>
                  </a:lnTo>
                  <a:lnTo>
                    <a:pt x="500" y="626"/>
                  </a:lnTo>
                  <a:lnTo>
                    <a:pt x="496" y="626"/>
                  </a:lnTo>
                  <a:lnTo>
                    <a:pt x="496" y="624"/>
                  </a:lnTo>
                  <a:lnTo>
                    <a:pt x="500" y="624"/>
                  </a:lnTo>
                  <a:lnTo>
                    <a:pt x="504" y="624"/>
                  </a:lnTo>
                  <a:lnTo>
                    <a:pt x="500" y="624"/>
                  </a:lnTo>
                  <a:lnTo>
                    <a:pt x="496" y="624"/>
                  </a:lnTo>
                  <a:lnTo>
                    <a:pt x="492" y="620"/>
                  </a:lnTo>
                  <a:lnTo>
                    <a:pt x="492" y="616"/>
                  </a:lnTo>
                  <a:lnTo>
                    <a:pt x="496" y="616"/>
                  </a:lnTo>
                  <a:lnTo>
                    <a:pt x="500" y="620"/>
                  </a:lnTo>
                  <a:lnTo>
                    <a:pt x="504" y="620"/>
                  </a:lnTo>
                  <a:lnTo>
                    <a:pt x="500" y="616"/>
                  </a:lnTo>
                  <a:lnTo>
                    <a:pt x="496" y="616"/>
                  </a:lnTo>
                  <a:lnTo>
                    <a:pt x="496" y="612"/>
                  </a:lnTo>
                  <a:lnTo>
                    <a:pt x="500" y="612"/>
                  </a:lnTo>
                  <a:lnTo>
                    <a:pt x="504" y="616"/>
                  </a:lnTo>
                  <a:lnTo>
                    <a:pt x="504" y="612"/>
                  </a:lnTo>
                  <a:lnTo>
                    <a:pt x="500" y="612"/>
                  </a:lnTo>
                  <a:lnTo>
                    <a:pt x="496" y="612"/>
                  </a:lnTo>
                  <a:lnTo>
                    <a:pt x="496" y="608"/>
                  </a:lnTo>
                  <a:lnTo>
                    <a:pt x="500" y="608"/>
                  </a:lnTo>
                  <a:lnTo>
                    <a:pt x="496" y="608"/>
                  </a:lnTo>
                  <a:lnTo>
                    <a:pt x="496" y="604"/>
                  </a:lnTo>
                  <a:lnTo>
                    <a:pt x="500" y="604"/>
                  </a:lnTo>
                  <a:lnTo>
                    <a:pt x="504" y="604"/>
                  </a:lnTo>
                  <a:lnTo>
                    <a:pt x="504" y="608"/>
                  </a:lnTo>
                  <a:lnTo>
                    <a:pt x="504" y="604"/>
                  </a:lnTo>
                  <a:lnTo>
                    <a:pt x="500" y="604"/>
                  </a:lnTo>
                  <a:lnTo>
                    <a:pt x="500" y="600"/>
                  </a:lnTo>
                  <a:lnTo>
                    <a:pt x="500" y="596"/>
                  </a:lnTo>
                  <a:lnTo>
                    <a:pt x="500" y="600"/>
                  </a:lnTo>
                  <a:lnTo>
                    <a:pt x="504" y="600"/>
                  </a:lnTo>
                  <a:lnTo>
                    <a:pt x="500" y="600"/>
                  </a:lnTo>
                  <a:lnTo>
                    <a:pt x="500" y="596"/>
                  </a:lnTo>
                  <a:lnTo>
                    <a:pt x="500" y="594"/>
                  </a:lnTo>
                  <a:lnTo>
                    <a:pt x="504" y="594"/>
                  </a:lnTo>
                  <a:lnTo>
                    <a:pt x="500" y="594"/>
                  </a:lnTo>
                  <a:lnTo>
                    <a:pt x="500" y="596"/>
                  </a:lnTo>
                  <a:lnTo>
                    <a:pt x="500" y="600"/>
                  </a:lnTo>
                  <a:lnTo>
                    <a:pt x="496" y="604"/>
                  </a:lnTo>
                  <a:lnTo>
                    <a:pt x="496" y="600"/>
                  </a:lnTo>
                  <a:lnTo>
                    <a:pt x="496" y="596"/>
                  </a:lnTo>
                  <a:lnTo>
                    <a:pt x="496" y="594"/>
                  </a:lnTo>
                  <a:lnTo>
                    <a:pt x="496" y="590"/>
                  </a:lnTo>
                  <a:lnTo>
                    <a:pt x="492" y="590"/>
                  </a:lnTo>
                  <a:lnTo>
                    <a:pt x="496" y="590"/>
                  </a:lnTo>
                  <a:lnTo>
                    <a:pt x="496" y="586"/>
                  </a:lnTo>
                  <a:lnTo>
                    <a:pt x="500" y="586"/>
                  </a:lnTo>
                  <a:lnTo>
                    <a:pt x="496" y="586"/>
                  </a:lnTo>
                  <a:lnTo>
                    <a:pt x="496" y="582"/>
                  </a:lnTo>
                  <a:lnTo>
                    <a:pt x="500" y="582"/>
                  </a:lnTo>
                  <a:lnTo>
                    <a:pt x="500" y="578"/>
                  </a:lnTo>
                  <a:lnTo>
                    <a:pt x="496" y="578"/>
                  </a:lnTo>
                  <a:lnTo>
                    <a:pt x="500" y="578"/>
                  </a:lnTo>
                  <a:lnTo>
                    <a:pt x="496" y="578"/>
                  </a:lnTo>
                  <a:lnTo>
                    <a:pt x="496" y="574"/>
                  </a:lnTo>
                  <a:lnTo>
                    <a:pt x="492" y="574"/>
                  </a:lnTo>
                  <a:lnTo>
                    <a:pt x="492" y="570"/>
                  </a:lnTo>
                  <a:lnTo>
                    <a:pt x="496" y="570"/>
                  </a:lnTo>
                  <a:lnTo>
                    <a:pt x="496" y="574"/>
                  </a:lnTo>
                  <a:lnTo>
                    <a:pt x="496" y="570"/>
                  </a:lnTo>
                  <a:lnTo>
                    <a:pt x="500" y="570"/>
                  </a:lnTo>
                  <a:lnTo>
                    <a:pt x="504" y="570"/>
                  </a:lnTo>
                  <a:lnTo>
                    <a:pt x="506" y="574"/>
                  </a:lnTo>
                  <a:lnTo>
                    <a:pt x="506" y="578"/>
                  </a:lnTo>
                  <a:lnTo>
                    <a:pt x="506" y="574"/>
                  </a:lnTo>
                  <a:lnTo>
                    <a:pt x="510" y="574"/>
                  </a:lnTo>
                  <a:lnTo>
                    <a:pt x="506" y="574"/>
                  </a:lnTo>
                  <a:lnTo>
                    <a:pt x="506" y="570"/>
                  </a:lnTo>
                  <a:lnTo>
                    <a:pt x="504" y="570"/>
                  </a:lnTo>
                  <a:lnTo>
                    <a:pt x="506" y="570"/>
                  </a:lnTo>
                  <a:lnTo>
                    <a:pt x="510" y="570"/>
                  </a:lnTo>
                  <a:lnTo>
                    <a:pt x="506" y="570"/>
                  </a:lnTo>
                  <a:lnTo>
                    <a:pt x="504" y="566"/>
                  </a:lnTo>
                  <a:lnTo>
                    <a:pt x="504" y="564"/>
                  </a:lnTo>
                  <a:lnTo>
                    <a:pt x="504" y="566"/>
                  </a:lnTo>
                  <a:lnTo>
                    <a:pt x="500" y="566"/>
                  </a:lnTo>
                  <a:lnTo>
                    <a:pt x="496" y="566"/>
                  </a:lnTo>
                  <a:lnTo>
                    <a:pt x="492" y="566"/>
                  </a:lnTo>
                  <a:lnTo>
                    <a:pt x="488" y="566"/>
                  </a:lnTo>
                  <a:lnTo>
                    <a:pt x="492" y="564"/>
                  </a:lnTo>
                  <a:lnTo>
                    <a:pt x="496" y="564"/>
                  </a:lnTo>
                  <a:lnTo>
                    <a:pt x="496" y="566"/>
                  </a:lnTo>
                  <a:lnTo>
                    <a:pt x="500" y="566"/>
                  </a:lnTo>
                  <a:lnTo>
                    <a:pt x="496" y="566"/>
                  </a:lnTo>
                  <a:lnTo>
                    <a:pt x="496" y="564"/>
                  </a:lnTo>
                  <a:lnTo>
                    <a:pt x="500" y="564"/>
                  </a:lnTo>
                  <a:lnTo>
                    <a:pt x="496" y="564"/>
                  </a:lnTo>
                  <a:lnTo>
                    <a:pt x="492" y="560"/>
                  </a:lnTo>
                  <a:lnTo>
                    <a:pt x="496" y="556"/>
                  </a:lnTo>
                  <a:lnTo>
                    <a:pt x="500" y="556"/>
                  </a:lnTo>
                  <a:lnTo>
                    <a:pt x="500" y="560"/>
                  </a:lnTo>
                  <a:lnTo>
                    <a:pt x="500" y="556"/>
                  </a:lnTo>
                  <a:lnTo>
                    <a:pt x="500" y="552"/>
                  </a:lnTo>
                  <a:lnTo>
                    <a:pt x="496" y="550"/>
                  </a:lnTo>
                  <a:lnTo>
                    <a:pt x="496" y="546"/>
                  </a:lnTo>
                  <a:lnTo>
                    <a:pt x="492" y="550"/>
                  </a:lnTo>
                  <a:lnTo>
                    <a:pt x="496" y="550"/>
                  </a:lnTo>
                  <a:lnTo>
                    <a:pt x="492" y="550"/>
                  </a:lnTo>
                  <a:lnTo>
                    <a:pt x="488" y="550"/>
                  </a:lnTo>
                  <a:lnTo>
                    <a:pt x="484" y="546"/>
                  </a:lnTo>
                  <a:lnTo>
                    <a:pt x="484" y="542"/>
                  </a:lnTo>
                  <a:lnTo>
                    <a:pt x="488" y="542"/>
                  </a:lnTo>
                  <a:lnTo>
                    <a:pt x="484" y="542"/>
                  </a:lnTo>
                  <a:lnTo>
                    <a:pt x="484" y="546"/>
                  </a:lnTo>
                  <a:lnTo>
                    <a:pt x="480" y="546"/>
                  </a:lnTo>
                  <a:lnTo>
                    <a:pt x="476" y="546"/>
                  </a:lnTo>
                  <a:lnTo>
                    <a:pt x="476" y="550"/>
                  </a:lnTo>
                  <a:lnTo>
                    <a:pt x="476" y="546"/>
                  </a:lnTo>
                  <a:lnTo>
                    <a:pt x="480" y="546"/>
                  </a:lnTo>
                  <a:lnTo>
                    <a:pt x="480" y="550"/>
                  </a:lnTo>
                  <a:lnTo>
                    <a:pt x="480" y="552"/>
                  </a:lnTo>
                  <a:lnTo>
                    <a:pt x="476" y="552"/>
                  </a:lnTo>
                  <a:lnTo>
                    <a:pt x="476" y="550"/>
                  </a:lnTo>
                  <a:lnTo>
                    <a:pt x="476" y="546"/>
                  </a:lnTo>
                  <a:lnTo>
                    <a:pt x="476" y="542"/>
                  </a:lnTo>
                  <a:lnTo>
                    <a:pt x="480" y="542"/>
                  </a:lnTo>
                  <a:lnTo>
                    <a:pt x="480" y="538"/>
                  </a:lnTo>
                  <a:lnTo>
                    <a:pt x="484" y="538"/>
                  </a:lnTo>
                  <a:lnTo>
                    <a:pt x="484" y="542"/>
                  </a:lnTo>
                  <a:lnTo>
                    <a:pt x="484" y="538"/>
                  </a:lnTo>
                  <a:lnTo>
                    <a:pt x="484" y="534"/>
                  </a:lnTo>
                  <a:lnTo>
                    <a:pt x="488" y="534"/>
                  </a:lnTo>
                  <a:lnTo>
                    <a:pt x="488" y="530"/>
                  </a:lnTo>
                  <a:lnTo>
                    <a:pt x="492" y="526"/>
                  </a:lnTo>
                  <a:lnTo>
                    <a:pt x="496" y="526"/>
                  </a:lnTo>
                  <a:lnTo>
                    <a:pt x="500" y="526"/>
                  </a:lnTo>
                  <a:lnTo>
                    <a:pt x="500" y="530"/>
                  </a:lnTo>
                  <a:lnTo>
                    <a:pt x="500" y="534"/>
                  </a:lnTo>
                  <a:lnTo>
                    <a:pt x="500" y="530"/>
                  </a:lnTo>
                  <a:lnTo>
                    <a:pt x="500" y="534"/>
                  </a:lnTo>
                  <a:lnTo>
                    <a:pt x="496" y="538"/>
                  </a:lnTo>
                  <a:lnTo>
                    <a:pt x="496" y="534"/>
                  </a:lnTo>
                  <a:lnTo>
                    <a:pt x="492" y="534"/>
                  </a:lnTo>
                  <a:lnTo>
                    <a:pt x="496" y="538"/>
                  </a:lnTo>
                  <a:lnTo>
                    <a:pt x="500" y="538"/>
                  </a:lnTo>
                  <a:lnTo>
                    <a:pt x="500" y="534"/>
                  </a:lnTo>
                  <a:lnTo>
                    <a:pt x="500" y="538"/>
                  </a:lnTo>
                  <a:lnTo>
                    <a:pt x="504" y="538"/>
                  </a:lnTo>
                  <a:lnTo>
                    <a:pt x="500" y="538"/>
                  </a:lnTo>
                  <a:lnTo>
                    <a:pt x="500" y="534"/>
                  </a:lnTo>
                  <a:lnTo>
                    <a:pt x="504" y="534"/>
                  </a:lnTo>
                  <a:lnTo>
                    <a:pt x="504" y="538"/>
                  </a:lnTo>
                  <a:lnTo>
                    <a:pt x="504" y="542"/>
                  </a:lnTo>
                  <a:lnTo>
                    <a:pt x="500" y="542"/>
                  </a:lnTo>
                  <a:lnTo>
                    <a:pt x="504" y="546"/>
                  </a:lnTo>
                  <a:lnTo>
                    <a:pt x="504" y="542"/>
                  </a:lnTo>
                  <a:lnTo>
                    <a:pt x="504" y="538"/>
                  </a:lnTo>
                  <a:lnTo>
                    <a:pt x="506" y="538"/>
                  </a:lnTo>
                  <a:lnTo>
                    <a:pt x="506" y="534"/>
                  </a:lnTo>
                  <a:lnTo>
                    <a:pt x="506" y="538"/>
                  </a:lnTo>
                  <a:lnTo>
                    <a:pt x="504" y="538"/>
                  </a:lnTo>
                  <a:lnTo>
                    <a:pt x="506" y="534"/>
                  </a:lnTo>
                  <a:lnTo>
                    <a:pt x="506" y="530"/>
                  </a:lnTo>
                  <a:lnTo>
                    <a:pt x="504" y="530"/>
                  </a:lnTo>
                  <a:lnTo>
                    <a:pt x="506" y="526"/>
                  </a:lnTo>
                  <a:lnTo>
                    <a:pt x="510" y="526"/>
                  </a:lnTo>
                  <a:lnTo>
                    <a:pt x="510" y="524"/>
                  </a:lnTo>
                  <a:lnTo>
                    <a:pt x="506" y="524"/>
                  </a:lnTo>
                  <a:lnTo>
                    <a:pt x="506" y="526"/>
                  </a:lnTo>
                  <a:lnTo>
                    <a:pt x="506" y="520"/>
                  </a:lnTo>
                  <a:lnTo>
                    <a:pt x="510" y="520"/>
                  </a:lnTo>
                  <a:lnTo>
                    <a:pt x="514" y="520"/>
                  </a:lnTo>
                  <a:lnTo>
                    <a:pt x="518" y="520"/>
                  </a:lnTo>
                  <a:lnTo>
                    <a:pt x="514" y="520"/>
                  </a:lnTo>
                  <a:lnTo>
                    <a:pt x="510" y="520"/>
                  </a:lnTo>
                  <a:lnTo>
                    <a:pt x="510" y="516"/>
                  </a:lnTo>
                  <a:lnTo>
                    <a:pt x="510" y="520"/>
                  </a:lnTo>
                  <a:lnTo>
                    <a:pt x="506" y="516"/>
                  </a:lnTo>
                  <a:lnTo>
                    <a:pt x="510" y="516"/>
                  </a:lnTo>
                  <a:lnTo>
                    <a:pt x="510" y="512"/>
                  </a:lnTo>
                  <a:lnTo>
                    <a:pt x="506" y="512"/>
                  </a:lnTo>
                  <a:lnTo>
                    <a:pt x="510" y="512"/>
                  </a:lnTo>
                  <a:lnTo>
                    <a:pt x="514" y="508"/>
                  </a:lnTo>
                  <a:lnTo>
                    <a:pt x="518" y="508"/>
                  </a:lnTo>
                  <a:lnTo>
                    <a:pt x="518" y="504"/>
                  </a:lnTo>
                  <a:lnTo>
                    <a:pt x="518" y="500"/>
                  </a:lnTo>
                  <a:lnTo>
                    <a:pt x="514" y="496"/>
                  </a:lnTo>
                  <a:lnTo>
                    <a:pt x="510" y="496"/>
                  </a:lnTo>
                  <a:lnTo>
                    <a:pt x="510" y="494"/>
                  </a:lnTo>
                  <a:lnTo>
                    <a:pt x="514" y="490"/>
                  </a:lnTo>
                  <a:lnTo>
                    <a:pt x="518" y="486"/>
                  </a:lnTo>
                  <a:lnTo>
                    <a:pt x="514" y="486"/>
                  </a:lnTo>
                  <a:lnTo>
                    <a:pt x="514" y="486"/>
                  </a:lnTo>
                  <a:lnTo>
                    <a:pt x="514" y="486"/>
                  </a:lnTo>
                  <a:close/>
                  <a:moveTo>
                    <a:pt x="504" y="512"/>
                  </a:moveTo>
                  <a:lnTo>
                    <a:pt x="504" y="508"/>
                  </a:lnTo>
                  <a:lnTo>
                    <a:pt x="500" y="508"/>
                  </a:lnTo>
                  <a:lnTo>
                    <a:pt x="504" y="508"/>
                  </a:lnTo>
                  <a:lnTo>
                    <a:pt x="504" y="512"/>
                  </a:lnTo>
                  <a:lnTo>
                    <a:pt x="504" y="512"/>
                  </a:lnTo>
                  <a:lnTo>
                    <a:pt x="504" y="512"/>
                  </a:lnTo>
                  <a:close/>
                  <a:moveTo>
                    <a:pt x="476" y="590"/>
                  </a:moveTo>
                  <a:lnTo>
                    <a:pt x="476" y="586"/>
                  </a:lnTo>
                  <a:lnTo>
                    <a:pt x="480" y="586"/>
                  </a:lnTo>
                  <a:lnTo>
                    <a:pt x="480" y="590"/>
                  </a:lnTo>
                  <a:lnTo>
                    <a:pt x="476" y="590"/>
                  </a:lnTo>
                  <a:lnTo>
                    <a:pt x="476" y="590"/>
                  </a:lnTo>
                  <a:lnTo>
                    <a:pt x="476" y="590"/>
                  </a:lnTo>
                  <a:close/>
                  <a:moveTo>
                    <a:pt x="484" y="590"/>
                  </a:moveTo>
                  <a:lnTo>
                    <a:pt x="480" y="590"/>
                  </a:lnTo>
                  <a:lnTo>
                    <a:pt x="480" y="586"/>
                  </a:lnTo>
                  <a:lnTo>
                    <a:pt x="484" y="586"/>
                  </a:lnTo>
                  <a:lnTo>
                    <a:pt x="484" y="590"/>
                  </a:lnTo>
                  <a:lnTo>
                    <a:pt x="484" y="590"/>
                  </a:lnTo>
                  <a:lnTo>
                    <a:pt x="484" y="590"/>
                  </a:lnTo>
                  <a:close/>
                  <a:moveTo>
                    <a:pt x="500" y="672"/>
                  </a:moveTo>
                  <a:lnTo>
                    <a:pt x="500" y="668"/>
                  </a:lnTo>
                  <a:lnTo>
                    <a:pt x="500" y="664"/>
                  </a:lnTo>
                  <a:lnTo>
                    <a:pt x="504" y="664"/>
                  </a:lnTo>
                  <a:lnTo>
                    <a:pt x="504" y="668"/>
                  </a:lnTo>
                  <a:lnTo>
                    <a:pt x="504" y="672"/>
                  </a:lnTo>
                  <a:lnTo>
                    <a:pt x="500" y="672"/>
                  </a:lnTo>
                  <a:lnTo>
                    <a:pt x="500" y="672"/>
                  </a:lnTo>
                  <a:lnTo>
                    <a:pt x="500" y="672"/>
                  </a:lnTo>
                  <a:close/>
                  <a:moveTo>
                    <a:pt x="504" y="496"/>
                  </a:moveTo>
                  <a:lnTo>
                    <a:pt x="500" y="496"/>
                  </a:lnTo>
                  <a:lnTo>
                    <a:pt x="504" y="496"/>
                  </a:lnTo>
                  <a:lnTo>
                    <a:pt x="504" y="496"/>
                  </a:lnTo>
                  <a:lnTo>
                    <a:pt x="504" y="496"/>
                  </a:lnTo>
                  <a:close/>
                  <a:moveTo>
                    <a:pt x="484" y="534"/>
                  </a:moveTo>
                  <a:lnTo>
                    <a:pt x="484" y="530"/>
                  </a:lnTo>
                  <a:lnTo>
                    <a:pt x="488" y="530"/>
                  </a:lnTo>
                  <a:lnTo>
                    <a:pt x="484" y="530"/>
                  </a:lnTo>
                  <a:lnTo>
                    <a:pt x="488" y="530"/>
                  </a:lnTo>
                  <a:lnTo>
                    <a:pt x="488" y="526"/>
                  </a:lnTo>
                  <a:lnTo>
                    <a:pt x="488" y="530"/>
                  </a:lnTo>
                  <a:lnTo>
                    <a:pt x="488" y="534"/>
                  </a:lnTo>
                  <a:lnTo>
                    <a:pt x="484" y="534"/>
                  </a:lnTo>
                  <a:lnTo>
                    <a:pt x="484" y="534"/>
                  </a:lnTo>
                  <a:lnTo>
                    <a:pt x="484" y="534"/>
                  </a:lnTo>
                  <a:close/>
                  <a:moveTo>
                    <a:pt x="500" y="556"/>
                  </a:moveTo>
                  <a:lnTo>
                    <a:pt x="496" y="556"/>
                  </a:lnTo>
                  <a:lnTo>
                    <a:pt x="496" y="552"/>
                  </a:lnTo>
                  <a:lnTo>
                    <a:pt x="500" y="552"/>
                  </a:lnTo>
                  <a:lnTo>
                    <a:pt x="500" y="556"/>
                  </a:lnTo>
                  <a:lnTo>
                    <a:pt x="500" y="556"/>
                  </a:lnTo>
                  <a:lnTo>
                    <a:pt x="500" y="556"/>
                  </a:lnTo>
                  <a:close/>
                  <a:moveTo>
                    <a:pt x="496" y="582"/>
                  </a:moveTo>
                  <a:lnTo>
                    <a:pt x="492" y="582"/>
                  </a:lnTo>
                  <a:lnTo>
                    <a:pt x="492" y="578"/>
                  </a:lnTo>
                  <a:lnTo>
                    <a:pt x="496" y="582"/>
                  </a:lnTo>
                  <a:lnTo>
                    <a:pt x="496" y="582"/>
                  </a:lnTo>
                  <a:lnTo>
                    <a:pt x="496" y="582"/>
                  </a:lnTo>
                  <a:close/>
                  <a:moveTo>
                    <a:pt x="484" y="586"/>
                  </a:moveTo>
                  <a:lnTo>
                    <a:pt x="488" y="586"/>
                  </a:lnTo>
                  <a:lnTo>
                    <a:pt x="484" y="586"/>
                  </a:lnTo>
                  <a:lnTo>
                    <a:pt x="484" y="586"/>
                  </a:lnTo>
                  <a:lnTo>
                    <a:pt x="484" y="586"/>
                  </a:lnTo>
                  <a:close/>
                  <a:moveTo>
                    <a:pt x="476" y="596"/>
                  </a:moveTo>
                  <a:lnTo>
                    <a:pt x="476" y="594"/>
                  </a:lnTo>
                  <a:lnTo>
                    <a:pt x="480" y="594"/>
                  </a:lnTo>
                  <a:lnTo>
                    <a:pt x="480" y="596"/>
                  </a:lnTo>
                  <a:lnTo>
                    <a:pt x="476" y="596"/>
                  </a:lnTo>
                  <a:lnTo>
                    <a:pt x="476" y="596"/>
                  </a:lnTo>
                  <a:lnTo>
                    <a:pt x="476" y="596"/>
                  </a:lnTo>
                  <a:close/>
                  <a:moveTo>
                    <a:pt x="500" y="642"/>
                  </a:moveTo>
                  <a:lnTo>
                    <a:pt x="496" y="642"/>
                  </a:lnTo>
                  <a:lnTo>
                    <a:pt x="496" y="638"/>
                  </a:lnTo>
                  <a:lnTo>
                    <a:pt x="500" y="638"/>
                  </a:lnTo>
                  <a:lnTo>
                    <a:pt x="500" y="642"/>
                  </a:lnTo>
                  <a:lnTo>
                    <a:pt x="500" y="642"/>
                  </a:lnTo>
                  <a:lnTo>
                    <a:pt x="500" y="642"/>
                  </a:lnTo>
                  <a:close/>
                  <a:moveTo>
                    <a:pt x="488" y="660"/>
                  </a:moveTo>
                  <a:lnTo>
                    <a:pt x="488" y="656"/>
                  </a:lnTo>
                  <a:lnTo>
                    <a:pt x="492" y="656"/>
                  </a:lnTo>
                  <a:lnTo>
                    <a:pt x="488" y="660"/>
                  </a:lnTo>
                  <a:lnTo>
                    <a:pt x="488" y="660"/>
                  </a:lnTo>
                  <a:lnTo>
                    <a:pt x="488" y="660"/>
                  </a:lnTo>
                  <a:close/>
                  <a:moveTo>
                    <a:pt x="506" y="682"/>
                  </a:moveTo>
                  <a:lnTo>
                    <a:pt x="506" y="686"/>
                  </a:lnTo>
                  <a:lnTo>
                    <a:pt x="506" y="690"/>
                  </a:lnTo>
                  <a:lnTo>
                    <a:pt x="506" y="686"/>
                  </a:lnTo>
                  <a:lnTo>
                    <a:pt x="504" y="686"/>
                  </a:lnTo>
                  <a:lnTo>
                    <a:pt x="506" y="686"/>
                  </a:lnTo>
                  <a:lnTo>
                    <a:pt x="506" y="682"/>
                  </a:lnTo>
                  <a:lnTo>
                    <a:pt x="506" y="682"/>
                  </a:lnTo>
                  <a:lnTo>
                    <a:pt x="506" y="682"/>
                  </a:lnTo>
                  <a:close/>
                  <a:moveTo>
                    <a:pt x="552" y="706"/>
                  </a:moveTo>
                  <a:lnTo>
                    <a:pt x="552" y="702"/>
                  </a:lnTo>
                  <a:lnTo>
                    <a:pt x="548" y="702"/>
                  </a:lnTo>
                  <a:lnTo>
                    <a:pt x="552" y="702"/>
                  </a:lnTo>
                  <a:lnTo>
                    <a:pt x="556" y="702"/>
                  </a:lnTo>
                  <a:lnTo>
                    <a:pt x="552" y="702"/>
                  </a:lnTo>
                  <a:lnTo>
                    <a:pt x="552" y="706"/>
                  </a:lnTo>
                  <a:lnTo>
                    <a:pt x="552" y="706"/>
                  </a:lnTo>
                  <a:lnTo>
                    <a:pt x="552" y="706"/>
                  </a:lnTo>
                  <a:close/>
                  <a:moveTo>
                    <a:pt x="0" y="176"/>
                  </a:moveTo>
                  <a:lnTo>
                    <a:pt x="0" y="172"/>
                  </a:lnTo>
                  <a:lnTo>
                    <a:pt x="2" y="172"/>
                  </a:lnTo>
                  <a:lnTo>
                    <a:pt x="0" y="172"/>
                  </a:lnTo>
                  <a:lnTo>
                    <a:pt x="0" y="176"/>
                  </a:lnTo>
                  <a:lnTo>
                    <a:pt x="0" y="176"/>
                  </a:lnTo>
                  <a:lnTo>
                    <a:pt x="0" y="176"/>
                  </a:lnTo>
                  <a:close/>
                  <a:moveTo>
                    <a:pt x="506" y="470"/>
                  </a:moveTo>
                  <a:lnTo>
                    <a:pt x="506" y="474"/>
                  </a:lnTo>
                  <a:lnTo>
                    <a:pt x="504" y="474"/>
                  </a:lnTo>
                  <a:lnTo>
                    <a:pt x="504" y="478"/>
                  </a:lnTo>
                  <a:lnTo>
                    <a:pt x="500" y="478"/>
                  </a:lnTo>
                  <a:lnTo>
                    <a:pt x="496" y="478"/>
                  </a:lnTo>
                  <a:lnTo>
                    <a:pt x="496" y="474"/>
                  </a:lnTo>
                  <a:lnTo>
                    <a:pt x="496" y="470"/>
                  </a:lnTo>
                  <a:lnTo>
                    <a:pt x="500" y="470"/>
                  </a:lnTo>
                  <a:lnTo>
                    <a:pt x="500" y="464"/>
                  </a:lnTo>
                  <a:lnTo>
                    <a:pt x="496" y="464"/>
                  </a:lnTo>
                  <a:lnTo>
                    <a:pt x="496" y="460"/>
                  </a:lnTo>
                  <a:lnTo>
                    <a:pt x="500" y="456"/>
                  </a:lnTo>
                  <a:lnTo>
                    <a:pt x="500" y="452"/>
                  </a:lnTo>
                  <a:lnTo>
                    <a:pt x="500" y="448"/>
                  </a:lnTo>
                  <a:lnTo>
                    <a:pt x="504" y="448"/>
                  </a:lnTo>
                  <a:lnTo>
                    <a:pt x="500" y="448"/>
                  </a:lnTo>
                  <a:lnTo>
                    <a:pt x="504" y="448"/>
                  </a:lnTo>
                  <a:lnTo>
                    <a:pt x="506" y="448"/>
                  </a:lnTo>
                  <a:lnTo>
                    <a:pt x="506" y="452"/>
                  </a:lnTo>
                  <a:lnTo>
                    <a:pt x="506" y="456"/>
                  </a:lnTo>
                  <a:lnTo>
                    <a:pt x="510" y="456"/>
                  </a:lnTo>
                  <a:lnTo>
                    <a:pt x="506" y="460"/>
                  </a:lnTo>
                  <a:lnTo>
                    <a:pt x="504" y="460"/>
                  </a:lnTo>
                  <a:lnTo>
                    <a:pt x="504" y="464"/>
                  </a:lnTo>
                  <a:lnTo>
                    <a:pt x="506" y="464"/>
                  </a:lnTo>
                  <a:lnTo>
                    <a:pt x="504" y="464"/>
                  </a:lnTo>
                  <a:lnTo>
                    <a:pt x="504" y="460"/>
                  </a:lnTo>
                  <a:lnTo>
                    <a:pt x="504" y="464"/>
                  </a:lnTo>
                  <a:lnTo>
                    <a:pt x="506" y="466"/>
                  </a:lnTo>
                  <a:lnTo>
                    <a:pt x="506" y="470"/>
                  </a:lnTo>
                  <a:lnTo>
                    <a:pt x="506" y="470"/>
                  </a:lnTo>
                  <a:lnTo>
                    <a:pt x="506" y="470"/>
                  </a:lnTo>
                  <a:close/>
                  <a:moveTo>
                    <a:pt x="506" y="464"/>
                  </a:moveTo>
                  <a:lnTo>
                    <a:pt x="506" y="460"/>
                  </a:lnTo>
                  <a:lnTo>
                    <a:pt x="504" y="460"/>
                  </a:lnTo>
                  <a:lnTo>
                    <a:pt x="506" y="460"/>
                  </a:lnTo>
                  <a:lnTo>
                    <a:pt x="506" y="464"/>
                  </a:lnTo>
                  <a:lnTo>
                    <a:pt x="506" y="464"/>
                  </a:lnTo>
                  <a:lnTo>
                    <a:pt x="506" y="464"/>
                  </a:lnTo>
                  <a:close/>
                  <a:moveTo>
                    <a:pt x="488" y="486"/>
                  </a:moveTo>
                  <a:lnTo>
                    <a:pt x="488" y="482"/>
                  </a:lnTo>
                  <a:lnTo>
                    <a:pt x="492" y="482"/>
                  </a:lnTo>
                  <a:lnTo>
                    <a:pt x="492" y="486"/>
                  </a:lnTo>
                  <a:lnTo>
                    <a:pt x="488" y="486"/>
                  </a:lnTo>
                  <a:lnTo>
                    <a:pt x="488" y="486"/>
                  </a:lnTo>
                  <a:lnTo>
                    <a:pt x="488" y="486"/>
                  </a:lnTo>
                  <a:close/>
                  <a:moveTo>
                    <a:pt x="500" y="490"/>
                  </a:moveTo>
                  <a:lnTo>
                    <a:pt x="504" y="490"/>
                  </a:lnTo>
                  <a:lnTo>
                    <a:pt x="504" y="486"/>
                  </a:lnTo>
                  <a:lnTo>
                    <a:pt x="504" y="490"/>
                  </a:lnTo>
                  <a:lnTo>
                    <a:pt x="500" y="490"/>
                  </a:lnTo>
                  <a:lnTo>
                    <a:pt x="500" y="490"/>
                  </a:lnTo>
                  <a:lnTo>
                    <a:pt x="500" y="490"/>
                  </a:lnTo>
                  <a:close/>
                  <a:moveTo>
                    <a:pt x="510" y="494"/>
                  </a:moveTo>
                  <a:lnTo>
                    <a:pt x="510" y="490"/>
                  </a:lnTo>
                  <a:lnTo>
                    <a:pt x="510" y="494"/>
                  </a:lnTo>
                  <a:lnTo>
                    <a:pt x="510" y="494"/>
                  </a:lnTo>
                  <a:lnTo>
                    <a:pt x="510" y="494"/>
                  </a:lnTo>
                  <a:close/>
                  <a:moveTo>
                    <a:pt x="504" y="494"/>
                  </a:moveTo>
                  <a:lnTo>
                    <a:pt x="504" y="490"/>
                  </a:lnTo>
                  <a:lnTo>
                    <a:pt x="506" y="494"/>
                  </a:lnTo>
                  <a:lnTo>
                    <a:pt x="504" y="494"/>
                  </a:lnTo>
                  <a:lnTo>
                    <a:pt x="504" y="494"/>
                  </a:lnTo>
                  <a:lnTo>
                    <a:pt x="504" y="494"/>
                  </a:lnTo>
                  <a:close/>
                  <a:moveTo>
                    <a:pt x="504" y="496"/>
                  </a:moveTo>
                  <a:lnTo>
                    <a:pt x="500" y="496"/>
                  </a:lnTo>
                  <a:lnTo>
                    <a:pt x="500" y="494"/>
                  </a:lnTo>
                  <a:lnTo>
                    <a:pt x="504" y="494"/>
                  </a:lnTo>
                  <a:lnTo>
                    <a:pt x="504" y="496"/>
                  </a:lnTo>
                  <a:lnTo>
                    <a:pt x="504" y="496"/>
                  </a:lnTo>
                  <a:lnTo>
                    <a:pt x="504" y="496"/>
                  </a:lnTo>
                  <a:close/>
                  <a:moveTo>
                    <a:pt x="500" y="496"/>
                  </a:moveTo>
                  <a:lnTo>
                    <a:pt x="500" y="494"/>
                  </a:lnTo>
                  <a:lnTo>
                    <a:pt x="500" y="496"/>
                  </a:lnTo>
                  <a:lnTo>
                    <a:pt x="500" y="496"/>
                  </a:lnTo>
                  <a:lnTo>
                    <a:pt x="500" y="496"/>
                  </a:lnTo>
                  <a:close/>
                  <a:moveTo>
                    <a:pt x="500" y="500"/>
                  </a:moveTo>
                  <a:lnTo>
                    <a:pt x="500" y="496"/>
                  </a:lnTo>
                  <a:lnTo>
                    <a:pt x="500" y="500"/>
                  </a:lnTo>
                  <a:lnTo>
                    <a:pt x="500" y="500"/>
                  </a:lnTo>
                  <a:lnTo>
                    <a:pt x="500" y="500"/>
                  </a:lnTo>
                  <a:close/>
                  <a:moveTo>
                    <a:pt x="514" y="508"/>
                  </a:moveTo>
                  <a:lnTo>
                    <a:pt x="510" y="508"/>
                  </a:lnTo>
                  <a:lnTo>
                    <a:pt x="510" y="512"/>
                  </a:lnTo>
                  <a:lnTo>
                    <a:pt x="506" y="508"/>
                  </a:lnTo>
                  <a:lnTo>
                    <a:pt x="510" y="508"/>
                  </a:lnTo>
                  <a:lnTo>
                    <a:pt x="506" y="508"/>
                  </a:lnTo>
                  <a:lnTo>
                    <a:pt x="506" y="504"/>
                  </a:lnTo>
                  <a:lnTo>
                    <a:pt x="510" y="504"/>
                  </a:lnTo>
                  <a:lnTo>
                    <a:pt x="510" y="500"/>
                  </a:lnTo>
                  <a:lnTo>
                    <a:pt x="514" y="500"/>
                  </a:lnTo>
                  <a:lnTo>
                    <a:pt x="518" y="500"/>
                  </a:lnTo>
                  <a:lnTo>
                    <a:pt x="518" y="504"/>
                  </a:lnTo>
                  <a:lnTo>
                    <a:pt x="514" y="504"/>
                  </a:lnTo>
                  <a:lnTo>
                    <a:pt x="518" y="504"/>
                  </a:lnTo>
                  <a:lnTo>
                    <a:pt x="514" y="508"/>
                  </a:lnTo>
                  <a:lnTo>
                    <a:pt x="514" y="508"/>
                  </a:lnTo>
                  <a:lnTo>
                    <a:pt x="514" y="508"/>
                  </a:lnTo>
                  <a:close/>
                  <a:moveTo>
                    <a:pt x="496" y="504"/>
                  </a:moveTo>
                  <a:lnTo>
                    <a:pt x="492" y="500"/>
                  </a:lnTo>
                  <a:lnTo>
                    <a:pt x="496" y="500"/>
                  </a:lnTo>
                  <a:lnTo>
                    <a:pt x="496" y="504"/>
                  </a:lnTo>
                  <a:lnTo>
                    <a:pt x="496" y="504"/>
                  </a:lnTo>
                  <a:lnTo>
                    <a:pt x="496" y="504"/>
                  </a:lnTo>
                  <a:close/>
                  <a:moveTo>
                    <a:pt x="500" y="504"/>
                  </a:moveTo>
                  <a:lnTo>
                    <a:pt x="500" y="500"/>
                  </a:lnTo>
                  <a:lnTo>
                    <a:pt x="500" y="504"/>
                  </a:lnTo>
                  <a:lnTo>
                    <a:pt x="500" y="504"/>
                  </a:lnTo>
                  <a:lnTo>
                    <a:pt x="500" y="504"/>
                  </a:lnTo>
                  <a:close/>
                  <a:moveTo>
                    <a:pt x="496" y="504"/>
                  </a:moveTo>
                  <a:lnTo>
                    <a:pt x="496" y="500"/>
                  </a:lnTo>
                  <a:lnTo>
                    <a:pt x="500" y="504"/>
                  </a:lnTo>
                  <a:lnTo>
                    <a:pt x="496" y="504"/>
                  </a:lnTo>
                  <a:lnTo>
                    <a:pt x="496" y="504"/>
                  </a:lnTo>
                  <a:lnTo>
                    <a:pt x="496" y="504"/>
                  </a:lnTo>
                  <a:close/>
                  <a:moveTo>
                    <a:pt x="504" y="508"/>
                  </a:moveTo>
                  <a:lnTo>
                    <a:pt x="504" y="504"/>
                  </a:lnTo>
                  <a:lnTo>
                    <a:pt x="504" y="500"/>
                  </a:lnTo>
                  <a:lnTo>
                    <a:pt x="504" y="504"/>
                  </a:lnTo>
                  <a:lnTo>
                    <a:pt x="506" y="504"/>
                  </a:lnTo>
                  <a:lnTo>
                    <a:pt x="504" y="508"/>
                  </a:lnTo>
                  <a:lnTo>
                    <a:pt x="504" y="508"/>
                  </a:lnTo>
                  <a:lnTo>
                    <a:pt x="504" y="508"/>
                  </a:lnTo>
                  <a:close/>
                  <a:moveTo>
                    <a:pt x="496" y="508"/>
                  </a:moveTo>
                  <a:lnTo>
                    <a:pt x="496" y="504"/>
                  </a:lnTo>
                  <a:lnTo>
                    <a:pt x="500" y="504"/>
                  </a:lnTo>
                  <a:lnTo>
                    <a:pt x="504" y="504"/>
                  </a:lnTo>
                  <a:lnTo>
                    <a:pt x="500" y="504"/>
                  </a:lnTo>
                  <a:lnTo>
                    <a:pt x="496" y="508"/>
                  </a:lnTo>
                  <a:lnTo>
                    <a:pt x="496" y="508"/>
                  </a:lnTo>
                  <a:lnTo>
                    <a:pt x="496" y="508"/>
                  </a:lnTo>
                  <a:close/>
                  <a:moveTo>
                    <a:pt x="496" y="508"/>
                  </a:moveTo>
                  <a:lnTo>
                    <a:pt x="492" y="508"/>
                  </a:lnTo>
                  <a:lnTo>
                    <a:pt x="492" y="504"/>
                  </a:lnTo>
                  <a:lnTo>
                    <a:pt x="496" y="504"/>
                  </a:lnTo>
                  <a:lnTo>
                    <a:pt x="496" y="508"/>
                  </a:lnTo>
                  <a:lnTo>
                    <a:pt x="496" y="508"/>
                  </a:lnTo>
                  <a:lnTo>
                    <a:pt x="496" y="508"/>
                  </a:lnTo>
                  <a:close/>
                  <a:moveTo>
                    <a:pt x="504" y="508"/>
                  </a:moveTo>
                  <a:lnTo>
                    <a:pt x="506" y="508"/>
                  </a:lnTo>
                  <a:lnTo>
                    <a:pt x="504" y="508"/>
                  </a:lnTo>
                  <a:lnTo>
                    <a:pt x="504" y="508"/>
                  </a:lnTo>
                  <a:lnTo>
                    <a:pt x="504" y="508"/>
                  </a:lnTo>
                  <a:close/>
                  <a:moveTo>
                    <a:pt x="500" y="508"/>
                  </a:moveTo>
                  <a:lnTo>
                    <a:pt x="496" y="508"/>
                  </a:lnTo>
                  <a:lnTo>
                    <a:pt x="500" y="508"/>
                  </a:lnTo>
                  <a:lnTo>
                    <a:pt x="500" y="508"/>
                  </a:lnTo>
                  <a:lnTo>
                    <a:pt x="500" y="508"/>
                  </a:lnTo>
                  <a:close/>
                  <a:moveTo>
                    <a:pt x="484" y="512"/>
                  </a:moveTo>
                  <a:lnTo>
                    <a:pt x="484" y="508"/>
                  </a:lnTo>
                  <a:lnTo>
                    <a:pt x="484" y="512"/>
                  </a:lnTo>
                  <a:lnTo>
                    <a:pt x="484" y="512"/>
                  </a:lnTo>
                  <a:lnTo>
                    <a:pt x="484" y="512"/>
                  </a:lnTo>
                  <a:close/>
                  <a:moveTo>
                    <a:pt x="496" y="512"/>
                  </a:moveTo>
                  <a:lnTo>
                    <a:pt x="496" y="508"/>
                  </a:lnTo>
                  <a:lnTo>
                    <a:pt x="500" y="508"/>
                  </a:lnTo>
                  <a:lnTo>
                    <a:pt x="500" y="512"/>
                  </a:lnTo>
                  <a:lnTo>
                    <a:pt x="504" y="512"/>
                  </a:lnTo>
                  <a:lnTo>
                    <a:pt x="500" y="512"/>
                  </a:lnTo>
                  <a:lnTo>
                    <a:pt x="496" y="512"/>
                  </a:lnTo>
                  <a:lnTo>
                    <a:pt x="496" y="512"/>
                  </a:lnTo>
                  <a:lnTo>
                    <a:pt x="496" y="512"/>
                  </a:lnTo>
                  <a:close/>
                  <a:moveTo>
                    <a:pt x="504" y="516"/>
                  </a:moveTo>
                  <a:lnTo>
                    <a:pt x="500" y="516"/>
                  </a:lnTo>
                  <a:lnTo>
                    <a:pt x="496" y="516"/>
                  </a:lnTo>
                  <a:lnTo>
                    <a:pt x="496" y="512"/>
                  </a:lnTo>
                  <a:lnTo>
                    <a:pt x="500" y="512"/>
                  </a:lnTo>
                  <a:lnTo>
                    <a:pt x="504" y="512"/>
                  </a:lnTo>
                  <a:lnTo>
                    <a:pt x="504" y="516"/>
                  </a:lnTo>
                  <a:lnTo>
                    <a:pt x="504" y="516"/>
                  </a:lnTo>
                  <a:lnTo>
                    <a:pt x="504" y="516"/>
                  </a:lnTo>
                  <a:close/>
                  <a:moveTo>
                    <a:pt x="496" y="520"/>
                  </a:moveTo>
                  <a:lnTo>
                    <a:pt x="496" y="516"/>
                  </a:lnTo>
                  <a:lnTo>
                    <a:pt x="496" y="520"/>
                  </a:lnTo>
                  <a:lnTo>
                    <a:pt x="496" y="520"/>
                  </a:lnTo>
                  <a:lnTo>
                    <a:pt x="496" y="520"/>
                  </a:lnTo>
                  <a:close/>
                  <a:moveTo>
                    <a:pt x="500" y="520"/>
                  </a:moveTo>
                  <a:lnTo>
                    <a:pt x="500" y="516"/>
                  </a:lnTo>
                  <a:lnTo>
                    <a:pt x="504" y="516"/>
                  </a:lnTo>
                  <a:lnTo>
                    <a:pt x="504" y="520"/>
                  </a:lnTo>
                  <a:lnTo>
                    <a:pt x="500" y="520"/>
                  </a:lnTo>
                  <a:lnTo>
                    <a:pt x="500" y="520"/>
                  </a:lnTo>
                  <a:lnTo>
                    <a:pt x="500" y="520"/>
                  </a:lnTo>
                  <a:close/>
                  <a:moveTo>
                    <a:pt x="496" y="520"/>
                  </a:moveTo>
                  <a:lnTo>
                    <a:pt x="492" y="520"/>
                  </a:lnTo>
                  <a:lnTo>
                    <a:pt x="492" y="516"/>
                  </a:lnTo>
                  <a:lnTo>
                    <a:pt x="496" y="516"/>
                  </a:lnTo>
                  <a:lnTo>
                    <a:pt x="496" y="520"/>
                  </a:lnTo>
                  <a:lnTo>
                    <a:pt x="496" y="520"/>
                  </a:lnTo>
                  <a:lnTo>
                    <a:pt x="496" y="520"/>
                  </a:lnTo>
                  <a:close/>
                  <a:moveTo>
                    <a:pt x="500" y="520"/>
                  </a:moveTo>
                  <a:lnTo>
                    <a:pt x="504" y="520"/>
                  </a:lnTo>
                  <a:lnTo>
                    <a:pt x="500" y="520"/>
                  </a:lnTo>
                  <a:lnTo>
                    <a:pt x="500" y="520"/>
                  </a:lnTo>
                  <a:lnTo>
                    <a:pt x="500" y="520"/>
                  </a:lnTo>
                  <a:close/>
                  <a:moveTo>
                    <a:pt x="500" y="524"/>
                  </a:moveTo>
                  <a:lnTo>
                    <a:pt x="500" y="520"/>
                  </a:lnTo>
                  <a:lnTo>
                    <a:pt x="504" y="520"/>
                  </a:lnTo>
                  <a:lnTo>
                    <a:pt x="504" y="524"/>
                  </a:lnTo>
                  <a:lnTo>
                    <a:pt x="500" y="524"/>
                  </a:lnTo>
                  <a:lnTo>
                    <a:pt x="500" y="524"/>
                  </a:lnTo>
                  <a:lnTo>
                    <a:pt x="500" y="524"/>
                  </a:lnTo>
                  <a:close/>
                  <a:moveTo>
                    <a:pt x="506" y="526"/>
                  </a:moveTo>
                  <a:lnTo>
                    <a:pt x="504" y="526"/>
                  </a:lnTo>
                  <a:lnTo>
                    <a:pt x="504" y="524"/>
                  </a:lnTo>
                  <a:lnTo>
                    <a:pt x="504" y="520"/>
                  </a:lnTo>
                  <a:lnTo>
                    <a:pt x="506" y="520"/>
                  </a:lnTo>
                  <a:lnTo>
                    <a:pt x="506" y="524"/>
                  </a:lnTo>
                  <a:lnTo>
                    <a:pt x="506" y="526"/>
                  </a:lnTo>
                  <a:lnTo>
                    <a:pt x="506" y="526"/>
                  </a:lnTo>
                  <a:lnTo>
                    <a:pt x="506" y="526"/>
                  </a:lnTo>
                  <a:close/>
                  <a:moveTo>
                    <a:pt x="492" y="526"/>
                  </a:moveTo>
                  <a:lnTo>
                    <a:pt x="492" y="524"/>
                  </a:lnTo>
                  <a:lnTo>
                    <a:pt x="496" y="520"/>
                  </a:lnTo>
                  <a:lnTo>
                    <a:pt x="496" y="524"/>
                  </a:lnTo>
                  <a:lnTo>
                    <a:pt x="496" y="526"/>
                  </a:lnTo>
                  <a:lnTo>
                    <a:pt x="492" y="526"/>
                  </a:lnTo>
                  <a:lnTo>
                    <a:pt x="492" y="526"/>
                  </a:lnTo>
                  <a:lnTo>
                    <a:pt x="492" y="526"/>
                  </a:lnTo>
                  <a:close/>
                  <a:moveTo>
                    <a:pt x="500" y="526"/>
                  </a:moveTo>
                  <a:lnTo>
                    <a:pt x="500" y="524"/>
                  </a:lnTo>
                  <a:lnTo>
                    <a:pt x="504" y="524"/>
                  </a:lnTo>
                  <a:lnTo>
                    <a:pt x="504" y="526"/>
                  </a:lnTo>
                  <a:lnTo>
                    <a:pt x="500" y="526"/>
                  </a:lnTo>
                  <a:lnTo>
                    <a:pt x="500" y="526"/>
                  </a:lnTo>
                  <a:lnTo>
                    <a:pt x="500" y="526"/>
                  </a:lnTo>
                  <a:close/>
                  <a:moveTo>
                    <a:pt x="492" y="526"/>
                  </a:moveTo>
                  <a:lnTo>
                    <a:pt x="492" y="524"/>
                  </a:lnTo>
                  <a:lnTo>
                    <a:pt x="492" y="526"/>
                  </a:lnTo>
                  <a:lnTo>
                    <a:pt x="492" y="526"/>
                  </a:lnTo>
                  <a:lnTo>
                    <a:pt x="492" y="526"/>
                  </a:lnTo>
                  <a:close/>
                  <a:moveTo>
                    <a:pt x="500" y="530"/>
                  </a:moveTo>
                  <a:lnTo>
                    <a:pt x="500" y="526"/>
                  </a:lnTo>
                  <a:lnTo>
                    <a:pt x="500" y="530"/>
                  </a:lnTo>
                  <a:lnTo>
                    <a:pt x="500" y="530"/>
                  </a:lnTo>
                  <a:lnTo>
                    <a:pt x="500" y="530"/>
                  </a:lnTo>
                  <a:close/>
                  <a:moveTo>
                    <a:pt x="504" y="530"/>
                  </a:moveTo>
                  <a:lnTo>
                    <a:pt x="500" y="530"/>
                  </a:lnTo>
                  <a:lnTo>
                    <a:pt x="504" y="530"/>
                  </a:lnTo>
                  <a:lnTo>
                    <a:pt x="504" y="526"/>
                  </a:lnTo>
                  <a:lnTo>
                    <a:pt x="504" y="530"/>
                  </a:lnTo>
                  <a:lnTo>
                    <a:pt x="504" y="530"/>
                  </a:lnTo>
                  <a:lnTo>
                    <a:pt x="504" y="530"/>
                  </a:lnTo>
                  <a:close/>
                  <a:moveTo>
                    <a:pt x="504" y="534"/>
                  </a:moveTo>
                  <a:lnTo>
                    <a:pt x="500" y="534"/>
                  </a:lnTo>
                  <a:lnTo>
                    <a:pt x="500" y="530"/>
                  </a:lnTo>
                  <a:lnTo>
                    <a:pt x="504" y="530"/>
                  </a:lnTo>
                  <a:lnTo>
                    <a:pt x="504" y="534"/>
                  </a:lnTo>
                  <a:lnTo>
                    <a:pt x="504" y="534"/>
                  </a:lnTo>
                  <a:lnTo>
                    <a:pt x="504" y="534"/>
                  </a:lnTo>
                  <a:close/>
                  <a:moveTo>
                    <a:pt x="492" y="556"/>
                  </a:moveTo>
                  <a:lnTo>
                    <a:pt x="492" y="552"/>
                  </a:lnTo>
                  <a:lnTo>
                    <a:pt x="496" y="552"/>
                  </a:lnTo>
                  <a:lnTo>
                    <a:pt x="496" y="556"/>
                  </a:lnTo>
                  <a:lnTo>
                    <a:pt x="492" y="556"/>
                  </a:lnTo>
                  <a:lnTo>
                    <a:pt x="492" y="556"/>
                  </a:lnTo>
                  <a:lnTo>
                    <a:pt x="492" y="556"/>
                  </a:lnTo>
                  <a:close/>
                  <a:moveTo>
                    <a:pt x="484" y="566"/>
                  </a:moveTo>
                  <a:lnTo>
                    <a:pt x="488" y="566"/>
                  </a:lnTo>
                  <a:lnTo>
                    <a:pt x="484" y="566"/>
                  </a:lnTo>
                  <a:lnTo>
                    <a:pt x="484" y="566"/>
                  </a:lnTo>
                  <a:lnTo>
                    <a:pt x="484" y="566"/>
                  </a:lnTo>
                  <a:close/>
                  <a:moveTo>
                    <a:pt x="484" y="566"/>
                  </a:moveTo>
                  <a:lnTo>
                    <a:pt x="480" y="566"/>
                  </a:lnTo>
                  <a:lnTo>
                    <a:pt x="484" y="566"/>
                  </a:lnTo>
                  <a:lnTo>
                    <a:pt x="484" y="566"/>
                  </a:lnTo>
                  <a:lnTo>
                    <a:pt x="484" y="566"/>
                  </a:lnTo>
                  <a:close/>
                  <a:moveTo>
                    <a:pt x="496" y="570"/>
                  </a:moveTo>
                  <a:lnTo>
                    <a:pt x="492" y="570"/>
                  </a:lnTo>
                  <a:lnTo>
                    <a:pt x="496" y="566"/>
                  </a:lnTo>
                  <a:lnTo>
                    <a:pt x="500" y="566"/>
                  </a:lnTo>
                  <a:lnTo>
                    <a:pt x="500" y="570"/>
                  </a:lnTo>
                  <a:lnTo>
                    <a:pt x="504" y="570"/>
                  </a:lnTo>
                  <a:lnTo>
                    <a:pt x="504" y="566"/>
                  </a:lnTo>
                  <a:lnTo>
                    <a:pt x="504" y="570"/>
                  </a:lnTo>
                  <a:lnTo>
                    <a:pt x="500" y="570"/>
                  </a:lnTo>
                  <a:lnTo>
                    <a:pt x="496" y="570"/>
                  </a:lnTo>
                  <a:lnTo>
                    <a:pt x="496" y="570"/>
                  </a:lnTo>
                  <a:lnTo>
                    <a:pt x="496" y="570"/>
                  </a:lnTo>
                  <a:close/>
                  <a:moveTo>
                    <a:pt x="488" y="574"/>
                  </a:moveTo>
                  <a:lnTo>
                    <a:pt x="484" y="570"/>
                  </a:lnTo>
                  <a:lnTo>
                    <a:pt x="480" y="570"/>
                  </a:lnTo>
                  <a:lnTo>
                    <a:pt x="484" y="570"/>
                  </a:lnTo>
                  <a:lnTo>
                    <a:pt x="488" y="570"/>
                  </a:lnTo>
                  <a:lnTo>
                    <a:pt x="488" y="566"/>
                  </a:lnTo>
                  <a:lnTo>
                    <a:pt x="488" y="570"/>
                  </a:lnTo>
                  <a:lnTo>
                    <a:pt x="488" y="574"/>
                  </a:lnTo>
                  <a:lnTo>
                    <a:pt x="488" y="574"/>
                  </a:lnTo>
                  <a:lnTo>
                    <a:pt x="488" y="574"/>
                  </a:lnTo>
                  <a:close/>
                  <a:moveTo>
                    <a:pt x="484" y="586"/>
                  </a:moveTo>
                  <a:lnTo>
                    <a:pt x="480" y="586"/>
                  </a:lnTo>
                  <a:lnTo>
                    <a:pt x="480" y="582"/>
                  </a:lnTo>
                  <a:lnTo>
                    <a:pt x="480" y="578"/>
                  </a:lnTo>
                  <a:lnTo>
                    <a:pt x="480" y="582"/>
                  </a:lnTo>
                  <a:lnTo>
                    <a:pt x="476" y="582"/>
                  </a:lnTo>
                  <a:lnTo>
                    <a:pt x="476" y="578"/>
                  </a:lnTo>
                  <a:lnTo>
                    <a:pt x="480" y="578"/>
                  </a:lnTo>
                  <a:lnTo>
                    <a:pt x="476" y="578"/>
                  </a:lnTo>
                  <a:lnTo>
                    <a:pt x="476" y="574"/>
                  </a:lnTo>
                  <a:lnTo>
                    <a:pt x="476" y="570"/>
                  </a:lnTo>
                  <a:lnTo>
                    <a:pt x="480" y="570"/>
                  </a:lnTo>
                  <a:lnTo>
                    <a:pt x="480" y="574"/>
                  </a:lnTo>
                  <a:lnTo>
                    <a:pt x="480" y="578"/>
                  </a:lnTo>
                  <a:lnTo>
                    <a:pt x="484" y="578"/>
                  </a:lnTo>
                  <a:lnTo>
                    <a:pt x="484" y="582"/>
                  </a:lnTo>
                  <a:lnTo>
                    <a:pt x="484" y="586"/>
                  </a:lnTo>
                  <a:lnTo>
                    <a:pt x="484" y="586"/>
                  </a:lnTo>
                  <a:lnTo>
                    <a:pt x="484" y="586"/>
                  </a:lnTo>
                  <a:close/>
                  <a:moveTo>
                    <a:pt x="484" y="582"/>
                  </a:moveTo>
                  <a:lnTo>
                    <a:pt x="484" y="574"/>
                  </a:lnTo>
                  <a:lnTo>
                    <a:pt x="480" y="574"/>
                  </a:lnTo>
                  <a:lnTo>
                    <a:pt x="484" y="574"/>
                  </a:lnTo>
                  <a:lnTo>
                    <a:pt x="488" y="574"/>
                  </a:lnTo>
                  <a:lnTo>
                    <a:pt x="488" y="578"/>
                  </a:lnTo>
                  <a:lnTo>
                    <a:pt x="484" y="582"/>
                  </a:lnTo>
                  <a:lnTo>
                    <a:pt x="484" y="582"/>
                  </a:lnTo>
                  <a:lnTo>
                    <a:pt x="484" y="582"/>
                  </a:lnTo>
                  <a:close/>
                  <a:moveTo>
                    <a:pt x="492" y="578"/>
                  </a:moveTo>
                  <a:lnTo>
                    <a:pt x="492" y="574"/>
                  </a:lnTo>
                  <a:lnTo>
                    <a:pt x="496" y="574"/>
                  </a:lnTo>
                  <a:lnTo>
                    <a:pt x="496" y="578"/>
                  </a:lnTo>
                  <a:lnTo>
                    <a:pt x="492" y="578"/>
                  </a:lnTo>
                  <a:lnTo>
                    <a:pt x="492" y="578"/>
                  </a:lnTo>
                  <a:lnTo>
                    <a:pt x="492" y="578"/>
                  </a:lnTo>
                  <a:close/>
                  <a:moveTo>
                    <a:pt x="492" y="586"/>
                  </a:moveTo>
                  <a:lnTo>
                    <a:pt x="488" y="586"/>
                  </a:lnTo>
                  <a:lnTo>
                    <a:pt x="484" y="586"/>
                  </a:lnTo>
                  <a:lnTo>
                    <a:pt x="484" y="582"/>
                  </a:lnTo>
                  <a:lnTo>
                    <a:pt x="488" y="582"/>
                  </a:lnTo>
                  <a:lnTo>
                    <a:pt x="488" y="578"/>
                  </a:lnTo>
                  <a:lnTo>
                    <a:pt x="488" y="582"/>
                  </a:lnTo>
                  <a:lnTo>
                    <a:pt x="488" y="578"/>
                  </a:lnTo>
                  <a:lnTo>
                    <a:pt x="488" y="574"/>
                  </a:lnTo>
                  <a:lnTo>
                    <a:pt x="492" y="574"/>
                  </a:lnTo>
                  <a:lnTo>
                    <a:pt x="492" y="578"/>
                  </a:lnTo>
                  <a:lnTo>
                    <a:pt x="492" y="582"/>
                  </a:lnTo>
                  <a:lnTo>
                    <a:pt x="492" y="586"/>
                  </a:lnTo>
                  <a:lnTo>
                    <a:pt x="492" y="582"/>
                  </a:lnTo>
                  <a:lnTo>
                    <a:pt x="492" y="586"/>
                  </a:lnTo>
                  <a:lnTo>
                    <a:pt x="492" y="586"/>
                  </a:lnTo>
                  <a:lnTo>
                    <a:pt x="492" y="586"/>
                  </a:lnTo>
                  <a:close/>
                  <a:moveTo>
                    <a:pt x="496" y="582"/>
                  </a:moveTo>
                  <a:lnTo>
                    <a:pt x="496" y="578"/>
                  </a:lnTo>
                  <a:lnTo>
                    <a:pt x="492" y="578"/>
                  </a:lnTo>
                  <a:lnTo>
                    <a:pt x="496" y="578"/>
                  </a:lnTo>
                  <a:lnTo>
                    <a:pt x="496" y="582"/>
                  </a:lnTo>
                  <a:lnTo>
                    <a:pt x="496" y="582"/>
                  </a:lnTo>
                  <a:lnTo>
                    <a:pt x="496" y="582"/>
                  </a:lnTo>
                  <a:close/>
                  <a:moveTo>
                    <a:pt x="500" y="582"/>
                  </a:moveTo>
                  <a:lnTo>
                    <a:pt x="496" y="582"/>
                  </a:lnTo>
                  <a:lnTo>
                    <a:pt x="496" y="578"/>
                  </a:lnTo>
                  <a:lnTo>
                    <a:pt x="500" y="578"/>
                  </a:lnTo>
                  <a:lnTo>
                    <a:pt x="500" y="582"/>
                  </a:lnTo>
                  <a:lnTo>
                    <a:pt x="500" y="582"/>
                  </a:lnTo>
                  <a:lnTo>
                    <a:pt x="500" y="582"/>
                  </a:lnTo>
                  <a:close/>
                  <a:moveTo>
                    <a:pt x="476" y="586"/>
                  </a:moveTo>
                  <a:lnTo>
                    <a:pt x="480" y="586"/>
                  </a:lnTo>
                  <a:lnTo>
                    <a:pt x="476" y="586"/>
                  </a:lnTo>
                  <a:lnTo>
                    <a:pt x="476" y="582"/>
                  </a:lnTo>
                  <a:lnTo>
                    <a:pt x="480" y="582"/>
                  </a:lnTo>
                  <a:lnTo>
                    <a:pt x="480" y="586"/>
                  </a:lnTo>
                  <a:lnTo>
                    <a:pt x="476" y="586"/>
                  </a:lnTo>
                  <a:lnTo>
                    <a:pt x="476" y="586"/>
                  </a:lnTo>
                  <a:lnTo>
                    <a:pt x="476" y="586"/>
                  </a:lnTo>
                  <a:close/>
                  <a:moveTo>
                    <a:pt x="492" y="604"/>
                  </a:moveTo>
                  <a:lnTo>
                    <a:pt x="492" y="608"/>
                  </a:lnTo>
                  <a:lnTo>
                    <a:pt x="492" y="604"/>
                  </a:lnTo>
                  <a:lnTo>
                    <a:pt x="496" y="604"/>
                  </a:lnTo>
                  <a:lnTo>
                    <a:pt x="496" y="608"/>
                  </a:lnTo>
                  <a:lnTo>
                    <a:pt x="492" y="612"/>
                  </a:lnTo>
                  <a:lnTo>
                    <a:pt x="492" y="616"/>
                  </a:lnTo>
                  <a:lnTo>
                    <a:pt x="488" y="616"/>
                  </a:lnTo>
                  <a:lnTo>
                    <a:pt x="488" y="612"/>
                  </a:lnTo>
                  <a:lnTo>
                    <a:pt x="492" y="612"/>
                  </a:lnTo>
                  <a:lnTo>
                    <a:pt x="488" y="612"/>
                  </a:lnTo>
                  <a:lnTo>
                    <a:pt x="488" y="608"/>
                  </a:lnTo>
                  <a:lnTo>
                    <a:pt x="488" y="604"/>
                  </a:lnTo>
                  <a:lnTo>
                    <a:pt x="488" y="600"/>
                  </a:lnTo>
                  <a:lnTo>
                    <a:pt x="492" y="600"/>
                  </a:lnTo>
                  <a:lnTo>
                    <a:pt x="488" y="600"/>
                  </a:lnTo>
                  <a:lnTo>
                    <a:pt x="488" y="604"/>
                  </a:lnTo>
                  <a:lnTo>
                    <a:pt x="488" y="600"/>
                  </a:lnTo>
                  <a:lnTo>
                    <a:pt x="484" y="604"/>
                  </a:lnTo>
                  <a:lnTo>
                    <a:pt x="488" y="604"/>
                  </a:lnTo>
                  <a:lnTo>
                    <a:pt x="484" y="608"/>
                  </a:lnTo>
                  <a:lnTo>
                    <a:pt x="484" y="612"/>
                  </a:lnTo>
                  <a:lnTo>
                    <a:pt x="484" y="608"/>
                  </a:lnTo>
                  <a:lnTo>
                    <a:pt x="480" y="604"/>
                  </a:lnTo>
                  <a:lnTo>
                    <a:pt x="480" y="600"/>
                  </a:lnTo>
                  <a:lnTo>
                    <a:pt x="480" y="596"/>
                  </a:lnTo>
                  <a:lnTo>
                    <a:pt x="480" y="600"/>
                  </a:lnTo>
                  <a:lnTo>
                    <a:pt x="484" y="600"/>
                  </a:lnTo>
                  <a:lnTo>
                    <a:pt x="484" y="604"/>
                  </a:lnTo>
                  <a:lnTo>
                    <a:pt x="484" y="600"/>
                  </a:lnTo>
                  <a:lnTo>
                    <a:pt x="480" y="600"/>
                  </a:lnTo>
                  <a:lnTo>
                    <a:pt x="480" y="596"/>
                  </a:lnTo>
                  <a:lnTo>
                    <a:pt x="484" y="600"/>
                  </a:lnTo>
                  <a:lnTo>
                    <a:pt x="484" y="596"/>
                  </a:lnTo>
                  <a:lnTo>
                    <a:pt x="488" y="600"/>
                  </a:lnTo>
                  <a:lnTo>
                    <a:pt x="488" y="596"/>
                  </a:lnTo>
                  <a:lnTo>
                    <a:pt x="488" y="594"/>
                  </a:lnTo>
                  <a:lnTo>
                    <a:pt x="484" y="590"/>
                  </a:lnTo>
                  <a:lnTo>
                    <a:pt x="484" y="586"/>
                  </a:lnTo>
                  <a:lnTo>
                    <a:pt x="488" y="586"/>
                  </a:lnTo>
                  <a:lnTo>
                    <a:pt x="492" y="586"/>
                  </a:lnTo>
                  <a:lnTo>
                    <a:pt x="492" y="590"/>
                  </a:lnTo>
                  <a:lnTo>
                    <a:pt x="492" y="594"/>
                  </a:lnTo>
                  <a:lnTo>
                    <a:pt x="492" y="596"/>
                  </a:lnTo>
                  <a:lnTo>
                    <a:pt x="496" y="596"/>
                  </a:lnTo>
                  <a:lnTo>
                    <a:pt x="492" y="600"/>
                  </a:lnTo>
                  <a:lnTo>
                    <a:pt x="492" y="604"/>
                  </a:lnTo>
                  <a:lnTo>
                    <a:pt x="492" y="604"/>
                  </a:lnTo>
                  <a:lnTo>
                    <a:pt x="492" y="604"/>
                  </a:lnTo>
                  <a:close/>
                  <a:moveTo>
                    <a:pt x="484" y="594"/>
                  </a:moveTo>
                  <a:lnTo>
                    <a:pt x="480" y="590"/>
                  </a:lnTo>
                  <a:lnTo>
                    <a:pt x="484" y="590"/>
                  </a:lnTo>
                  <a:lnTo>
                    <a:pt x="484" y="594"/>
                  </a:lnTo>
                  <a:lnTo>
                    <a:pt x="484" y="594"/>
                  </a:lnTo>
                  <a:lnTo>
                    <a:pt x="484" y="594"/>
                  </a:lnTo>
                  <a:close/>
                  <a:moveTo>
                    <a:pt x="480" y="594"/>
                  </a:moveTo>
                  <a:lnTo>
                    <a:pt x="480" y="590"/>
                  </a:lnTo>
                  <a:lnTo>
                    <a:pt x="480" y="594"/>
                  </a:lnTo>
                  <a:lnTo>
                    <a:pt x="476" y="594"/>
                  </a:lnTo>
                  <a:lnTo>
                    <a:pt x="476" y="590"/>
                  </a:lnTo>
                  <a:lnTo>
                    <a:pt x="480" y="590"/>
                  </a:lnTo>
                  <a:lnTo>
                    <a:pt x="484" y="594"/>
                  </a:lnTo>
                  <a:lnTo>
                    <a:pt x="480" y="594"/>
                  </a:lnTo>
                  <a:lnTo>
                    <a:pt x="480" y="594"/>
                  </a:lnTo>
                  <a:lnTo>
                    <a:pt x="480" y="594"/>
                  </a:lnTo>
                  <a:close/>
                  <a:moveTo>
                    <a:pt x="488" y="596"/>
                  </a:moveTo>
                  <a:lnTo>
                    <a:pt x="484" y="596"/>
                  </a:lnTo>
                  <a:lnTo>
                    <a:pt x="480" y="596"/>
                  </a:lnTo>
                  <a:lnTo>
                    <a:pt x="480" y="594"/>
                  </a:lnTo>
                  <a:lnTo>
                    <a:pt x="484" y="594"/>
                  </a:lnTo>
                  <a:lnTo>
                    <a:pt x="488" y="594"/>
                  </a:lnTo>
                  <a:lnTo>
                    <a:pt x="488" y="596"/>
                  </a:lnTo>
                  <a:lnTo>
                    <a:pt x="488" y="596"/>
                  </a:lnTo>
                  <a:lnTo>
                    <a:pt x="488" y="596"/>
                  </a:lnTo>
                  <a:close/>
                  <a:moveTo>
                    <a:pt x="496" y="604"/>
                  </a:moveTo>
                  <a:lnTo>
                    <a:pt x="492" y="600"/>
                  </a:lnTo>
                  <a:lnTo>
                    <a:pt x="496" y="600"/>
                  </a:lnTo>
                  <a:lnTo>
                    <a:pt x="496" y="604"/>
                  </a:lnTo>
                  <a:lnTo>
                    <a:pt x="496" y="604"/>
                  </a:lnTo>
                  <a:lnTo>
                    <a:pt x="496" y="604"/>
                  </a:lnTo>
                  <a:close/>
                  <a:moveTo>
                    <a:pt x="484" y="612"/>
                  </a:moveTo>
                  <a:lnTo>
                    <a:pt x="480" y="608"/>
                  </a:lnTo>
                  <a:lnTo>
                    <a:pt x="480" y="612"/>
                  </a:lnTo>
                  <a:lnTo>
                    <a:pt x="480" y="608"/>
                  </a:lnTo>
                  <a:lnTo>
                    <a:pt x="476" y="608"/>
                  </a:lnTo>
                  <a:lnTo>
                    <a:pt x="476" y="604"/>
                  </a:lnTo>
                  <a:lnTo>
                    <a:pt x="480" y="604"/>
                  </a:lnTo>
                  <a:lnTo>
                    <a:pt x="484" y="608"/>
                  </a:lnTo>
                  <a:lnTo>
                    <a:pt x="484" y="612"/>
                  </a:lnTo>
                  <a:lnTo>
                    <a:pt x="484" y="612"/>
                  </a:lnTo>
                  <a:lnTo>
                    <a:pt x="484" y="612"/>
                  </a:lnTo>
                  <a:close/>
                  <a:moveTo>
                    <a:pt x="484" y="620"/>
                  </a:moveTo>
                  <a:lnTo>
                    <a:pt x="484" y="624"/>
                  </a:lnTo>
                  <a:lnTo>
                    <a:pt x="480" y="624"/>
                  </a:lnTo>
                  <a:lnTo>
                    <a:pt x="480" y="620"/>
                  </a:lnTo>
                  <a:lnTo>
                    <a:pt x="484" y="620"/>
                  </a:lnTo>
                  <a:lnTo>
                    <a:pt x="480" y="620"/>
                  </a:lnTo>
                  <a:lnTo>
                    <a:pt x="480" y="616"/>
                  </a:lnTo>
                  <a:lnTo>
                    <a:pt x="480" y="620"/>
                  </a:lnTo>
                  <a:lnTo>
                    <a:pt x="484" y="620"/>
                  </a:lnTo>
                  <a:lnTo>
                    <a:pt x="484" y="616"/>
                  </a:lnTo>
                  <a:lnTo>
                    <a:pt x="480" y="616"/>
                  </a:lnTo>
                  <a:lnTo>
                    <a:pt x="480" y="612"/>
                  </a:lnTo>
                  <a:lnTo>
                    <a:pt x="484" y="612"/>
                  </a:lnTo>
                  <a:lnTo>
                    <a:pt x="484" y="616"/>
                  </a:lnTo>
                  <a:lnTo>
                    <a:pt x="488" y="616"/>
                  </a:lnTo>
                  <a:lnTo>
                    <a:pt x="484" y="620"/>
                  </a:lnTo>
                  <a:lnTo>
                    <a:pt x="484" y="620"/>
                  </a:lnTo>
                  <a:lnTo>
                    <a:pt x="484" y="620"/>
                  </a:lnTo>
                  <a:close/>
                  <a:moveTo>
                    <a:pt x="488" y="624"/>
                  </a:moveTo>
                  <a:lnTo>
                    <a:pt x="488" y="620"/>
                  </a:lnTo>
                  <a:lnTo>
                    <a:pt x="492" y="620"/>
                  </a:lnTo>
                  <a:lnTo>
                    <a:pt x="492" y="624"/>
                  </a:lnTo>
                  <a:lnTo>
                    <a:pt x="488" y="624"/>
                  </a:lnTo>
                  <a:lnTo>
                    <a:pt x="488" y="624"/>
                  </a:lnTo>
                  <a:lnTo>
                    <a:pt x="488" y="624"/>
                  </a:lnTo>
                  <a:close/>
                  <a:moveTo>
                    <a:pt x="496" y="630"/>
                  </a:moveTo>
                  <a:lnTo>
                    <a:pt x="492" y="626"/>
                  </a:lnTo>
                  <a:lnTo>
                    <a:pt x="492" y="624"/>
                  </a:lnTo>
                  <a:lnTo>
                    <a:pt x="496" y="624"/>
                  </a:lnTo>
                  <a:lnTo>
                    <a:pt x="492" y="624"/>
                  </a:lnTo>
                  <a:lnTo>
                    <a:pt x="496" y="624"/>
                  </a:lnTo>
                  <a:lnTo>
                    <a:pt x="496" y="626"/>
                  </a:lnTo>
                  <a:lnTo>
                    <a:pt x="496" y="630"/>
                  </a:lnTo>
                  <a:lnTo>
                    <a:pt x="500" y="630"/>
                  </a:lnTo>
                  <a:lnTo>
                    <a:pt x="496" y="630"/>
                  </a:lnTo>
                  <a:lnTo>
                    <a:pt x="496" y="630"/>
                  </a:lnTo>
                  <a:lnTo>
                    <a:pt x="496" y="630"/>
                  </a:lnTo>
                  <a:close/>
                  <a:moveTo>
                    <a:pt x="480" y="630"/>
                  </a:moveTo>
                  <a:lnTo>
                    <a:pt x="476" y="626"/>
                  </a:lnTo>
                  <a:lnTo>
                    <a:pt x="480" y="626"/>
                  </a:lnTo>
                  <a:lnTo>
                    <a:pt x="480" y="624"/>
                  </a:lnTo>
                  <a:lnTo>
                    <a:pt x="484" y="624"/>
                  </a:lnTo>
                  <a:lnTo>
                    <a:pt x="484" y="626"/>
                  </a:lnTo>
                  <a:lnTo>
                    <a:pt x="480" y="626"/>
                  </a:lnTo>
                  <a:lnTo>
                    <a:pt x="480" y="630"/>
                  </a:lnTo>
                  <a:lnTo>
                    <a:pt x="480" y="630"/>
                  </a:lnTo>
                  <a:lnTo>
                    <a:pt x="480" y="630"/>
                  </a:lnTo>
                  <a:close/>
                  <a:moveTo>
                    <a:pt x="484" y="630"/>
                  </a:moveTo>
                  <a:lnTo>
                    <a:pt x="484" y="626"/>
                  </a:lnTo>
                  <a:lnTo>
                    <a:pt x="484" y="630"/>
                  </a:lnTo>
                  <a:lnTo>
                    <a:pt x="484" y="630"/>
                  </a:lnTo>
                  <a:lnTo>
                    <a:pt x="484" y="630"/>
                  </a:lnTo>
                  <a:close/>
                  <a:moveTo>
                    <a:pt x="492" y="630"/>
                  </a:moveTo>
                  <a:lnTo>
                    <a:pt x="488" y="630"/>
                  </a:lnTo>
                  <a:lnTo>
                    <a:pt x="488" y="626"/>
                  </a:lnTo>
                  <a:lnTo>
                    <a:pt x="492" y="630"/>
                  </a:lnTo>
                  <a:lnTo>
                    <a:pt x="492" y="630"/>
                  </a:lnTo>
                  <a:lnTo>
                    <a:pt x="492" y="630"/>
                  </a:lnTo>
                  <a:close/>
                  <a:moveTo>
                    <a:pt x="488" y="638"/>
                  </a:moveTo>
                  <a:lnTo>
                    <a:pt x="488" y="634"/>
                  </a:lnTo>
                  <a:lnTo>
                    <a:pt x="488" y="630"/>
                  </a:lnTo>
                  <a:lnTo>
                    <a:pt x="492" y="630"/>
                  </a:lnTo>
                  <a:lnTo>
                    <a:pt x="492" y="626"/>
                  </a:lnTo>
                  <a:lnTo>
                    <a:pt x="492" y="630"/>
                  </a:lnTo>
                  <a:lnTo>
                    <a:pt x="496" y="630"/>
                  </a:lnTo>
                  <a:lnTo>
                    <a:pt x="496" y="634"/>
                  </a:lnTo>
                  <a:lnTo>
                    <a:pt x="492" y="634"/>
                  </a:lnTo>
                  <a:lnTo>
                    <a:pt x="488" y="638"/>
                  </a:lnTo>
                  <a:lnTo>
                    <a:pt x="488" y="638"/>
                  </a:lnTo>
                  <a:lnTo>
                    <a:pt x="488" y="638"/>
                  </a:lnTo>
                  <a:close/>
                  <a:moveTo>
                    <a:pt x="496" y="638"/>
                  </a:moveTo>
                  <a:lnTo>
                    <a:pt x="496" y="634"/>
                  </a:lnTo>
                  <a:lnTo>
                    <a:pt x="496" y="630"/>
                  </a:lnTo>
                  <a:lnTo>
                    <a:pt x="496" y="634"/>
                  </a:lnTo>
                  <a:lnTo>
                    <a:pt x="496" y="638"/>
                  </a:lnTo>
                  <a:lnTo>
                    <a:pt x="496" y="638"/>
                  </a:lnTo>
                  <a:lnTo>
                    <a:pt x="496" y="638"/>
                  </a:lnTo>
                  <a:close/>
                  <a:moveTo>
                    <a:pt x="496" y="638"/>
                  </a:moveTo>
                  <a:lnTo>
                    <a:pt x="492" y="638"/>
                  </a:lnTo>
                  <a:lnTo>
                    <a:pt x="492" y="634"/>
                  </a:lnTo>
                  <a:lnTo>
                    <a:pt x="496" y="638"/>
                  </a:lnTo>
                  <a:lnTo>
                    <a:pt x="496" y="638"/>
                  </a:lnTo>
                  <a:lnTo>
                    <a:pt x="496" y="638"/>
                  </a:lnTo>
                  <a:close/>
                  <a:moveTo>
                    <a:pt x="484" y="646"/>
                  </a:moveTo>
                  <a:lnTo>
                    <a:pt x="484" y="642"/>
                  </a:lnTo>
                  <a:lnTo>
                    <a:pt x="488" y="642"/>
                  </a:lnTo>
                  <a:lnTo>
                    <a:pt x="488" y="638"/>
                  </a:lnTo>
                  <a:lnTo>
                    <a:pt x="492" y="638"/>
                  </a:lnTo>
                  <a:lnTo>
                    <a:pt x="492" y="642"/>
                  </a:lnTo>
                  <a:lnTo>
                    <a:pt x="488" y="642"/>
                  </a:lnTo>
                  <a:lnTo>
                    <a:pt x="484" y="646"/>
                  </a:lnTo>
                  <a:lnTo>
                    <a:pt x="484" y="646"/>
                  </a:lnTo>
                  <a:lnTo>
                    <a:pt x="484" y="646"/>
                  </a:lnTo>
                  <a:close/>
                  <a:moveTo>
                    <a:pt x="500" y="642"/>
                  </a:moveTo>
                  <a:lnTo>
                    <a:pt x="500" y="638"/>
                  </a:lnTo>
                  <a:lnTo>
                    <a:pt x="500" y="642"/>
                  </a:lnTo>
                  <a:lnTo>
                    <a:pt x="500" y="642"/>
                  </a:lnTo>
                  <a:lnTo>
                    <a:pt x="500" y="642"/>
                  </a:lnTo>
                  <a:close/>
                  <a:moveTo>
                    <a:pt x="504" y="642"/>
                  </a:moveTo>
                  <a:lnTo>
                    <a:pt x="504" y="638"/>
                  </a:lnTo>
                  <a:lnTo>
                    <a:pt x="504" y="642"/>
                  </a:lnTo>
                  <a:lnTo>
                    <a:pt x="504" y="642"/>
                  </a:lnTo>
                  <a:lnTo>
                    <a:pt x="504" y="642"/>
                  </a:lnTo>
                  <a:close/>
                  <a:moveTo>
                    <a:pt x="480" y="646"/>
                  </a:moveTo>
                  <a:lnTo>
                    <a:pt x="484" y="646"/>
                  </a:lnTo>
                  <a:lnTo>
                    <a:pt x="484" y="642"/>
                  </a:lnTo>
                  <a:lnTo>
                    <a:pt x="484" y="638"/>
                  </a:lnTo>
                  <a:lnTo>
                    <a:pt x="484" y="642"/>
                  </a:lnTo>
                  <a:lnTo>
                    <a:pt x="484" y="646"/>
                  </a:lnTo>
                  <a:lnTo>
                    <a:pt x="480" y="646"/>
                  </a:lnTo>
                  <a:lnTo>
                    <a:pt x="480" y="646"/>
                  </a:lnTo>
                  <a:lnTo>
                    <a:pt x="480" y="646"/>
                  </a:lnTo>
                  <a:close/>
                  <a:moveTo>
                    <a:pt x="500" y="650"/>
                  </a:moveTo>
                  <a:lnTo>
                    <a:pt x="496" y="650"/>
                  </a:lnTo>
                  <a:lnTo>
                    <a:pt x="500" y="650"/>
                  </a:lnTo>
                  <a:lnTo>
                    <a:pt x="500" y="646"/>
                  </a:lnTo>
                  <a:lnTo>
                    <a:pt x="500" y="650"/>
                  </a:lnTo>
                  <a:lnTo>
                    <a:pt x="500" y="650"/>
                  </a:lnTo>
                  <a:lnTo>
                    <a:pt x="500" y="650"/>
                  </a:lnTo>
                  <a:close/>
                  <a:moveTo>
                    <a:pt x="488" y="656"/>
                  </a:moveTo>
                  <a:lnTo>
                    <a:pt x="484" y="656"/>
                  </a:lnTo>
                  <a:lnTo>
                    <a:pt x="484" y="652"/>
                  </a:lnTo>
                  <a:lnTo>
                    <a:pt x="488" y="650"/>
                  </a:lnTo>
                  <a:lnTo>
                    <a:pt x="488" y="652"/>
                  </a:lnTo>
                  <a:lnTo>
                    <a:pt x="488" y="650"/>
                  </a:lnTo>
                  <a:lnTo>
                    <a:pt x="488" y="646"/>
                  </a:lnTo>
                  <a:lnTo>
                    <a:pt x="488" y="650"/>
                  </a:lnTo>
                  <a:lnTo>
                    <a:pt x="488" y="652"/>
                  </a:lnTo>
                  <a:lnTo>
                    <a:pt x="488" y="656"/>
                  </a:lnTo>
                  <a:lnTo>
                    <a:pt x="488" y="656"/>
                  </a:lnTo>
                  <a:lnTo>
                    <a:pt x="488" y="656"/>
                  </a:lnTo>
                  <a:close/>
                  <a:moveTo>
                    <a:pt x="504" y="650"/>
                  </a:moveTo>
                  <a:lnTo>
                    <a:pt x="500" y="650"/>
                  </a:lnTo>
                  <a:lnTo>
                    <a:pt x="504" y="650"/>
                  </a:lnTo>
                  <a:lnTo>
                    <a:pt x="504" y="650"/>
                  </a:lnTo>
                  <a:lnTo>
                    <a:pt x="504" y="650"/>
                  </a:lnTo>
                  <a:close/>
                  <a:moveTo>
                    <a:pt x="500" y="652"/>
                  </a:moveTo>
                  <a:lnTo>
                    <a:pt x="496" y="652"/>
                  </a:lnTo>
                  <a:lnTo>
                    <a:pt x="492" y="650"/>
                  </a:lnTo>
                  <a:lnTo>
                    <a:pt x="496" y="650"/>
                  </a:lnTo>
                  <a:lnTo>
                    <a:pt x="500" y="652"/>
                  </a:lnTo>
                  <a:lnTo>
                    <a:pt x="500" y="652"/>
                  </a:lnTo>
                  <a:lnTo>
                    <a:pt x="500" y="652"/>
                  </a:lnTo>
                  <a:close/>
                  <a:moveTo>
                    <a:pt x="484" y="652"/>
                  </a:moveTo>
                  <a:lnTo>
                    <a:pt x="484" y="650"/>
                  </a:lnTo>
                  <a:lnTo>
                    <a:pt x="488" y="650"/>
                  </a:lnTo>
                  <a:lnTo>
                    <a:pt x="484" y="650"/>
                  </a:lnTo>
                  <a:lnTo>
                    <a:pt x="484" y="652"/>
                  </a:lnTo>
                  <a:lnTo>
                    <a:pt x="484" y="652"/>
                  </a:lnTo>
                  <a:lnTo>
                    <a:pt x="484" y="652"/>
                  </a:lnTo>
                  <a:close/>
                  <a:moveTo>
                    <a:pt x="504" y="652"/>
                  </a:moveTo>
                  <a:lnTo>
                    <a:pt x="500" y="652"/>
                  </a:lnTo>
                  <a:lnTo>
                    <a:pt x="500" y="650"/>
                  </a:lnTo>
                  <a:lnTo>
                    <a:pt x="504" y="650"/>
                  </a:lnTo>
                  <a:lnTo>
                    <a:pt x="504" y="652"/>
                  </a:lnTo>
                  <a:lnTo>
                    <a:pt x="504" y="652"/>
                  </a:lnTo>
                  <a:lnTo>
                    <a:pt x="504" y="652"/>
                  </a:lnTo>
                  <a:close/>
                  <a:moveTo>
                    <a:pt x="488" y="656"/>
                  </a:moveTo>
                  <a:lnTo>
                    <a:pt x="488" y="652"/>
                  </a:lnTo>
                  <a:lnTo>
                    <a:pt x="492" y="652"/>
                  </a:lnTo>
                  <a:lnTo>
                    <a:pt x="488" y="656"/>
                  </a:lnTo>
                  <a:lnTo>
                    <a:pt x="488" y="656"/>
                  </a:lnTo>
                  <a:lnTo>
                    <a:pt x="488" y="656"/>
                  </a:lnTo>
                  <a:close/>
                  <a:moveTo>
                    <a:pt x="514" y="656"/>
                  </a:moveTo>
                  <a:lnTo>
                    <a:pt x="514" y="652"/>
                  </a:lnTo>
                  <a:lnTo>
                    <a:pt x="514" y="656"/>
                  </a:lnTo>
                  <a:lnTo>
                    <a:pt x="514" y="656"/>
                  </a:lnTo>
                  <a:lnTo>
                    <a:pt x="514" y="656"/>
                  </a:lnTo>
                  <a:close/>
                  <a:moveTo>
                    <a:pt x="504" y="660"/>
                  </a:moveTo>
                  <a:lnTo>
                    <a:pt x="504" y="656"/>
                  </a:lnTo>
                  <a:lnTo>
                    <a:pt x="500" y="656"/>
                  </a:lnTo>
                  <a:lnTo>
                    <a:pt x="500" y="652"/>
                  </a:lnTo>
                  <a:lnTo>
                    <a:pt x="504" y="656"/>
                  </a:lnTo>
                  <a:lnTo>
                    <a:pt x="504" y="660"/>
                  </a:lnTo>
                  <a:lnTo>
                    <a:pt x="504" y="660"/>
                  </a:lnTo>
                  <a:lnTo>
                    <a:pt x="504" y="660"/>
                  </a:lnTo>
                  <a:close/>
                  <a:moveTo>
                    <a:pt x="488" y="656"/>
                  </a:moveTo>
                  <a:lnTo>
                    <a:pt x="492" y="656"/>
                  </a:lnTo>
                  <a:lnTo>
                    <a:pt x="492" y="652"/>
                  </a:lnTo>
                  <a:lnTo>
                    <a:pt x="492" y="656"/>
                  </a:lnTo>
                  <a:lnTo>
                    <a:pt x="488" y="656"/>
                  </a:lnTo>
                  <a:lnTo>
                    <a:pt x="488" y="656"/>
                  </a:lnTo>
                  <a:lnTo>
                    <a:pt x="488" y="656"/>
                  </a:lnTo>
                  <a:close/>
                  <a:moveTo>
                    <a:pt x="500" y="664"/>
                  </a:moveTo>
                  <a:lnTo>
                    <a:pt x="496" y="664"/>
                  </a:lnTo>
                  <a:lnTo>
                    <a:pt x="496" y="660"/>
                  </a:lnTo>
                  <a:lnTo>
                    <a:pt x="500" y="660"/>
                  </a:lnTo>
                  <a:lnTo>
                    <a:pt x="496" y="660"/>
                  </a:lnTo>
                  <a:lnTo>
                    <a:pt x="496" y="656"/>
                  </a:lnTo>
                  <a:lnTo>
                    <a:pt x="500" y="660"/>
                  </a:lnTo>
                  <a:lnTo>
                    <a:pt x="500" y="664"/>
                  </a:lnTo>
                  <a:lnTo>
                    <a:pt x="500" y="664"/>
                  </a:lnTo>
                  <a:lnTo>
                    <a:pt x="500" y="664"/>
                  </a:lnTo>
                  <a:close/>
                  <a:moveTo>
                    <a:pt x="504" y="664"/>
                  </a:moveTo>
                  <a:lnTo>
                    <a:pt x="504" y="660"/>
                  </a:lnTo>
                  <a:lnTo>
                    <a:pt x="500" y="660"/>
                  </a:lnTo>
                  <a:lnTo>
                    <a:pt x="500" y="656"/>
                  </a:lnTo>
                  <a:lnTo>
                    <a:pt x="500" y="660"/>
                  </a:lnTo>
                  <a:lnTo>
                    <a:pt x="504" y="660"/>
                  </a:lnTo>
                  <a:lnTo>
                    <a:pt x="504" y="664"/>
                  </a:lnTo>
                  <a:lnTo>
                    <a:pt x="504" y="664"/>
                  </a:lnTo>
                  <a:lnTo>
                    <a:pt x="504" y="664"/>
                  </a:lnTo>
                  <a:close/>
                  <a:moveTo>
                    <a:pt x="488" y="660"/>
                  </a:moveTo>
                  <a:lnTo>
                    <a:pt x="492" y="660"/>
                  </a:lnTo>
                  <a:lnTo>
                    <a:pt x="488" y="660"/>
                  </a:lnTo>
                  <a:lnTo>
                    <a:pt x="488" y="660"/>
                  </a:lnTo>
                  <a:lnTo>
                    <a:pt x="488" y="660"/>
                  </a:lnTo>
                  <a:close/>
                  <a:moveTo>
                    <a:pt x="578" y="716"/>
                  </a:moveTo>
                  <a:lnTo>
                    <a:pt x="574" y="716"/>
                  </a:lnTo>
                  <a:lnTo>
                    <a:pt x="570" y="716"/>
                  </a:lnTo>
                  <a:lnTo>
                    <a:pt x="562" y="716"/>
                  </a:lnTo>
                  <a:lnTo>
                    <a:pt x="562" y="712"/>
                  </a:lnTo>
                  <a:lnTo>
                    <a:pt x="560" y="712"/>
                  </a:lnTo>
                  <a:lnTo>
                    <a:pt x="560" y="716"/>
                  </a:lnTo>
                  <a:lnTo>
                    <a:pt x="556" y="716"/>
                  </a:lnTo>
                  <a:lnTo>
                    <a:pt x="552" y="716"/>
                  </a:lnTo>
                  <a:lnTo>
                    <a:pt x="552" y="712"/>
                  </a:lnTo>
                  <a:lnTo>
                    <a:pt x="552" y="716"/>
                  </a:lnTo>
                  <a:lnTo>
                    <a:pt x="548" y="716"/>
                  </a:lnTo>
                  <a:lnTo>
                    <a:pt x="544" y="716"/>
                  </a:lnTo>
                  <a:lnTo>
                    <a:pt x="544" y="712"/>
                  </a:lnTo>
                  <a:lnTo>
                    <a:pt x="548" y="712"/>
                  </a:lnTo>
                  <a:lnTo>
                    <a:pt x="552" y="712"/>
                  </a:lnTo>
                  <a:lnTo>
                    <a:pt x="548" y="712"/>
                  </a:lnTo>
                  <a:lnTo>
                    <a:pt x="544" y="712"/>
                  </a:lnTo>
                  <a:lnTo>
                    <a:pt x="540" y="712"/>
                  </a:lnTo>
                  <a:lnTo>
                    <a:pt x="544" y="712"/>
                  </a:lnTo>
                  <a:lnTo>
                    <a:pt x="540" y="712"/>
                  </a:lnTo>
                  <a:lnTo>
                    <a:pt x="536" y="712"/>
                  </a:lnTo>
                  <a:lnTo>
                    <a:pt x="540" y="712"/>
                  </a:lnTo>
                  <a:lnTo>
                    <a:pt x="540" y="708"/>
                  </a:lnTo>
                  <a:lnTo>
                    <a:pt x="536" y="708"/>
                  </a:lnTo>
                  <a:lnTo>
                    <a:pt x="536" y="712"/>
                  </a:lnTo>
                  <a:lnTo>
                    <a:pt x="532" y="712"/>
                  </a:lnTo>
                  <a:lnTo>
                    <a:pt x="532" y="708"/>
                  </a:lnTo>
                  <a:lnTo>
                    <a:pt x="532" y="712"/>
                  </a:lnTo>
                  <a:lnTo>
                    <a:pt x="530" y="712"/>
                  </a:lnTo>
                  <a:lnTo>
                    <a:pt x="530" y="708"/>
                  </a:lnTo>
                  <a:lnTo>
                    <a:pt x="532" y="708"/>
                  </a:lnTo>
                  <a:lnTo>
                    <a:pt x="530" y="708"/>
                  </a:lnTo>
                  <a:lnTo>
                    <a:pt x="530" y="706"/>
                  </a:lnTo>
                  <a:lnTo>
                    <a:pt x="532" y="706"/>
                  </a:lnTo>
                  <a:lnTo>
                    <a:pt x="532" y="708"/>
                  </a:lnTo>
                  <a:lnTo>
                    <a:pt x="536" y="708"/>
                  </a:lnTo>
                  <a:lnTo>
                    <a:pt x="532" y="708"/>
                  </a:lnTo>
                  <a:lnTo>
                    <a:pt x="532" y="706"/>
                  </a:lnTo>
                  <a:lnTo>
                    <a:pt x="536" y="708"/>
                  </a:lnTo>
                  <a:lnTo>
                    <a:pt x="536" y="706"/>
                  </a:lnTo>
                  <a:lnTo>
                    <a:pt x="540" y="706"/>
                  </a:lnTo>
                  <a:lnTo>
                    <a:pt x="544" y="708"/>
                  </a:lnTo>
                  <a:lnTo>
                    <a:pt x="544" y="706"/>
                  </a:lnTo>
                  <a:lnTo>
                    <a:pt x="548" y="706"/>
                  </a:lnTo>
                  <a:lnTo>
                    <a:pt x="548" y="708"/>
                  </a:lnTo>
                  <a:lnTo>
                    <a:pt x="548" y="706"/>
                  </a:lnTo>
                  <a:lnTo>
                    <a:pt x="552" y="708"/>
                  </a:lnTo>
                  <a:lnTo>
                    <a:pt x="556" y="708"/>
                  </a:lnTo>
                  <a:lnTo>
                    <a:pt x="552" y="708"/>
                  </a:lnTo>
                  <a:lnTo>
                    <a:pt x="552" y="706"/>
                  </a:lnTo>
                  <a:lnTo>
                    <a:pt x="548" y="706"/>
                  </a:lnTo>
                  <a:lnTo>
                    <a:pt x="544" y="706"/>
                  </a:lnTo>
                  <a:lnTo>
                    <a:pt x="544" y="702"/>
                  </a:lnTo>
                  <a:lnTo>
                    <a:pt x="548" y="702"/>
                  </a:lnTo>
                  <a:lnTo>
                    <a:pt x="552" y="706"/>
                  </a:lnTo>
                  <a:lnTo>
                    <a:pt x="556" y="706"/>
                  </a:lnTo>
                  <a:lnTo>
                    <a:pt x="556" y="702"/>
                  </a:lnTo>
                  <a:lnTo>
                    <a:pt x="556" y="706"/>
                  </a:lnTo>
                  <a:lnTo>
                    <a:pt x="560" y="706"/>
                  </a:lnTo>
                  <a:lnTo>
                    <a:pt x="560" y="708"/>
                  </a:lnTo>
                  <a:lnTo>
                    <a:pt x="560" y="706"/>
                  </a:lnTo>
                  <a:lnTo>
                    <a:pt x="562" y="706"/>
                  </a:lnTo>
                  <a:lnTo>
                    <a:pt x="566" y="706"/>
                  </a:lnTo>
                  <a:lnTo>
                    <a:pt x="566" y="708"/>
                  </a:lnTo>
                  <a:lnTo>
                    <a:pt x="566" y="712"/>
                  </a:lnTo>
                  <a:lnTo>
                    <a:pt x="566" y="708"/>
                  </a:lnTo>
                  <a:lnTo>
                    <a:pt x="570" y="708"/>
                  </a:lnTo>
                  <a:lnTo>
                    <a:pt x="566" y="708"/>
                  </a:lnTo>
                  <a:lnTo>
                    <a:pt x="570" y="708"/>
                  </a:lnTo>
                  <a:lnTo>
                    <a:pt x="570" y="706"/>
                  </a:lnTo>
                  <a:lnTo>
                    <a:pt x="566" y="706"/>
                  </a:lnTo>
                  <a:lnTo>
                    <a:pt x="562" y="706"/>
                  </a:lnTo>
                  <a:lnTo>
                    <a:pt x="562" y="702"/>
                  </a:lnTo>
                  <a:lnTo>
                    <a:pt x="560" y="702"/>
                  </a:lnTo>
                  <a:lnTo>
                    <a:pt x="556" y="702"/>
                  </a:lnTo>
                  <a:lnTo>
                    <a:pt x="556" y="698"/>
                  </a:lnTo>
                  <a:lnTo>
                    <a:pt x="556" y="694"/>
                  </a:lnTo>
                  <a:lnTo>
                    <a:pt x="556" y="690"/>
                  </a:lnTo>
                  <a:lnTo>
                    <a:pt x="560" y="690"/>
                  </a:lnTo>
                  <a:lnTo>
                    <a:pt x="566" y="686"/>
                  </a:lnTo>
                  <a:lnTo>
                    <a:pt x="566" y="682"/>
                  </a:lnTo>
                  <a:lnTo>
                    <a:pt x="562" y="682"/>
                  </a:lnTo>
                  <a:lnTo>
                    <a:pt x="560" y="682"/>
                  </a:lnTo>
                  <a:lnTo>
                    <a:pt x="556" y="682"/>
                  </a:lnTo>
                  <a:lnTo>
                    <a:pt x="556" y="686"/>
                  </a:lnTo>
                  <a:lnTo>
                    <a:pt x="552" y="686"/>
                  </a:lnTo>
                  <a:lnTo>
                    <a:pt x="552" y="682"/>
                  </a:lnTo>
                  <a:lnTo>
                    <a:pt x="552" y="680"/>
                  </a:lnTo>
                  <a:lnTo>
                    <a:pt x="552" y="676"/>
                  </a:lnTo>
                  <a:lnTo>
                    <a:pt x="556" y="676"/>
                  </a:lnTo>
                  <a:lnTo>
                    <a:pt x="556" y="672"/>
                  </a:lnTo>
                  <a:lnTo>
                    <a:pt x="552" y="672"/>
                  </a:lnTo>
                  <a:lnTo>
                    <a:pt x="556" y="672"/>
                  </a:lnTo>
                  <a:lnTo>
                    <a:pt x="560" y="672"/>
                  </a:lnTo>
                  <a:lnTo>
                    <a:pt x="562" y="668"/>
                  </a:lnTo>
                  <a:lnTo>
                    <a:pt x="562" y="664"/>
                  </a:lnTo>
                  <a:lnTo>
                    <a:pt x="566" y="664"/>
                  </a:lnTo>
                  <a:lnTo>
                    <a:pt x="566" y="668"/>
                  </a:lnTo>
                  <a:lnTo>
                    <a:pt x="570" y="668"/>
                  </a:lnTo>
                  <a:lnTo>
                    <a:pt x="574" y="668"/>
                  </a:lnTo>
                  <a:lnTo>
                    <a:pt x="578" y="668"/>
                  </a:lnTo>
                  <a:lnTo>
                    <a:pt x="578" y="672"/>
                  </a:lnTo>
                  <a:lnTo>
                    <a:pt x="578" y="680"/>
                  </a:lnTo>
                  <a:lnTo>
                    <a:pt x="578" y="682"/>
                  </a:lnTo>
                  <a:lnTo>
                    <a:pt x="578" y="686"/>
                  </a:lnTo>
                  <a:lnTo>
                    <a:pt x="578" y="694"/>
                  </a:lnTo>
                  <a:lnTo>
                    <a:pt x="578" y="698"/>
                  </a:lnTo>
                  <a:lnTo>
                    <a:pt x="578" y="706"/>
                  </a:lnTo>
                  <a:lnTo>
                    <a:pt x="578" y="708"/>
                  </a:lnTo>
                  <a:lnTo>
                    <a:pt x="578" y="716"/>
                  </a:lnTo>
                  <a:lnTo>
                    <a:pt x="578" y="716"/>
                  </a:lnTo>
                  <a:lnTo>
                    <a:pt x="578" y="716"/>
                  </a:lnTo>
                  <a:close/>
                  <a:moveTo>
                    <a:pt x="510" y="682"/>
                  </a:moveTo>
                  <a:lnTo>
                    <a:pt x="514" y="682"/>
                  </a:lnTo>
                  <a:lnTo>
                    <a:pt x="510" y="682"/>
                  </a:lnTo>
                  <a:lnTo>
                    <a:pt x="506" y="682"/>
                  </a:lnTo>
                  <a:lnTo>
                    <a:pt x="504" y="680"/>
                  </a:lnTo>
                  <a:lnTo>
                    <a:pt x="500" y="680"/>
                  </a:lnTo>
                  <a:lnTo>
                    <a:pt x="496" y="680"/>
                  </a:lnTo>
                  <a:lnTo>
                    <a:pt x="496" y="676"/>
                  </a:lnTo>
                  <a:lnTo>
                    <a:pt x="492" y="676"/>
                  </a:lnTo>
                  <a:lnTo>
                    <a:pt x="492" y="672"/>
                  </a:lnTo>
                  <a:lnTo>
                    <a:pt x="488" y="672"/>
                  </a:lnTo>
                  <a:lnTo>
                    <a:pt x="492" y="672"/>
                  </a:lnTo>
                  <a:lnTo>
                    <a:pt x="496" y="672"/>
                  </a:lnTo>
                  <a:lnTo>
                    <a:pt x="496" y="676"/>
                  </a:lnTo>
                  <a:lnTo>
                    <a:pt x="500" y="676"/>
                  </a:lnTo>
                  <a:lnTo>
                    <a:pt x="504" y="676"/>
                  </a:lnTo>
                  <a:lnTo>
                    <a:pt x="504" y="680"/>
                  </a:lnTo>
                  <a:lnTo>
                    <a:pt x="506" y="680"/>
                  </a:lnTo>
                  <a:lnTo>
                    <a:pt x="506" y="682"/>
                  </a:lnTo>
                  <a:lnTo>
                    <a:pt x="506" y="680"/>
                  </a:lnTo>
                  <a:lnTo>
                    <a:pt x="510" y="682"/>
                  </a:lnTo>
                  <a:lnTo>
                    <a:pt x="510" y="682"/>
                  </a:lnTo>
                  <a:lnTo>
                    <a:pt x="510" y="682"/>
                  </a:lnTo>
                  <a:close/>
                  <a:moveTo>
                    <a:pt x="506" y="676"/>
                  </a:moveTo>
                  <a:lnTo>
                    <a:pt x="504" y="676"/>
                  </a:lnTo>
                  <a:lnTo>
                    <a:pt x="504" y="672"/>
                  </a:lnTo>
                  <a:lnTo>
                    <a:pt x="506" y="672"/>
                  </a:lnTo>
                  <a:lnTo>
                    <a:pt x="506" y="676"/>
                  </a:lnTo>
                  <a:lnTo>
                    <a:pt x="510" y="676"/>
                  </a:lnTo>
                  <a:lnTo>
                    <a:pt x="506" y="676"/>
                  </a:lnTo>
                  <a:lnTo>
                    <a:pt x="506" y="676"/>
                  </a:lnTo>
                  <a:lnTo>
                    <a:pt x="506" y="676"/>
                  </a:lnTo>
                  <a:close/>
                  <a:moveTo>
                    <a:pt x="500" y="682"/>
                  </a:moveTo>
                  <a:lnTo>
                    <a:pt x="496" y="682"/>
                  </a:lnTo>
                  <a:lnTo>
                    <a:pt x="500" y="682"/>
                  </a:lnTo>
                  <a:lnTo>
                    <a:pt x="500" y="682"/>
                  </a:lnTo>
                  <a:lnTo>
                    <a:pt x="500" y="682"/>
                  </a:lnTo>
                  <a:close/>
                  <a:moveTo>
                    <a:pt x="510" y="694"/>
                  </a:moveTo>
                  <a:lnTo>
                    <a:pt x="510" y="690"/>
                  </a:lnTo>
                  <a:lnTo>
                    <a:pt x="506" y="690"/>
                  </a:lnTo>
                  <a:lnTo>
                    <a:pt x="506" y="694"/>
                  </a:lnTo>
                  <a:lnTo>
                    <a:pt x="506" y="690"/>
                  </a:lnTo>
                  <a:lnTo>
                    <a:pt x="506" y="686"/>
                  </a:lnTo>
                  <a:lnTo>
                    <a:pt x="510" y="690"/>
                  </a:lnTo>
                  <a:lnTo>
                    <a:pt x="514" y="690"/>
                  </a:lnTo>
                  <a:lnTo>
                    <a:pt x="510" y="690"/>
                  </a:lnTo>
                  <a:lnTo>
                    <a:pt x="506" y="686"/>
                  </a:lnTo>
                  <a:lnTo>
                    <a:pt x="510" y="686"/>
                  </a:lnTo>
                  <a:lnTo>
                    <a:pt x="514" y="686"/>
                  </a:lnTo>
                  <a:lnTo>
                    <a:pt x="510" y="686"/>
                  </a:lnTo>
                  <a:lnTo>
                    <a:pt x="514" y="686"/>
                  </a:lnTo>
                  <a:lnTo>
                    <a:pt x="514" y="690"/>
                  </a:lnTo>
                  <a:lnTo>
                    <a:pt x="518" y="690"/>
                  </a:lnTo>
                  <a:lnTo>
                    <a:pt x="518" y="686"/>
                  </a:lnTo>
                  <a:lnTo>
                    <a:pt x="518" y="690"/>
                  </a:lnTo>
                  <a:lnTo>
                    <a:pt x="522" y="686"/>
                  </a:lnTo>
                  <a:lnTo>
                    <a:pt x="522" y="690"/>
                  </a:lnTo>
                  <a:lnTo>
                    <a:pt x="522" y="694"/>
                  </a:lnTo>
                  <a:lnTo>
                    <a:pt x="522" y="690"/>
                  </a:lnTo>
                  <a:lnTo>
                    <a:pt x="526" y="690"/>
                  </a:lnTo>
                  <a:lnTo>
                    <a:pt x="526" y="694"/>
                  </a:lnTo>
                  <a:lnTo>
                    <a:pt x="522" y="694"/>
                  </a:lnTo>
                  <a:lnTo>
                    <a:pt x="522" y="698"/>
                  </a:lnTo>
                  <a:lnTo>
                    <a:pt x="526" y="698"/>
                  </a:lnTo>
                  <a:lnTo>
                    <a:pt x="522" y="698"/>
                  </a:lnTo>
                  <a:lnTo>
                    <a:pt x="522" y="702"/>
                  </a:lnTo>
                  <a:lnTo>
                    <a:pt x="518" y="698"/>
                  </a:lnTo>
                  <a:lnTo>
                    <a:pt x="518" y="702"/>
                  </a:lnTo>
                  <a:lnTo>
                    <a:pt x="514" y="702"/>
                  </a:lnTo>
                  <a:lnTo>
                    <a:pt x="514" y="698"/>
                  </a:lnTo>
                  <a:lnTo>
                    <a:pt x="518" y="698"/>
                  </a:lnTo>
                  <a:lnTo>
                    <a:pt x="518" y="694"/>
                  </a:lnTo>
                  <a:lnTo>
                    <a:pt x="514" y="694"/>
                  </a:lnTo>
                  <a:lnTo>
                    <a:pt x="514" y="698"/>
                  </a:lnTo>
                  <a:lnTo>
                    <a:pt x="510" y="698"/>
                  </a:lnTo>
                  <a:lnTo>
                    <a:pt x="510" y="694"/>
                  </a:lnTo>
                  <a:lnTo>
                    <a:pt x="510" y="694"/>
                  </a:lnTo>
                  <a:lnTo>
                    <a:pt x="510" y="694"/>
                  </a:lnTo>
                  <a:close/>
                  <a:moveTo>
                    <a:pt x="504" y="690"/>
                  </a:moveTo>
                  <a:lnTo>
                    <a:pt x="504" y="686"/>
                  </a:lnTo>
                  <a:lnTo>
                    <a:pt x="504" y="690"/>
                  </a:lnTo>
                  <a:lnTo>
                    <a:pt x="504" y="690"/>
                  </a:lnTo>
                  <a:lnTo>
                    <a:pt x="504" y="690"/>
                  </a:lnTo>
                  <a:close/>
                  <a:moveTo>
                    <a:pt x="548" y="702"/>
                  </a:moveTo>
                  <a:lnTo>
                    <a:pt x="544" y="702"/>
                  </a:lnTo>
                  <a:lnTo>
                    <a:pt x="544" y="698"/>
                  </a:lnTo>
                  <a:lnTo>
                    <a:pt x="544" y="694"/>
                  </a:lnTo>
                  <a:lnTo>
                    <a:pt x="548" y="694"/>
                  </a:lnTo>
                  <a:lnTo>
                    <a:pt x="548" y="690"/>
                  </a:lnTo>
                  <a:lnTo>
                    <a:pt x="548" y="686"/>
                  </a:lnTo>
                  <a:lnTo>
                    <a:pt x="552" y="686"/>
                  </a:lnTo>
                  <a:lnTo>
                    <a:pt x="552" y="690"/>
                  </a:lnTo>
                  <a:lnTo>
                    <a:pt x="548" y="690"/>
                  </a:lnTo>
                  <a:lnTo>
                    <a:pt x="552" y="694"/>
                  </a:lnTo>
                  <a:lnTo>
                    <a:pt x="552" y="698"/>
                  </a:lnTo>
                  <a:lnTo>
                    <a:pt x="548" y="698"/>
                  </a:lnTo>
                  <a:lnTo>
                    <a:pt x="548" y="694"/>
                  </a:lnTo>
                  <a:lnTo>
                    <a:pt x="548" y="698"/>
                  </a:lnTo>
                  <a:lnTo>
                    <a:pt x="548" y="702"/>
                  </a:lnTo>
                  <a:lnTo>
                    <a:pt x="548" y="702"/>
                  </a:lnTo>
                  <a:lnTo>
                    <a:pt x="548" y="702"/>
                  </a:lnTo>
                  <a:close/>
                  <a:moveTo>
                    <a:pt x="532" y="698"/>
                  </a:moveTo>
                  <a:lnTo>
                    <a:pt x="532" y="702"/>
                  </a:lnTo>
                  <a:lnTo>
                    <a:pt x="530" y="702"/>
                  </a:lnTo>
                  <a:lnTo>
                    <a:pt x="530" y="698"/>
                  </a:lnTo>
                  <a:lnTo>
                    <a:pt x="530" y="702"/>
                  </a:lnTo>
                  <a:lnTo>
                    <a:pt x="532" y="702"/>
                  </a:lnTo>
                  <a:lnTo>
                    <a:pt x="530" y="706"/>
                  </a:lnTo>
                  <a:lnTo>
                    <a:pt x="530" y="702"/>
                  </a:lnTo>
                  <a:lnTo>
                    <a:pt x="526" y="702"/>
                  </a:lnTo>
                  <a:lnTo>
                    <a:pt x="526" y="698"/>
                  </a:lnTo>
                  <a:lnTo>
                    <a:pt x="530" y="698"/>
                  </a:lnTo>
                  <a:lnTo>
                    <a:pt x="530" y="694"/>
                  </a:lnTo>
                  <a:lnTo>
                    <a:pt x="532" y="694"/>
                  </a:lnTo>
                  <a:lnTo>
                    <a:pt x="532" y="698"/>
                  </a:lnTo>
                  <a:lnTo>
                    <a:pt x="532" y="698"/>
                  </a:lnTo>
                  <a:lnTo>
                    <a:pt x="532" y="698"/>
                  </a:lnTo>
                  <a:close/>
                  <a:moveTo>
                    <a:pt x="536" y="698"/>
                  </a:moveTo>
                  <a:lnTo>
                    <a:pt x="540" y="698"/>
                  </a:lnTo>
                  <a:lnTo>
                    <a:pt x="544" y="702"/>
                  </a:lnTo>
                  <a:lnTo>
                    <a:pt x="544" y="706"/>
                  </a:lnTo>
                  <a:lnTo>
                    <a:pt x="540" y="706"/>
                  </a:lnTo>
                  <a:lnTo>
                    <a:pt x="536" y="706"/>
                  </a:lnTo>
                  <a:lnTo>
                    <a:pt x="536" y="702"/>
                  </a:lnTo>
                  <a:lnTo>
                    <a:pt x="532" y="702"/>
                  </a:lnTo>
                  <a:lnTo>
                    <a:pt x="532" y="698"/>
                  </a:lnTo>
                  <a:lnTo>
                    <a:pt x="536" y="698"/>
                  </a:lnTo>
                  <a:lnTo>
                    <a:pt x="536" y="698"/>
                  </a:lnTo>
                  <a:lnTo>
                    <a:pt x="536" y="698"/>
                  </a:lnTo>
                  <a:close/>
                  <a:moveTo>
                    <a:pt x="510" y="702"/>
                  </a:moveTo>
                  <a:lnTo>
                    <a:pt x="506" y="698"/>
                  </a:lnTo>
                  <a:lnTo>
                    <a:pt x="510" y="698"/>
                  </a:lnTo>
                  <a:lnTo>
                    <a:pt x="510" y="702"/>
                  </a:lnTo>
                  <a:lnTo>
                    <a:pt x="510" y="702"/>
                  </a:lnTo>
                  <a:lnTo>
                    <a:pt x="510" y="702"/>
                  </a:lnTo>
                  <a:close/>
                  <a:moveTo>
                    <a:pt x="552" y="702"/>
                  </a:moveTo>
                  <a:lnTo>
                    <a:pt x="548" y="698"/>
                  </a:lnTo>
                  <a:lnTo>
                    <a:pt x="552" y="698"/>
                  </a:lnTo>
                  <a:lnTo>
                    <a:pt x="552" y="702"/>
                  </a:lnTo>
                  <a:lnTo>
                    <a:pt x="552" y="702"/>
                  </a:lnTo>
                  <a:lnTo>
                    <a:pt x="552" y="702"/>
                  </a:lnTo>
                  <a:close/>
                  <a:moveTo>
                    <a:pt x="526" y="698"/>
                  </a:moveTo>
                  <a:lnTo>
                    <a:pt x="526" y="702"/>
                  </a:lnTo>
                  <a:lnTo>
                    <a:pt x="522" y="702"/>
                  </a:lnTo>
                  <a:lnTo>
                    <a:pt x="522" y="698"/>
                  </a:lnTo>
                  <a:lnTo>
                    <a:pt x="526" y="698"/>
                  </a:lnTo>
                  <a:lnTo>
                    <a:pt x="526" y="698"/>
                  </a:lnTo>
                  <a:lnTo>
                    <a:pt x="526" y="698"/>
                  </a:lnTo>
                  <a:close/>
                  <a:moveTo>
                    <a:pt x="522" y="706"/>
                  </a:moveTo>
                  <a:lnTo>
                    <a:pt x="526" y="706"/>
                  </a:lnTo>
                  <a:lnTo>
                    <a:pt x="522" y="706"/>
                  </a:lnTo>
                  <a:lnTo>
                    <a:pt x="522" y="706"/>
                  </a:lnTo>
                  <a:lnTo>
                    <a:pt x="522" y="706"/>
                  </a:lnTo>
                  <a:close/>
                  <a:moveTo>
                    <a:pt x="540" y="716"/>
                  </a:moveTo>
                  <a:lnTo>
                    <a:pt x="536" y="716"/>
                  </a:lnTo>
                  <a:lnTo>
                    <a:pt x="540" y="716"/>
                  </a:lnTo>
                  <a:lnTo>
                    <a:pt x="544" y="716"/>
                  </a:lnTo>
                  <a:lnTo>
                    <a:pt x="540" y="716"/>
                  </a:lnTo>
                  <a:lnTo>
                    <a:pt x="540" y="716"/>
                  </a:lnTo>
                  <a:lnTo>
                    <a:pt x="540" y="716"/>
                  </a:lnTo>
                  <a:close/>
                  <a:moveTo>
                    <a:pt x="552" y="716"/>
                  </a:moveTo>
                  <a:lnTo>
                    <a:pt x="548" y="716"/>
                  </a:lnTo>
                  <a:lnTo>
                    <a:pt x="552" y="716"/>
                  </a:lnTo>
                  <a:lnTo>
                    <a:pt x="552" y="716"/>
                  </a:lnTo>
                  <a:lnTo>
                    <a:pt x="552" y="716"/>
                  </a:lnTo>
                  <a:close/>
                  <a:moveTo>
                    <a:pt x="560" y="720"/>
                  </a:moveTo>
                  <a:lnTo>
                    <a:pt x="560" y="716"/>
                  </a:lnTo>
                  <a:lnTo>
                    <a:pt x="562" y="716"/>
                  </a:lnTo>
                  <a:lnTo>
                    <a:pt x="566" y="716"/>
                  </a:lnTo>
                  <a:lnTo>
                    <a:pt x="570" y="720"/>
                  </a:lnTo>
                  <a:lnTo>
                    <a:pt x="566" y="720"/>
                  </a:lnTo>
                  <a:lnTo>
                    <a:pt x="562" y="720"/>
                  </a:lnTo>
                  <a:lnTo>
                    <a:pt x="560" y="720"/>
                  </a:lnTo>
                  <a:lnTo>
                    <a:pt x="560" y="720"/>
                  </a:lnTo>
                  <a:lnTo>
                    <a:pt x="560" y="720"/>
                  </a:lnTo>
                  <a:close/>
                  <a:moveTo>
                    <a:pt x="552" y="716"/>
                  </a:moveTo>
                  <a:lnTo>
                    <a:pt x="548" y="716"/>
                  </a:lnTo>
                  <a:lnTo>
                    <a:pt x="548" y="720"/>
                  </a:lnTo>
                  <a:lnTo>
                    <a:pt x="552" y="720"/>
                  </a:lnTo>
                  <a:lnTo>
                    <a:pt x="552" y="724"/>
                  </a:lnTo>
                  <a:lnTo>
                    <a:pt x="552" y="720"/>
                  </a:lnTo>
                  <a:lnTo>
                    <a:pt x="552" y="724"/>
                  </a:lnTo>
                  <a:lnTo>
                    <a:pt x="548" y="724"/>
                  </a:lnTo>
                  <a:lnTo>
                    <a:pt x="548" y="720"/>
                  </a:lnTo>
                  <a:lnTo>
                    <a:pt x="548" y="724"/>
                  </a:lnTo>
                  <a:lnTo>
                    <a:pt x="548" y="720"/>
                  </a:lnTo>
                  <a:lnTo>
                    <a:pt x="544" y="720"/>
                  </a:lnTo>
                  <a:lnTo>
                    <a:pt x="544" y="716"/>
                  </a:lnTo>
                  <a:lnTo>
                    <a:pt x="548" y="720"/>
                  </a:lnTo>
                  <a:lnTo>
                    <a:pt x="548" y="716"/>
                  </a:lnTo>
                  <a:lnTo>
                    <a:pt x="552" y="716"/>
                  </a:lnTo>
                  <a:lnTo>
                    <a:pt x="552" y="716"/>
                  </a:lnTo>
                  <a:lnTo>
                    <a:pt x="552" y="716"/>
                  </a:lnTo>
                  <a:close/>
                  <a:moveTo>
                    <a:pt x="586" y="716"/>
                  </a:moveTo>
                  <a:lnTo>
                    <a:pt x="590" y="716"/>
                  </a:lnTo>
                  <a:lnTo>
                    <a:pt x="592" y="716"/>
                  </a:lnTo>
                  <a:lnTo>
                    <a:pt x="596" y="716"/>
                  </a:lnTo>
                  <a:lnTo>
                    <a:pt x="596" y="720"/>
                  </a:lnTo>
                  <a:lnTo>
                    <a:pt x="600" y="720"/>
                  </a:lnTo>
                  <a:lnTo>
                    <a:pt x="600" y="724"/>
                  </a:lnTo>
                  <a:lnTo>
                    <a:pt x="596" y="724"/>
                  </a:lnTo>
                  <a:lnTo>
                    <a:pt x="596" y="728"/>
                  </a:lnTo>
                  <a:lnTo>
                    <a:pt x="592" y="724"/>
                  </a:lnTo>
                  <a:lnTo>
                    <a:pt x="590" y="724"/>
                  </a:lnTo>
                  <a:lnTo>
                    <a:pt x="586" y="724"/>
                  </a:lnTo>
                  <a:lnTo>
                    <a:pt x="590" y="724"/>
                  </a:lnTo>
                  <a:lnTo>
                    <a:pt x="586" y="724"/>
                  </a:lnTo>
                  <a:lnTo>
                    <a:pt x="582" y="724"/>
                  </a:lnTo>
                  <a:lnTo>
                    <a:pt x="582" y="720"/>
                  </a:lnTo>
                  <a:lnTo>
                    <a:pt x="582" y="716"/>
                  </a:lnTo>
                  <a:lnTo>
                    <a:pt x="586" y="716"/>
                  </a:lnTo>
                  <a:lnTo>
                    <a:pt x="586" y="716"/>
                  </a:lnTo>
                  <a:lnTo>
                    <a:pt x="586" y="716"/>
                  </a:lnTo>
                  <a:close/>
                  <a:moveTo>
                    <a:pt x="556" y="720"/>
                  </a:moveTo>
                  <a:lnTo>
                    <a:pt x="556" y="716"/>
                  </a:lnTo>
                  <a:lnTo>
                    <a:pt x="556" y="720"/>
                  </a:lnTo>
                  <a:lnTo>
                    <a:pt x="556" y="720"/>
                  </a:lnTo>
                  <a:lnTo>
                    <a:pt x="556" y="720"/>
                  </a:lnTo>
                  <a:close/>
                  <a:moveTo>
                    <a:pt x="586" y="736"/>
                  </a:moveTo>
                  <a:lnTo>
                    <a:pt x="582" y="736"/>
                  </a:lnTo>
                  <a:lnTo>
                    <a:pt x="582" y="732"/>
                  </a:lnTo>
                  <a:lnTo>
                    <a:pt x="578" y="732"/>
                  </a:lnTo>
                  <a:lnTo>
                    <a:pt x="578" y="728"/>
                  </a:lnTo>
                  <a:lnTo>
                    <a:pt x="574" y="728"/>
                  </a:lnTo>
                  <a:lnTo>
                    <a:pt x="574" y="732"/>
                  </a:lnTo>
                  <a:lnTo>
                    <a:pt x="570" y="728"/>
                  </a:lnTo>
                  <a:lnTo>
                    <a:pt x="574" y="728"/>
                  </a:lnTo>
                  <a:lnTo>
                    <a:pt x="570" y="728"/>
                  </a:lnTo>
                  <a:lnTo>
                    <a:pt x="574" y="724"/>
                  </a:lnTo>
                  <a:lnTo>
                    <a:pt x="570" y="724"/>
                  </a:lnTo>
                  <a:lnTo>
                    <a:pt x="566" y="724"/>
                  </a:lnTo>
                  <a:lnTo>
                    <a:pt x="566" y="728"/>
                  </a:lnTo>
                  <a:lnTo>
                    <a:pt x="570" y="728"/>
                  </a:lnTo>
                  <a:lnTo>
                    <a:pt x="570" y="732"/>
                  </a:lnTo>
                  <a:lnTo>
                    <a:pt x="566" y="732"/>
                  </a:lnTo>
                  <a:lnTo>
                    <a:pt x="562" y="728"/>
                  </a:lnTo>
                  <a:lnTo>
                    <a:pt x="566" y="728"/>
                  </a:lnTo>
                  <a:lnTo>
                    <a:pt x="562" y="728"/>
                  </a:lnTo>
                  <a:lnTo>
                    <a:pt x="560" y="728"/>
                  </a:lnTo>
                  <a:lnTo>
                    <a:pt x="562" y="724"/>
                  </a:lnTo>
                  <a:lnTo>
                    <a:pt x="560" y="724"/>
                  </a:lnTo>
                  <a:lnTo>
                    <a:pt x="556" y="724"/>
                  </a:lnTo>
                  <a:lnTo>
                    <a:pt x="560" y="720"/>
                  </a:lnTo>
                  <a:lnTo>
                    <a:pt x="562" y="720"/>
                  </a:lnTo>
                  <a:lnTo>
                    <a:pt x="566" y="720"/>
                  </a:lnTo>
                  <a:lnTo>
                    <a:pt x="570" y="720"/>
                  </a:lnTo>
                  <a:lnTo>
                    <a:pt x="574" y="720"/>
                  </a:lnTo>
                  <a:lnTo>
                    <a:pt x="574" y="716"/>
                  </a:lnTo>
                  <a:lnTo>
                    <a:pt x="578" y="716"/>
                  </a:lnTo>
                  <a:lnTo>
                    <a:pt x="582" y="720"/>
                  </a:lnTo>
                  <a:lnTo>
                    <a:pt x="578" y="724"/>
                  </a:lnTo>
                  <a:lnTo>
                    <a:pt x="574" y="724"/>
                  </a:lnTo>
                  <a:lnTo>
                    <a:pt x="574" y="720"/>
                  </a:lnTo>
                  <a:lnTo>
                    <a:pt x="570" y="720"/>
                  </a:lnTo>
                  <a:lnTo>
                    <a:pt x="574" y="724"/>
                  </a:lnTo>
                  <a:lnTo>
                    <a:pt x="578" y="724"/>
                  </a:lnTo>
                  <a:lnTo>
                    <a:pt x="582" y="724"/>
                  </a:lnTo>
                  <a:lnTo>
                    <a:pt x="578" y="728"/>
                  </a:lnTo>
                  <a:lnTo>
                    <a:pt x="578" y="724"/>
                  </a:lnTo>
                  <a:lnTo>
                    <a:pt x="574" y="724"/>
                  </a:lnTo>
                  <a:lnTo>
                    <a:pt x="578" y="728"/>
                  </a:lnTo>
                  <a:lnTo>
                    <a:pt x="582" y="728"/>
                  </a:lnTo>
                  <a:lnTo>
                    <a:pt x="582" y="732"/>
                  </a:lnTo>
                  <a:lnTo>
                    <a:pt x="586" y="728"/>
                  </a:lnTo>
                  <a:lnTo>
                    <a:pt x="586" y="732"/>
                  </a:lnTo>
                  <a:lnTo>
                    <a:pt x="586" y="736"/>
                  </a:lnTo>
                  <a:lnTo>
                    <a:pt x="586" y="736"/>
                  </a:lnTo>
                  <a:lnTo>
                    <a:pt x="586" y="736"/>
                  </a:lnTo>
                  <a:close/>
                  <a:moveTo>
                    <a:pt x="600" y="720"/>
                  </a:moveTo>
                  <a:lnTo>
                    <a:pt x="596" y="720"/>
                  </a:lnTo>
                  <a:lnTo>
                    <a:pt x="600" y="720"/>
                  </a:lnTo>
                  <a:lnTo>
                    <a:pt x="600" y="720"/>
                  </a:lnTo>
                  <a:lnTo>
                    <a:pt x="600" y="720"/>
                  </a:lnTo>
                  <a:close/>
                  <a:moveTo>
                    <a:pt x="604" y="724"/>
                  </a:moveTo>
                  <a:lnTo>
                    <a:pt x="608" y="724"/>
                  </a:lnTo>
                  <a:lnTo>
                    <a:pt x="604" y="724"/>
                  </a:lnTo>
                  <a:lnTo>
                    <a:pt x="604" y="724"/>
                  </a:lnTo>
                  <a:lnTo>
                    <a:pt x="604" y="724"/>
                  </a:lnTo>
                  <a:close/>
                  <a:moveTo>
                    <a:pt x="600" y="724"/>
                  </a:moveTo>
                  <a:lnTo>
                    <a:pt x="600" y="728"/>
                  </a:lnTo>
                  <a:lnTo>
                    <a:pt x="596" y="724"/>
                  </a:lnTo>
                  <a:lnTo>
                    <a:pt x="600" y="724"/>
                  </a:lnTo>
                  <a:lnTo>
                    <a:pt x="600" y="724"/>
                  </a:lnTo>
                  <a:lnTo>
                    <a:pt x="600" y="724"/>
                  </a:lnTo>
                  <a:close/>
                  <a:moveTo>
                    <a:pt x="590" y="732"/>
                  </a:moveTo>
                  <a:lnTo>
                    <a:pt x="592" y="732"/>
                  </a:lnTo>
                  <a:lnTo>
                    <a:pt x="590" y="732"/>
                  </a:lnTo>
                  <a:lnTo>
                    <a:pt x="590" y="732"/>
                  </a:lnTo>
                  <a:lnTo>
                    <a:pt x="590" y="732"/>
                  </a:lnTo>
                  <a:close/>
                  <a:moveTo>
                    <a:pt x="592" y="736"/>
                  </a:moveTo>
                  <a:lnTo>
                    <a:pt x="592" y="732"/>
                  </a:lnTo>
                  <a:lnTo>
                    <a:pt x="596" y="736"/>
                  </a:lnTo>
                  <a:lnTo>
                    <a:pt x="592" y="736"/>
                  </a:lnTo>
                  <a:lnTo>
                    <a:pt x="592" y="736"/>
                  </a:lnTo>
                  <a:lnTo>
                    <a:pt x="592" y="736"/>
                  </a:lnTo>
                  <a:close/>
                  <a:moveTo>
                    <a:pt x="590" y="738"/>
                  </a:moveTo>
                  <a:lnTo>
                    <a:pt x="592" y="738"/>
                  </a:lnTo>
                  <a:lnTo>
                    <a:pt x="592" y="736"/>
                  </a:lnTo>
                  <a:lnTo>
                    <a:pt x="592" y="738"/>
                  </a:lnTo>
                  <a:lnTo>
                    <a:pt x="590" y="738"/>
                  </a:lnTo>
                  <a:lnTo>
                    <a:pt x="590" y="738"/>
                  </a:lnTo>
                  <a:lnTo>
                    <a:pt x="590" y="738"/>
                  </a:lnTo>
                  <a:close/>
                  <a:moveTo>
                    <a:pt x="596" y="738"/>
                  </a:moveTo>
                  <a:lnTo>
                    <a:pt x="592" y="738"/>
                  </a:lnTo>
                  <a:lnTo>
                    <a:pt x="596" y="738"/>
                  </a:lnTo>
                  <a:lnTo>
                    <a:pt x="596" y="738"/>
                  </a:lnTo>
                  <a:lnTo>
                    <a:pt x="596" y="73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499" name="Freeform 192"/>
            <p:cNvSpPr>
              <a:spLocks noEditPoints="1"/>
            </p:cNvSpPr>
            <p:nvPr/>
          </p:nvSpPr>
          <p:spPr bwMode="auto">
            <a:xfrm>
              <a:off x="8292478" y="4177442"/>
              <a:ext cx="133132" cy="113760"/>
            </a:xfrm>
            <a:custGeom>
              <a:avLst/>
              <a:gdLst>
                <a:gd name="T0" fmla="*/ 88 w 212"/>
                <a:gd name="T1" fmla="*/ 6 h 174"/>
                <a:gd name="T2" fmla="*/ 78 w 212"/>
                <a:gd name="T3" fmla="*/ 14 h 174"/>
                <a:gd name="T4" fmla="*/ 134 w 212"/>
                <a:gd name="T5" fmla="*/ 22 h 174"/>
                <a:gd name="T6" fmla="*/ 134 w 212"/>
                <a:gd name="T7" fmla="*/ 22 h 174"/>
                <a:gd name="T8" fmla="*/ 166 w 212"/>
                <a:gd name="T9" fmla="*/ 58 h 174"/>
                <a:gd name="T10" fmla="*/ 156 w 212"/>
                <a:gd name="T11" fmla="*/ 32 h 174"/>
                <a:gd name="T12" fmla="*/ 138 w 212"/>
                <a:gd name="T13" fmla="*/ 22 h 174"/>
                <a:gd name="T14" fmla="*/ 152 w 212"/>
                <a:gd name="T15" fmla="*/ 28 h 174"/>
                <a:gd name="T16" fmla="*/ 164 w 212"/>
                <a:gd name="T17" fmla="*/ 40 h 174"/>
                <a:gd name="T18" fmla="*/ 58 w 212"/>
                <a:gd name="T19" fmla="*/ 110 h 174"/>
                <a:gd name="T20" fmla="*/ 48 w 212"/>
                <a:gd name="T21" fmla="*/ 106 h 174"/>
                <a:gd name="T22" fmla="*/ 40 w 212"/>
                <a:gd name="T23" fmla="*/ 110 h 174"/>
                <a:gd name="T24" fmla="*/ 26 w 212"/>
                <a:gd name="T25" fmla="*/ 114 h 174"/>
                <a:gd name="T26" fmla="*/ 22 w 212"/>
                <a:gd name="T27" fmla="*/ 118 h 174"/>
                <a:gd name="T28" fmla="*/ 26 w 212"/>
                <a:gd name="T29" fmla="*/ 132 h 174"/>
                <a:gd name="T30" fmla="*/ 0 w 212"/>
                <a:gd name="T31" fmla="*/ 132 h 174"/>
                <a:gd name="T32" fmla="*/ 4 w 212"/>
                <a:gd name="T33" fmla="*/ 18 h 174"/>
                <a:gd name="T34" fmla="*/ 26 w 212"/>
                <a:gd name="T35" fmla="*/ 32 h 174"/>
                <a:gd name="T36" fmla="*/ 48 w 212"/>
                <a:gd name="T37" fmla="*/ 40 h 174"/>
                <a:gd name="T38" fmla="*/ 66 w 212"/>
                <a:gd name="T39" fmla="*/ 54 h 174"/>
                <a:gd name="T40" fmla="*/ 78 w 212"/>
                <a:gd name="T41" fmla="*/ 72 h 174"/>
                <a:gd name="T42" fmla="*/ 96 w 212"/>
                <a:gd name="T43" fmla="*/ 84 h 174"/>
                <a:gd name="T44" fmla="*/ 88 w 212"/>
                <a:gd name="T45" fmla="*/ 102 h 174"/>
                <a:gd name="T46" fmla="*/ 100 w 212"/>
                <a:gd name="T47" fmla="*/ 118 h 174"/>
                <a:gd name="T48" fmla="*/ 118 w 212"/>
                <a:gd name="T49" fmla="*/ 128 h 174"/>
                <a:gd name="T50" fmla="*/ 122 w 212"/>
                <a:gd name="T51" fmla="*/ 140 h 174"/>
                <a:gd name="T52" fmla="*/ 140 w 212"/>
                <a:gd name="T53" fmla="*/ 148 h 174"/>
                <a:gd name="T54" fmla="*/ 130 w 212"/>
                <a:gd name="T55" fmla="*/ 158 h 174"/>
                <a:gd name="T56" fmla="*/ 114 w 212"/>
                <a:gd name="T57" fmla="*/ 152 h 174"/>
                <a:gd name="T58" fmla="*/ 88 w 212"/>
                <a:gd name="T59" fmla="*/ 140 h 174"/>
                <a:gd name="T60" fmla="*/ 78 w 212"/>
                <a:gd name="T61" fmla="*/ 128 h 174"/>
                <a:gd name="T62" fmla="*/ 138 w 212"/>
                <a:gd name="T63" fmla="*/ 26 h 174"/>
                <a:gd name="T64" fmla="*/ 114 w 212"/>
                <a:gd name="T65" fmla="*/ 70 h 174"/>
                <a:gd name="T66" fmla="*/ 126 w 212"/>
                <a:gd name="T67" fmla="*/ 62 h 174"/>
                <a:gd name="T68" fmla="*/ 140 w 212"/>
                <a:gd name="T69" fmla="*/ 66 h 174"/>
                <a:gd name="T70" fmla="*/ 152 w 212"/>
                <a:gd name="T71" fmla="*/ 46 h 174"/>
                <a:gd name="T72" fmla="*/ 156 w 212"/>
                <a:gd name="T73" fmla="*/ 58 h 174"/>
                <a:gd name="T74" fmla="*/ 144 w 212"/>
                <a:gd name="T75" fmla="*/ 76 h 174"/>
                <a:gd name="T76" fmla="*/ 118 w 212"/>
                <a:gd name="T77" fmla="*/ 80 h 174"/>
                <a:gd name="T78" fmla="*/ 104 w 212"/>
                <a:gd name="T79" fmla="*/ 70 h 174"/>
                <a:gd name="T80" fmla="*/ 70 w 212"/>
                <a:gd name="T81" fmla="*/ 54 h 174"/>
                <a:gd name="T82" fmla="*/ 194 w 212"/>
                <a:gd name="T83" fmla="*/ 62 h 174"/>
                <a:gd name="T84" fmla="*/ 84 w 212"/>
                <a:gd name="T85" fmla="*/ 62 h 174"/>
                <a:gd name="T86" fmla="*/ 208 w 212"/>
                <a:gd name="T87" fmla="*/ 84 h 174"/>
                <a:gd name="T88" fmla="*/ 200 w 212"/>
                <a:gd name="T89" fmla="*/ 80 h 174"/>
                <a:gd name="T90" fmla="*/ 204 w 212"/>
                <a:gd name="T91" fmla="*/ 76 h 174"/>
                <a:gd name="T92" fmla="*/ 100 w 212"/>
                <a:gd name="T93" fmla="*/ 72 h 174"/>
                <a:gd name="T94" fmla="*/ 36 w 212"/>
                <a:gd name="T95" fmla="*/ 122 h 174"/>
                <a:gd name="T96" fmla="*/ 36 w 212"/>
                <a:gd name="T97" fmla="*/ 126 h 174"/>
                <a:gd name="T98" fmla="*/ 144 w 212"/>
                <a:gd name="T99" fmla="*/ 126 h 174"/>
                <a:gd name="T100" fmla="*/ 166 w 212"/>
                <a:gd name="T101" fmla="*/ 132 h 174"/>
                <a:gd name="T102" fmla="*/ 34 w 212"/>
                <a:gd name="T103" fmla="*/ 128 h 174"/>
                <a:gd name="T104" fmla="*/ 134 w 212"/>
                <a:gd name="T105" fmla="*/ 140 h 174"/>
                <a:gd name="T106" fmla="*/ 138 w 212"/>
                <a:gd name="T107" fmla="*/ 140 h 174"/>
                <a:gd name="T108" fmla="*/ 140 w 212"/>
                <a:gd name="T109" fmla="*/ 148 h 174"/>
                <a:gd name="T110" fmla="*/ 140 w 212"/>
                <a:gd name="T111" fmla="*/ 156 h 174"/>
                <a:gd name="T112" fmla="*/ 166 w 212"/>
                <a:gd name="T113" fmla="*/ 158 h 174"/>
                <a:gd name="T114" fmla="*/ 186 w 212"/>
                <a:gd name="T115" fmla="*/ 170 h 174"/>
                <a:gd name="T116" fmla="*/ 178 w 212"/>
                <a:gd name="T117" fmla="*/ 17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174">
                  <a:moveTo>
                    <a:pt x="122" y="2"/>
                  </a:moveTo>
                  <a:lnTo>
                    <a:pt x="122" y="0"/>
                  </a:lnTo>
                  <a:lnTo>
                    <a:pt x="118" y="0"/>
                  </a:lnTo>
                  <a:lnTo>
                    <a:pt x="122" y="0"/>
                  </a:lnTo>
                  <a:lnTo>
                    <a:pt x="122" y="2"/>
                  </a:lnTo>
                  <a:lnTo>
                    <a:pt x="122" y="2"/>
                  </a:lnTo>
                  <a:lnTo>
                    <a:pt x="122" y="2"/>
                  </a:lnTo>
                  <a:close/>
                  <a:moveTo>
                    <a:pt x="88" y="6"/>
                  </a:moveTo>
                  <a:lnTo>
                    <a:pt x="88" y="10"/>
                  </a:lnTo>
                  <a:lnTo>
                    <a:pt x="92" y="10"/>
                  </a:lnTo>
                  <a:lnTo>
                    <a:pt x="88" y="10"/>
                  </a:lnTo>
                  <a:lnTo>
                    <a:pt x="88" y="14"/>
                  </a:lnTo>
                  <a:lnTo>
                    <a:pt x="84" y="14"/>
                  </a:lnTo>
                  <a:lnTo>
                    <a:pt x="80" y="14"/>
                  </a:lnTo>
                  <a:lnTo>
                    <a:pt x="80" y="10"/>
                  </a:lnTo>
                  <a:lnTo>
                    <a:pt x="78" y="14"/>
                  </a:lnTo>
                  <a:lnTo>
                    <a:pt x="78" y="10"/>
                  </a:lnTo>
                  <a:lnTo>
                    <a:pt x="80" y="6"/>
                  </a:lnTo>
                  <a:lnTo>
                    <a:pt x="84" y="10"/>
                  </a:lnTo>
                  <a:lnTo>
                    <a:pt x="88" y="10"/>
                  </a:lnTo>
                  <a:lnTo>
                    <a:pt x="88" y="6"/>
                  </a:lnTo>
                  <a:lnTo>
                    <a:pt x="88" y="6"/>
                  </a:lnTo>
                  <a:lnTo>
                    <a:pt x="88" y="6"/>
                  </a:lnTo>
                  <a:close/>
                  <a:moveTo>
                    <a:pt x="134" y="22"/>
                  </a:moveTo>
                  <a:lnTo>
                    <a:pt x="130" y="22"/>
                  </a:lnTo>
                  <a:lnTo>
                    <a:pt x="126" y="18"/>
                  </a:lnTo>
                  <a:lnTo>
                    <a:pt x="130" y="18"/>
                  </a:lnTo>
                  <a:lnTo>
                    <a:pt x="130" y="14"/>
                  </a:lnTo>
                  <a:lnTo>
                    <a:pt x="134" y="18"/>
                  </a:lnTo>
                  <a:lnTo>
                    <a:pt x="134" y="22"/>
                  </a:lnTo>
                  <a:lnTo>
                    <a:pt x="134" y="22"/>
                  </a:lnTo>
                  <a:lnTo>
                    <a:pt x="134" y="22"/>
                  </a:lnTo>
                  <a:close/>
                  <a:moveTo>
                    <a:pt x="164" y="40"/>
                  </a:moveTo>
                  <a:lnTo>
                    <a:pt x="166" y="40"/>
                  </a:lnTo>
                  <a:lnTo>
                    <a:pt x="166" y="44"/>
                  </a:lnTo>
                  <a:lnTo>
                    <a:pt x="170" y="44"/>
                  </a:lnTo>
                  <a:lnTo>
                    <a:pt x="170" y="46"/>
                  </a:lnTo>
                  <a:lnTo>
                    <a:pt x="170" y="50"/>
                  </a:lnTo>
                  <a:lnTo>
                    <a:pt x="170" y="54"/>
                  </a:lnTo>
                  <a:lnTo>
                    <a:pt x="166" y="58"/>
                  </a:lnTo>
                  <a:lnTo>
                    <a:pt x="166" y="54"/>
                  </a:lnTo>
                  <a:lnTo>
                    <a:pt x="164" y="50"/>
                  </a:lnTo>
                  <a:lnTo>
                    <a:pt x="164" y="46"/>
                  </a:lnTo>
                  <a:lnTo>
                    <a:pt x="164" y="44"/>
                  </a:lnTo>
                  <a:lnTo>
                    <a:pt x="164" y="40"/>
                  </a:lnTo>
                  <a:lnTo>
                    <a:pt x="160" y="40"/>
                  </a:lnTo>
                  <a:lnTo>
                    <a:pt x="160" y="36"/>
                  </a:lnTo>
                  <a:lnTo>
                    <a:pt x="156" y="32"/>
                  </a:lnTo>
                  <a:lnTo>
                    <a:pt x="152" y="32"/>
                  </a:lnTo>
                  <a:lnTo>
                    <a:pt x="152" y="28"/>
                  </a:lnTo>
                  <a:lnTo>
                    <a:pt x="148" y="28"/>
                  </a:lnTo>
                  <a:lnTo>
                    <a:pt x="148" y="26"/>
                  </a:lnTo>
                  <a:lnTo>
                    <a:pt x="144" y="26"/>
                  </a:lnTo>
                  <a:lnTo>
                    <a:pt x="140" y="26"/>
                  </a:lnTo>
                  <a:lnTo>
                    <a:pt x="140" y="22"/>
                  </a:lnTo>
                  <a:lnTo>
                    <a:pt x="138" y="22"/>
                  </a:lnTo>
                  <a:lnTo>
                    <a:pt x="140" y="22"/>
                  </a:lnTo>
                  <a:lnTo>
                    <a:pt x="138" y="22"/>
                  </a:lnTo>
                  <a:lnTo>
                    <a:pt x="138" y="18"/>
                  </a:lnTo>
                  <a:lnTo>
                    <a:pt x="140" y="22"/>
                  </a:lnTo>
                  <a:lnTo>
                    <a:pt x="144" y="22"/>
                  </a:lnTo>
                  <a:lnTo>
                    <a:pt x="144" y="26"/>
                  </a:lnTo>
                  <a:lnTo>
                    <a:pt x="148" y="26"/>
                  </a:lnTo>
                  <a:lnTo>
                    <a:pt x="152" y="28"/>
                  </a:lnTo>
                  <a:lnTo>
                    <a:pt x="156" y="28"/>
                  </a:lnTo>
                  <a:lnTo>
                    <a:pt x="156" y="32"/>
                  </a:lnTo>
                  <a:lnTo>
                    <a:pt x="160" y="32"/>
                  </a:lnTo>
                  <a:lnTo>
                    <a:pt x="160" y="36"/>
                  </a:lnTo>
                  <a:lnTo>
                    <a:pt x="164" y="36"/>
                  </a:lnTo>
                  <a:lnTo>
                    <a:pt x="164" y="40"/>
                  </a:lnTo>
                  <a:lnTo>
                    <a:pt x="164" y="40"/>
                  </a:lnTo>
                  <a:lnTo>
                    <a:pt x="164" y="40"/>
                  </a:lnTo>
                  <a:close/>
                  <a:moveTo>
                    <a:pt x="74" y="122"/>
                  </a:moveTo>
                  <a:lnTo>
                    <a:pt x="74" y="118"/>
                  </a:lnTo>
                  <a:lnTo>
                    <a:pt x="74" y="114"/>
                  </a:lnTo>
                  <a:lnTo>
                    <a:pt x="70" y="114"/>
                  </a:lnTo>
                  <a:lnTo>
                    <a:pt x="70" y="110"/>
                  </a:lnTo>
                  <a:lnTo>
                    <a:pt x="66" y="110"/>
                  </a:lnTo>
                  <a:lnTo>
                    <a:pt x="62" y="110"/>
                  </a:lnTo>
                  <a:lnTo>
                    <a:pt x="58" y="110"/>
                  </a:lnTo>
                  <a:lnTo>
                    <a:pt x="58" y="106"/>
                  </a:lnTo>
                  <a:lnTo>
                    <a:pt x="54" y="106"/>
                  </a:lnTo>
                  <a:lnTo>
                    <a:pt x="54" y="102"/>
                  </a:lnTo>
                  <a:lnTo>
                    <a:pt x="54" y="106"/>
                  </a:lnTo>
                  <a:lnTo>
                    <a:pt x="52" y="106"/>
                  </a:lnTo>
                  <a:lnTo>
                    <a:pt x="52" y="102"/>
                  </a:lnTo>
                  <a:lnTo>
                    <a:pt x="48" y="102"/>
                  </a:lnTo>
                  <a:lnTo>
                    <a:pt x="48" y="106"/>
                  </a:lnTo>
                  <a:lnTo>
                    <a:pt x="48" y="102"/>
                  </a:lnTo>
                  <a:lnTo>
                    <a:pt x="44" y="106"/>
                  </a:lnTo>
                  <a:lnTo>
                    <a:pt x="40" y="106"/>
                  </a:lnTo>
                  <a:lnTo>
                    <a:pt x="40" y="102"/>
                  </a:lnTo>
                  <a:lnTo>
                    <a:pt x="36" y="102"/>
                  </a:lnTo>
                  <a:lnTo>
                    <a:pt x="40" y="102"/>
                  </a:lnTo>
                  <a:lnTo>
                    <a:pt x="40" y="106"/>
                  </a:lnTo>
                  <a:lnTo>
                    <a:pt x="40" y="110"/>
                  </a:lnTo>
                  <a:lnTo>
                    <a:pt x="36" y="110"/>
                  </a:lnTo>
                  <a:lnTo>
                    <a:pt x="34" y="110"/>
                  </a:lnTo>
                  <a:lnTo>
                    <a:pt x="36" y="110"/>
                  </a:lnTo>
                  <a:lnTo>
                    <a:pt x="36" y="114"/>
                  </a:lnTo>
                  <a:lnTo>
                    <a:pt x="34" y="114"/>
                  </a:lnTo>
                  <a:lnTo>
                    <a:pt x="30" y="118"/>
                  </a:lnTo>
                  <a:lnTo>
                    <a:pt x="26" y="118"/>
                  </a:lnTo>
                  <a:lnTo>
                    <a:pt x="26" y="114"/>
                  </a:lnTo>
                  <a:lnTo>
                    <a:pt x="22" y="114"/>
                  </a:lnTo>
                  <a:lnTo>
                    <a:pt x="22" y="118"/>
                  </a:lnTo>
                  <a:lnTo>
                    <a:pt x="18" y="118"/>
                  </a:lnTo>
                  <a:lnTo>
                    <a:pt x="18" y="114"/>
                  </a:lnTo>
                  <a:lnTo>
                    <a:pt x="14" y="114"/>
                  </a:lnTo>
                  <a:lnTo>
                    <a:pt x="18" y="114"/>
                  </a:lnTo>
                  <a:lnTo>
                    <a:pt x="18" y="118"/>
                  </a:lnTo>
                  <a:lnTo>
                    <a:pt x="22" y="118"/>
                  </a:lnTo>
                  <a:lnTo>
                    <a:pt x="26" y="118"/>
                  </a:lnTo>
                  <a:lnTo>
                    <a:pt x="30" y="118"/>
                  </a:lnTo>
                  <a:lnTo>
                    <a:pt x="30" y="122"/>
                  </a:lnTo>
                  <a:lnTo>
                    <a:pt x="34" y="122"/>
                  </a:lnTo>
                  <a:lnTo>
                    <a:pt x="34" y="126"/>
                  </a:lnTo>
                  <a:lnTo>
                    <a:pt x="34" y="128"/>
                  </a:lnTo>
                  <a:lnTo>
                    <a:pt x="30" y="128"/>
                  </a:lnTo>
                  <a:lnTo>
                    <a:pt x="26" y="132"/>
                  </a:lnTo>
                  <a:lnTo>
                    <a:pt x="22" y="132"/>
                  </a:lnTo>
                  <a:lnTo>
                    <a:pt x="18" y="132"/>
                  </a:lnTo>
                  <a:lnTo>
                    <a:pt x="14" y="132"/>
                  </a:lnTo>
                  <a:lnTo>
                    <a:pt x="10" y="132"/>
                  </a:lnTo>
                  <a:lnTo>
                    <a:pt x="8" y="132"/>
                  </a:lnTo>
                  <a:lnTo>
                    <a:pt x="8" y="128"/>
                  </a:lnTo>
                  <a:lnTo>
                    <a:pt x="4" y="132"/>
                  </a:lnTo>
                  <a:lnTo>
                    <a:pt x="0" y="132"/>
                  </a:lnTo>
                  <a:lnTo>
                    <a:pt x="0" y="128"/>
                  </a:lnTo>
                  <a:lnTo>
                    <a:pt x="0" y="92"/>
                  </a:lnTo>
                  <a:lnTo>
                    <a:pt x="0" y="88"/>
                  </a:lnTo>
                  <a:lnTo>
                    <a:pt x="0" y="84"/>
                  </a:lnTo>
                  <a:lnTo>
                    <a:pt x="0" y="76"/>
                  </a:lnTo>
                  <a:lnTo>
                    <a:pt x="0" y="58"/>
                  </a:lnTo>
                  <a:lnTo>
                    <a:pt x="0" y="18"/>
                  </a:lnTo>
                  <a:lnTo>
                    <a:pt x="4" y="18"/>
                  </a:lnTo>
                  <a:lnTo>
                    <a:pt x="4" y="22"/>
                  </a:lnTo>
                  <a:lnTo>
                    <a:pt x="8" y="22"/>
                  </a:lnTo>
                  <a:lnTo>
                    <a:pt x="10" y="26"/>
                  </a:lnTo>
                  <a:lnTo>
                    <a:pt x="14" y="26"/>
                  </a:lnTo>
                  <a:lnTo>
                    <a:pt x="14" y="28"/>
                  </a:lnTo>
                  <a:lnTo>
                    <a:pt x="18" y="28"/>
                  </a:lnTo>
                  <a:lnTo>
                    <a:pt x="22" y="28"/>
                  </a:lnTo>
                  <a:lnTo>
                    <a:pt x="26" y="32"/>
                  </a:lnTo>
                  <a:lnTo>
                    <a:pt x="30" y="32"/>
                  </a:lnTo>
                  <a:lnTo>
                    <a:pt x="34" y="32"/>
                  </a:lnTo>
                  <a:lnTo>
                    <a:pt x="36" y="32"/>
                  </a:lnTo>
                  <a:lnTo>
                    <a:pt x="36" y="36"/>
                  </a:lnTo>
                  <a:lnTo>
                    <a:pt x="40" y="36"/>
                  </a:lnTo>
                  <a:lnTo>
                    <a:pt x="40" y="40"/>
                  </a:lnTo>
                  <a:lnTo>
                    <a:pt x="44" y="40"/>
                  </a:lnTo>
                  <a:lnTo>
                    <a:pt x="48" y="40"/>
                  </a:lnTo>
                  <a:lnTo>
                    <a:pt x="52" y="40"/>
                  </a:lnTo>
                  <a:lnTo>
                    <a:pt x="52" y="44"/>
                  </a:lnTo>
                  <a:lnTo>
                    <a:pt x="54" y="44"/>
                  </a:lnTo>
                  <a:lnTo>
                    <a:pt x="54" y="46"/>
                  </a:lnTo>
                  <a:lnTo>
                    <a:pt x="58" y="50"/>
                  </a:lnTo>
                  <a:lnTo>
                    <a:pt x="62" y="50"/>
                  </a:lnTo>
                  <a:lnTo>
                    <a:pt x="62" y="54"/>
                  </a:lnTo>
                  <a:lnTo>
                    <a:pt x="66" y="54"/>
                  </a:lnTo>
                  <a:lnTo>
                    <a:pt x="66" y="58"/>
                  </a:lnTo>
                  <a:lnTo>
                    <a:pt x="66" y="62"/>
                  </a:lnTo>
                  <a:lnTo>
                    <a:pt x="66" y="66"/>
                  </a:lnTo>
                  <a:lnTo>
                    <a:pt x="66" y="70"/>
                  </a:lnTo>
                  <a:lnTo>
                    <a:pt x="70" y="70"/>
                  </a:lnTo>
                  <a:lnTo>
                    <a:pt x="74" y="70"/>
                  </a:lnTo>
                  <a:lnTo>
                    <a:pt x="78" y="70"/>
                  </a:lnTo>
                  <a:lnTo>
                    <a:pt x="78" y="72"/>
                  </a:lnTo>
                  <a:lnTo>
                    <a:pt x="80" y="72"/>
                  </a:lnTo>
                  <a:lnTo>
                    <a:pt x="84" y="72"/>
                  </a:lnTo>
                  <a:lnTo>
                    <a:pt x="84" y="76"/>
                  </a:lnTo>
                  <a:lnTo>
                    <a:pt x="88" y="76"/>
                  </a:lnTo>
                  <a:lnTo>
                    <a:pt x="92" y="76"/>
                  </a:lnTo>
                  <a:lnTo>
                    <a:pt x="92" y="80"/>
                  </a:lnTo>
                  <a:lnTo>
                    <a:pt x="96" y="80"/>
                  </a:lnTo>
                  <a:lnTo>
                    <a:pt x="96" y="84"/>
                  </a:lnTo>
                  <a:lnTo>
                    <a:pt x="96" y="88"/>
                  </a:lnTo>
                  <a:lnTo>
                    <a:pt x="92" y="88"/>
                  </a:lnTo>
                  <a:lnTo>
                    <a:pt x="88" y="88"/>
                  </a:lnTo>
                  <a:lnTo>
                    <a:pt x="84" y="88"/>
                  </a:lnTo>
                  <a:lnTo>
                    <a:pt x="84" y="92"/>
                  </a:lnTo>
                  <a:lnTo>
                    <a:pt x="84" y="96"/>
                  </a:lnTo>
                  <a:lnTo>
                    <a:pt x="84" y="100"/>
                  </a:lnTo>
                  <a:lnTo>
                    <a:pt x="88" y="102"/>
                  </a:lnTo>
                  <a:lnTo>
                    <a:pt x="92" y="102"/>
                  </a:lnTo>
                  <a:lnTo>
                    <a:pt x="92" y="106"/>
                  </a:lnTo>
                  <a:lnTo>
                    <a:pt x="96" y="110"/>
                  </a:lnTo>
                  <a:lnTo>
                    <a:pt x="100" y="110"/>
                  </a:lnTo>
                  <a:lnTo>
                    <a:pt x="100" y="114"/>
                  </a:lnTo>
                  <a:lnTo>
                    <a:pt x="100" y="110"/>
                  </a:lnTo>
                  <a:lnTo>
                    <a:pt x="100" y="114"/>
                  </a:lnTo>
                  <a:lnTo>
                    <a:pt x="100" y="118"/>
                  </a:lnTo>
                  <a:lnTo>
                    <a:pt x="100" y="122"/>
                  </a:lnTo>
                  <a:lnTo>
                    <a:pt x="104" y="122"/>
                  </a:lnTo>
                  <a:lnTo>
                    <a:pt x="104" y="126"/>
                  </a:lnTo>
                  <a:lnTo>
                    <a:pt x="108" y="126"/>
                  </a:lnTo>
                  <a:lnTo>
                    <a:pt x="108" y="128"/>
                  </a:lnTo>
                  <a:lnTo>
                    <a:pt x="110" y="128"/>
                  </a:lnTo>
                  <a:lnTo>
                    <a:pt x="114" y="128"/>
                  </a:lnTo>
                  <a:lnTo>
                    <a:pt x="118" y="128"/>
                  </a:lnTo>
                  <a:lnTo>
                    <a:pt x="118" y="132"/>
                  </a:lnTo>
                  <a:lnTo>
                    <a:pt x="114" y="132"/>
                  </a:lnTo>
                  <a:lnTo>
                    <a:pt x="114" y="136"/>
                  </a:lnTo>
                  <a:lnTo>
                    <a:pt x="118" y="136"/>
                  </a:lnTo>
                  <a:lnTo>
                    <a:pt x="118" y="140"/>
                  </a:lnTo>
                  <a:lnTo>
                    <a:pt x="122" y="140"/>
                  </a:lnTo>
                  <a:lnTo>
                    <a:pt x="126" y="140"/>
                  </a:lnTo>
                  <a:lnTo>
                    <a:pt x="122" y="140"/>
                  </a:lnTo>
                  <a:lnTo>
                    <a:pt x="122" y="144"/>
                  </a:lnTo>
                  <a:lnTo>
                    <a:pt x="126" y="148"/>
                  </a:lnTo>
                  <a:lnTo>
                    <a:pt x="130" y="148"/>
                  </a:lnTo>
                  <a:lnTo>
                    <a:pt x="134" y="148"/>
                  </a:lnTo>
                  <a:lnTo>
                    <a:pt x="134" y="152"/>
                  </a:lnTo>
                  <a:lnTo>
                    <a:pt x="138" y="152"/>
                  </a:lnTo>
                  <a:lnTo>
                    <a:pt x="138" y="148"/>
                  </a:lnTo>
                  <a:lnTo>
                    <a:pt x="140" y="148"/>
                  </a:lnTo>
                  <a:lnTo>
                    <a:pt x="140" y="152"/>
                  </a:lnTo>
                  <a:lnTo>
                    <a:pt x="138" y="152"/>
                  </a:lnTo>
                  <a:lnTo>
                    <a:pt x="134" y="152"/>
                  </a:lnTo>
                  <a:lnTo>
                    <a:pt x="134" y="156"/>
                  </a:lnTo>
                  <a:lnTo>
                    <a:pt x="138" y="156"/>
                  </a:lnTo>
                  <a:lnTo>
                    <a:pt x="134" y="156"/>
                  </a:lnTo>
                  <a:lnTo>
                    <a:pt x="134" y="158"/>
                  </a:lnTo>
                  <a:lnTo>
                    <a:pt x="130" y="158"/>
                  </a:lnTo>
                  <a:lnTo>
                    <a:pt x="130" y="156"/>
                  </a:lnTo>
                  <a:lnTo>
                    <a:pt x="126" y="156"/>
                  </a:lnTo>
                  <a:lnTo>
                    <a:pt x="130" y="156"/>
                  </a:lnTo>
                  <a:lnTo>
                    <a:pt x="126" y="156"/>
                  </a:lnTo>
                  <a:lnTo>
                    <a:pt x="126" y="152"/>
                  </a:lnTo>
                  <a:lnTo>
                    <a:pt x="122" y="152"/>
                  </a:lnTo>
                  <a:lnTo>
                    <a:pt x="118" y="152"/>
                  </a:lnTo>
                  <a:lnTo>
                    <a:pt x="114" y="152"/>
                  </a:lnTo>
                  <a:lnTo>
                    <a:pt x="110" y="152"/>
                  </a:lnTo>
                  <a:lnTo>
                    <a:pt x="108" y="148"/>
                  </a:lnTo>
                  <a:lnTo>
                    <a:pt x="104" y="148"/>
                  </a:lnTo>
                  <a:lnTo>
                    <a:pt x="100" y="148"/>
                  </a:lnTo>
                  <a:lnTo>
                    <a:pt x="96" y="148"/>
                  </a:lnTo>
                  <a:lnTo>
                    <a:pt x="92" y="144"/>
                  </a:lnTo>
                  <a:lnTo>
                    <a:pt x="92" y="140"/>
                  </a:lnTo>
                  <a:lnTo>
                    <a:pt x="88" y="140"/>
                  </a:lnTo>
                  <a:lnTo>
                    <a:pt x="88" y="136"/>
                  </a:lnTo>
                  <a:lnTo>
                    <a:pt x="84" y="136"/>
                  </a:lnTo>
                  <a:lnTo>
                    <a:pt x="84" y="132"/>
                  </a:lnTo>
                  <a:lnTo>
                    <a:pt x="80" y="132"/>
                  </a:lnTo>
                  <a:lnTo>
                    <a:pt x="80" y="128"/>
                  </a:lnTo>
                  <a:lnTo>
                    <a:pt x="84" y="128"/>
                  </a:lnTo>
                  <a:lnTo>
                    <a:pt x="80" y="128"/>
                  </a:lnTo>
                  <a:lnTo>
                    <a:pt x="78" y="128"/>
                  </a:lnTo>
                  <a:lnTo>
                    <a:pt x="78" y="126"/>
                  </a:lnTo>
                  <a:lnTo>
                    <a:pt x="78" y="122"/>
                  </a:lnTo>
                  <a:lnTo>
                    <a:pt x="74" y="122"/>
                  </a:lnTo>
                  <a:lnTo>
                    <a:pt x="74" y="122"/>
                  </a:lnTo>
                  <a:lnTo>
                    <a:pt x="74" y="122"/>
                  </a:lnTo>
                  <a:close/>
                  <a:moveTo>
                    <a:pt x="138" y="26"/>
                  </a:moveTo>
                  <a:lnTo>
                    <a:pt x="140" y="26"/>
                  </a:lnTo>
                  <a:lnTo>
                    <a:pt x="138" y="26"/>
                  </a:lnTo>
                  <a:lnTo>
                    <a:pt x="138" y="26"/>
                  </a:lnTo>
                  <a:lnTo>
                    <a:pt x="138" y="26"/>
                  </a:lnTo>
                  <a:close/>
                  <a:moveTo>
                    <a:pt x="164" y="28"/>
                  </a:moveTo>
                  <a:lnTo>
                    <a:pt x="164" y="26"/>
                  </a:lnTo>
                  <a:lnTo>
                    <a:pt x="164" y="28"/>
                  </a:lnTo>
                  <a:lnTo>
                    <a:pt x="164" y="28"/>
                  </a:lnTo>
                  <a:lnTo>
                    <a:pt x="164" y="28"/>
                  </a:lnTo>
                  <a:close/>
                  <a:moveTo>
                    <a:pt x="114" y="70"/>
                  </a:moveTo>
                  <a:lnTo>
                    <a:pt x="118" y="70"/>
                  </a:lnTo>
                  <a:lnTo>
                    <a:pt x="122" y="70"/>
                  </a:lnTo>
                  <a:lnTo>
                    <a:pt x="126" y="70"/>
                  </a:lnTo>
                  <a:lnTo>
                    <a:pt x="126" y="66"/>
                  </a:lnTo>
                  <a:lnTo>
                    <a:pt x="126" y="62"/>
                  </a:lnTo>
                  <a:lnTo>
                    <a:pt x="130" y="58"/>
                  </a:lnTo>
                  <a:lnTo>
                    <a:pt x="130" y="62"/>
                  </a:lnTo>
                  <a:lnTo>
                    <a:pt x="126" y="62"/>
                  </a:lnTo>
                  <a:lnTo>
                    <a:pt x="126" y="66"/>
                  </a:lnTo>
                  <a:lnTo>
                    <a:pt x="130" y="70"/>
                  </a:lnTo>
                  <a:lnTo>
                    <a:pt x="134" y="70"/>
                  </a:lnTo>
                  <a:lnTo>
                    <a:pt x="134" y="66"/>
                  </a:lnTo>
                  <a:lnTo>
                    <a:pt x="134" y="70"/>
                  </a:lnTo>
                  <a:lnTo>
                    <a:pt x="138" y="70"/>
                  </a:lnTo>
                  <a:lnTo>
                    <a:pt x="140" y="70"/>
                  </a:lnTo>
                  <a:lnTo>
                    <a:pt x="140" y="66"/>
                  </a:lnTo>
                  <a:lnTo>
                    <a:pt x="140" y="62"/>
                  </a:lnTo>
                  <a:lnTo>
                    <a:pt x="144" y="58"/>
                  </a:lnTo>
                  <a:lnTo>
                    <a:pt x="148" y="58"/>
                  </a:lnTo>
                  <a:lnTo>
                    <a:pt x="152" y="58"/>
                  </a:lnTo>
                  <a:lnTo>
                    <a:pt x="152" y="54"/>
                  </a:lnTo>
                  <a:lnTo>
                    <a:pt x="148" y="50"/>
                  </a:lnTo>
                  <a:lnTo>
                    <a:pt x="148" y="46"/>
                  </a:lnTo>
                  <a:lnTo>
                    <a:pt x="152" y="46"/>
                  </a:lnTo>
                  <a:lnTo>
                    <a:pt x="156" y="46"/>
                  </a:lnTo>
                  <a:lnTo>
                    <a:pt x="156" y="44"/>
                  </a:lnTo>
                  <a:lnTo>
                    <a:pt x="160" y="46"/>
                  </a:lnTo>
                  <a:lnTo>
                    <a:pt x="156" y="46"/>
                  </a:lnTo>
                  <a:lnTo>
                    <a:pt x="160" y="46"/>
                  </a:lnTo>
                  <a:lnTo>
                    <a:pt x="160" y="54"/>
                  </a:lnTo>
                  <a:lnTo>
                    <a:pt x="160" y="58"/>
                  </a:lnTo>
                  <a:lnTo>
                    <a:pt x="156" y="58"/>
                  </a:lnTo>
                  <a:lnTo>
                    <a:pt x="156" y="62"/>
                  </a:lnTo>
                  <a:lnTo>
                    <a:pt x="156" y="66"/>
                  </a:lnTo>
                  <a:lnTo>
                    <a:pt x="156" y="70"/>
                  </a:lnTo>
                  <a:lnTo>
                    <a:pt x="152" y="70"/>
                  </a:lnTo>
                  <a:lnTo>
                    <a:pt x="148" y="70"/>
                  </a:lnTo>
                  <a:lnTo>
                    <a:pt x="148" y="72"/>
                  </a:lnTo>
                  <a:lnTo>
                    <a:pt x="144" y="72"/>
                  </a:lnTo>
                  <a:lnTo>
                    <a:pt x="144" y="76"/>
                  </a:lnTo>
                  <a:lnTo>
                    <a:pt x="140" y="76"/>
                  </a:lnTo>
                  <a:lnTo>
                    <a:pt x="138" y="76"/>
                  </a:lnTo>
                  <a:lnTo>
                    <a:pt x="138" y="80"/>
                  </a:lnTo>
                  <a:lnTo>
                    <a:pt x="134" y="80"/>
                  </a:lnTo>
                  <a:lnTo>
                    <a:pt x="130" y="80"/>
                  </a:lnTo>
                  <a:lnTo>
                    <a:pt x="126" y="80"/>
                  </a:lnTo>
                  <a:lnTo>
                    <a:pt x="122" y="80"/>
                  </a:lnTo>
                  <a:lnTo>
                    <a:pt x="118" y="80"/>
                  </a:lnTo>
                  <a:lnTo>
                    <a:pt x="118" y="76"/>
                  </a:lnTo>
                  <a:lnTo>
                    <a:pt x="114" y="80"/>
                  </a:lnTo>
                  <a:lnTo>
                    <a:pt x="114" y="76"/>
                  </a:lnTo>
                  <a:lnTo>
                    <a:pt x="110" y="76"/>
                  </a:lnTo>
                  <a:lnTo>
                    <a:pt x="110" y="72"/>
                  </a:lnTo>
                  <a:lnTo>
                    <a:pt x="108" y="72"/>
                  </a:lnTo>
                  <a:lnTo>
                    <a:pt x="104" y="72"/>
                  </a:lnTo>
                  <a:lnTo>
                    <a:pt x="104" y="70"/>
                  </a:lnTo>
                  <a:lnTo>
                    <a:pt x="104" y="66"/>
                  </a:lnTo>
                  <a:lnTo>
                    <a:pt x="104" y="70"/>
                  </a:lnTo>
                  <a:lnTo>
                    <a:pt x="108" y="70"/>
                  </a:lnTo>
                  <a:lnTo>
                    <a:pt x="110" y="70"/>
                  </a:lnTo>
                  <a:lnTo>
                    <a:pt x="114" y="70"/>
                  </a:lnTo>
                  <a:lnTo>
                    <a:pt x="114" y="70"/>
                  </a:lnTo>
                  <a:lnTo>
                    <a:pt x="114" y="70"/>
                  </a:lnTo>
                  <a:close/>
                  <a:moveTo>
                    <a:pt x="70" y="54"/>
                  </a:moveTo>
                  <a:lnTo>
                    <a:pt x="70" y="50"/>
                  </a:lnTo>
                  <a:lnTo>
                    <a:pt x="70" y="54"/>
                  </a:lnTo>
                  <a:lnTo>
                    <a:pt x="70" y="54"/>
                  </a:lnTo>
                  <a:lnTo>
                    <a:pt x="70" y="54"/>
                  </a:lnTo>
                  <a:close/>
                  <a:moveTo>
                    <a:pt x="194" y="70"/>
                  </a:moveTo>
                  <a:lnTo>
                    <a:pt x="194" y="66"/>
                  </a:lnTo>
                  <a:lnTo>
                    <a:pt x="190" y="62"/>
                  </a:lnTo>
                  <a:lnTo>
                    <a:pt x="194" y="62"/>
                  </a:lnTo>
                  <a:lnTo>
                    <a:pt x="194" y="58"/>
                  </a:lnTo>
                  <a:lnTo>
                    <a:pt x="194" y="62"/>
                  </a:lnTo>
                  <a:lnTo>
                    <a:pt x="194" y="66"/>
                  </a:lnTo>
                  <a:lnTo>
                    <a:pt x="194" y="70"/>
                  </a:lnTo>
                  <a:lnTo>
                    <a:pt x="194" y="70"/>
                  </a:lnTo>
                  <a:lnTo>
                    <a:pt x="194" y="70"/>
                  </a:lnTo>
                  <a:close/>
                  <a:moveTo>
                    <a:pt x="84" y="66"/>
                  </a:moveTo>
                  <a:lnTo>
                    <a:pt x="84" y="62"/>
                  </a:lnTo>
                  <a:lnTo>
                    <a:pt x="88" y="66"/>
                  </a:lnTo>
                  <a:lnTo>
                    <a:pt x="84" y="66"/>
                  </a:lnTo>
                  <a:lnTo>
                    <a:pt x="84" y="66"/>
                  </a:lnTo>
                  <a:lnTo>
                    <a:pt x="84" y="66"/>
                  </a:lnTo>
                  <a:close/>
                  <a:moveTo>
                    <a:pt x="204" y="76"/>
                  </a:moveTo>
                  <a:lnTo>
                    <a:pt x="204" y="80"/>
                  </a:lnTo>
                  <a:lnTo>
                    <a:pt x="208" y="80"/>
                  </a:lnTo>
                  <a:lnTo>
                    <a:pt x="208" y="84"/>
                  </a:lnTo>
                  <a:lnTo>
                    <a:pt x="212" y="84"/>
                  </a:lnTo>
                  <a:lnTo>
                    <a:pt x="212" y="88"/>
                  </a:lnTo>
                  <a:lnTo>
                    <a:pt x="212" y="92"/>
                  </a:lnTo>
                  <a:lnTo>
                    <a:pt x="208" y="92"/>
                  </a:lnTo>
                  <a:lnTo>
                    <a:pt x="204" y="92"/>
                  </a:lnTo>
                  <a:lnTo>
                    <a:pt x="200" y="88"/>
                  </a:lnTo>
                  <a:lnTo>
                    <a:pt x="200" y="84"/>
                  </a:lnTo>
                  <a:lnTo>
                    <a:pt x="200" y="80"/>
                  </a:lnTo>
                  <a:lnTo>
                    <a:pt x="196" y="80"/>
                  </a:lnTo>
                  <a:lnTo>
                    <a:pt x="196" y="76"/>
                  </a:lnTo>
                  <a:lnTo>
                    <a:pt x="194" y="76"/>
                  </a:lnTo>
                  <a:lnTo>
                    <a:pt x="194" y="72"/>
                  </a:lnTo>
                  <a:lnTo>
                    <a:pt x="194" y="70"/>
                  </a:lnTo>
                  <a:lnTo>
                    <a:pt x="196" y="70"/>
                  </a:lnTo>
                  <a:lnTo>
                    <a:pt x="200" y="72"/>
                  </a:lnTo>
                  <a:lnTo>
                    <a:pt x="204" y="76"/>
                  </a:lnTo>
                  <a:lnTo>
                    <a:pt x="204" y="76"/>
                  </a:lnTo>
                  <a:lnTo>
                    <a:pt x="204" y="76"/>
                  </a:lnTo>
                  <a:close/>
                  <a:moveTo>
                    <a:pt x="100" y="72"/>
                  </a:moveTo>
                  <a:lnTo>
                    <a:pt x="96" y="72"/>
                  </a:lnTo>
                  <a:lnTo>
                    <a:pt x="96" y="70"/>
                  </a:lnTo>
                  <a:lnTo>
                    <a:pt x="100" y="70"/>
                  </a:lnTo>
                  <a:lnTo>
                    <a:pt x="100" y="72"/>
                  </a:lnTo>
                  <a:lnTo>
                    <a:pt x="100" y="72"/>
                  </a:lnTo>
                  <a:lnTo>
                    <a:pt x="100" y="72"/>
                  </a:lnTo>
                  <a:close/>
                  <a:moveTo>
                    <a:pt x="36" y="118"/>
                  </a:moveTo>
                  <a:lnTo>
                    <a:pt x="34" y="118"/>
                  </a:lnTo>
                  <a:lnTo>
                    <a:pt x="36" y="118"/>
                  </a:lnTo>
                  <a:lnTo>
                    <a:pt x="36" y="118"/>
                  </a:lnTo>
                  <a:lnTo>
                    <a:pt x="36" y="118"/>
                  </a:lnTo>
                  <a:close/>
                  <a:moveTo>
                    <a:pt x="36" y="126"/>
                  </a:moveTo>
                  <a:lnTo>
                    <a:pt x="36" y="122"/>
                  </a:lnTo>
                  <a:lnTo>
                    <a:pt x="34" y="122"/>
                  </a:lnTo>
                  <a:lnTo>
                    <a:pt x="34" y="118"/>
                  </a:lnTo>
                  <a:lnTo>
                    <a:pt x="30" y="118"/>
                  </a:lnTo>
                  <a:lnTo>
                    <a:pt x="34" y="118"/>
                  </a:lnTo>
                  <a:lnTo>
                    <a:pt x="34" y="122"/>
                  </a:lnTo>
                  <a:lnTo>
                    <a:pt x="36" y="122"/>
                  </a:lnTo>
                  <a:lnTo>
                    <a:pt x="36" y="126"/>
                  </a:lnTo>
                  <a:lnTo>
                    <a:pt x="36" y="126"/>
                  </a:lnTo>
                  <a:lnTo>
                    <a:pt x="36" y="126"/>
                  </a:lnTo>
                  <a:close/>
                  <a:moveTo>
                    <a:pt x="144" y="126"/>
                  </a:moveTo>
                  <a:lnTo>
                    <a:pt x="140" y="126"/>
                  </a:lnTo>
                  <a:lnTo>
                    <a:pt x="140" y="122"/>
                  </a:lnTo>
                  <a:lnTo>
                    <a:pt x="140" y="118"/>
                  </a:lnTo>
                  <a:lnTo>
                    <a:pt x="140" y="122"/>
                  </a:lnTo>
                  <a:lnTo>
                    <a:pt x="140" y="126"/>
                  </a:lnTo>
                  <a:lnTo>
                    <a:pt x="144" y="126"/>
                  </a:lnTo>
                  <a:lnTo>
                    <a:pt x="144" y="126"/>
                  </a:lnTo>
                  <a:lnTo>
                    <a:pt x="144" y="126"/>
                  </a:lnTo>
                  <a:close/>
                  <a:moveTo>
                    <a:pt x="166" y="132"/>
                  </a:moveTo>
                  <a:lnTo>
                    <a:pt x="164" y="128"/>
                  </a:lnTo>
                  <a:lnTo>
                    <a:pt x="166" y="128"/>
                  </a:lnTo>
                  <a:lnTo>
                    <a:pt x="170" y="128"/>
                  </a:lnTo>
                  <a:lnTo>
                    <a:pt x="170" y="132"/>
                  </a:lnTo>
                  <a:lnTo>
                    <a:pt x="166" y="132"/>
                  </a:lnTo>
                  <a:lnTo>
                    <a:pt x="166" y="132"/>
                  </a:lnTo>
                  <a:lnTo>
                    <a:pt x="166" y="132"/>
                  </a:lnTo>
                  <a:close/>
                  <a:moveTo>
                    <a:pt x="34" y="128"/>
                  </a:moveTo>
                  <a:lnTo>
                    <a:pt x="34" y="132"/>
                  </a:lnTo>
                  <a:lnTo>
                    <a:pt x="30" y="128"/>
                  </a:lnTo>
                  <a:lnTo>
                    <a:pt x="34" y="128"/>
                  </a:lnTo>
                  <a:lnTo>
                    <a:pt x="34" y="128"/>
                  </a:lnTo>
                  <a:lnTo>
                    <a:pt x="34" y="128"/>
                  </a:lnTo>
                  <a:close/>
                  <a:moveTo>
                    <a:pt x="134" y="136"/>
                  </a:moveTo>
                  <a:lnTo>
                    <a:pt x="130" y="136"/>
                  </a:lnTo>
                  <a:lnTo>
                    <a:pt x="130" y="132"/>
                  </a:lnTo>
                  <a:lnTo>
                    <a:pt x="134" y="136"/>
                  </a:lnTo>
                  <a:lnTo>
                    <a:pt x="134" y="136"/>
                  </a:lnTo>
                  <a:lnTo>
                    <a:pt x="134" y="136"/>
                  </a:lnTo>
                  <a:close/>
                  <a:moveTo>
                    <a:pt x="138" y="140"/>
                  </a:moveTo>
                  <a:lnTo>
                    <a:pt x="134" y="140"/>
                  </a:lnTo>
                  <a:lnTo>
                    <a:pt x="134" y="136"/>
                  </a:lnTo>
                  <a:lnTo>
                    <a:pt x="134" y="132"/>
                  </a:lnTo>
                  <a:lnTo>
                    <a:pt x="134" y="136"/>
                  </a:lnTo>
                  <a:lnTo>
                    <a:pt x="138" y="136"/>
                  </a:lnTo>
                  <a:lnTo>
                    <a:pt x="140" y="136"/>
                  </a:lnTo>
                  <a:lnTo>
                    <a:pt x="140" y="140"/>
                  </a:lnTo>
                  <a:lnTo>
                    <a:pt x="138" y="140"/>
                  </a:lnTo>
                  <a:lnTo>
                    <a:pt x="138" y="140"/>
                  </a:lnTo>
                  <a:lnTo>
                    <a:pt x="138" y="140"/>
                  </a:lnTo>
                  <a:close/>
                  <a:moveTo>
                    <a:pt x="144" y="148"/>
                  </a:moveTo>
                  <a:lnTo>
                    <a:pt x="140" y="148"/>
                  </a:lnTo>
                  <a:lnTo>
                    <a:pt x="140" y="144"/>
                  </a:lnTo>
                  <a:lnTo>
                    <a:pt x="138" y="144"/>
                  </a:lnTo>
                  <a:lnTo>
                    <a:pt x="138" y="140"/>
                  </a:lnTo>
                  <a:lnTo>
                    <a:pt x="140" y="144"/>
                  </a:lnTo>
                  <a:lnTo>
                    <a:pt x="140" y="148"/>
                  </a:lnTo>
                  <a:lnTo>
                    <a:pt x="144" y="148"/>
                  </a:lnTo>
                  <a:lnTo>
                    <a:pt x="144" y="144"/>
                  </a:lnTo>
                  <a:lnTo>
                    <a:pt x="144" y="148"/>
                  </a:lnTo>
                  <a:lnTo>
                    <a:pt x="144" y="148"/>
                  </a:lnTo>
                  <a:lnTo>
                    <a:pt x="144" y="148"/>
                  </a:lnTo>
                  <a:close/>
                  <a:moveTo>
                    <a:pt x="140" y="156"/>
                  </a:moveTo>
                  <a:lnTo>
                    <a:pt x="138" y="156"/>
                  </a:lnTo>
                  <a:lnTo>
                    <a:pt x="140" y="156"/>
                  </a:lnTo>
                  <a:lnTo>
                    <a:pt x="140" y="156"/>
                  </a:lnTo>
                  <a:lnTo>
                    <a:pt x="140" y="156"/>
                  </a:lnTo>
                  <a:close/>
                  <a:moveTo>
                    <a:pt x="166" y="158"/>
                  </a:moveTo>
                  <a:lnTo>
                    <a:pt x="164" y="158"/>
                  </a:lnTo>
                  <a:lnTo>
                    <a:pt x="164" y="156"/>
                  </a:lnTo>
                  <a:lnTo>
                    <a:pt x="166" y="156"/>
                  </a:lnTo>
                  <a:lnTo>
                    <a:pt x="166" y="158"/>
                  </a:lnTo>
                  <a:lnTo>
                    <a:pt x="166" y="158"/>
                  </a:lnTo>
                  <a:lnTo>
                    <a:pt x="166" y="158"/>
                  </a:lnTo>
                  <a:close/>
                  <a:moveTo>
                    <a:pt x="186" y="170"/>
                  </a:moveTo>
                  <a:lnTo>
                    <a:pt x="182" y="170"/>
                  </a:lnTo>
                  <a:lnTo>
                    <a:pt x="186" y="170"/>
                  </a:lnTo>
                  <a:lnTo>
                    <a:pt x="186" y="166"/>
                  </a:lnTo>
                  <a:lnTo>
                    <a:pt x="186" y="170"/>
                  </a:lnTo>
                  <a:lnTo>
                    <a:pt x="190" y="170"/>
                  </a:lnTo>
                  <a:lnTo>
                    <a:pt x="186" y="170"/>
                  </a:lnTo>
                  <a:lnTo>
                    <a:pt x="186" y="170"/>
                  </a:lnTo>
                  <a:lnTo>
                    <a:pt x="186" y="170"/>
                  </a:lnTo>
                  <a:close/>
                  <a:moveTo>
                    <a:pt x="178" y="174"/>
                  </a:moveTo>
                  <a:lnTo>
                    <a:pt x="174" y="174"/>
                  </a:lnTo>
                  <a:lnTo>
                    <a:pt x="174" y="170"/>
                  </a:lnTo>
                  <a:lnTo>
                    <a:pt x="170" y="170"/>
                  </a:lnTo>
                  <a:lnTo>
                    <a:pt x="174" y="170"/>
                  </a:lnTo>
                  <a:lnTo>
                    <a:pt x="178" y="170"/>
                  </a:lnTo>
                  <a:lnTo>
                    <a:pt x="178" y="174"/>
                  </a:lnTo>
                  <a:lnTo>
                    <a:pt x="182" y="174"/>
                  </a:lnTo>
                  <a:lnTo>
                    <a:pt x="178" y="174"/>
                  </a:lnTo>
                  <a:lnTo>
                    <a:pt x="178" y="174"/>
                  </a:lnTo>
                  <a:lnTo>
                    <a:pt x="178" y="17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00" name="Freeform 193"/>
            <p:cNvSpPr>
              <a:spLocks noEditPoints="1"/>
            </p:cNvSpPr>
            <p:nvPr/>
          </p:nvSpPr>
          <p:spPr bwMode="auto">
            <a:xfrm>
              <a:off x="6761461" y="3666177"/>
              <a:ext cx="224817" cy="120298"/>
            </a:xfrm>
            <a:custGeom>
              <a:avLst/>
              <a:gdLst>
                <a:gd name="T0" fmla="*/ 320 w 358"/>
                <a:gd name="T1" fmla="*/ 16 h 184"/>
                <a:gd name="T2" fmla="*/ 320 w 358"/>
                <a:gd name="T3" fmla="*/ 8 h 184"/>
                <a:gd name="T4" fmla="*/ 324 w 358"/>
                <a:gd name="T5" fmla="*/ 0 h 184"/>
                <a:gd name="T6" fmla="*/ 328 w 358"/>
                <a:gd name="T7" fmla="*/ 8 h 184"/>
                <a:gd name="T8" fmla="*/ 340 w 358"/>
                <a:gd name="T9" fmla="*/ 8 h 184"/>
                <a:gd name="T10" fmla="*/ 348 w 358"/>
                <a:gd name="T11" fmla="*/ 4 h 184"/>
                <a:gd name="T12" fmla="*/ 350 w 358"/>
                <a:gd name="T13" fmla="*/ 12 h 184"/>
                <a:gd name="T14" fmla="*/ 354 w 358"/>
                <a:gd name="T15" fmla="*/ 12 h 184"/>
                <a:gd name="T16" fmla="*/ 350 w 358"/>
                <a:gd name="T17" fmla="*/ 20 h 184"/>
                <a:gd name="T18" fmla="*/ 348 w 358"/>
                <a:gd name="T19" fmla="*/ 30 h 184"/>
                <a:gd name="T20" fmla="*/ 344 w 358"/>
                <a:gd name="T21" fmla="*/ 38 h 184"/>
                <a:gd name="T22" fmla="*/ 344 w 358"/>
                <a:gd name="T23" fmla="*/ 50 h 184"/>
                <a:gd name="T24" fmla="*/ 340 w 358"/>
                <a:gd name="T25" fmla="*/ 54 h 184"/>
                <a:gd name="T26" fmla="*/ 348 w 358"/>
                <a:gd name="T27" fmla="*/ 60 h 184"/>
                <a:gd name="T28" fmla="*/ 340 w 358"/>
                <a:gd name="T29" fmla="*/ 68 h 184"/>
                <a:gd name="T30" fmla="*/ 344 w 358"/>
                <a:gd name="T31" fmla="*/ 76 h 184"/>
                <a:gd name="T32" fmla="*/ 344 w 358"/>
                <a:gd name="T33" fmla="*/ 82 h 184"/>
                <a:gd name="T34" fmla="*/ 336 w 358"/>
                <a:gd name="T35" fmla="*/ 90 h 184"/>
                <a:gd name="T36" fmla="*/ 340 w 358"/>
                <a:gd name="T37" fmla="*/ 98 h 184"/>
                <a:gd name="T38" fmla="*/ 332 w 358"/>
                <a:gd name="T39" fmla="*/ 102 h 184"/>
                <a:gd name="T40" fmla="*/ 324 w 358"/>
                <a:gd name="T41" fmla="*/ 98 h 184"/>
                <a:gd name="T42" fmla="*/ 318 w 358"/>
                <a:gd name="T43" fmla="*/ 102 h 184"/>
                <a:gd name="T44" fmla="*/ 320 w 358"/>
                <a:gd name="T45" fmla="*/ 94 h 184"/>
                <a:gd name="T46" fmla="*/ 320 w 358"/>
                <a:gd name="T47" fmla="*/ 82 h 184"/>
                <a:gd name="T48" fmla="*/ 320 w 358"/>
                <a:gd name="T49" fmla="*/ 76 h 184"/>
                <a:gd name="T50" fmla="*/ 318 w 358"/>
                <a:gd name="T51" fmla="*/ 76 h 184"/>
                <a:gd name="T52" fmla="*/ 314 w 358"/>
                <a:gd name="T53" fmla="*/ 68 h 184"/>
                <a:gd name="T54" fmla="*/ 318 w 358"/>
                <a:gd name="T55" fmla="*/ 64 h 184"/>
                <a:gd name="T56" fmla="*/ 310 w 358"/>
                <a:gd name="T57" fmla="*/ 68 h 184"/>
                <a:gd name="T58" fmla="*/ 314 w 358"/>
                <a:gd name="T59" fmla="*/ 56 h 184"/>
                <a:gd name="T60" fmla="*/ 314 w 358"/>
                <a:gd name="T61" fmla="*/ 54 h 184"/>
                <a:gd name="T62" fmla="*/ 318 w 358"/>
                <a:gd name="T63" fmla="*/ 42 h 184"/>
                <a:gd name="T64" fmla="*/ 320 w 358"/>
                <a:gd name="T65" fmla="*/ 30 h 184"/>
                <a:gd name="T66" fmla="*/ 320 w 358"/>
                <a:gd name="T67" fmla="*/ 26 h 184"/>
                <a:gd name="T68" fmla="*/ 320 w 358"/>
                <a:gd name="T69" fmla="*/ 24 h 184"/>
                <a:gd name="T70" fmla="*/ 0 w 358"/>
                <a:gd name="T71" fmla="*/ 54 h 184"/>
                <a:gd name="T72" fmla="*/ 4 w 358"/>
                <a:gd name="T73" fmla="*/ 56 h 184"/>
                <a:gd name="T74" fmla="*/ 60 w 358"/>
                <a:gd name="T75" fmla="*/ 68 h 184"/>
                <a:gd name="T76" fmla="*/ 60 w 358"/>
                <a:gd name="T77" fmla="*/ 72 h 184"/>
                <a:gd name="T78" fmla="*/ 48 w 358"/>
                <a:gd name="T79" fmla="*/ 72 h 184"/>
                <a:gd name="T80" fmla="*/ 52 w 358"/>
                <a:gd name="T81" fmla="*/ 72 h 184"/>
                <a:gd name="T82" fmla="*/ 48 w 358"/>
                <a:gd name="T83" fmla="*/ 72 h 184"/>
                <a:gd name="T84" fmla="*/ 38 w 358"/>
                <a:gd name="T85" fmla="*/ 72 h 184"/>
                <a:gd name="T86" fmla="*/ 46 w 358"/>
                <a:gd name="T87" fmla="*/ 76 h 184"/>
                <a:gd name="T88" fmla="*/ 46 w 358"/>
                <a:gd name="T89" fmla="*/ 72 h 184"/>
                <a:gd name="T90" fmla="*/ 46 w 358"/>
                <a:gd name="T91" fmla="*/ 76 h 184"/>
                <a:gd name="T92" fmla="*/ 78 w 358"/>
                <a:gd name="T93" fmla="*/ 86 h 184"/>
                <a:gd name="T94" fmla="*/ 86 w 358"/>
                <a:gd name="T95" fmla="*/ 86 h 184"/>
                <a:gd name="T96" fmla="*/ 90 w 358"/>
                <a:gd name="T97" fmla="*/ 86 h 184"/>
                <a:gd name="T98" fmla="*/ 82 w 358"/>
                <a:gd name="T99" fmla="*/ 86 h 184"/>
                <a:gd name="T100" fmla="*/ 86 w 358"/>
                <a:gd name="T101" fmla="*/ 102 h 184"/>
                <a:gd name="T102" fmla="*/ 90 w 358"/>
                <a:gd name="T103" fmla="*/ 102 h 184"/>
                <a:gd name="T104" fmla="*/ 202 w 358"/>
                <a:gd name="T105" fmla="*/ 180 h 184"/>
                <a:gd name="T106" fmla="*/ 204 w 358"/>
                <a:gd name="T107"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8" h="184">
                  <a:moveTo>
                    <a:pt x="320" y="24"/>
                  </a:moveTo>
                  <a:lnTo>
                    <a:pt x="320" y="20"/>
                  </a:lnTo>
                  <a:lnTo>
                    <a:pt x="320" y="16"/>
                  </a:lnTo>
                  <a:lnTo>
                    <a:pt x="320" y="12"/>
                  </a:lnTo>
                  <a:lnTo>
                    <a:pt x="318" y="8"/>
                  </a:lnTo>
                  <a:lnTo>
                    <a:pt x="320" y="8"/>
                  </a:lnTo>
                  <a:lnTo>
                    <a:pt x="320" y="4"/>
                  </a:lnTo>
                  <a:lnTo>
                    <a:pt x="324" y="4"/>
                  </a:lnTo>
                  <a:lnTo>
                    <a:pt x="324" y="0"/>
                  </a:lnTo>
                  <a:lnTo>
                    <a:pt x="328" y="0"/>
                  </a:lnTo>
                  <a:lnTo>
                    <a:pt x="328" y="4"/>
                  </a:lnTo>
                  <a:lnTo>
                    <a:pt x="328" y="8"/>
                  </a:lnTo>
                  <a:lnTo>
                    <a:pt x="332" y="8"/>
                  </a:lnTo>
                  <a:lnTo>
                    <a:pt x="336" y="8"/>
                  </a:lnTo>
                  <a:lnTo>
                    <a:pt x="340" y="8"/>
                  </a:lnTo>
                  <a:lnTo>
                    <a:pt x="344" y="8"/>
                  </a:lnTo>
                  <a:lnTo>
                    <a:pt x="344" y="4"/>
                  </a:lnTo>
                  <a:lnTo>
                    <a:pt x="348" y="4"/>
                  </a:lnTo>
                  <a:lnTo>
                    <a:pt x="350" y="4"/>
                  </a:lnTo>
                  <a:lnTo>
                    <a:pt x="350" y="8"/>
                  </a:lnTo>
                  <a:lnTo>
                    <a:pt x="350" y="12"/>
                  </a:lnTo>
                  <a:lnTo>
                    <a:pt x="354" y="12"/>
                  </a:lnTo>
                  <a:lnTo>
                    <a:pt x="358" y="12"/>
                  </a:lnTo>
                  <a:lnTo>
                    <a:pt x="354" y="12"/>
                  </a:lnTo>
                  <a:lnTo>
                    <a:pt x="354" y="16"/>
                  </a:lnTo>
                  <a:lnTo>
                    <a:pt x="354" y="20"/>
                  </a:lnTo>
                  <a:lnTo>
                    <a:pt x="350" y="20"/>
                  </a:lnTo>
                  <a:lnTo>
                    <a:pt x="348" y="24"/>
                  </a:lnTo>
                  <a:lnTo>
                    <a:pt x="348" y="26"/>
                  </a:lnTo>
                  <a:lnTo>
                    <a:pt x="348" y="30"/>
                  </a:lnTo>
                  <a:lnTo>
                    <a:pt x="348" y="34"/>
                  </a:lnTo>
                  <a:lnTo>
                    <a:pt x="348" y="38"/>
                  </a:lnTo>
                  <a:lnTo>
                    <a:pt x="344" y="38"/>
                  </a:lnTo>
                  <a:lnTo>
                    <a:pt x="344" y="42"/>
                  </a:lnTo>
                  <a:lnTo>
                    <a:pt x="348" y="42"/>
                  </a:lnTo>
                  <a:lnTo>
                    <a:pt x="344" y="50"/>
                  </a:lnTo>
                  <a:lnTo>
                    <a:pt x="340" y="50"/>
                  </a:lnTo>
                  <a:lnTo>
                    <a:pt x="336" y="50"/>
                  </a:lnTo>
                  <a:lnTo>
                    <a:pt x="340" y="54"/>
                  </a:lnTo>
                  <a:lnTo>
                    <a:pt x="340" y="56"/>
                  </a:lnTo>
                  <a:lnTo>
                    <a:pt x="344" y="60"/>
                  </a:lnTo>
                  <a:lnTo>
                    <a:pt x="348" y="60"/>
                  </a:lnTo>
                  <a:lnTo>
                    <a:pt x="344" y="64"/>
                  </a:lnTo>
                  <a:lnTo>
                    <a:pt x="344" y="68"/>
                  </a:lnTo>
                  <a:lnTo>
                    <a:pt x="340" y="68"/>
                  </a:lnTo>
                  <a:lnTo>
                    <a:pt x="340" y="72"/>
                  </a:lnTo>
                  <a:lnTo>
                    <a:pt x="340" y="76"/>
                  </a:lnTo>
                  <a:lnTo>
                    <a:pt x="344" y="76"/>
                  </a:lnTo>
                  <a:lnTo>
                    <a:pt x="344" y="80"/>
                  </a:lnTo>
                  <a:lnTo>
                    <a:pt x="348" y="80"/>
                  </a:lnTo>
                  <a:lnTo>
                    <a:pt x="344" y="82"/>
                  </a:lnTo>
                  <a:lnTo>
                    <a:pt x="340" y="82"/>
                  </a:lnTo>
                  <a:lnTo>
                    <a:pt x="340" y="86"/>
                  </a:lnTo>
                  <a:lnTo>
                    <a:pt x="336" y="90"/>
                  </a:lnTo>
                  <a:lnTo>
                    <a:pt x="340" y="90"/>
                  </a:lnTo>
                  <a:lnTo>
                    <a:pt x="340" y="94"/>
                  </a:lnTo>
                  <a:lnTo>
                    <a:pt x="340" y="98"/>
                  </a:lnTo>
                  <a:lnTo>
                    <a:pt x="336" y="98"/>
                  </a:lnTo>
                  <a:lnTo>
                    <a:pt x="336" y="102"/>
                  </a:lnTo>
                  <a:lnTo>
                    <a:pt x="332" y="102"/>
                  </a:lnTo>
                  <a:lnTo>
                    <a:pt x="328" y="102"/>
                  </a:lnTo>
                  <a:lnTo>
                    <a:pt x="328" y="98"/>
                  </a:lnTo>
                  <a:lnTo>
                    <a:pt x="324" y="98"/>
                  </a:lnTo>
                  <a:lnTo>
                    <a:pt x="320" y="98"/>
                  </a:lnTo>
                  <a:lnTo>
                    <a:pt x="320" y="102"/>
                  </a:lnTo>
                  <a:lnTo>
                    <a:pt x="318" y="102"/>
                  </a:lnTo>
                  <a:lnTo>
                    <a:pt x="318" y="98"/>
                  </a:lnTo>
                  <a:lnTo>
                    <a:pt x="318" y="94"/>
                  </a:lnTo>
                  <a:lnTo>
                    <a:pt x="320" y="94"/>
                  </a:lnTo>
                  <a:lnTo>
                    <a:pt x="320" y="90"/>
                  </a:lnTo>
                  <a:lnTo>
                    <a:pt x="320" y="86"/>
                  </a:lnTo>
                  <a:lnTo>
                    <a:pt x="320" y="82"/>
                  </a:lnTo>
                  <a:lnTo>
                    <a:pt x="318" y="82"/>
                  </a:lnTo>
                  <a:lnTo>
                    <a:pt x="320" y="80"/>
                  </a:lnTo>
                  <a:lnTo>
                    <a:pt x="320" y="76"/>
                  </a:lnTo>
                  <a:lnTo>
                    <a:pt x="320" y="72"/>
                  </a:lnTo>
                  <a:lnTo>
                    <a:pt x="318" y="72"/>
                  </a:lnTo>
                  <a:lnTo>
                    <a:pt x="318" y="76"/>
                  </a:lnTo>
                  <a:lnTo>
                    <a:pt x="314" y="76"/>
                  </a:lnTo>
                  <a:lnTo>
                    <a:pt x="314" y="72"/>
                  </a:lnTo>
                  <a:lnTo>
                    <a:pt x="314" y="68"/>
                  </a:lnTo>
                  <a:lnTo>
                    <a:pt x="318" y="72"/>
                  </a:lnTo>
                  <a:lnTo>
                    <a:pt x="318" y="68"/>
                  </a:lnTo>
                  <a:lnTo>
                    <a:pt x="318" y="64"/>
                  </a:lnTo>
                  <a:lnTo>
                    <a:pt x="318" y="68"/>
                  </a:lnTo>
                  <a:lnTo>
                    <a:pt x="314" y="68"/>
                  </a:lnTo>
                  <a:lnTo>
                    <a:pt x="310" y="68"/>
                  </a:lnTo>
                  <a:lnTo>
                    <a:pt x="310" y="64"/>
                  </a:lnTo>
                  <a:lnTo>
                    <a:pt x="310" y="60"/>
                  </a:lnTo>
                  <a:lnTo>
                    <a:pt x="314" y="56"/>
                  </a:lnTo>
                  <a:lnTo>
                    <a:pt x="310" y="56"/>
                  </a:lnTo>
                  <a:lnTo>
                    <a:pt x="314" y="56"/>
                  </a:lnTo>
                  <a:lnTo>
                    <a:pt x="314" y="54"/>
                  </a:lnTo>
                  <a:lnTo>
                    <a:pt x="318" y="50"/>
                  </a:lnTo>
                  <a:lnTo>
                    <a:pt x="318" y="46"/>
                  </a:lnTo>
                  <a:lnTo>
                    <a:pt x="318" y="42"/>
                  </a:lnTo>
                  <a:lnTo>
                    <a:pt x="318" y="38"/>
                  </a:lnTo>
                  <a:lnTo>
                    <a:pt x="320" y="34"/>
                  </a:lnTo>
                  <a:lnTo>
                    <a:pt x="320" y="30"/>
                  </a:lnTo>
                  <a:lnTo>
                    <a:pt x="320" y="26"/>
                  </a:lnTo>
                  <a:lnTo>
                    <a:pt x="320" y="30"/>
                  </a:lnTo>
                  <a:lnTo>
                    <a:pt x="320" y="26"/>
                  </a:lnTo>
                  <a:lnTo>
                    <a:pt x="320" y="24"/>
                  </a:lnTo>
                  <a:lnTo>
                    <a:pt x="320" y="24"/>
                  </a:lnTo>
                  <a:lnTo>
                    <a:pt x="320" y="24"/>
                  </a:lnTo>
                  <a:close/>
                  <a:moveTo>
                    <a:pt x="4" y="56"/>
                  </a:moveTo>
                  <a:lnTo>
                    <a:pt x="0" y="56"/>
                  </a:lnTo>
                  <a:lnTo>
                    <a:pt x="0" y="54"/>
                  </a:lnTo>
                  <a:lnTo>
                    <a:pt x="4" y="54"/>
                  </a:lnTo>
                  <a:lnTo>
                    <a:pt x="4" y="56"/>
                  </a:lnTo>
                  <a:lnTo>
                    <a:pt x="4" y="56"/>
                  </a:lnTo>
                  <a:lnTo>
                    <a:pt x="4" y="56"/>
                  </a:lnTo>
                  <a:close/>
                  <a:moveTo>
                    <a:pt x="60" y="72"/>
                  </a:moveTo>
                  <a:lnTo>
                    <a:pt x="60" y="68"/>
                  </a:lnTo>
                  <a:lnTo>
                    <a:pt x="56" y="68"/>
                  </a:lnTo>
                  <a:lnTo>
                    <a:pt x="60" y="68"/>
                  </a:lnTo>
                  <a:lnTo>
                    <a:pt x="60" y="72"/>
                  </a:lnTo>
                  <a:lnTo>
                    <a:pt x="60" y="72"/>
                  </a:lnTo>
                  <a:lnTo>
                    <a:pt x="60" y="72"/>
                  </a:lnTo>
                  <a:close/>
                  <a:moveTo>
                    <a:pt x="48" y="72"/>
                  </a:moveTo>
                  <a:lnTo>
                    <a:pt x="46" y="68"/>
                  </a:lnTo>
                  <a:lnTo>
                    <a:pt x="48" y="68"/>
                  </a:lnTo>
                  <a:lnTo>
                    <a:pt x="52" y="72"/>
                  </a:lnTo>
                  <a:lnTo>
                    <a:pt x="48" y="72"/>
                  </a:lnTo>
                  <a:lnTo>
                    <a:pt x="48" y="72"/>
                  </a:lnTo>
                  <a:lnTo>
                    <a:pt x="48" y="72"/>
                  </a:lnTo>
                  <a:close/>
                  <a:moveTo>
                    <a:pt x="38" y="72"/>
                  </a:moveTo>
                  <a:lnTo>
                    <a:pt x="38" y="68"/>
                  </a:lnTo>
                  <a:lnTo>
                    <a:pt x="38" y="72"/>
                  </a:lnTo>
                  <a:lnTo>
                    <a:pt x="38" y="72"/>
                  </a:lnTo>
                  <a:lnTo>
                    <a:pt x="38" y="72"/>
                  </a:lnTo>
                  <a:close/>
                  <a:moveTo>
                    <a:pt x="46" y="76"/>
                  </a:moveTo>
                  <a:lnTo>
                    <a:pt x="42" y="76"/>
                  </a:lnTo>
                  <a:lnTo>
                    <a:pt x="42" y="72"/>
                  </a:lnTo>
                  <a:lnTo>
                    <a:pt x="46" y="72"/>
                  </a:lnTo>
                  <a:lnTo>
                    <a:pt x="48" y="76"/>
                  </a:lnTo>
                  <a:lnTo>
                    <a:pt x="46" y="76"/>
                  </a:lnTo>
                  <a:lnTo>
                    <a:pt x="46" y="76"/>
                  </a:lnTo>
                  <a:lnTo>
                    <a:pt x="46" y="76"/>
                  </a:lnTo>
                  <a:close/>
                  <a:moveTo>
                    <a:pt x="82" y="86"/>
                  </a:moveTo>
                  <a:lnTo>
                    <a:pt x="78" y="86"/>
                  </a:lnTo>
                  <a:lnTo>
                    <a:pt x="78" y="82"/>
                  </a:lnTo>
                  <a:lnTo>
                    <a:pt x="82" y="86"/>
                  </a:lnTo>
                  <a:lnTo>
                    <a:pt x="86" y="86"/>
                  </a:lnTo>
                  <a:lnTo>
                    <a:pt x="86" y="82"/>
                  </a:lnTo>
                  <a:lnTo>
                    <a:pt x="90" y="82"/>
                  </a:lnTo>
                  <a:lnTo>
                    <a:pt x="90" y="86"/>
                  </a:lnTo>
                  <a:lnTo>
                    <a:pt x="86" y="86"/>
                  </a:lnTo>
                  <a:lnTo>
                    <a:pt x="82" y="86"/>
                  </a:lnTo>
                  <a:lnTo>
                    <a:pt x="82" y="86"/>
                  </a:lnTo>
                  <a:lnTo>
                    <a:pt x="82" y="86"/>
                  </a:lnTo>
                  <a:close/>
                  <a:moveTo>
                    <a:pt x="90" y="102"/>
                  </a:moveTo>
                  <a:lnTo>
                    <a:pt x="86" y="102"/>
                  </a:lnTo>
                  <a:lnTo>
                    <a:pt x="90" y="102"/>
                  </a:lnTo>
                  <a:lnTo>
                    <a:pt x="90" y="102"/>
                  </a:lnTo>
                  <a:lnTo>
                    <a:pt x="90" y="102"/>
                  </a:lnTo>
                  <a:close/>
                  <a:moveTo>
                    <a:pt x="204" y="184"/>
                  </a:moveTo>
                  <a:lnTo>
                    <a:pt x="202" y="184"/>
                  </a:lnTo>
                  <a:lnTo>
                    <a:pt x="202" y="180"/>
                  </a:lnTo>
                  <a:lnTo>
                    <a:pt x="204" y="180"/>
                  </a:lnTo>
                  <a:lnTo>
                    <a:pt x="208" y="180"/>
                  </a:lnTo>
                  <a:lnTo>
                    <a:pt x="204" y="184"/>
                  </a:lnTo>
                  <a:lnTo>
                    <a:pt x="204" y="184"/>
                  </a:lnTo>
                  <a:lnTo>
                    <a:pt x="204" y="18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01" name="Freeform 194"/>
            <p:cNvSpPr>
              <a:spLocks noEditPoints="1"/>
            </p:cNvSpPr>
            <p:nvPr/>
          </p:nvSpPr>
          <p:spPr bwMode="auto">
            <a:xfrm>
              <a:off x="7187232" y="4410192"/>
              <a:ext cx="189650" cy="307282"/>
            </a:xfrm>
            <a:custGeom>
              <a:avLst/>
              <a:gdLst>
                <a:gd name="T0" fmla="*/ 12 w 302"/>
                <a:gd name="T1" fmla="*/ 116 h 470"/>
                <a:gd name="T2" fmla="*/ 28 w 302"/>
                <a:gd name="T3" fmla="*/ 122 h 470"/>
                <a:gd name="T4" fmla="*/ 42 w 302"/>
                <a:gd name="T5" fmla="*/ 116 h 470"/>
                <a:gd name="T6" fmla="*/ 50 w 302"/>
                <a:gd name="T7" fmla="*/ 92 h 470"/>
                <a:gd name="T8" fmla="*/ 50 w 302"/>
                <a:gd name="T9" fmla="*/ 56 h 470"/>
                <a:gd name="T10" fmla="*/ 56 w 302"/>
                <a:gd name="T11" fmla="*/ 60 h 470"/>
                <a:gd name="T12" fmla="*/ 60 w 302"/>
                <a:gd name="T13" fmla="*/ 78 h 470"/>
                <a:gd name="T14" fmla="*/ 68 w 302"/>
                <a:gd name="T15" fmla="*/ 86 h 470"/>
                <a:gd name="T16" fmla="*/ 80 w 302"/>
                <a:gd name="T17" fmla="*/ 76 h 470"/>
                <a:gd name="T18" fmla="*/ 90 w 302"/>
                <a:gd name="T19" fmla="*/ 60 h 470"/>
                <a:gd name="T20" fmla="*/ 110 w 302"/>
                <a:gd name="T21" fmla="*/ 64 h 470"/>
                <a:gd name="T22" fmla="*/ 120 w 302"/>
                <a:gd name="T23" fmla="*/ 68 h 470"/>
                <a:gd name="T24" fmla="*/ 128 w 302"/>
                <a:gd name="T25" fmla="*/ 60 h 470"/>
                <a:gd name="T26" fmla="*/ 142 w 302"/>
                <a:gd name="T27" fmla="*/ 46 h 470"/>
                <a:gd name="T28" fmla="*/ 146 w 302"/>
                <a:gd name="T29" fmla="*/ 26 h 470"/>
                <a:gd name="T30" fmla="*/ 164 w 302"/>
                <a:gd name="T31" fmla="*/ 12 h 470"/>
                <a:gd name="T32" fmla="*/ 180 w 302"/>
                <a:gd name="T33" fmla="*/ 0 h 470"/>
                <a:gd name="T34" fmla="*/ 198 w 302"/>
                <a:gd name="T35" fmla="*/ 4 h 470"/>
                <a:gd name="T36" fmla="*/ 212 w 302"/>
                <a:gd name="T37" fmla="*/ 22 h 470"/>
                <a:gd name="T38" fmla="*/ 216 w 302"/>
                <a:gd name="T39" fmla="*/ 42 h 470"/>
                <a:gd name="T40" fmla="*/ 216 w 302"/>
                <a:gd name="T41" fmla="*/ 60 h 470"/>
                <a:gd name="T42" fmla="*/ 210 w 302"/>
                <a:gd name="T43" fmla="*/ 64 h 470"/>
                <a:gd name="T44" fmla="*/ 202 w 302"/>
                <a:gd name="T45" fmla="*/ 82 h 470"/>
                <a:gd name="T46" fmla="*/ 206 w 302"/>
                <a:gd name="T47" fmla="*/ 92 h 470"/>
                <a:gd name="T48" fmla="*/ 220 w 302"/>
                <a:gd name="T49" fmla="*/ 86 h 470"/>
                <a:gd name="T50" fmla="*/ 228 w 302"/>
                <a:gd name="T51" fmla="*/ 96 h 470"/>
                <a:gd name="T52" fmla="*/ 224 w 302"/>
                <a:gd name="T53" fmla="*/ 116 h 470"/>
                <a:gd name="T54" fmla="*/ 210 w 302"/>
                <a:gd name="T55" fmla="*/ 130 h 470"/>
                <a:gd name="T56" fmla="*/ 202 w 302"/>
                <a:gd name="T57" fmla="*/ 148 h 470"/>
                <a:gd name="T58" fmla="*/ 190 w 302"/>
                <a:gd name="T59" fmla="*/ 168 h 470"/>
                <a:gd name="T60" fmla="*/ 180 w 302"/>
                <a:gd name="T61" fmla="*/ 178 h 470"/>
                <a:gd name="T62" fmla="*/ 164 w 302"/>
                <a:gd name="T63" fmla="*/ 194 h 470"/>
                <a:gd name="T64" fmla="*/ 150 w 302"/>
                <a:gd name="T65" fmla="*/ 206 h 470"/>
                <a:gd name="T66" fmla="*/ 136 w 302"/>
                <a:gd name="T67" fmla="*/ 212 h 470"/>
                <a:gd name="T68" fmla="*/ 124 w 302"/>
                <a:gd name="T69" fmla="*/ 216 h 470"/>
                <a:gd name="T70" fmla="*/ 98 w 302"/>
                <a:gd name="T71" fmla="*/ 216 h 470"/>
                <a:gd name="T72" fmla="*/ 80 w 302"/>
                <a:gd name="T73" fmla="*/ 220 h 470"/>
                <a:gd name="T74" fmla="*/ 60 w 302"/>
                <a:gd name="T75" fmla="*/ 224 h 470"/>
                <a:gd name="T76" fmla="*/ 42 w 302"/>
                <a:gd name="T77" fmla="*/ 232 h 470"/>
                <a:gd name="T78" fmla="*/ 30 w 302"/>
                <a:gd name="T79" fmla="*/ 220 h 470"/>
                <a:gd name="T80" fmla="*/ 28 w 302"/>
                <a:gd name="T81" fmla="*/ 224 h 470"/>
                <a:gd name="T82" fmla="*/ 28 w 302"/>
                <a:gd name="T83" fmla="*/ 212 h 470"/>
                <a:gd name="T84" fmla="*/ 24 w 302"/>
                <a:gd name="T85" fmla="*/ 194 h 470"/>
                <a:gd name="T86" fmla="*/ 24 w 302"/>
                <a:gd name="T87" fmla="*/ 178 h 470"/>
                <a:gd name="T88" fmla="*/ 16 w 302"/>
                <a:gd name="T89" fmla="*/ 164 h 470"/>
                <a:gd name="T90" fmla="*/ 8 w 302"/>
                <a:gd name="T91" fmla="*/ 142 h 470"/>
                <a:gd name="T92" fmla="*/ 0 w 302"/>
                <a:gd name="T93" fmla="*/ 120 h 470"/>
                <a:gd name="T94" fmla="*/ 8 w 302"/>
                <a:gd name="T95" fmla="*/ 108 h 470"/>
                <a:gd name="T96" fmla="*/ 180 w 302"/>
                <a:gd name="T97" fmla="*/ 122 h 470"/>
                <a:gd name="T98" fmla="*/ 168 w 302"/>
                <a:gd name="T99" fmla="*/ 120 h 470"/>
                <a:gd name="T100" fmla="*/ 154 w 302"/>
                <a:gd name="T101" fmla="*/ 134 h 470"/>
                <a:gd name="T102" fmla="*/ 154 w 302"/>
                <a:gd name="T103" fmla="*/ 148 h 470"/>
                <a:gd name="T104" fmla="*/ 164 w 302"/>
                <a:gd name="T105" fmla="*/ 146 h 470"/>
                <a:gd name="T106" fmla="*/ 180 w 302"/>
                <a:gd name="T107" fmla="*/ 134 h 470"/>
                <a:gd name="T108" fmla="*/ 302 w 302"/>
                <a:gd name="T109" fmla="*/ 46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2" h="470">
                  <a:moveTo>
                    <a:pt x="8" y="108"/>
                  </a:moveTo>
                  <a:lnTo>
                    <a:pt x="8" y="112"/>
                  </a:lnTo>
                  <a:lnTo>
                    <a:pt x="12" y="112"/>
                  </a:lnTo>
                  <a:lnTo>
                    <a:pt x="12" y="108"/>
                  </a:lnTo>
                  <a:lnTo>
                    <a:pt x="12" y="112"/>
                  </a:lnTo>
                  <a:lnTo>
                    <a:pt x="12" y="116"/>
                  </a:lnTo>
                  <a:lnTo>
                    <a:pt x="12" y="120"/>
                  </a:lnTo>
                  <a:lnTo>
                    <a:pt x="16" y="120"/>
                  </a:lnTo>
                  <a:lnTo>
                    <a:pt x="20" y="120"/>
                  </a:lnTo>
                  <a:lnTo>
                    <a:pt x="20" y="122"/>
                  </a:lnTo>
                  <a:lnTo>
                    <a:pt x="24" y="122"/>
                  </a:lnTo>
                  <a:lnTo>
                    <a:pt x="28" y="122"/>
                  </a:lnTo>
                  <a:lnTo>
                    <a:pt x="30" y="120"/>
                  </a:lnTo>
                  <a:lnTo>
                    <a:pt x="34" y="122"/>
                  </a:lnTo>
                  <a:lnTo>
                    <a:pt x="38" y="122"/>
                  </a:lnTo>
                  <a:lnTo>
                    <a:pt x="38" y="120"/>
                  </a:lnTo>
                  <a:lnTo>
                    <a:pt x="42" y="120"/>
                  </a:lnTo>
                  <a:lnTo>
                    <a:pt x="42" y="116"/>
                  </a:lnTo>
                  <a:lnTo>
                    <a:pt x="46" y="116"/>
                  </a:lnTo>
                  <a:lnTo>
                    <a:pt x="50" y="112"/>
                  </a:lnTo>
                  <a:lnTo>
                    <a:pt x="50" y="108"/>
                  </a:lnTo>
                  <a:lnTo>
                    <a:pt x="50" y="104"/>
                  </a:lnTo>
                  <a:lnTo>
                    <a:pt x="50" y="96"/>
                  </a:lnTo>
                  <a:lnTo>
                    <a:pt x="50" y="92"/>
                  </a:lnTo>
                  <a:lnTo>
                    <a:pt x="50" y="90"/>
                  </a:lnTo>
                  <a:lnTo>
                    <a:pt x="50" y="78"/>
                  </a:lnTo>
                  <a:lnTo>
                    <a:pt x="50" y="68"/>
                  </a:lnTo>
                  <a:lnTo>
                    <a:pt x="50" y="64"/>
                  </a:lnTo>
                  <a:lnTo>
                    <a:pt x="50" y="60"/>
                  </a:lnTo>
                  <a:lnTo>
                    <a:pt x="50" y="56"/>
                  </a:lnTo>
                  <a:lnTo>
                    <a:pt x="50" y="52"/>
                  </a:lnTo>
                  <a:lnTo>
                    <a:pt x="50" y="48"/>
                  </a:lnTo>
                  <a:lnTo>
                    <a:pt x="54" y="48"/>
                  </a:lnTo>
                  <a:lnTo>
                    <a:pt x="54" y="52"/>
                  </a:lnTo>
                  <a:lnTo>
                    <a:pt x="56" y="56"/>
                  </a:lnTo>
                  <a:lnTo>
                    <a:pt x="56" y="60"/>
                  </a:lnTo>
                  <a:lnTo>
                    <a:pt x="60" y="64"/>
                  </a:lnTo>
                  <a:lnTo>
                    <a:pt x="56" y="64"/>
                  </a:lnTo>
                  <a:lnTo>
                    <a:pt x="60" y="68"/>
                  </a:lnTo>
                  <a:lnTo>
                    <a:pt x="60" y="72"/>
                  </a:lnTo>
                  <a:lnTo>
                    <a:pt x="60" y="76"/>
                  </a:lnTo>
                  <a:lnTo>
                    <a:pt x="60" y="78"/>
                  </a:lnTo>
                  <a:lnTo>
                    <a:pt x="56" y="78"/>
                  </a:lnTo>
                  <a:lnTo>
                    <a:pt x="56" y="82"/>
                  </a:lnTo>
                  <a:lnTo>
                    <a:pt x="56" y="86"/>
                  </a:lnTo>
                  <a:lnTo>
                    <a:pt x="60" y="86"/>
                  </a:lnTo>
                  <a:lnTo>
                    <a:pt x="64" y="86"/>
                  </a:lnTo>
                  <a:lnTo>
                    <a:pt x="68" y="86"/>
                  </a:lnTo>
                  <a:lnTo>
                    <a:pt x="72" y="86"/>
                  </a:lnTo>
                  <a:lnTo>
                    <a:pt x="76" y="86"/>
                  </a:lnTo>
                  <a:lnTo>
                    <a:pt x="76" y="82"/>
                  </a:lnTo>
                  <a:lnTo>
                    <a:pt x="80" y="82"/>
                  </a:lnTo>
                  <a:lnTo>
                    <a:pt x="80" y="78"/>
                  </a:lnTo>
                  <a:lnTo>
                    <a:pt x="80" y="76"/>
                  </a:lnTo>
                  <a:lnTo>
                    <a:pt x="84" y="76"/>
                  </a:lnTo>
                  <a:lnTo>
                    <a:pt x="86" y="72"/>
                  </a:lnTo>
                  <a:lnTo>
                    <a:pt x="86" y="68"/>
                  </a:lnTo>
                  <a:lnTo>
                    <a:pt x="86" y="64"/>
                  </a:lnTo>
                  <a:lnTo>
                    <a:pt x="90" y="64"/>
                  </a:lnTo>
                  <a:lnTo>
                    <a:pt x="90" y="60"/>
                  </a:lnTo>
                  <a:lnTo>
                    <a:pt x="90" y="56"/>
                  </a:lnTo>
                  <a:lnTo>
                    <a:pt x="94" y="56"/>
                  </a:lnTo>
                  <a:lnTo>
                    <a:pt x="98" y="56"/>
                  </a:lnTo>
                  <a:lnTo>
                    <a:pt x="102" y="60"/>
                  </a:lnTo>
                  <a:lnTo>
                    <a:pt x="106" y="64"/>
                  </a:lnTo>
                  <a:lnTo>
                    <a:pt x="110" y="64"/>
                  </a:lnTo>
                  <a:lnTo>
                    <a:pt x="110" y="68"/>
                  </a:lnTo>
                  <a:lnTo>
                    <a:pt x="112" y="68"/>
                  </a:lnTo>
                  <a:lnTo>
                    <a:pt x="112" y="64"/>
                  </a:lnTo>
                  <a:lnTo>
                    <a:pt x="112" y="68"/>
                  </a:lnTo>
                  <a:lnTo>
                    <a:pt x="116" y="68"/>
                  </a:lnTo>
                  <a:lnTo>
                    <a:pt x="120" y="68"/>
                  </a:lnTo>
                  <a:lnTo>
                    <a:pt x="120" y="64"/>
                  </a:lnTo>
                  <a:lnTo>
                    <a:pt x="120" y="68"/>
                  </a:lnTo>
                  <a:lnTo>
                    <a:pt x="124" y="68"/>
                  </a:lnTo>
                  <a:lnTo>
                    <a:pt x="124" y="64"/>
                  </a:lnTo>
                  <a:lnTo>
                    <a:pt x="128" y="64"/>
                  </a:lnTo>
                  <a:lnTo>
                    <a:pt x="128" y="60"/>
                  </a:lnTo>
                  <a:lnTo>
                    <a:pt x="132" y="56"/>
                  </a:lnTo>
                  <a:lnTo>
                    <a:pt x="132" y="52"/>
                  </a:lnTo>
                  <a:lnTo>
                    <a:pt x="132" y="48"/>
                  </a:lnTo>
                  <a:lnTo>
                    <a:pt x="136" y="46"/>
                  </a:lnTo>
                  <a:lnTo>
                    <a:pt x="140" y="46"/>
                  </a:lnTo>
                  <a:lnTo>
                    <a:pt x="142" y="46"/>
                  </a:lnTo>
                  <a:lnTo>
                    <a:pt x="142" y="42"/>
                  </a:lnTo>
                  <a:lnTo>
                    <a:pt x="146" y="42"/>
                  </a:lnTo>
                  <a:lnTo>
                    <a:pt x="146" y="38"/>
                  </a:lnTo>
                  <a:lnTo>
                    <a:pt x="146" y="34"/>
                  </a:lnTo>
                  <a:lnTo>
                    <a:pt x="146" y="30"/>
                  </a:lnTo>
                  <a:lnTo>
                    <a:pt x="146" y="26"/>
                  </a:lnTo>
                  <a:lnTo>
                    <a:pt x="150" y="26"/>
                  </a:lnTo>
                  <a:lnTo>
                    <a:pt x="154" y="22"/>
                  </a:lnTo>
                  <a:lnTo>
                    <a:pt x="158" y="22"/>
                  </a:lnTo>
                  <a:lnTo>
                    <a:pt x="158" y="18"/>
                  </a:lnTo>
                  <a:lnTo>
                    <a:pt x="162" y="16"/>
                  </a:lnTo>
                  <a:lnTo>
                    <a:pt x="164" y="12"/>
                  </a:lnTo>
                  <a:lnTo>
                    <a:pt x="164" y="8"/>
                  </a:lnTo>
                  <a:lnTo>
                    <a:pt x="168" y="8"/>
                  </a:lnTo>
                  <a:lnTo>
                    <a:pt x="172" y="8"/>
                  </a:lnTo>
                  <a:lnTo>
                    <a:pt x="176" y="8"/>
                  </a:lnTo>
                  <a:lnTo>
                    <a:pt x="176" y="4"/>
                  </a:lnTo>
                  <a:lnTo>
                    <a:pt x="180" y="0"/>
                  </a:lnTo>
                  <a:lnTo>
                    <a:pt x="182" y="0"/>
                  </a:lnTo>
                  <a:lnTo>
                    <a:pt x="186" y="0"/>
                  </a:lnTo>
                  <a:lnTo>
                    <a:pt x="190" y="0"/>
                  </a:lnTo>
                  <a:lnTo>
                    <a:pt x="190" y="4"/>
                  </a:lnTo>
                  <a:lnTo>
                    <a:pt x="194" y="4"/>
                  </a:lnTo>
                  <a:lnTo>
                    <a:pt x="198" y="4"/>
                  </a:lnTo>
                  <a:lnTo>
                    <a:pt x="202" y="4"/>
                  </a:lnTo>
                  <a:lnTo>
                    <a:pt x="206" y="4"/>
                  </a:lnTo>
                  <a:lnTo>
                    <a:pt x="210" y="4"/>
                  </a:lnTo>
                  <a:lnTo>
                    <a:pt x="210" y="8"/>
                  </a:lnTo>
                  <a:lnTo>
                    <a:pt x="212" y="18"/>
                  </a:lnTo>
                  <a:lnTo>
                    <a:pt x="212" y="22"/>
                  </a:lnTo>
                  <a:lnTo>
                    <a:pt x="212" y="26"/>
                  </a:lnTo>
                  <a:lnTo>
                    <a:pt x="212" y="30"/>
                  </a:lnTo>
                  <a:lnTo>
                    <a:pt x="216" y="30"/>
                  </a:lnTo>
                  <a:lnTo>
                    <a:pt x="216" y="34"/>
                  </a:lnTo>
                  <a:lnTo>
                    <a:pt x="216" y="38"/>
                  </a:lnTo>
                  <a:lnTo>
                    <a:pt x="216" y="42"/>
                  </a:lnTo>
                  <a:lnTo>
                    <a:pt x="220" y="42"/>
                  </a:lnTo>
                  <a:lnTo>
                    <a:pt x="216" y="46"/>
                  </a:lnTo>
                  <a:lnTo>
                    <a:pt x="216" y="48"/>
                  </a:lnTo>
                  <a:lnTo>
                    <a:pt x="216" y="52"/>
                  </a:lnTo>
                  <a:lnTo>
                    <a:pt x="220" y="52"/>
                  </a:lnTo>
                  <a:lnTo>
                    <a:pt x="216" y="60"/>
                  </a:lnTo>
                  <a:lnTo>
                    <a:pt x="216" y="64"/>
                  </a:lnTo>
                  <a:lnTo>
                    <a:pt x="216" y="68"/>
                  </a:lnTo>
                  <a:lnTo>
                    <a:pt x="216" y="72"/>
                  </a:lnTo>
                  <a:lnTo>
                    <a:pt x="216" y="68"/>
                  </a:lnTo>
                  <a:lnTo>
                    <a:pt x="212" y="68"/>
                  </a:lnTo>
                  <a:lnTo>
                    <a:pt x="210" y="64"/>
                  </a:lnTo>
                  <a:lnTo>
                    <a:pt x="206" y="68"/>
                  </a:lnTo>
                  <a:lnTo>
                    <a:pt x="206" y="72"/>
                  </a:lnTo>
                  <a:lnTo>
                    <a:pt x="206" y="76"/>
                  </a:lnTo>
                  <a:lnTo>
                    <a:pt x="202" y="76"/>
                  </a:lnTo>
                  <a:lnTo>
                    <a:pt x="202" y="78"/>
                  </a:lnTo>
                  <a:lnTo>
                    <a:pt x="202" y="82"/>
                  </a:lnTo>
                  <a:lnTo>
                    <a:pt x="202" y="86"/>
                  </a:lnTo>
                  <a:lnTo>
                    <a:pt x="202" y="82"/>
                  </a:lnTo>
                  <a:lnTo>
                    <a:pt x="202" y="86"/>
                  </a:lnTo>
                  <a:lnTo>
                    <a:pt x="206" y="86"/>
                  </a:lnTo>
                  <a:lnTo>
                    <a:pt x="206" y="90"/>
                  </a:lnTo>
                  <a:lnTo>
                    <a:pt x="206" y="92"/>
                  </a:lnTo>
                  <a:lnTo>
                    <a:pt x="210" y="92"/>
                  </a:lnTo>
                  <a:lnTo>
                    <a:pt x="212" y="92"/>
                  </a:lnTo>
                  <a:lnTo>
                    <a:pt x="216" y="92"/>
                  </a:lnTo>
                  <a:lnTo>
                    <a:pt x="216" y="90"/>
                  </a:lnTo>
                  <a:lnTo>
                    <a:pt x="216" y="86"/>
                  </a:lnTo>
                  <a:lnTo>
                    <a:pt x="220" y="86"/>
                  </a:lnTo>
                  <a:lnTo>
                    <a:pt x="224" y="86"/>
                  </a:lnTo>
                  <a:lnTo>
                    <a:pt x="228" y="86"/>
                  </a:lnTo>
                  <a:lnTo>
                    <a:pt x="232" y="86"/>
                  </a:lnTo>
                  <a:lnTo>
                    <a:pt x="232" y="90"/>
                  </a:lnTo>
                  <a:lnTo>
                    <a:pt x="228" y="92"/>
                  </a:lnTo>
                  <a:lnTo>
                    <a:pt x="228" y="96"/>
                  </a:lnTo>
                  <a:lnTo>
                    <a:pt x="228" y="100"/>
                  </a:lnTo>
                  <a:lnTo>
                    <a:pt x="228" y="104"/>
                  </a:lnTo>
                  <a:lnTo>
                    <a:pt x="228" y="108"/>
                  </a:lnTo>
                  <a:lnTo>
                    <a:pt x="224" y="108"/>
                  </a:lnTo>
                  <a:lnTo>
                    <a:pt x="224" y="112"/>
                  </a:lnTo>
                  <a:lnTo>
                    <a:pt x="224" y="116"/>
                  </a:lnTo>
                  <a:lnTo>
                    <a:pt x="220" y="120"/>
                  </a:lnTo>
                  <a:lnTo>
                    <a:pt x="220" y="122"/>
                  </a:lnTo>
                  <a:lnTo>
                    <a:pt x="216" y="122"/>
                  </a:lnTo>
                  <a:lnTo>
                    <a:pt x="212" y="122"/>
                  </a:lnTo>
                  <a:lnTo>
                    <a:pt x="212" y="126"/>
                  </a:lnTo>
                  <a:lnTo>
                    <a:pt x="210" y="130"/>
                  </a:lnTo>
                  <a:lnTo>
                    <a:pt x="206" y="134"/>
                  </a:lnTo>
                  <a:lnTo>
                    <a:pt x="206" y="138"/>
                  </a:lnTo>
                  <a:lnTo>
                    <a:pt x="206" y="142"/>
                  </a:lnTo>
                  <a:lnTo>
                    <a:pt x="202" y="142"/>
                  </a:lnTo>
                  <a:lnTo>
                    <a:pt x="202" y="146"/>
                  </a:lnTo>
                  <a:lnTo>
                    <a:pt x="202" y="148"/>
                  </a:lnTo>
                  <a:lnTo>
                    <a:pt x="198" y="148"/>
                  </a:lnTo>
                  <a:lnTo>
                    <a:pt x="198" y="156"/>
                  </a:lnTo>
                  <a:lnTo>
                    <a:pt x="194" y="156"/>
                  </a:lnTo>
                  <a:lnTo>
                    <a:pt x="194" y="160"/>
                  </a:lnTo>
                  <a:lnTo>
                    <a:pt x="190" y="164"/>
                  </a:lnTo>
                  <a:lnTo>
                    <a:pt x="190" y="168"/>
                  </a:lnTo>
                  <a:lnTo>
                    <a:pt x="186" y="168"/>
                  </a:lnTo>
                  <a:lnTo>
                    <a:pt x="186" y="172"/>
                  </a:lnTo>
                  <a:lnTo>
                    <a:pt x="182" y="172"/>
                  </a:lnTo>
                  <a:lnTo>
                    <a:pt x="182" y="176"/>
                  </a:lnTo>
                  <a:lnTo>
                    <a:pt x="180" y="176"/>
                  </a:lnTo>
                  <a:lnTo>
                    <a:pt x="180" y="178"/>
                  </a:lnTo>
                  <a:lnTo>
                    <a:pt x="176" y="178"/>
                  </a:lnTo>
                  <a:lnTo>
                    <a:pt x="176" y="182"/>
                  </a:lnTo>
                  <a:lnTo>
                    <a:pt x="172" y="186"/>
                  </a:lnTo>
                  <a:lnTo>
                    <a:pt x="168" y="190"/>
                  </a:lnTo>
                  <a:lnTo>
                    <a:pt x="168" y="194"/>
                  </a:lnTo>
                  <a:lnTo>
                    <a:pt x="164" y="194"/>
                  </a:lnTo>
                  <a:lnTo>
                    <a:pt x="164" y="198"/>
                  </a:lnTo>
                  <a:lnTo>
                    <a:pt x="162" y="198"/>
                  </a:lnTo>
                  <a:lnTo>
                    <a:pt x="158" y="198"/>
                  </a:lnTo>
                  <a:lnTo>
                    <a:pt x="158" y="202"/>
                  </a:lnTo>
                  <a:lnTo>
                    <a:pt x="154" y="206"/>
                  </a:lnTo>
                  <a:lnTo>
                    <a:pt x="150" y="206"/>
                  </a:lnTo>
                  <a:lnTo>
                    <a:pt x="150" y="208"/>
                  </a:lnTo>
                  <a:lnTo>
                    <a:pt x="146" y="208"/>
                  </a:lnTo>
                  <a:lnTo>
                    <a:pt x="142" y="208"/>
                  </a:lnTo>
                  <a:lnTo>
                    <a:pt x="142" y="212"/>
                  </a:lnTo>
                  <a:lnTo>
                    <a:pt x="140" y="212"/>
                  </a:lnTo>
                  <a:lnTo>
                    <a:pt x="136" y="212"/>
                  </a:lnTo>
                  <a:lnTo>
                    <a:pt x="132" y="212"/>
                  </a:lnTo>
                  <a:lnTo>
                    <a:pt x="128" y="212"/>
                  </a:lnTo>
                  <a:lnTo>
                    <a:pt x="128" y="216"/>
                  </a:lnTo>
                  <a:lnTo>
                    <a:pt x="132" y="216"/>
                  </a:lnTo>
                  <a:lnTo>
                    <a:pt x="128" y="216"/>
                  </a:lnTo>
                  <a:lnTo>
                    <a:pt x="124" y="216"/>
                  </a:lnTo>
                  <a:lnTo>
                    <a:pt x="120" y="216"/>
                  </a:lnTo>
                  <a:lnTo>
                    <a:pt x="116" y="220"/>
                  </a:lnTo>
                  <a:lnTo>
                    <a:pt x="112" y="220"/>
                  </a:lnTo>
                  <a:lnTo>
                    <a:pt x="106" y="216"/>
                  </a:lnTo>
                  <a:lnTo>
                    <a:pt x="102" y="216"/>
                  </a:lnTo>
                  <a:lnTo>
                    <a:pt x="98" y="216"/>
                  </a:lnTo>
                  <a:lnTo>
                    <a:pt x="94" y="216"/>
                  </a:lnTo>
                  <a:lnTo>
                    <a:pt x="90" y="216"/>
                  </a:lnTo>
                  <a:lnTo>
                    <a:pt x="86" y="216"/>
                  </a:lnTo>
                  <a:lnTo>
                    <a:pt x="84" y="216"/>
                  </a:lnTo>
                  <a:lnTo>
                    <a:pt x="80" y="216"/>
                  </a:lnTo>
                  <a:lnTo>
                    <a:pt x="80" y="220"/>
                  </a:lnTo>
                  <a:lnTo>
                    <a:pt x="76" y="220"/>
                  </a:lnTo>
                  <a:lnTo>
                    <a:pt x="76" y="224"/>
                  </a:lnTo>
                  <a:lnTo>
                    <a:pt x="72" y="224"/>
                  </a:lnTo>
                  <a:lnTo>
                    <a:pt x="68" y="224"/>
                  </a:lnTo>
                  <a:lnTo>
                    <a:pt x="64" y="224"/>
                  </a:lnTo>
                  <a:lnTo>
                    <a:pt x="60" y="224"/>
                  </a:lnTo>
                  <a:lnTo>
                    <a:pt x="56" y="224"/>
                  </a:lnTo>
                  <a:lnTo>
                    <a:pt x="56" y="228"/>
                  </a:lnTo>
                  <a:lnTo>
                    <a:pt x="54" y="228"/>
                  </a:lnTo>
                  <a:lnTo>
                    <a:pt x="50" y="232"/>
                  </a:lnTo>
                  <a:lnTo>
                    <a:pt x="46" y="232"/>
                  </a:lnTo>
                  <a:lnTo>
                    <a:pt x="42" y="232"/>
                  </a:lnTo>
                  <a:lnTo>
                    <a:pt x="42" y="228"/>
                  </a:lnTo>
                  <a:lnTo>
                    <a:pt x="38" y="228"/>
                  </a:lnTo>
                  <a:lnTo>
                    <a:pt x="38" y="224"/>
                  </a:lnTo>
                  <a:lnTo>
                    <a:pt x="34" y="224"/>
                  </a:lnTo>
                  <a:lnTo>
                    <a:pt x="30" y="224"/>
                  </a:lnTo>
                  <a:lnTo>
                    <a:pt x="30" y="220"/>
                  </a:lnTo>
                  <a:lnTo>
                    <a:pt x="34" y="220"/>
                  </a:lnTo>
                  <a:lnTo>
                    <a:pt x="30" y="220"/>
                  </a:lnTo>
                  <a:lnTo>
                    <a:pt x="30" y="216"/>
                  </a:lnTo>
                  <a:lnTo>
                    <a:pt x="28" y="216"/>
                  </a:lnTo>
                  <a:lnTo>
                    <a:pt x="28" y="220"/>
                  </a:lnTo>
                  <a:lnTo>
                    <a:pt x="28" y="224"/>
                  </a:lnTo>
                  <a:lnTo>
                    <a:pt x="28" y="220"/>
                  </a:lnTo>
                  <a:lnTo>
                    <a:pt x="24" y="216"/>
                  </a:lnTo>
                  <a:lnTo>
                    <a:pt x="28" y="216"/>
                  </a:lnTo>
                  <a:lnTo>
                    <a:pt x="28" y="212"/>
                  </a:lnTo>
                  <a:lnTo>
                    <a:pt x="28" y="216"/>
                  </a:lnTo>
                  <a:lnTo>
                    <a:pt x="28" y="212"/>
                  </a:lnTo>
                  <a:lnTo>
                    <a:pt x="28" y="208"/>
                  </a:lnTo>
                  <a:lnTo>
                    <a:pt x="24" y="206"/>
                  </a:lnTo>
                  <a:lnTo>
                    <a:pt x="24" y="202"/>
                  </a:lnTo>
                  <a:lnTo>
                    <a:pt x="20" y="198"/>
                  </a:lnTo>
                  <a:lnTo>
                    <a:pt x="20" y="194"/>
                  </a:lnTo>
                  <a:lnTo>
                    <a:pt x="24" y="194"/>
                  </a:lnTo>
                  <a:lnTo>
                    <a:pt x="24" y="190"/>
                  </a:lnTo>
                  <a:lnTo>
                    <a:pt x="28" y="190"/>
                  </a:lnTo>
                  <a:lnTo>
                    <a:pt x="28" y="186"/>
                  </a:lnTo>
                  <a:lnTo>
                    <a:pt x="28" y="182"/>
                  </a:lnTo>
                  <a:lnTo>
                    <a:pt x="24" y="182"/>
                  </a:lnTo>
                  <a:lnTo>
                    <a:pt x="24" y="178"/>
                  </a:lnTo>
                  <a:lnTo>
                    <a:pt x="24" y="176"/>
                  </a:lnTo>
                  <a:lnTo>
                    <a:pt x="24" y="172"/>
                  </a:lnTo>
                  <a:lnTo>
                    <a:pt x="20" y="172"/>
                  </a:lnTo>
                  <a:lnTo>
                    <a:pt x="20" y="168"/>
                  </a:lnTo>
                  <a:lnTo>
                    <a:pt x="20" y="164"/>
                  </a:lnTo>
                  <a:lnTo>
                    <a:pt x="16" y="164"/>
                  </a:lnTo>
                  <a:lnTo>
                    <a:pt x="16" y="160"/>
                  </a:lnTo>
                  <a:lnTo>
                    <a:pt x="12" y="156"/>
                  </a:lnTo>
                  <a:lnTo>
                    <a:pt x="12" y="152"/>
                  </a:lnTo>
                  <a:lnTo>
                    <a:pt x="12" y="148"/>
                  </a:lnTo>
                  <a:lnTo>
                    <a:pt x="8" y="146"/>
                  </a:lnTo>
                  <a:lnTo>
                    <a:pt x="8" y="142"/>
                  </a:lnTo>
                  <a:lnTo>
                    <a:pt x="8" y="138"/>
                  </a:lnTo>
                  <a:lnTo>
                    <a:pt x="8" y="134"/>
                  </a:lnTo>
                  <a:lnTo>
                    <a:pt x="4" y="130"/>
                  </a:lnTo>
                  <a:lnTo>
                    <a:pt x="4" y="126"/>
                  </a:lnTo>
                  <a:lnTo>
                    <a:pt x="0" y="122"/>
                  </a:lnTo>
                  <a:lnTo>
                    <a:pt x="0" y="120"/>
                  </a:lnTo>
                  <a:lnTo>
                    <a:pt x="0" y="116"/>
                  </a:lnTo>
                  <a:lnTo>
                    <a:pt x="4" y="116"/>
                  </a:lnTo>
                  <a:lnTo>
                    <a:pt x="4" y="112"/>
                  </a:lnTo>
                  <a:lnTo>
                    <a:pt x="4" y="108"/>
                  </a:lnTo>
                  <a:lnTo>
                    <a:pt x="8" y="108"/>
                  </a:lnTo>
                  <a:lnTo>
                    <a:pt x="8" y="108"/>
                  </a:lnTo>
                  <a:lnTo>
                    <a:pt x="8" y="108"/>
                  </a:lnTo>
                  <a:close/>
                  <a:moveTo>
                    <a:pt x="180" y="134"/>
                  </a:moveTo>
                  <a:lnTo>
                    <a:pt x="180" y="130"/>
                  </a:lnTo>
                  <a:lnTo>
                    <a:pt x="182" y="130"/>
                  </a:lnTo>
                  <a:lnTo>
                    <a:pt x="180" y="126"/>
                  </a:lnTo>
                  <a:lnTo>
                    <a:pt x="180" y="122"/>
                  </a:lnTo>
                  <a:lnTo>
                    <a:pt x="176" y="122"/>
                  </a:lnTo>
                  <a:lnTo>
                    <a:pt x="176" y="120"/>
                  </a:lnTo>
                  <a:lnTo>
                    <a:pt x="172" y="120"/>
                  </a:lnTo>
                  <a:lnTo>
                    <a:pt x="172" y="116"/>
                  </a:lnTo>
                  <a:lnTo>
                    <a:pt x="168" y="116"/>
                  </a:lnTo>
                  <a:lnTo>
                    <a:pt x="168" y="120"/>
                  </a:lnTo>
                  <a:lnTo>
                    <a:pt x="164" y="120"/>
                  </a:lnTo>
                  <a:lnTo>
                    <a:pt x="162" y="122"/>
                  </a:lnTo>
                  <a:lnTo>
                    <a:pt x="158" y="122"/>
                  </a:lnTo>
                  <a:lnTo>
                    <a:pt x="158" y="126"/>
                  </a:lnTo>
                  <a:lnTo>
                    <a:pt x="154" y="130"/>
                  </a:lnTo>
                  <a:lnTo>
                    <a:pt x="154" y="134"/>
                  </a:lnTo>
                  <a:lnTo>
                    <a:pt x="150" y="134"/>
                  </a:lnTo>
                  <a:lnTo>
                    <a:pt x="150" y="138"/>
                  </a:lnTo>
                  <a:lnTo>
                    <a:pt x="150" y="142"/>
                  </a:lnTo>
                  <a:lnTo>
                    <a:pt x="154" y="142"/>
                  </a:lnTo>
                  <a:lnTo>
                    <a:pt x="154" y="146"/>
                  </a:lnTo>
                  <a:lnTo>
                    <a:pt x="154" y="148"/>
                  </a:lnTo>
                  <a:lnTo>
                    <a:pt x="158" y="148"/>
                  </a:lnTo>
                  <a:lnTo>
                    <a:pt x="158" y="152"/>
                  </a:lnTo>
                  <a:lnTo>
                    <a:pt x="162" y="152"/>
                  </a:lnTo>
                  <a:lnTo>
                    <a:pt x="164" y="152"/>
                  </a:lnTo>
                  <a:lnTo>
                    <a:pt x="164" y="148"/>
                  </a:lnTo>
                  <a:lnTo>
                    <a:pt x="164" y="146"/>
                  </a:lnTo>
                  <a:lnTo>
                    <a:pt x="168" y="146"/>
                  </a:lnTo>
                  <a:lnTo>
                    <a:pt x="172" y="146"/>
                  </a:lnTo>
                  <a:lnTo>
                    <a:pt x="176" y="142"/>
                  </a:lnTo>
                  <a:lnTo>
                    <a:pt x="180" y="142"/>
                  </a:lnTo>
                  <a:lnTo>
                    <a:pt x="180" y="138"/>
                  </a:lnTo>
                  <a:lnTo>
                    <a:pt x="180" y="134"/>
                  </a:lnTo>
                  <a:lnTo>
                    <a:pt x="180" y="134"/>
                  </a:lnTo>
                  <a:lnTo>
                    <a:pt x="180" y="134"/>
                  </a:lnTo>
                  <a:close/>
                  <a:moveTo>
                    <a:pt x="302" y="470"/>
                  </a:moveTo>
                  <a:lnTo>
                    <a:pt x="298" y="470"/>
                  </a:lnTo>
                  <a:lnTo>
                    <a:pt x="298" y="466"/>
                  </a:lnTo>
                  <a:lnTo>
                    <a:pt x="302" y="466"/>
                  </a:lnTo>
                  <a:lnTo>
                    <a:pt x="302" y="470"/>
                  </a:lnTo>
                  <a:lnTo>
                    <a:pt x="302" y="470"/>
                  </a:lnTo>
                  <a:lnTo>
                    <a:pt x="302" y="47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02" name="Freeform 195"/>
            <p:cNvSpPr>
              <a:spLocks noEditPoints="1"/>
            </p:cNvSpPr>
            <p:nvPr/>
          </p:nvSpPr>
          <p:spPr bwMode="auto">
            <a:xfrm>
              <a:off x="6878266" y="3647871"/>
              <a:ext cx="199698" cy="197445"/>
            </a:xfrm>
            <a:custGeom>
              <a:avLst/>
              <a:gdLst>
                <a:gd name="T0" fmla="*/ 210 w 318"/>
                <a:gd name="T1" fmla="*/ 8 h 302"/>
                <a:gd name="T2" fmla="*/ 224 w 318"/>
                <a:gd name="T3" fmla="*/ 8 h 302"/>
                <a:gd name="T4" fmla="*/ 236 w 318"/>
                <a:gd name="T5" fmla="*/ 12 h 302"/>
                <a:gd name="T6" fmla="*/ 250 w 318"/>
                <a:gd name="T7" fmla="*/ 18 h 302"/>
                <a:gd name="T8" fmla="*/ 266 w 318"/>
                <a:gd name="T9" fmla="*/ 18 h 302"/>
                <a:gd name="T10" fmla="*/ 278 w 318"/>
                <a:gd name="T11" fmla="*/ 22 h 302"/>
                <a:gd name="T12" fmla="*/ 296 w 318"/>
                <a:gd name="T13" fmla="*/ 26 h 302"/>
                <a:gd name="T14" fmla="*/ 304 w 318"/>
                <a:gd name="T15" fmla="*/ 36 h 302"/>
                <a:gd name="T16" fmla="*/ 284 w 318"/>
                <a:gd name="T17" fmla="*/ 48 h 302"/>
                <a:gd name="T18" fmla="*/ 270 w 318"/>
                <a:gd name="T19" fmla="*/ 58 h 302"/>
                <a:gd name="T20" fmla="*/ 266 w 318"/>
                <a:gd name="T21" fmla="*/ 62 h 302"/>
                <a:gd name="T22" fmla="*/ 254 w 318"/>
                <a:gd name="T23" fmla="*/ 88 h 302"/>
                <a:gd name="T24" fmla="*/ 258 w 318"/>
                <a:gd name="T25" fmla="*/ 100 h 302"/>
                <a:gd name="T26" fmla="*/ 248 w 318"/>
                <a:gd name="T27" fmla="*/ 110 h 302"/>
                <a:gd name="T28" fmla="*/ 236 w 318"/>
                <a:gd name="T29" fmla="*/ 122 h 302"/>
                <a:gd name="T30" fmla="*/ 220 w 318"/>
                <a:gd name="T31" fmla="*/ 134 h 302"/>
                <a:gd name="T32" fmla="*/ 202 w 318"/>
                <a:gd name="T33" fmla="*/ 134 h 302"/>
                <a:gd name="T34" fmla="*/ 188 w 318"/>
                <a:gd name="T35" fmla="*/ 140 h 302"/>
                <a:gd name="T36" fmla="*/ 176 w 318"/>
                <a:gd name="T37" fmla="*/ 144 h 302"/>
                <a:gd name="T38" fmla="*/ 168 w 318"/>
                <a:gd name="T39" fmla="*/ 134 h 302"/>
                <a:gd name="T40" fmla="*/ 154 w 318"/>
                <a:gd name="T41" fmla="*/ 118 h 302"/>
                <a:gd name="T42" fmla="*/ 158 w 318"/>
                <a:gd name="T43" fmla="*/ 108 h 302"/>
                <a:gd name="T44" fmla="*/ 158 w 318"/>
                <a:gd name="T45" fmla="*/ 92 h 302"/>
                <a:gd name="T46" fmla="*/ 154 w 318"/>
                <a:gd name="T47" fmla="*/ 78 h 302"/>
                <a:gd name="T48" fmla="*/ 162 w 318"/>
                <a:gd name="T49" fmla="*/ 62 h 302"/>
                <a:gd name="T50" fmla="*/ 168 w 318"/>
                <a:gd name="T51" fmla="*/ 44 h 302"/>
                <a:gd name="T52" fmla="*/ 164 w 318"/>
                <a:gd name="T53" fmla="*/ 32 h 302"/>
                <a:gd name="T54" fmla="*/ 146 w 318"/>
                <a:gd name="T55" fmla="*/ 36 h 302"/>
                <a:gd name="T56" fmla="*/ 134 w 318"/>
                <a:gd name="T57" fmla="*/ 32 h 302"/>
                <a:gd name="T58" fmla="*/ 134 w 318"/>
                <a:gd name="T59" fmla="*/ 28 h 302"/>
                <a:gd name="T60" fmla="*/ 132 w 318"/>
                <a:gd name="T61" fmla="*/ 26 h 302"/>
                <a:gd name="T62" fmla="*/ 132 w 318"/>
                <a:gd name="T63" fmla="*/ 18 h 302"/>
                <a:gd name="T64" fmla="*/ 134 w 318"/>
                <a:gd name="T65" fmla="*/ 8 h 302"/>
                <a:gd name="T66" fmla="*/ 154 w 318"/>
                <a:gd name="T67" fmla="*/ 4 h 302"/>
                <a:gd name="T68" fmla="*/ 176 w 318"/>
                <a:gd name="T69" fmla="*/ 0 h 302"/>
                <a:gd name="T70" fmla="*/ 192 w 318"/>
                <a:gd name="T71" fmla="*/ 8 h 302"/>
                <a:gd name="T72" fmla="*/ 184 w 318"/>
                <a:gd name="T73" fmla="*/ 152 h 302"/>
                <a:gd name="T74" fmla="*/ 218 w 318"/>
                <a:gd name="T75" fmla="*/ 164 h 302"/>
                <a:gd name="T76" fmla="*/ 318 w 318"/>
                <a:gd name="T77" fmla="*/ 70 h 302"/>
                <a:gd name="T78" fmla="*/ 296 w 318"/>
                <a:gd name="T79" fmla="*/ 78 h 302"/>
                <a:gd name="T80" fmla="*/ 304 w 318"/>
                <a:gd name="T81" fmla="*/ 82 h 302"/>
                <a:gd name="T82" fmla="*/ 292 w 318"/>
                <a:gd name="T83" fmla="*/ 82 h 302"/>
                <a:gd name="T84" fmla="*/ 278 w 318"/>
                <a:gd name="T85" fmla="*/ 92 h 302"/>
                <a:gd name="T86" fmla="*/ 278 w 318"/>
                <a:gd name="T87" fmla="*/ 96 h 302"/>
                <a:gd name="T88" fmla="*/ 64 w 318"/>
                <a:gd name="T89" fmla="*/ 276 h 302"/>
                <a:gd name="T90" fmla="*/ 64 w 318"/>
                <a:gd name="T91" fmla="*/ 282 h 302"/>
                <a:gd name="T92" fmla="*/ 8 w 318"/>
                <a:gd name="T93" fmla="*/ 282 h 302"/>
                <a:gd name="T94" fmla="*/ 56 w 318"/>
                <a:gd name="T95" fmla="*/ 294 h 302"/>
                <a:gd name="T96" fmla="*/ 60 w 318"/>
                <a:gd name="T97" fmla="*/ 290 h 302"/>
                <a:gd name="T98" fmla="*/ 22 w 318"/>
                <a:gd name="T99" fmla="*/ 294 h 302"/>
                <a:gd name="T100" fmla="*/ 26 w 318"/>
                <a:gd name="T101" fmla="*/ 286 h 302"/>
                <a:gd name="T102" fmla="*/ 22 w 318"/>
                <a:gd name="T103" fmla="*/ 298 h 302"/>
                <a:gd name="T104" fmla="*/ 16 w 318"/>
                <a:gd name="T105" fmla="*/ 298 h 302"/>
                <a:gd name="T106" fmla="*/ 42 w 318"/>
                <a:gd name="T107" fmla="*/ 298 h 302"/>
                <a:gd name="T108" fmla="*/ 4 w 318"/>
                <a:gd name="T109"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8" h="302">
                  <a:moveTo>
                    <a:pt x="194" y="8"/>
                  </a:moveTo>
                  <a:lnTo>
                    <a:pt x="198" y="8"/>
                  </a:lnTo>
                  <a:lnTo>
                    <a:pt x="202" y="4"/>
                  </a:lnTo>
                  <a:lnTo>
                    <a:pt x="206" y="4"/>
                  </a:lnTo>
                  <a:lnTo>
                    <a:pt x="210" y="4"/>
                  </a:lnTo>
                  <a:lnTo>
                    <a:pt x="210" y="8"/>
                  </a:lnTo>
                  <a:lnTo>
                    <a:pt x="214" y="8"/>
                  </a:lnTo>
                  <a:lnTo>
                    <a:pt x="218" y="8"/>
                  </a:lnTo>
                  <a:lnTo>
                    <a:pt x="218" y="4"/>
                  </a:lnTo>
                  <a:lnTo>
                    <a:pt x="220" y="4"/>
                  </a:lnTo>
                  <a:lnTo>
                    <a:pt x="220" y="8"/>
                  </a:lnTo>
                  <a:lnTo>
                    <a:pt x="224" y="8"/>
                  </a:lnTo>
                  <a:lnTo>
                    <a:pt x="228" y="8"/>
                  </a:lnTo>
                  <a:lnTo>
                    <a:pt x="232" y="8"/>
                  </a:lnTo>
                  <a:lnTo>
                    <a:pt x="236" y="8"/>
                  </a:lnTo>
                  <a:lnTo>
                    <a:pt x="240" y="8"/>
                  </a:lnTo>
                  <a:lnTo>
                    <a:pt x="240" y="12"/>
                  </a:lnTo>
                  <a:lnTo>
                    <a:pt x="236" y="12"/>
                  </a:lnTo>
                  <a:lnTo>
                    <a:pt x="240" y="12"/>
                  </a:lnTo>
                  <a:lnTo>
                    <a:pt x="240" y="14"/>
                  </a:lnTo>
                  <a:lnTo>
                    <a:pt x="240" y="12"/>
                  </a:lnTo>
                  <a:lnTo>
                    <a:pt x="244" y="14"/>
                  </a:lnTo>
                  <a:lnTo>
                    <a:pt x="248" y="14"/>
                  </a:lnTo>
                  <a:lnTo>
                    <a:pt x="250" y="18"/>
                  </a:lnTo>
                  <a:lnTo>
                    <a:pt x="254" y="18"/>
                  </a:lnTo>
                  <a:lnTo>
                    <a:pt x="258" y="18"/>
                  </a:lnTo>
                  <a:lnTo>
                    <a:pt x="262" y="18"/>
                  </a:lnTo>
                  <a:lnTo>
                    <a:pt x="266" y="18"/>
                  </a:lnTo>
                  <a:lnTo>
                    <a:pt x="270" y="18"/>
                  </a:lnTo>
                  <a:lnTo>
                    <a:pt x="266" y="18"/>
                  </a:lnTo>
                  <a:lnTo>
                    <a:pt x="270" y="18"/>
                  </a:lnTo>
                  <a:lnTo>
                    <a:pt x="270" y="14"/>
                  </a:lnTo>
                  <a:lnTo>
                    <a:pt x="270" y="18"/>
                  </a:lnTo>
                  <a:lnTo>
                    <a:pt x="274" y="18"/>
                  </a:lnTo>
                  <a:lnTo>
                    <a:pt x="278" y="18"/>
                  </a:lnTo>
                  <a:lnTo>
                    <a:pt x="278" y="22"/>
                  </a:lnTo>
                  <a:lnTo>
                    <a:pt x="280" y="26"/>
                  </a:lnTo>
                  <a:lnTo>
                    <a:pt x="284" y="22"/>
                  </a:lnTo>
                  <a:lnTo>
                    <a:pt x="284" y="26"/>
                  </a:lnTo>
                  <a:lnTo>
                    <a:pt x="288" y="26"/>
                  </a:lnTo>
                  <a:lnTo>
                    <a:pt x="292" y="26"/>
                  </a:lnTo>
                  <a:lnTo>
                    <a:pt x="296" y="26"/>
                  </a:lnTo>
                  <a:lnTo>
                    <a:pt x="300" y="22"/>
                  </a:lnTo>
                  <a:lnTo>
                    <a:pt x="304" y="26"/>
                  </a:lnTo>
                  <a:lnTo>
                    <a:pt x="306" y="26"/>
                  </a:lnTo>
                  <a:lnTo>
                    <a:pt x="304" y="28"/>
                  </a:lnTo>
                  <a:lnTo>
                    <a:pt x="304" y="32"/>
                  </a:lnTo>
                  <a:lnTo>
                    <a:pt x="304" y="36"/>
                  </a:lnTo>
                  <a:lnTo>
                    <a:pt x="300" y="36"/>
                  </a:lnTo>
                  <a:lnTo>
                    <a:pt x="296" y="40"/>
                  </a:lnTo>
                  <a:lnTo>
                    <a:pt x="292" y="44"/>
                  </a:lnTo>
                  <a:lnTo>
                    <a:pt x="288" y="44"/>
                  </a:lnTo>
                  <a:lnTo>
                    <a:pt x="288" y="48"/>
                  </a:lnTo>
                  <a:lnTo>
                    <a:pt x="284" y="48"/>
                  </a:lnTo>
                  <a:lnTo>
                    <a:pt x="280" y="48"/>
                  </a:lnTo>
                  <a:lnTo>
                    <a:pt x="278" y="52"/>
                  </a:lnTo>
                  <a:lnTo>
                    <a:pt x="274" y="52"/>
                  </a:lnTo>
                  <a:lnTo>
                    <a:pt x="270" y="52"/>
                  </a:lnTo>
                  <a:lnTo>
                    <a:pt x="270" y="54"/>
                  </a:lnTo>
                  <a:lnTo>
                    <a:pt x="270" y="58"/>
                  </a:lnTo>
                  <a:lnTo>
                    <a:pt x="270" y="62"/>
                  </a:lnTo>
                  <a:lnTo>
                    <a:pt x="266" y="62"/>
                  </a:lnTo>
                  <a:lnTo>
                    <a:pt x="266" y="58"/>
                  </a:lnTo>
                  <a:lnTo>
                    <a:pt x="270" y="58"/>
                  </a:lnTo>
                  <a:lnTo>
                    <a:pt x="266" y="58"/>
                  </a:lnTo>
                  <a:lnTo>
                    <a:pt x="266" y="62"/>
                  </a:lnTo>
                  <a:lnTo>
                    <a:pt x="262" y="66"/>
                  </a:lnTo>
                  <a:lnTo>
                    <a:pt x="258" y="70"/>
                  </a:lnTo>
                  <a:lnTo>
                    <a:pt x="258" y="74"/>
                  </a:lnTo>
                  <a:lnTo>
                    <a:pt x="254" y="78"/>
                  </a:lnTo>
                  <a:lnTo>
                    <a:pt x="254" y="82"/>
                  </a:lnTo>
                  <a:lnTo>
                    <a:pt x="254" y="88"/>
                  </a:lnTo>
                  <a:lnTo>
                    <a:pt x="254" y="92"/>
                  </a:lnTo>
                  <a:lnTo>
                    <a:pt x="258" y="92"/>
                  </a:lnTo>
                  <a:lnTo>
                    <a:pt x="262" y="92"/>
                  </a:lnTo>
                  <a:lnTo>
                    <a:pt x="262" y="96"/>
                  </a:lnTo>
                  <a:lnTo>
                    <a:pt x="258" y="96"/>
                  </a:lnTo>
                  <a:lnTo>
                    <a:pt x="258" y="100"/>
                  </a:lnTo>
                  <a:lnTo>
                    <a:pt x="254" y="100"/>
                  </a:lnTo>
                  <a:lnTo>
                    <a:pt x="254" y="104"/>
                  </a:lnTo>
                  <a:lnTo>
                    <a:pt x="250" y="104"/>
                  </a:lnTo>
                  <a:lnTo>
                    <a:pt x="250" y="108"/>
                  </a:lnTo>
                  <a:lnTo>
                    <a:pt x="250" y="110"/>
                  </a:lnTo>
                  <a:lnTo>
                    <a:pt x="248" y="110"/>
                  </a:lnTo>
                  <a:lnTo>
                    <a:pt x="248" y="114"/>
                  </a:lnTo>
                  <a:lnTo>
                    <a:pt x="248" y="118"/>
                  </a:lnTo>
                  <a:lnTo>
                    <a:pt x="244" y="118"/>
                  </a:lnTo>
                  <a:lnTo>
                    <a:pt x="240" y="118"/>
                  </a:lnTo>
                  <a:lnTo>
                    <a:pt x="236" y="118"/>
                  </a:lnTo>
                  <a:lnTo>
                    <a:pt x="236" y="122"/>
                  </a:lnTo>
                  <a:lnTo>
                    <a:pt x="232" y="126"/>
                  </a:lnTo>
                  <a:lnTo>
                    <a:pt x="232" y="130"/>
                  </a:lnTo>
                  <a:lnTo>
                    <a:pt x="228" y="130"/>
                  </a:lnTo>
                  <a:lnTo>
                    <a:pt x="228" y="134"/>
                  </a:lnTo>
                  <a:lnTo>
                    <a:pt x="224" y="134"/>
                  </a:lnTo>
                  <a:lnTo>
                    <a:pt x="220" y="134"/>
                  </a:lnTo>
                  <a:lnTo>
                    <a:pt x="218" y="138"/>
                  </a:lnTo>
                  <a:lnTo>
                    <a:pt x="218" y="134"/>
                  </a:lnTo>
                  <a:lnTo>
                    <a:pt x="214" y="134"/>
                  </a:lnTo>
                  <a:lnTo>
                    <a:pt x="210" y="134"/>
                  </a:lnTo>
                  <a:lnTo>
                    <a:pt x="206" y="134"/>
                  </a:lnTo>
                  <a:lnTo>
                    <a:pt x="202" y="134"/>
                  </a:lnTo>
                  <a:lnTo>
                    <a:pt x="198" y="134"/>
                  </a:lnTo>
                  <a:lnTo>
                    <a:pt x="194" y="134"/>
                  </a:lnTo>
                  <a:lnTo>
                    <a:pt x="194" y="138"/>
                  </a:lnTo>
                  <a:lnTo>
                    <a:pt x="192" y="138"/>
                  </a:lnTo>
                  <a:lnTo>
                    <a:pt x="188" y="138"/>
                  </a:lnTo>
                  <a:lnTo>
                    <a:pt x="188" y="140"/>
                  </a:lnTo>
                  <a:lnTo>
                    <a:pt x="184" y="140"/>
                  </a:lnTo>
                  <a:lnTo>
                    <a:pt x="184" y="144"/>
                  </a:lnTo>
                  <a:lnTo>
                    <a:pt x="180" y="144"/>
                  </a:lnTo>
                  <a:lnTo>
                    <a:pt x="180" y="148"/>
                  </a:lnTo>
                  <a:lnTo>
                    <a:pt x="176" y="148"/>
                  </a:lnTo>
                  <a:lnTo>
                    <a:pt x="176" y="144"/>
                  </a:lnTo>
                  <a:lnTo>
                    <a:pt x="172" y="144"/>
                  </a:lnTo>
                  <a:lnTo>
                    <a:pt x="172" y="140"/>
                  </a:lnTo>
                  <a:lnTo>
                    <a:pt x="168" y="140"/>
                  </a:lnTo>
                  <a:lnTo>
                    <a:pt x="172" y="138"/>
                  </a:lnTo>
                  <a:lnTo>
                    <a:pt x="168" y="138"/>
                  </a:lnTo>
                  <a:lnTo>
                    <a:pt x="168" y="134"/>
                  </a:lnTo>
                  <a:lnTo>
                    <a:pt x="164" y="130"/>
                  </a:lnTo>
                  <a:lnTo>
                    <a:pt x="162" y="126"/>
                  </a:lnTo>
                  <a:lnTo>
                    <a:pt x="158" y="126"/>
                  </a:lnTo>
                  <a:lnTo>
                    <a:pt x="154" y="126"/>
                  </a:lnTo>
                  <a:lnTo>
                    <a:pt x="154" y="122"/>
                  </a:lnTo>
                  <a:lnTo>
                    <a:pt x="154" y="118"/>
                  </a:lnTo>
                  <a:lnTo>
                    <a:pt x="150" y="118"/>
                  </a:lnTo>
                  <a:lnTo>
                    <a:pt x="154" y="114"/>
                  </a:lnTo>
                  <a:lnTo>
                    <a:pt x="154" y="110"/>
                  </a:lnTo>
                  <a:lnTo>
                    <a:pt x="158" y="110"/>
                  </a:lnTo>
                  <a:lnTo>
                    <a:pt x="162" y="108"/>
                  </a:lnTo>
                  <a:lnTo>
                    <a:pt x="158" y="108"/>
                  </a:lnTo>
                  <a:lnTo>
                    <a:pt x="158" y="104"/>
                  </a:lnTo>
                  <a:lnTo>
                    <a:pt x="154" y="104"/>
                  </a:lnTo>
                  <a:lnTo>
                    <a:pt x="154" y="100"/>
                  </a:lnTo>
                  <a:lnTo>
                    <a:pt x="154" y="96"/>
                  </a:lnTo>
                  <a:lnTo>
                    <a:pt x="158" y="96"/>
                  </a:lnTo>
                  <a:lnTo>
                    <a:pt x="158" y="92"/>
                  </a:lnTo>
                  <a:lnTo>
                    <a:pt x="162" y="88"/>
                  </a:lnTo>
                  <a:lnTo>
                    <a:pt x="158" y="88"/>
                  </a:lnTo>
                  <a:lnTo>
                    <a:pt x="154" y="84"/>
                  </a:lnTo>
                  <a:lnTo>
                    <a:pt x="154" y="82"/>
                  </a:lnTo>
                  <a:lnTo>
                    <a:pt x="150" y="78"/>
                  </a:lnTo>
                  <a:lnTo>
                    <a:pt x="154" y="78"/>
                  </a:lnTo>
                  <a:lnTo>
                    <a:pt x="158" y="78"/>
                  </a:lnTo>
                  <a:lnTo>
                    <a:pt x="162" y="70"/>
                  </a:lnTo>
                  <a:lnTo>
                    <a:pt x="158" y="70"/>
                  </a:lnTo>
                  <a:lnTo>
                    <a:pt x="158" y="66"/>
                  </a:lnTo>
                  <a:lnTo>
                    <a:pt x="162" y="66"/>
                  </a:lnTo>
                  <a:lnTo>
                    <a:pt x="162" y="62"/>
                  </a:lnTo>
                  <a:lnTo>
                    <a:pt x="162" y="58"/>
                  </a:lnTo>
                  <a:lnTo>
                    <a:pt x="162" y="54"/>
                  </a:lnTo>
                  <a:lnTo>
                    <a:pt x="162" y="52"/>
                  </a:lnTo>
                  <a:lnTo>
                    <a:pt x="164" y="48"/>
                  </a:lnTo>
                  <a:lnTo>
                    <a:pt x="168" y="48"/>
                  </a:lnTo>
                  <a:lnTo>
                    <a:pt x="168" y="44"/>
                  </a:lnTo>
                  <a:lnTo>
                    <a:pt x="168" y="40"/>
                  </a:lnTo>
                  <a:lnTo>
                    <a:pt x="172" y="40"/>
                  </a:lnTo>
                  <a:lnTo>
                    <a:pt x="168" y="40"/>
                  </a:lnTo>
                  <a:lnTo>
                    <a:pt x="164" y="40"/>
                  </a:lnTo>
                  <a:lnTo>
                    <a:pt x="164" y="36"/>
                  </a:lnTo>
                  <a:lnTo>
                    <a:pt x="164" y="32"/>
                  </a:lnTo>
                  <a:lnTo>
                    <a:pt x="162" y="32"/>
                  </a:lnTo>
                  <a:lnTo>
                    <a:pt x="158" y="32"/>
                  </a:lnTo>
                  <a:lnTo>
                    <a:pt x="158" y="36"/>
                  </a:lnTo>
                  <a:lnTo>
                    <a:pt x="154" y="36"/>
                  </a:lnTo>
                  <a:lnTo>
                    <a:pt x="150" y="36"/>
                  </a:lnTo>
                  <a:lnTo>
                    <a:pt x="146" y="36"/>
                  </a:lnTo>
                  <a:lnTo>
                    <a:pt x="142" y="36"/>
                  </a:lnTo>
                  <a:lnTo>
                    <a:pt x="142" y="32"/>
                  </a:lnTo>
                  <a:lnTo>
                    <a:pt x="142" y="28"/>
                  </a:lnTo>
                  <a:lnTo>
                    <a:pt x="138" y="28"/>
                  </a:lnTo>
                  <a:lnTo>
                    <a:pt x="138" y="32"/>
                  </a:lnTo>
                  <a:lnTo>
                    <a:pt x="134" y="32"/>
                  </a:lnTo>
                  <a:lnTo>
                    <a:pt x="132" y="36"/>
                  </a:lnTo>
                  <a:lnTo>
                    <a:pt x="132" y="32"/>
                  </a:lnTo>
                  <a:lnTo>
                    <a:pt x="132" y="28"/>
                  </a:lnTo>
                  <a:lnTo>
                    <a:pt x="134" y="28"/>
                  </a:lnTo>
                  <a:lnTo>
                    <a:pt x="134" y="26"/>
                  </a:lnTo>
                  <a:lnTo>
                    <a:pt x="134" y="28"/>
                  </a:lnTo>
                  <a:lnTo>
                    <a:pt x="132" y="28"/>
                  </a:lnTo>
                  <a:lnTo>
                    <a:pt x="132" y="26"/>
                  </a:lnTo>
                  <a:lnTo>
                    <a:pt x="134" y="26"/>
                  </a:lnTo>
                  <a:lnTo>
                    <a:pt x="132" y="26"/>
                  </a:lnTo>
                  <a:lnTo>
                    <a:pt x="132" y="22"/>
                  </a:lnTo>
                  <a:lnTo>
                    <a:pt x="132" y="26"/>
                  </a:lnTo>
                  <a:lnTo>
                    <a:pt x="134" y="22"/>
                  </a:lnTo>
                  <a:lnTo>
                    <a:pt x="132" y="22"/>
                  </a:lnTo>
                  <a:lnTo>
                    <a:pt x="134" y="22"/>
                  </a:lnTo>
                  <a:lnTo>
                    <a:pt x="134" y="18"/>
                  </a:lnTo>
                  <a:lnTo>
                    <a:pt x="132" y="22"/>
                  </a:lnTo>
                  <a:lnTo>
                    <a:pt x="132" y="18"/>
                  </a:lnTo>
                  <a:lnTo>
                    <a:pt x="128" y="18"/>
                  </a:lnTo>
                  <a:lnTo>
                    <a:pt x="128" y="14"/>
                  </a:lnTo>
                  <a:lnTo>
                    <a:pt x="128" y="12"/>
                  </a:lnTo>
                  <a:lnTo>
                    <a:pt x="132" y="12"/>
                  </a:lnTo>
                  <a:lnTo>
                    <a:pt x="132" y="8"/>
                  </a:lnTo>
                  <a:lnTo>
                    <a:pt x="134" y="8"/>
                  </a:lnTo>
                  <a:lnTo>
                    <a:pt x="138" y="8"/>
                  </a:lnTo>
                  <a:lnTo>
                    <a:pt x="142" y="4"/>
                  </a:lnTo>
                  <a:lnTo>
                    <a:pt x="146" y="0"/>
                  </a:lnTo>
                  <a:lnTo>
                    <a:pt x="150" y="0"/>
                  </a:lnTo>
                  <a:lnTo>
                    <a:pt x="154" y="0"/>
                  </a:lnTo>
                  <a:lnTo>
                    <a:pt x="154" y="4"/>
                  </a:lnTo>
                  <a:lnTo>
                    <a:pt x="158" y="4"/>
                  </a:lnTo>
                  <a:lnTo>
                    <a:pt x="162" y="4"/>
                  </a:lnTo>
                  <a:lnTo>
                    <a:pt x="164" y="4"/>
                  </a:lnTo>
                  <a:lnTo>
                    <a:pt x="168" y="4"/>
                  </a:lnTo>
                  <a:lnTo>
                    <a:pt x="172" y="4"/>
                  </a:lnTo>
                  <a:lnTo>
                    <a:pt x="176" y="0"/>
                  </a:lnTo>
                  <a:lnTo>
                    <a:pt x="176" y="4"/>
                  </a:lnTo>
                  <a:lnTo>
                    <a:pt x="180" y="4"/>
                  </a:lnTo>
                  <a:lnTo>
                    <a:pt x="184" y="4"/>
                  </a:lnTo>
                  <a:lnTo>
                    <a:pt x="188" y="4"/>
                  </a:lnTo>
                  <a:lnTo>
                    <a:pt x="192" y="4"/>
                  </a:lnTo>
                  <a:lnTo>
                    <a:pt x="192" y="8"/>
                  </a:lnTo>
                  <a:lnTo>
                    <a:pt x="194" y="8"/>
                  </a:lnTo>
                  <a:lnTo>
                    <a:pt x="194" y="8"/>
                  </a:lnTo>
                  <a:lnTo>
                    <a:pt x="194" y="8"/>
                  </a:lnTo>
                  <a:close/>
                  <a:moveTo>
                    <a:pt x="184" y="152"/>
                  </a:moveTo>
                  <a:lnTo>
                    <a:pt x="184" y="148"/>
                  </a:lnTo>
                  <a:lnTo>
                    <a:pt x="184" y="152"/>
                  </a:lnTo>
                  <a:lnTo>
                    <a:pt x="184" y="152"/>
                  </a:lnTo>
                  <a:lnTo>
                    <a:pt x="184" y="152"/>
                  </a:lnTo>
                  <a:close/>
                  <a:moveTo>
                    <a:pt x="218" y="164"/>
                  </a:moveTo>
                  <a:lnTo>
                    <a:pt x="218" y="160"/>
                  </a:lnTo>
                  <a:lnTo>
                    <a:pt x="218" y="164"/>
                  </a:lnTo>
                  <a:lnTo>
                    <a:pt x="218" y="164"/>
                  </a:lnTo>
                  <a:lnTo>
                    <a:pt x="218" y="164"/>
                  </a:lnTo>
                  <a:close/>
                  <a:moveTo>
                    <a:pt x="318" y="74"/>
                  </a:moveTo>
                  <a:lnTo>
                    <a:pt x="314" y="74"/>
                  </a:lnTo>
                  <a:lnTo>
                    <a:pt x="310" y="70"/>
                  </a:lnTo>
                  <a:lnTo>
                    <a:pt x="314" y="70"/>
                  </a:lnTo>
                  <a:lnTo>
                    <a:pt x="318" y="70"/>
                  </a:lnTo>
                  <a:lnTo>
                    <a:pt x="318" y="74"/>
                  </a:lnTo>
                  <a:lnTo>
                    <a:pt x="318" y="74"/>
                  </a:lnTo>
                  <a:lnTo>
                    <a:pt x="318" y="74"/>
                  </a:lnTo>
                  <a:close/>
                  <a:moveTo>
                    <a:pt x="292" y="82"/>
                  </a:moveTo>
                  <a:lnTo>
                    <a:pt x="292" y="78"/>
                  </a:lnTo>
                  <a:lnTo>
                    <a:pt x="296" y="78"/>
                  </a:lnTo>
                  <a:lnTo>
                    <a:pt x="300" y="74"/>
                  </a:lnTo>
                  <a:lnTo>
                    <a:pt x="304" y="74"/>
                  </a:lnTo>
                  <a:lnTo>
                    <a:pt x="304" y="78"/>
                  </a:lnTo>
                  <a:lnTo>
                    <a:pt x="306" y="78"/>
                  </a:lnTo>
                  <a:lnTo>
                    <a:pt x="306" y="82"/>
                  </a:lnTo>
                  <a:lnTo>
                    <a:pt x="304" y="82"/>
                  </a:lnTo>
                  <a:lnTo>
                    <a:pt x="304" y="84"/>
                  </a:lnTo>
                  <a:lnTo>
                    <a:pt x="300" y="84"/>
                  </a:lnTo>
                  <a:lnTo>
                    <a:pt x="296" y="84"/>
                  </a:lnTo>
                  <a:lnTo>
                    <a:pt x="296" y="82"/>
                  </a:lnTo>
                  <a:lnTo>
                    <a:pt x="292" y="82"/>
                  </a:lnTo>
                  <a:lnTo>
                    <a:pt x="292" y="82"/>
                  </a:lnTo>
                  <a:lnTo>
                    <a:pt x="292" y="82"/>
                  </a:lnTo>
                  <a:close/>
                  <a:moveTo>
                    <a:pt x="278" y="92"/>
                  </a:moveTo>
                  <a:lnTo>
                    <a:pt x="278" y="88"/>
                  </a:lnTo>
                  <a:lnTo>
                    <a:pt x="280" y="88"/>
                  </a:lnTo>
                  <a:lnTo>
                    <a:pt x="280" y="92"/>
                  </a:lnTo>
                  <a:lnTo>
                    <a:pt x="278" y="92"/>
                  </a:lnTo>
                  <a:lnTo>
                    <a:pt x="278" y="92"/>
                  </a:lnTo>
                  <a:lnTo>
                    <a:pt x="278" y="92"/>
                  </a:lnTo>
                  <a:close/>
                  <a:moveTo>
                    <a:pt x="278" y="96"/>
                  </a:moveTo>
                  <a:lnTo>
                    <a:pt x="280" y="96"/>
                  </a:lnTo>
                  <a:lnTo>
                    <a:pt x="278" y="96"/>
                  </a:lnTo>
                  <a:lnTo>
                    <a:pt x="278" y="96"/>
                  </a:lnTo>
                  <a:lnTo>
                    <a:pt x="278" y="96"/>
                  </a:lnTo>
                  <a:close/>
                  <a:moveTo>
                    <a:pt x="64" y="282"/>
                  </a:moveTo>
                  <a:lnTo>
                    <a:pt x="64" y="278"/>
                  </a:lnTo>
                  <a:lnTo>
                    <a:pt x="60" y="278"/>
                  </a:lnTo>
                  <a:lnTo>
                    <a:pt x="64" y="278"/>
                  </a:lnTo>
                  <a:lnTo>
                    <a:pt x="64" y="276"/>
                  </a:lnTo>
                  <a:lnTo>
                    <a:pt x="68" y="276"/>
                  </a:lnTo>
                  <a:lnTo>
                    <a:pt x="68" y="278"/>
                  </a:lnTo>
                  <a:lnTo>
                    <a:pt x="64" y="278"/>
                  </a:lnTo>
                  <a:lnTo>
                    <a:pt x="64" y="282"/>
                  </a:lnTo>
                  <a:lnTo>
                    <a:pt x="64" y="282"/>
                  </a:lnTo>
                  <a:lnTo>
                    <a:pt x="64" y="282"/>
                  </a:lnTo>
                  <a:close/>
                  <a:moveTo>
                    <a:pt x="8" y="286"/>
                  </a:moveTo>
                  <a:lnTo>
                    <a:pt x="4" y="286"/>
                  </a:lnTo>
                  <a:lnTo>
                    <a:pt x="4" y="282"/>
                  </a:lnTo>
                  <a:lnTo>
                    <a:pt x="4" y="278"/>
                  </a:lnTo>
                  <a:lnTo>
                    <a:pt x="4" y="282"/>
                  </a:lnTo>
                  <a:lnTo>
                    <a:pt x="8" y="282"/>
                  </a:lnTo>
                  <a:lnTo>
                    <a:pt x="8" y="286"/>
                  </a:lnTo>
                  <a:lnTo>
                    <a:pt x="8" y="286"/>
                  </a:lnTo>
                  <a:lnTo>
                    <a:pt x="8" y="286"/>
                  </a:lnTo>
                  <a:close/>
                  <a:moveTo>
                    <a:pt x="56" y="294"/>
                  </a:moveTo>
                  <a:lnTo>
                    <a:pt x="52" y="294"/>
                  </a:lnTo>
                  <a:lnTo>
                    <a:pt x="56" y="294"/>
                  </a:lnTo>
                  <a:lnTo>
                    <a:pt x="56" y="290"/>
                  </a:lnTo>
                  <a:lnTo>
                    <a:pt x="60" y="286"/>
                  </a:lnTo>
                  <a:lnTo>
                    <a:pt x="60" y="282"/>
                  </a:lnTo>
                  <a:lnTo>
                    <a:pt x="64" y="282"/>
                  </a:lnTo>
                  <a:lnTo>
                    <a:pt x="64" y="286"/>
                  </a:lnTo>
                  <a:lnTo>
                    <a:pt x="60" y="290"/>
                  </a:lnTo>
                  <a:lnTo>
                    <a:pt x="60" y="294"/>
                  </a:lnTo>
                  <a:lnTo>
                    <a:pt x="56" y="294"/>
                  </a:lnTo>
                  <a:lnTo>
                    <a:pt x="56" y="294"/>
                  </a:lnTo>
                  <a:lnTo>
                    <a:pt x="56" y="294"/>
                  </a:lnTo>
                  <a:close/>
                  <a:moveTo>
                    <a:pt x="22" y="298"/>
                  </a:moveTo>
                  <a:lnTo>
                    <a:pt x="22" y="294"/>
                  </a:lnTo>
                  <a:lnTo>
                    <a:pt x="20" y="294"/>
                  </a:lnTo>
                  <a:lnTo>
                    <a:pt x="20" y="290"/>
                  </a:lnTo>
                  <a:lnTo>
                    <a:pt x="22" y="290"/>
                  </a:lnTo>
                  <a:lnTo>
                    <a:pt x="26" y="286"/>
                  </a:lnTo>
                  <a:lnTo>
                    <a:pt x="30" y="286"/>
                  </a:lnTo>
                  <a:lnTo>
                    <a:pt x="26" y="286"/>
                  </a:lnTo>
                  <a:lnTo>
                    <a:pt x="26" y="290"/>
                  </a:lnTo>
                  <a:lnTo>
                    <a:pt x="26" y="294"/>
                  </a:lnTo>
                  <a:lnTo>
                    <a:pt x="22" y="294"/>
                  </a:lnTo>
                  <a:lnTo>
                    <a:pt x="22" y="298"/>
                  </a:lnTo>
                  <a:lnTo>
                    <a:pt x="22" y="298"/>
                  </a:lnTo>
                  <a:lnTo>
                    <a:pt x="22" y="298"/>
                  </a:lnTo>
                  <a:close/>
                  <a:moveTo>
                    <a:pt x="16" y="298"/>
                  </a:moveTo>
                  <a:lnTo>
                    <a:pt x="12" y="294"/>
                  </a:lnTo>
                  <a:lnTo>
                    <a:pt x="16" y="294"/>
                  </a:lnTo>
                  <a:lnTo>
                    <a:pt x="16" y="298"/>
                  </a:lnTo>
                  <a:lnTo>
                    <a:pt x="16" y="298"/>
                  </a:lnTo>
                  <a:lnTo>
                    <a:pt x="16" y="298"/>
                  </a:lnTo>
                  <a:close/>
                  <a:moveTo>
                    <a:pt x="38" y="302"/>
                  </a:moveTo>
                  <a:lnTo>
                    <a:pt x="34" y="298"/>
                  </a:lnTo>
                  <a:lnTo>
                    <a:pt x="34" y="294"/>
                  </a:lnTo>
                  <a:lnTo>
                    <a:pt x="38" y="294"/>
                  </a:lnTo>
                  <a:lnTo>
                    <a:pt x="42" y="294"/>
                  </a:lnTo>
                  <a:lnTo>
                    <a:pt x="42" y="298"/>
                  </a:lnTo>
                  <a:lnTo>
                    <a:pt x="38" y="302"/>
                  </a:lnTo>
                  <a:lnTo>
                    <a:pt x="38" y="302"/>
                  </a:lnTo>
                  <a:lnTo>
                    <a:pt x="38" y="302"/>
                  </a:lnTo>
                  <a:close/>
                  <a:moveTo>
                    <a:pt x="4" y="302"/>
                  </a:moveTo>
                  <a:lnTo>
                    <a:pt x="0" y="302"/>
                  </a:lnTo>
                  <a:lnTo>
                    <a:pt x="4" y="302"/>
                  </a:lnTo>
                  <a:lnTo>
                    <a:pt x="4" y="298"/>
                  </a:lnTo>
                  <a:lnTo>
                    <a:pt x="4" y="302"/>
                  </a:lnTo>
                  <a:lnTo>
                    <a:pt x="4" y="302"/>
                  </a:lnTo>
                  <a:lnTo>
                    <a:pt x="4" y="30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03" name="Freeform 196"/>
            <p:cNvSpPr>
              <a:spLocks noEditPoints="1"/>
            </p:cNvSpPr>
            <p:nvPr/>
          </p:nvSpPr>
          <p:spPr bwMode="auto">
            <a:xfrm>
              <a:off x="5457773" y="3242520"/>
              <a:ext cx="3177583" cy="704787"/>
            </a:xfrm>
            <a:custGeom>
              <a:avLst/>
              <a:gdLst>
                <a:gd name="T0" fmla="*/ 374 w 5060"/>
                <a:gd name="T1" fmla="*/ 280 h 1078"/>
                <a:gd name="T2" fmla="*/ 344 w 5060"/>
                <a:gd name="T3" fmla="*/ 284 h 1078"/>
                <a:gd name="T4" fmla="*/ 280 w 5060"/>
                <a:gd name="T5" fmla="*/ 358 h 1078"/>
                <a:gd name="T6" fmla="*/ 228 w 5060"/>
                <a:gd name="T7" fmla="*/ 370 h 1078"/>
                <a:gd name="T8" fmla="*/ 284 w 5060"/>
                <a:gd name="T9" fmla="*/ 294 h 1078"/>
                <a:gd name="T10" fmla="*/ 224 w 5060"/>
                <a:gd name="T11" fmla="*/ 262 h 1078"/>
                <a:gd name="T12" fmla="*/ 192 w 5060"/>
                <a:gd name="T13" fmla="*/ 238 h 1078"/>
                <a:gd name="T14" fmla="*/ 244 w 5060"/>
                <a:gd name="T15" fmla="*/ 176 h 1078"/>
                <a:gd name="T16" fmla="*/ 162 w 5060"/>
                <a:gd name="T17" fmla="*/ 150 h 1078"/>
                <a:gd name="T18" fmla="*/ 232 w 5060"/>
                <a:gd name="T19" fmla="*/ 136 h 1078"/>
                <a:gd name="T20" fmla="*/ 202 w 5060"/>
                <a:gd name="T21" fmla="*/ 94 h 1078"/>
                <a:gd name="T22" fmla="*/ 254 w 5060"/>
                <a:gd name="T23" fmla="*/ 24 h 1078"/>
                <a:gd name="T24" fmla="*/ 344 w 5060"/>
                <a:gd name="T25" fmla="*/ 12 h 1078"/>
                <a:gd name="T26" fmla="*/ 508 w 5060"/>
                <a:gd name="T27" fmla="*/ 38 h 1078"/>
                <a:gd name="T28" fmla="*/ 606 w 5060"/>
                <a:gd name="T29" fmla="*/ 280 h 1078"/>
                <a:gd name="T30" fmla="*/ 672 w 5060"/>
                <a:gd name="T31" fmla="*/ 380 h 1078"/>
                <a:gd name="T32" fmla="*/ 630 w 5060"/>
                <a:gd name="T33" fmla="*/ 322 h 1078"/>
                <a:gd name="T34" fmla="*/ 598 w 5060"/>
                <a:gd name="T35" fmla="*/ 302 h 1078"/>
                <a:gd name="T36" fmla="*/ 552 w 5060"/>
                <a:gd name="T37" fmla="*/ 276 h 1078"/>
                <a:gd name="T38" fmla="*/ 448 w 5060"/>
                <a:gd name="T39" fmla="*/ 246 h 1078"/>
                <a:gd name="T40" fmla="*/ 1440 w 5060"/>
                <a:gd name="T41" fmla="*/ 728 h 1078"/>
                <a:gd name="T42" fmla="*/ 1450 w 5060"/>
                <a:gd name="T43" fmla="*/ 764 h 1078"/>
                <a:gd name="T44" fmla="*/ 1428 w 5060"/>
                <a:gd name="T45" fmla="*/ 794 h 1078"/>
                <a:gd name="T46" fmla="*/ 1380 w 5060"/>
                <a:gd name="T47" fmla="*/ 906 h 1078"/>
                <a:gd name="T48" fmla="*/ 1350 w 5060"/>
                <a:gd name="T49" fmla="*/ 914 h 1078"/>
                <a:gd name="T50" fmla="*/ 1274 w 5060"/>
                <a:gd name="T51" fmla="*/ 874 h 1078"/>
                <a:gd name="T52" fmla="*/ 1198 w 5060"/>
                <a:gd name="T53" fmla="*/ 884 h 1078"/>
                <a:gd name="T54" fmla="*/ 1144 w 5060"/>
                <a:gd name="T55" fmla="*/ 952 h 1078"/>
                <a:gd name="T56" fmla="*/ 1026 w 5060"/>
                <a:gd name="T57" fmla="*/ 858 h 1078"/>
                <a:gd name="T58" fmla="*/ 846 w 5060"/>
                <a:gd name="T59" fmla="*/ 806 h 1078"/>
                <a:gd name="T60" fmla="*/ 784 w 5060"/>
                <a:gd name="T61" fmla="*/ 732 h 1078"/>
                <a:gd name="T62" fmla="*/ 772 w 5060"/>
                <a:gd name="T63" fmla="*/ 568 h 1078"/>
                <a:gd name="T64" fmla="*/ 790 w 5060"/>
                <a:gd name="T65" fmla="*/ 546 h 1078"/>
                <a:gd name="T66" fmla="*/ 1010 w 5060"/>
                <a:gd name="T67" fmla="*/ 512 h 1078"/>
                <a:gd name="T68" fmla="*/ 1242 w 5060"/>
                <a:gd name="T69" fmla="*/ 530 h 1078"/>
                <a:gd name="T70" fmla="*/ 1376 w 5060"/>
                <a:gd name="T71" fmla="*/ 648 h 1078"/>
                <a:gd name="T72" fmla="*/ 1532 w 5060"/>
                <a:gd name="T73" fmla="*/ 556 h 1078"/>
                <a:gd name="T74" fmla="*/ 1526 w 5060"/>
                <a:gd name="T75" fmla="*/ 620 h 1078"/>
                <a:gd name="T76" fmla="*/ 1472 w 5060"/>
                <a:gd name="T77" fmla="*/ 676 h 1078"/>
                <a:gd name="T78" fmla="*/ 1442 w 5060"/>
                <a:gd name="T79" fmla="*/ 728 h 1078"/>
                <a:gd name="T80" fmla="*/ 426 w 5060"/>
                <a:gd name="T81" fmla="*/ 258 h 1078"/>
                <a:gd name="T82" fmla="*/ 120 w 5060"/>
                <a:gd name="T83" fmla="*/ 350 h 1078"/>
                <a:gd name="T84" fmla="*/ 1144 w 5060"/>
                <a:gd name="T85" fmla="*/ 926 h 1078"/>
                <a:gd name="T86" fmla="*/ 116 w 5060"/>
                <a:gd name="T87" fmla="*/ 194 h 1078"/>
                <a:gd name="T88" fmla="*/ 172 w 5060"/>
                <a:gd name="T89" fmla="*/ 266 h 1078"/>
                <a:gd name="T90" fmla="*/ 370 w 5060"/>
                <a:gd name="T91" fmla="*/ 318 h 1078"/>
                <a:gd name="T92" fmla="*/ 606 w 5060"/>
                <a:gd name="T93" fmla="*/ 314 h 1078"/>
                <a:gd name="T94" fmla="*/ 348 w 5060"/>
                <a:gd name="T95" fmla="*/ 324 h 1078"/>
                <a:gd name="T96" fmla="*/ 340 w 5060"/>
                <a:gd name="T97" fmla="*/ 328 h 1078"/>
                <a:gd name="T98" fmla="*/ 354 w 5060"/>
                <a:gd name="T99" fmla="*/ 340 h 1078"/>
                <a:gd name="T100" fmla="*/ 630 w 5060"/>
                <a:gd name="T101" fmla="*/ 350 h 1078"/>
                <a:gd name="T102" fmla="*/ 648 w 5060"/>
                <a:gd name="T103" fmla="*/ 378 h 1078"/>
                <a:gd name="T104" fmla="*/ 660 w 5060"/>
                <a:gd name="T105" fmla="*/ 374 h 1078"/>
                <a:gd name="T106" fmla="*/ 630 w 5060"/>
                <a:gd name="T107" fmla="*/ 374 h 1078"/>
                <a:gd name="T108" fmla="*/ 634 w 5060"/>
                <a:gd name="T109" fmla="*/ 384 h 1078"/>
                <a:gd name="T110" fmla="*/ 642 w 5060"/>
                <a:gd name="T111" fmla="*/ 388 h 1078"/>
                <a:gd name="T112" fmla="*/ 168 w 5060"/>
                <a:gd name="T113" fmla="*/ 414 h 1078"/>
                <a:gd name="T114" fmla="*/ 52 w 5060"/>
                <a:gd name="T115" fmla="*/ 440 h 1078"/>
                <a:gd name="T116" fmla="*/ 24 w 5060"/>
                <a:gd name="T117" fmla="*/ 452 h 1078"/>
                <a:gd name="T118" fmla="*/ 780 w 5060"/>
                <a:gd name="T119" fmla="*/ 522 h 1078"/>
                <a:gd name="T120" fmla="*/ 1480 w 5060"/>
                <a:gd name="T121" fmla="*/ 678 h 1078"/>
                <a:gd name="T122" fmla="*/ 1152 w 5060"/>
                <a:gd name="T123" fmla="*/ 914 h 1078"/>
                <a:gd name="T124" fmla="*/ 302 w 5060"/>
                <a:gd name="T125" fmla="*/ 1046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60" h="1078">
                  <a:moveTo>
                    <a:pt x="418" y="266"/>
                  </a:moveTo>
                  <a:lnTo>
                    <a:pt x="418" y="262"/>
                  </a:lnTo>
                  <a:lnTo>
                    <a:pt x="422" y="262"/>
                  </a:lnTo>
                  <a:lnTo>
                    <a:pt x="426" y="262"/>
                  </a:lnTo>
                  <a:lnTo>
                    <a:pt x="430" y="262"/>
                  </a:lnTo>
                  <a:lnTo>
                    <a:pt x="430" y="266"/>
                  </a:lnTo>
                  <a:lnTo>
                    <a:pt x="426" y="266"/>
                  </a:lnTo>
                  <a:lnTo>
                    <a:pt x="422" y="268"/>
                  </a:lnTo>
                  <a:lnTo>
                    <a:pt x="426" y="268"/>
                  </a:lnTo>
                  <a:lnTo>
                    <a:pt x="426" y="272"/>
                  </a:lnTo>
                  <a:lnTo>
                    <a:pt x="422" y="272"/>
                  </a:lnTo>
                  <a:lnTo>
                    <a:pt x="422" y="268"/>
                  </a:lnTo>
                  <a:lnTo>
                    <a:pt x="422" y="272"/>
                  </a:lnTo>
                  <a:lnTo>
                    <a:pt x="422" y="276"/>
                  </a:lnTo>
                  <a:lnTo>
                    <a:pt x="418" y="276"/>
                  </a:lnTo>
                  <a:lnTo>
                    <a:pt x="414" y="276"/>
                  </a:lnTo>
                  <a:lnTo>
                    <a:pt x="410" y="276"/>
                  </a:lnTo>
                  <a:lnTo>
                    <a:pt x="410" y="272"/>
                  </a:lnTo>
                  <a:lnTo>
                    <a:pt x="410" y="276"/>
                  </a:lnTo>
                  <a:lnTo>
                    <a:pt x="406" y="276"/>
                  </a:lnTo>
                  <a:lnTo>
                    <a:pt x="406" y="272"/>
                  </a:lnTo>
                  <a:lnTo>
                    <a:pt x="406" y="276"/>
                  </a:lnTo>
                  <a:lnTo>
                    <a:pt x="404" y="276"/>
                  </a:lnTo>
                  <a:lnTo>
                    <a:pt x="404" y="280"/>
                  </a:lnTo>
                  <a:lnTo>
                    <a:pt x="406" y="280"/>
                  </a:lnTo>
                  <a:lnTo>
                    <a:pt x="404" y="280"/>
                  </a:lnTo>
                  <a:lnTo>
                    <a:pt x="404" y="276"/>
                  </a:lnTo>
                  <a:lnTo>
                    <a:pt x="404" y="280"/>
                  </a:lnTo>
                  <a:lnTo>
                    <a:pt x="404" y="284"/>
                  </a:lnTo>
                  <a:lnTo>
                    <a:pt x="404" y="280"/>
                  </a:lnTo>
                  <a:lnTo>
                    <a:pt x="400" y="280"/>
                  </a:lnTo>
                  <a:lnTo>
                    <a:pt x="400" y="284"/>
                  </a:lnTo>
                  <a:lnTo>
                    <a:pt x="396" y="288"/>
                  </a:lnTo>
                  <a:lnTo>
                    <a:pt x="392" y="288"/>
                  </a:lnTo>
                  <a:lnTo>
                    <a:pt x="392" y="284"/>
                  </a:lnTo>
                  <a:lnTo>
                    <a:pt x="396" y="284"/>
                  </a:lnTo>
                  <a:lnTo>
                    <a:pt x="396" y="280"/>
                  </a:lnTo>
                  <a:lnTo>
                    <a:pt x="396" y="284"/>
                  </a:lnTo>
                  <a:lnTo>
                    <a:pt x="392" y="284"/>
                  </a:lnTo>
                  <a:lnTo>
                    <a:pt x="392" y="288"/>
                  </a:lnTo>
                  <a:lnTo>
                    <a:pt x="392" y="284"/>
                  </a:lnTo>
                  <a:lnTo>
                    <a:pt x="388" y="284"/>
                  </a:lnTo>
                  <a:lnTo>
                    <a:pt x="392" y="288"/>
                  </a:lnTo>
                  <a:lnTo>
                    <a:pt x="388" y="288"/>
                  </a:lnTo>
                  <a:lnTo>
                    <a:pt x="384" y="292"/>
                  </a:lnTo>
                  <a:lnTo>
                    <a:pt x="380" y="292"/>
                  </a:lnTo>
                  <a:lnTo>
                    <a:pt x="384" y="292"/>
                  </a:lnTo>
                  <a:lnTo>
                    <a:pt x="380" y="292"/>
                  </a:lnTo>
                  <a:lnTo>
                    <a:pt x="378" y="292"/>
                  </a:lnTo>
                  <a:lnTo>
                    <a:pt x="378" y="294"/>
                  </a:lnTo>
                  <a:lnTo>
                    <a:pt x="374" y="294"/>
                  </a:lnTo>
                  <a:lnTo>
                    <a:pt x="374" y="292"/>
                  </a:lnTo>
                  <a:lnTo>
                    <a:pt x="370" y="292"/>
                  </a:lnTo>
                  <a:lnTo>
                    <a:pt x="374" y="288"/>
                  </a:lnTo>
                  <a:lnTo>
                    <a:pt x="378" y="288"/>
                  </a:lnTo>
                  <a:lnTo>
                    <a:pt x="378" y="284"/>
                  </a:lnTo>
                  <a:lnTo>
                    <a:pt x="380" y="284"/>
                  </a:lnTo>
                  <a:lnTo>
                    <a:pt x="384" y="280"/>
                  </a:lnTo>
                  <a:lnTo>
                    <a:pt x="380" y="280"/>
                  </a:lnTo>
                  <a:lnTo>
                    <a:pt x="378" y="284"/>
                  </a:lnTo>
                  <a:lnTo>
                    <a:pt x="374" y="280"/>
                  </a:lnTo>
                  <a:lnTo>
                    <a:pt x="374" y="272"/>
                  </a:lnTo>
                  <a:lnTo>
                    <a:pt x="378" y="272"/>
                  </a:lnTo>
                  <a:lnTo>
                    <a:pt x="378" y="268"/>
                  </a:lnTo>
                  <a:lnTo>
                    <a:pt x="380" y="266"/>
                  </a:lnTo>
                  <a:lnTo>
                    <a:pt x="380" y="262"/>
                  </a:lnTo>
                  <a:lnTo>
                    <a:pt x="380" y="258"/>
                  </a:lnTo>
                  <a:lnTo>
                    <a:pt x="378" y="258"/>
                  </a:lnTo>
                  <a:lnTo>
                    <a:pt x="380" y="258"/>
                  </a:lnTo>
                  <a:lnTo>
                    <a:pt x="384" y="258"/>
                  </a:lnTo>
                  <a:lnTo>
                    <a:pt x="388" y="254"/>
                  </a:lnTo>
                  <a:lnTo>
                    <a:pt x="392" y="250"/>
                  </a:lnTo>
                  <a:lnTo>
                    <a:pt x="396" y="250"/>
                  </a:lnTo>
                  <a:lnTo>
                    <a:pt x="396" y="254"/>
                  </a:lnTo>
                  <a:lnTo>
                    <a:pt x="400" y="254"/>
                  </a:lnTo>
                  <a:lnTo>
                    <a:pt x="400" y="250"/>
                  </a:lnTo>
                  <a:lnTo>
                    <a:pt x="404" y="250"/>
                  </a:lnTo>
                  <a:lnTo>
                    <a:pt x="404" y="254"/>
                  </a:lnTo>
                  <a:lnTo>
                    <a:pt x="406" y="254"/>
                  </a:lnTo>
                  <a:lnTo>
                    <a:pt x="410" y="254"/>
                  </a:lnTo>
                  <a:lnTo>
                    <a:pt x="406" y="254"/>
                  </a:lnTo>
                  <a:lnTo>
                    <a:pt x="404" y="250"/>
                  </a:lnTo>
                  <a:lnTo>
                    <a:pt x="400" y="250"/>
                  </a:lnTo>
                  <a:lnTo>
                    <a:pt x="400" y="246"/>
                  </a:lnTo>
                  <a:lnTo>
                    <a:pt x="400" y="242"/>
                  </a:lnTo>
                  <a:lnTo>
                    <a:pt x="404" y="242"/>
                  </a:lnTo>
                  <a:lnTo>
                    <a:pt x="406" y="242"/>
                  </a:lnTo>
                  <a:lnTo>
                    <a:pt x="410" y="238"/>
                  </a:lnTo>
                  <a:lnTo>
                    <a:pt x="406" y="238"/>
                  </a:lnTo>
                  <a:lnTo>
                    <a:pt x="404" y="238"/>
                  </a:lnTo>
                  <a:lnTo>
                    <a:pt x="404" y="242"/>
                  </a:lnTo>
                  <a:lnTo>
                    <a:pt x="400" y="242"/>
                  </a:lnTo>
                  <a:lnTo>
                    <a:pt x="400" y="246"/>
                  </a:lnTo>
                  <a:lnTo>
                    <a:pt x="396" y="246"/>
                  </a:lnTo>
                  <a:lnTo>
                    <a:pt x="392" y="246"/>
                  </a:lnTo>
                  <a:lnTo>
                    <a:pt x="388" y="246"/>
                  </a:lnTo>
                  <a:lnTo>
                    <a:pt x="384" y="246"/>
                  </a:lnTo>
                  <a:lnTo>
                    <a:pt x="380" y="250"/>
                  </a:lnTo>
                  <a:lnTo>
                    <a:pt x="378" y="250"/>
                  </a:lnTo>
                  <a:lnTo>
                    <a:pt x="374" y="254"/>
                  </a:lnTo>
                  <a:lnTo>
                    <a:pt x="374" y="258"/>
                  </a:lnTo>
                  <a:lnTo>
                    <a:pt x="370" y="258"/>
                  </a:lnTo>
                  <a:lnTo>
                    <a:pt x="370" y="262"/>
                  </a:lnTo>
                  <a:lnTo>
                    <a:pt x="366" y="262"/>
                  </a:lnTo>
                  <a:lnTo>
                    <a:pt x="366" y="266"/>
                  </a:lnTo>
                  <a:lnTo>
                    <a:pt x="366" y="268"/>
                  </a:lnTo>
                  <a:lnTo>
                    <a:pt x="362" y="268"/>
                  </a:lnTo>
                  <a:lnTo>
                    <a:pt x="358" y="268"/>
                  </a:lnTo>
                  <a:lnTo>
                    <a:pt x="354" y="268"/>
                  </a:lnTo>
                  <a:lnTo>
                    <a:pt x="358" y="268"/>
                  </a:lnTo>
                  <a:lnTo>
                    <a:pt x="362" y="272"/>
                  </a:lnTo>
                  <a:lnTo>
                    <a:pt x="358" y="276"/>
                  </a:lnTo>
                  <a:lnTo>
                    <a:pt x="354" y="276"/>
                  </a:lnTo>
                  <a:lnTo>
                    <a:pt x="350" y="280"/>
                  </a:lnTo>
                  <a:lnTo>
                    <a:pt x="354" y="276"/>
                  </a:lnTo>
                  <a:lnTo>
                    <a:pt x="354" y="280"/>
                  </a:lnTo>
                  <a:lnTo>
                    <a:pt x="354" y="284"/>
                  </a:lnTo>
                  <a:lnTo>
                    <a:pt x="350" y="284"/>
                  </a:lnTo>
                  <a:lnTo>
                    <a:pt x="350" y="280"/>
                  </a:lnTo>
                  <a:lnTo>
                    <a:pt x="350" y="284"/>
                  </a:lnTo>
                  <a:lnTo>
                    <a:pt x="348" y="284"/>
                  </a:lnTo>
                  <a:lnTo>
                    <a:pt x="344" y="284"/>
                  </a:lnTo>
                  <a:lnTo>
                    <a:pt x="348" y="288"/>
                  </a:lnTo>
                  <a:lnTo>
                    <a:pt x="344" y="288"/>
                  </a:lnTo>
                  <a:lnTo>
                    <a:pt x="340" y="288"/>
                  </a:lnTo>
                  <a:lnTo>
                    <a:pt x="344" y="288"/>
                  </a:lnTo>
                  <a:lnTo>
                    <a:pt x="340" y="292"/>
                  </a:lnTo>
                  <a:lnTo>
                    <a:pt x="340" y="294"/>
                  </a:lnTo>
                  <a:lnTo>
                    <a:pt x="344" y="294"/>
                  </a:lnTo>
                  <a:lnTo>
                    <a:pt x="348" y="294"/>
                  </a:lnTo>
                  <a:lnTo>
                    <a:pt x="348" y="298"/>
                  </a:lnTo>
                  <a:lnTo>
                    <a:pt x="350" y="298"/>
                  </a:lnTo>
                  <a:lnTo>
                    <a:pt x="350" y="302"/>
                  </a:lnTo>
                  <a:lnTo>
                    <a:pt x="348" y="306"/>
                  </a:lnTo>
                  <a:lnTo>
                    <a:pt x="344" y="306"/>
                  </a:lnTo>
                  <a:lnTo>
                    <a:pt x="344" y="310"/>
                  </a:lnTo>
                  <a:lnTo>
                    <a:pt x="340" y="310"/>
                  </a:lnTo>
                  <a:lnTo>
                    <a:pt x="344" y="310"/>
                  </a:lnTo>
                  <a:lnTo>
                    <a:pt x="340" y="310"/>
                  </a:lnTo>
                  <a:lnTo>
                    <a:pt x="336" y="314"/>
                  </a:lnTo>
                  <a:lnTo>
                    <a:pt x="340" y="314"/>
                  </a:lnTo>
                  <a:lnTo>
                    <a:pt x="340" y="318"/>
                  </a:lnTo>
                  <a:lnTo>
                    <a:pt x="336" y="318"/>
                  </a:lnTo>
                  <a:lnTo>
                    <a:pt x="332" y="318"/>
                  </a:lnTo>
                  <a:lnTo>
                    <a:pt x="332" y="322"/>
                  </a:lnTo>
                  <a:lnTo>
                    <a:pt x="328" y="318"/>
                  </a:lnTo>
                  <a:lnTo>
                    <a:pt x="328" y="322"/>
                  </a:lnTo>
                  <a:lnTo>
                    <a:pt x="324" y="322"/>
                  </a:lnTo>
                  <a:lnTo>
                    <a:pt x="324" y="324"/>
                  </a:lnTo>
                  <a:lnTo>
                    <a:pt x="322" y="324"/>
                  </a:lnTo>
                  <a:lnTo>
                    <a:pt x="318" y="324"/>
                  </a:lnTo>
                  <a:lnTo>
                    <a:pt x="318" y="328"/>
                  </a:lnTo>
                  <a:lnTo>
                    <a:pt x="314" y="328"/>
                  </a:lnTo>
                  <a:lnTo>
                    <a:pt x="314" y="332"/>
                  </a:lnTo>
                  <a:lnTo>
                    <a:pt x="310" y="332"/>
                  </a:lnTo>
                  <a:lnTo>
                    <a:pt x="306" y="336"/>
                  </a:lnTo>
                  <a:lnTo>
                    <a:pt x="310" y="336"/>
                  </a:lnTo>
                  <a:lnTo>
                    <a:pt x="310" y="340"/>
                  </a:lnTo>
                  <a:lnTo>
                    <a:pt x="306" y="340"/>
                  </a:lnTo>
                  <a:lnTo>
                    <a:pt x="306" y="344"/>
                  </a:lnTo>
                  <a:lnTo>
                    <a:pt x="302" y="344"/>
                  </a:lnTo>
                  <a:lnTo>
                    <a:pt x="298" y="344"/>
                  </a:lnTo>
                  <a:lnTo>
                    <a:pt x="298" y="348"/>
                  </a:lnTo>
                  <a:lnTo>
                    <a:pt x="294" y="348"/>
                  </a:lnTo>
                  <a:lnTo>
                    <a:pt x="294" y="344"/>
                  </a:lnTo>
                  <a:lnTo>
                    <a:pt x="292" y="344"/>
                  </a:lnTo>
                  <a:lnTo>
                    <a:pt x="292" y="348"/>
                  </a:lnTo>
                  <a:lnTo>
                    <a:pt x="292" y="350"/>
                  </a:lnTo>
                  <a:lnTo>
                    <a:pt x="288" y="348"/>
                  </a:lnTo>
                  <a:lnTo>
                    <a:pt x="288" y="350"/>
                  </a:lnTo>
                  <a:lnTo>
                    <a:pt x="284" y="350"/>
                  </a:lnTo>
                  <a:lnTo>
                    <a:pt x="288" y="350"/>
                  </a:lnTo>
                  <a:lnTo>
                    <a:pt x="288" y="354"/>
                  </a:lnTo>
                  <a:lnTo>
                    <a:pt x="284" y="354"/>
                  </a:lnTo>
                  <a:lnTo>
                    <a:pt x="284" y="350"/>
                  </a:lnTo>
                  <a:lnTo>
                    <a:pt x="284" y="354"/>
                  </a:lnTo>
                  <a:lnTo>
                    <a:pt x="280" y="354"/>
                  </a:lnTo>
                  <a:lnTo>
                    <a:pt x="278" y="354"/>
                  </a:lnTo>
                  <a:lnTo>
                    <a:pt x="278" y="358"/>
                  </a:lnTo>
                  <a:lnTo>
                    <a:pt x="280" y="354"/>
                  </a:lnTo>
                  <a:lnTo>
                    <a:pt x="280" y="358"/>
                  </a:lnTo>
                  <a:lnTo>
                    <a:pt x="284" y="358"/>
                  </a:lnTo>
                  <a:lnTo>
                    <a:pt x="280" y="358"/>
                  </a:lnTo>
                  <a:lnTo>
                    <a:pt x="284" y="358"/>
                  </a:lnTo>
                  <a:lnTo>
                    <a:pt x="280" y="362"/>
                  </a:lnTo>
                  <a:lnTo>
                    <a:pt x="280" y="358"/>
                  </a:lnTo>
                  <a:lnTo>
                    <a:pt x="280" y="362"/>
                  </a:lnTo>
                  <a:lnTo>
                    <a:pt x="278" y="362"/>
                  </a:lnTo>
                  <a:lnTo>
                    <a:pt x="280" y="358"/>
                  </a:lnTo>
                  <a:lnTo>
                    <a:pt x="278" y="358"/>
                  </a:lnTo>
                  <a:lnTo>
                    <a:pt x="278" y="362"/>
                  </a:lnTo>
                  <a:lnTo>
                    <a:pt x="278" y="366"/>
                  </a:lnTo>
                  <a:lnTo>
                    <a:pt x="278" y="362"/>
                  </a:lnTo>
                  <a:lnTo>
                    <a:pt x="274" y="362"/>
                  </a:lnTo>
                  <a:lnTo>
                    <a:pt x="274" y="366"/>
                  </a:lnTo>
                  <a:lnTo>
                    <a:pt x="270" y="366"/>
                  </a:lnTo>
                  <a:lnTo>
                    <a:pt x="266" y="366"/>
                  </a:lnTo>
                  <a:lnTo>
                    <a:pt x="266" y="370"/>
                  </a:lnTo>
                  <a:lnTo>
                    <a:pt x="262" y="370"/>
                  </a:lnTo>
                  <a:lnTo>
                    <a:pt x="262" y="374"/>
                  </a:lnTo>
                  <a:lnTo>
                    <a:pt x="262" y="370"/>
                  </a:lnTo>
                  <a:lnTo>
                    <a:pt x="262" y="366"/>
                  </a:lnTo>
                  <a:lnTo>
                    <a:pt x="258" y="366"/>
                  </a:lnTo>
                  <a:lnTo>
                    <a:pt x="258" y="370"/>
                  </a:lnTo>
                  <a:lnTo>
                    <a:pt x="254" y="370"/>
                  </a:lnTo>
                  <a:lnTo>
                    <a:pt x="254" y="374"/>
                  </a:lnTo>
                  <a:lnTo>
                    <a:pt x="250" y="374"/>
                  </a:lnTo>
                  <a:lnTo>
                    <a:pt x="248" y="374"/>
                  </a:lnTo>
                  <a:lnTo>
                    <a:pt x="248" y="378"/>
                  </a:lnTo>
                  <a:lnTo>
                    <a:pt x="248" y="374"/>
                  </a:lnTo>
                  <a:lnTo>
                    <a:pt x="244" y="374"/>
                  </a:lnTo>
                  <a:lnTo>
                    <a:pt x="244" y="378"/>
                  </a:lnTo>
                  <a:lnTo>
                    <a:pt x="240" y="378"/>
                  </a:lnTo>
                  <a:lnTo>
                    <a:pt x="236" y="378"/>
                  </a:lnTo>
                  <a:lnTo>
                    <a:pt x="236" y="374"/>
                  </a:lnTo>
                  <a:lnTo>
                    <a:pt x="240" y="374"/>
                  </a:lnTo>
                  <a:lnTo>
                    <a:pt x="236" y="374"/>
                  </a:lnTo>
                  <a:lnTo>
                    <a:pt x="232" y="374"/>
                  </a:lnTo>
                  <a:lnTo>
                    <a:pt x="232" y="378"/>
                  </a:lnTo>
                  <a:lnTo>
                    <a:pt x="232" y="380"/>
                  </a:lnTo>
                  <a:lnTo>
                    <a:pt x="228" y="380"/>
                  </a:lnTo>
                  <a:lnTo>
                    <a:pt x="228" y="384"/>
                  </a:lnTo>
                  <a:lnTo>
                    <a:pt x="228" y="380"/>
                  </a:lnTo>
                  <a:lnTo>
                    <a:pt x="224" y="384"/>
                  </a:lnTo>
                  <a:lnTo>
                    <a:pt x="222" y="384"/>
                  </a:lnTo>
                  <a:lnTo>
                    <a:pt x="222" y="380"/>
                  </a:lnTo>
                  <a:lnTo>
                    <a:pt x="222" y="384"/>
                  </a:lnTo>
                  <a:lnTo>
                    <a:pt x="218" y="388"/>
                  </a:lnTo>
                  <a:lnTo>
                    <a:pt x="218" y="384"/>
                  </a:lnTo>
                  <a:lnTo>
                    <a:pt x="214" y="384"/>
                  </a:lnTo>
                  <a:lnTo>
                    <a:pt x="214" y="380"/>
                  </a:lnTo>
                  <a:lnTo>
                    <a:pt x="214" y="384"/>
                  </a:lnTo>
                  <a:lnTo>
                    <a:pt x="214" y="388"/>
                  </a:lnTo>
                  <a:lnTo>
                    <a:pt x="210" y="388"/>
                  </a:lnTo>
                  <a:lnTo>
                    <a:pt x="210" y="384"/>
                  </a:lnTo>
                  <a:lnTo>
                    <a:pt x="210" y="380"/>
                  </a:lnTo>
                  <a:lnTo>
                    <a:pt x="214" y="380"/>
                  </a:lnTo>
                  <a:lnTo>
                    <a:pt x="218" y="380"/>
                  </a:lnTo>
                  <a:lnTo>
                    <a:pt x="218" y="378"/>
                  </a:lnTo>
                  <a:lnTo>
                    <a:pt x="222" y="378"/>
                  </a:lnTo>
                  <a:lnTo>
                    <a:pt x="222" y="374"/>
                  </a:lnTo>
                  <a:lnTo>
                    <a:pt x="224" y="374"/>
                  </a:lnTo>
                  <a:lnTo>
                    <a:pt x="224" y="370"/>
                  </a:lnTo>
                  <a:lnTo>
                    <a:pt x="228" y="370"/>
                  </a:lnTo>
                  <a:lnTo>
                    <a:pt x="232" y="366"/>
                  </a:lnTo>
                  <a:lnTo>
                    <a:pt x="240" y="366"/>
                  </a:lnTo>
                  <a:lnTo>
                    <a:pt x="244" y="366"/>
                  </a:lnTo>
                  <a:lnTo>
                    <a:pt x="248" y="370"/>
                  </a:lnTo>
                  <a:lnTo>
                    <a:pt x="248" y="366"/>
                  </a:lnTo>
                  <a:lnTo>
                    <a:pt x="250" y="366"/>
                  </a:lnTo>
                  <a:lnTo>
                    <a:pt x="250" y="370"/>
                  </a:lnTo>
                  <a:lnTo>
                    <a:pt x="254" y="370"/>
                  </a:lnTo>
                  <a:lnTo>
                    <a:pt x="254" y="366"/>
                  </a:lnTo>
                  <a:lnTo>
                    <a:pt x="250" y="366"/>
                  </a:lnTo>
                  <a:lnTo>
                    <a:pt x="250" y="362"/>
                  </a:lnTo>
                  <a:lnTo>
                    <a:pt x="250" y="358"/>
                  </a:lnTo>
                  <a:lnTo>
                    <a:pt x="254" y="358"/>
                  </a:lnTo>
                  <a:lnTo>
                    <a:pt x="254" y="354"/>
                  </a:lnTo>
                  <a:lnTo>
                    <a:pt x="258" y="354"/>
                  </a:lnTo>
                  <a:lnTo>
                    <a:pt x="258" y="350"/>
                  </a:lnTo>
                  <a:lnTo>
                    <a:pt x="262" y="350"/>
                  </a:lnTo>
                  <a:lnTo>
                    <a:pt x="266" y="350"/>
                  </a:lnTo>
                  <a:lnTo>
                    <a:pt x="270" y="348"/>
                  </a:lnTo>
                  <a:lnTo>
                    <a:pt x="274" y="348"/>
                  </a:lnTo>
                  <a:lnTo>
                    <a:pt x="278" y="348"/>
                  </a:lnTo>
                  <a:lnTo>
                    <a:pt x="278" y="344"/>
                  </a:lnTo>
                  <a:lnTo>
                    <a:pt x="278" y="340"/>
                  </a:lnTo>
                  <a:lnTo>
                    <a:pt x="280" y="336"/>
                  </a:lnTo>
                  <a:lnTo>
                    <a:pt x="284" y="332"/>
                  </a:lnTo>
                  <a:lnTo>
                    <a:pt x="288" y="332"/>
                  </a:lnTo>
                  <a:lnTo>
                    <a:pt x="288" y="328"/>
                  </a:lnTo>
                  <a:lnTo>
                    <a:pt x="292" y="328"/>
                  </a:lnTo>
                  <a:lnTo>
                    <a:pt x="292" y="332"/>
                  </a:lnTo>
                  <a:lnTo>
                    <a:pt x="294" y="332"/>
                  </a:lnTo>
                  <a:lnTo>
                    <a:pt x="294" y="328"/>
                  </a:lnTo>
                  <a:lnTo>
                    <a:pt x="292" y="332"/>
                  </a:lnTo>
                  <a:lnTo>
                    <a:pt x="292" y="328"/>
                  </a:lnTo>
                  <a:lnTo>
                    <a:pt x="292" y="324"/>
                  </a:lnTo>
                  <a:lnTo>
                    <a:pt x="292" y="322"/>
                  </a:lnTo>
                  <a:lnTo>
                    <a:pt x="292" y="318"/>
                  </a:lnTo>
                  <a:lnTo>
                    <a:pt x="294" y="314"/>
                  </a:lnTo>
                  <a:lnTo>
                    <a:pt x="298" y="314"/>
                  </a:lnTo>
                  <a:lnTo>
                    <a:pt x="298" y="318"/>
                  </a:lnTo>
                  <a:lnTo>
                    <a:pt x="298" y="314"/>
                  </a:lnTo>
                  <a:lnTo>
                    <a:pt x="294" y="314"/>
                  </a:lnTo>
                  <a:lnTo>
                    <a:pt x="292" y="314"/>
                  </a:lnTo>
                  <a:lnTo>
                    <a:pt x="292" y="310"/>
                  </a:lnTo>
                  <a:lnTo>
                    <a:pt x="294" y="306"/>
                  </a:lnTo>
                  <a:lnTo>
                    <a:pt x="298" y="302"/>
                  </a:lnTo>
                  <a:lnTo>
                    <a:pt x="298" y="298"/>
                  </a:lnTo>
                  <a:lnTo>
                    <a:pt x="302" y="298"/>
                  </a:lnTo>
                  <a:lnTo>
                    <a:pt x="302" y="294"/>
                  </a:lnTo>
                  <a:lnTo>
                    <a:pt x="298" y="298"/>
                  </a:lnTo>
                  <a:lnTo>
                    <a:pt x="294" y="298"/>
                  </a:lnTo>
                  <a:lnTo>
                    <a:pt x="294" y="302"/>
                  </a:lnTo>
                  <a:lnTo>
                    <a:pt x="292" y="302"/>
                  </a:lnTo>
                  <a:lnTo>
                    <a:pt x="288" y="302"/>
                  </a:lnTo>
                  <a:lnTo>
                    <a:pt x="284" y="306"/>
                  </a:lnTo>
                  <a:lnTo>
                    <a:pt x="280" y="306"/>
                  </a:lnTo>
                  <a:lnTo>
                    <a:pt x="280" y="302"/>
                  </a:lnTo>
                  <a:lnTo>
                    <a:pt x="278" y="302"/>
                  </a:lnTo>
                  <a:lnTo>
                    <a:pt x="278" y="298"/>
                  </a:lnTo>
                  <a:lnTo>
                    <a:pt x="280" y="298"/>
                  </a:lnTo>
                  <a:lnTo>
                    <a:pt x="280" y="294"/>
                  </a:lnTo>
                  <a:lnTo>
                    <a:pt x="284" y="294"/>
                  </a:lnTo>
                  <a:lnTo>
                    <a:pt x="284" y="298"/>
                  </a:lnTo>
                  <a:lnTo>
                    <a:pt x="284" y="294"/>
                  </a:lnTo>
                  <a:lnTo>
                    <a:pt x="280" y="294"/>
                  </a:lnTo>
                  <a:lnTo>
                    <a:pt x="278" y="292"/>
                  </a:lnTo>
                  <a:lnTo>
                    <a:pt x="278" y="294"/>
                  </a:lnTo>
                  <a:lnTo>
                    <a:pt x="280" y="294"/>
                  </a:lnTo>
                  <a:lnTo>
                    <a:pt x="278" y="298"/>
                  </a:lnTo>
                  <a:lnTo>
                    <a:pt x="274" y="298"/>
                  </a:lnTo>
                  <a:lnTo>
                    <a:pt x="274" y="302"/>
                  </a:lnTo>
                  <a:lnTo>
                    <a:pt x="278" y="310"/>
                  </a:lnTo>
                  <a:lnTo>
                    <a:pt x="274" y="310"/>
                  </a:lnTo>
                  <a:lnTo>
                    <a:pt x="270" y="310"/>
                  </a:lnTo>
                  <a:lnTo>
                    <a:pt x="270" y="306"/>
                  </a:lnTo>
                  <a:lnTo>
                    <a:pt x="266" y="302"/>
                  </a:lnTo>
                  <a:lnTo>
                    <a:pt x="262" y="298"/>
                  </a:lnTo>
                  <a:lnTo>
                    <a:pt x="262" y="302"/>
                  </a:lnTo>
                  <a:lnTo>
                    <a:pt x="258" y="302"/>
                  </a:lnTo>
                  <a:lnTo>
                    <a:pt x="258" y="298"/>
                  </a:lnTo>
                  <a:lnTo>
                    <a:pt x="254" y="298"/>
                  </a:lnTo>
                  <a:lnTo>
                    <a:pt x="254" y="294"/>
                  </a:lnTo>
                  <a:lnTo>
                    <a:pt x="250" y="294"/>
                  </a:lnTo>
                  <a:lnTo>
                    <a:pt x="248" y="298"/>
                  </a:lnTo>
                  <a:lnTo>
                    <a:pt x="244" y="298"/>
                  </a:lnTo>
                  <a:lnTo>
                    <a:pt x="244" y="302"/>
                  </a:lnTo>
                  <a:lnTo>
                    <a:pt x="240" y="302"/>
                  </a:lnTo>
                  <a:lnTo>
                    <a:pt x="240" y="306"/>
                  </a:lnTo>
                  <a:lnTo>
                    <a:pt x="236" y="306"/>
                  </a:lnTo>
                  <a:lnTo>
                    <a:pt x="232" y="306"/>
                  </a:lnTo>
                  <a:lnTo>
                    <a:pt x="228" y="306"/>
                  </a:lnTo>
                  <a:lnTo>
                    <a:pt x="228" y="302"/>
                  </a:lnTo>
                  <a:lnTo>
                    <a:pt x="228" y="306"/>
                  </a:lnTo>
                  <a:lnTo>
                    <a:pt x="232" y="306"/>
                  </a:lnTo>
                  <a:lnTo>
                    <a:pt x="232" y="302"/>
                  </a:lnTo>
                  <a:lnTo>
                    <a:pt x="236" y="302"/>
                  </a:lnTo>
                  <a:lnTo>
                    <a:pt x="232" y="302"/>
                  </a:lnTo>
                  <a:lnTo>
                    <a:pt x="232" y="298"/>
                  </a:lnTo>
                  <a:lnTo>
                    <a:pt x="232" y="294"/>
                  </a:lnTo>
                  <a:lnTo>
                    <a:pt x="236" y="294"/>
                  </a:lnTo>
                  <a:lnTo>
                    <a:pt x="232" y="294"/>
                  </a:lnTo>
                  <a:lnTo>
                    <a:pt x="228" y="294"/>
                  </a:lnTo>
                  <a:lnTo>
                    <a:pt x="228" y="292"/>
                  </a:lnTo>
                  <a:lnTo>
                    <a:pt x="228" y="288"/>
                  </a:lnTo>
                  <a:lnTo>
                    <a:pt x="232" y="288"/>
                  </a:lnTo>
                  <a:lnTo>
                    <a:pt x="232" y="284"/>
                  </a:lnTo>
                  <a:lnTo>
                    <a:pt x="232" y="280"/>
                  </a:lnTo>
                  <a:lnTo>
                    <a:pt x="228" y="280"/>
                  </a:lnTo>
                  <a:lnTo>
                    <a:pt x="228" y="276"/>
                  </a:lnTo>
                  <a:lnTo>
                    <a:pt x="224" y="272"/>
                  </a:lnTo>
                  <a:lnTo>
                    <a:pt x="228" y="268"/>
                  </a:lnTo>
                  <a:lnTo>
                    <a:pt x="224" y="268"/>
                  </a:lnTo>
                  <a:lnTo>
                    <a:pt x="224" y="272"/>
                  </a:lnTo>
                  <a:lnTo>
                    <a:pt x="224" y="268"/>
                  </a:lnTo>
                  <a:lnTo>
                    <a:pt x="224" y="266"/>
                  </a:lnTo>
                  <a:lnTo>
                    <a:pt x="224" y="262"/>
                  </a:lnTo>
                  <a:lnTo>
                    <a:pt x="228" y="262"/>
                  </a:lnTo>
                  <a:lnTo>
                    <a:pt x="228" y="258"/>
                  </a:lnTo>
                  <a:lnTo>
                    <a:pt x="228" y="262"/>
                  </a:lnTo>
                  <a:lnTo>
                    <a:pt x="228" y="258"/>
                  </a:lnTo>
                  <a:lnTo>
                    <a:pt x="232" y="258"/>
                  </a:lnTo>
                  <a:lnTo>
                    <a:pt x="228" y="258"/>
                  </a:lnTo>
                  <a:lnTo>
                    <a:pt x="224" y="262"/>
                  </a:lnTo>
                  <a:lnTo>
                    <a:pt x="224" y="266"/>
                  </a:lnTo>
                  <a:lnTo>
                    <a:pt x="222" y="266"/>
                  </a:lnTo>
                  <a:lnTo>
                    <a:pt x="222" y="268"/>
                  </a:lnTo>
                  <a:lnTo>
                    <a:pt x="224" y="268"/>
                  </a:lnTo>
                  <a:lnTo>
                    <a:pt x="222" y="272"/>
                  </a:lnTo>
                  <a:lnTo>
                    <a:pt x="222" y="276"/>
                  </a:lnTo>
                  <a:lnTo>
                    <a:pt x="218" y="276"/>
                  </a:lnTo>
                  <a:lnTo>
                    <a:pt x="214" y="276"/>
                  </a:lnTo>
                  <a:lnTo>
                    <a:pt x="210" y="280"/>
                  </a:lnTo>
                  <a:lnTo>
                    <a:pt x="206" y="280"/>
                  </a:lnTo>
                  <a:lnTo>
                    <a:pt x="202" y="280"/>
                  </a:lnTo>
                  <a:lnTo>
                    <a:pt x="198" y="280"/>
                  </a:lnTo>
                  <a:lnTo>
                    <a:pt x="198" y="276"/>
                  </a:lnTo>
                  <a:lnTo>
                    <a:pt x="198" y="272"/>
                  </a:lnTo>
                  <a:lnTo>
                    <a:pt x="194" y="272"/>
                  </a:lnTo>
                  <a:lnTo>
                    <a:pt x="194" y="268"/>
                  </a:lnTo>
                  <a:lnTo>
                    <a:pt x="192" y="268"/>
                  </a:lnTo>
                  <a:lnTo>
                    <a:pt x="188" y="266"/>
                  </a:lnTo>
                  <a:lnTo>
                    <a:pt x="184" y="266"/>
                  </a:lnTo>
                  <a:lnTo>
                    <a:pt x="188" y="266"/>
                  </a:lnTo>
                  <a:lnTo>
                    <a:pt x="188" y="262"/>
                  </a:lnTo>
                  <a:lnTo>
                    <a:pt x="184" y="262"/>
                  </a:lnTo>
                  <a:lnTo>
                    <a:pt x="180" y="262"/>
                  </a:lnTo>
                  <a:lnTo>
                    <a:pt x="184" y="262"/>
                  </a:lnTo>
                  <a:lnTo>
                    <a:pt x="188" y="258"/>
                  </a:lnTo>
                  <a:lnTo>
                    <a:pt x="188" y="254"/>
                  </a:lnTo>
                  <a:lnTo>
                    <a:pt x="192" y="254"/>
                  </a:lnTo>
                  <a:lnTo>
                    <a:pt x="194" y="258"/>
                  </a:lnTo>
                  <a:lnTo>
                    <a:pt x="198" y="258"/>
                  </a:lnTo>
                  <a:lnTo>
                    <a:pt x="194" y="258"/>
                  </a:lnTo>
                  <a:lnTo>
                    <a:pt x="194" y="262"/>
                  </a:lnTo>
                  <a:lnTo>
                    <a:pt x="198" y="258"/>
                  </a:lnTo>
                  <a:lnTo>
                    <a:pt x="202" y="258"/>
                  </a:lnTo>
                  <a:lnTo>
                    <a:pt x="202" y="262"/>
                  </a:lnTo>
                  <a:lnTo>
                    <a:pt x="206" y="262"/>
                  </a:lnTo>
                  <a:lnTo>
                    <a:pt x="210" y="258"/>
                  </a:lnTo>
                  <a:lnTo>
                    <a:pt x="206" y="258"/>
                  </a:lnTo>
                  <a:lnTo>
                    <a:pt x="206" y="254"/>
                  </a:lnTo>
                  <a:lnTo>
                    <a:pt x="202" y="254"/>
                  </a:lnTo>
                  <a:lnTo>
                    <a:pt x="206" y="254"/>
                  </a:lnTo>
                  <a:lnTo>
                    <a:pt x="206" y="250"/>
                  </a:lnTo>
                  <a:lnTo>
                    <a:pt x="202" y="254"/>
                  </a:lnTo>
                  <a:lnTo>
                    <a:pt x="198" y="254"/>
                  </a:lnTo>
                  <a:lnTo>
                    <a:pt x="194" y="254"/>
                  </a:lnTo>
                  <a:lnTo>
                    <a:pt x="192" y="254"/>
                  </a:lnTo>
                  <a:lnTo>
                    <a:pt x="188" y="254"/>
                  </a:lnTo>
                  <a:lnTo>
                    <a:pt x="184" y="254"/>
                  </a:lnTo>
                  <a:lnTo>
                    <a:pt x="184" y="250"/>
                  </a:lnTo>
                  <a:lnTo>
                    <a:pt x="188" y="250"/>
                  </a:lnTo>
                  <a:lnTo>
                    <a:pt x="192" y="250"/>
                  </a:lnTo>
                  <a:lnTo>
                    <a:pt x="188" y="250"/>
                  </a:lnTo>
                  <a:lnTo>
                    <a:pt x="184" y="250"/>
                  </a:lnTo>
                  <a:lnTo>
                    <a:pt x="184" y="246"/>
                  </a:lnTo>
                  <a:lnTo>
                    <a:pt x="180" y="246"/>
                  </a:lnTo>
                  <a:lnTo>
                    <a:pt x="184" y="246"/>
                  </a:lnTo>
                  <a:lnTo>
                    <a:pt x="184" y="242"/>
                  </a:lnTo>
                  <a:lnTo>
                    <a:pt x="188" y="242"/>
                  </a:lnTo>
                  <a:lnTo>
                    <a:pt x="188" y="238"/>
                  </a:lnTo>
                  <a:lnTo>
                    <a:pt x="192" y="238"/>
                  </a:lnTo>
                  <a:lnTo>
                    <a:pt x="192" y="236"/>
                  </a:lnTo>
                  <a:lnTo>
                    <a:pt x="192" y="238"/>
                  </a:lnTo>
                  <a:lnTo>
                    <a:pt x="188" y="238"/>
                  </a:lnTo>
                  <a:lnTo>
                    <a:pt x="188" y="242"/>
                  </a:lnTo>
                  <a:lnTo>
                    <a:pt x="184" y="242"/>
                  </a:lnTo>
                  <a:lnTo>
                    <a:pt x="184" y="246"/>
                  </a:lnTo>
                  <a:lnTo>
                    <a:pt x="180" y="246"/>
                  </a:lnTo>
                  <a:lnTo>
                    <a:pt x="184" y="246"/>
                  </a:lnTo>
                  <a:lnTo>
                    <a:pt x="180" y="250"/>
                  </a:lnTo>
                  <a:lnTo>
                    <a:pt x="176" y="246"/>
                  </a:lnTo>
                  <a:lnTo>
                    <a:pt x="180" y="246"/>
                  </a:lnTo>
                  <a:lnTo>
                    <a:pt x="176" y="242"/>
                  </a:lnTo>
                  <a:lnTo>
                    <a:pt x="172" y="242"/>
                  </a:lnTo>
                  <a:lnTo>
                    <a:pt x="176" y="242"/>
                  </a:lnTo>
                  <a:lnTo>
                    <a:pt x="176" y="238"/>
                  </a:lnTo>
                  <a:lnTo>
                    <a:pt x="172" y="238"/>
                  </a:lnTo>
                  <a:lnTo>
                    <a:pt x="168" y="238"/>
                  </a:lnTo>
                  <a:lnTo>
                    <a:pt x="168" y="236"/>
                  </a:lnTo>
                  <a:lnTo>
                    <a:pt x="172" y="236"/>
                  </a:lnTo>
                  <a:lnTo>
                    <a:pt x="176" y="236"/>
                  </a:lnTo>
                  <a:lnTo>
                    <a:pt x="172" y="236"/>
                  </a:lnTo>
                  <a:lnTo>
                    <a:pt x="172" y="232"/>
                  </a:lnTo>
                  <a:lnTo>
                    <a:pt x="176" y="232"/>
                  </a:lnTo>
                  <a:lnTo>
                    <a:pt x="176" y="228"/>
                  </a:lnTo>
                  <a:lnTo>
                    <a:pt x="176" y="224"/>
                  </a:lnTo>
                  <a:lnTo>
                    <a:pt x="180" y="224"/>
                  </a:lnTo>
                  <a:lnTo>
                    <a:pt x="180" y="222"/>
                  </a:lnTo>
                  <a:lnTo>
                    <a:pt x="184" y="222"/>
                  </a:lnTo>
                  <a:lnTo>
                    <a:pt x="184" y="218"/>
                  </a:lnTo>
                  <a:lnTo>
                    <a:pt x="188" y="218"/>
                  </a:lnTo>
                  <a:lnTo>
                    <a:pt x="192" y="218"/>
                  </a:lnTo>
                  <a:lnTo>
                    <a:pt x="192" y="222"/>
                  </a:lnTo>
                  <a:lnTo>
                    <a:pt x="192" y="218"/>
                  </a:lnTo>
                  <a:lnTo>
                    <a:pt x="188" y="218"/>
                  </a:lnTo>
                  <a:lnTo>
                    <a:pt x="192" y="214"/>
                  </a:lnTo>
                  <a:lnTo>
                    <a:pt x="194" y="210"/>
                  </a:lnTo>
                  <a:lnTo>
                    <a:pt x="192" y="214"/>
                  </a:lnTo>
                  <a:lnTo>
                    <a:pt x="188" y="210"/>
                  </a:lnTo>
                  <a:lnTo>
                    <a:pt x="192" y="206"/>
                  </a:lnTo>
                  <a:lnTo>
                    <a:pt x="194" y="206"/>
                  </a:lnTo>
                  <a:lnTo>
                    <a:pt x="194" y="202"/>
                  </a:lnTo>
                  <a:lnTo>
                    <a:pt x="192" y="202"/>
                  </a:lnTo>
                  <a:lnTo>
                    <a:pt x="194" y="198"/>
                  </a:lnTo>
                  <a:lnTo>
                    <a:pt x="198" y="198"/>
                  </a:lnTo>
                  <a:lnTo>
                    <a:pt x="202" y="198"/>
                  </a:lnTo>
                  <a:lnTo>
                    <a:pt x="206" y="198"/>
                  </a:lnTo>
                  <a:lnTo>
                    <a:pt x="206" y="202"/>
                  </a:lnTo>
                  <a:lnTo>
                    <a:pt x="210" y="202"/>
                  </a:lnTo>
                  <a:lnTo>
                    <a:pt x="210" y="206"/>
                  </a:lnTo>
                  <a:lnTo>
                    <a:pt x="214" y="206"/>
                  </a:lnTo>
                  <a:lnTo>
                    <a:pt x="214" y="202"/>
                  </a:lnTo>
                  <a:lnTo>
                    <a:pt x="218" y="202"/>
                  </a:lnTo>
                  <a:lnTo>
                    <a:pt x="222" y="198"/>
                  </a:lnTo>
                  <a:lnTo>
                    <a:pt x="224" y="194"/>
                  </a:lnTo>
                  <a:lnTo>
                    <a:pt x="224" y="192"/>
                  </a:lnTo>
                  <a:lnTo>
                    <a:pt x="228" y="194"/>
                  </a:lnTo>
                  <a:lnTo>
                    <a:pt x="232" y="194"/>
                  </a:lnTo>
                  <a:lnTo>
                    <a:pt x="236" y="194"/>
                  </a:lnTo>
                  <a:lnTo>
                    <a:pt x="240" y="194"/>
                  </a:lnTo>
                  <a:lnTo>
                    <a:pt x="248" y="188"/>
                  </a:lnTo>
                  <a:lnTo>
                    <a:pt x="248" y="184"/>
                  </a:lnTo>
                  <a:lnTo>
                    <a:pt x="244" y="180"/>
                  </a:lnTo>
                  <a:lnTo>
                    <a:pt x="244" y="176"/>
                  </a:lnTo>
                  <a:lnTo>
                    <a:pt x="240" y="172"/>
                  </a:lnTo>
                  <a:lnTo>
                    <a:pt x="236" y="172"/>
                  </a:lnTo>
                  <a:lnTo>
                    <a:pt x="236" y="168"/>
                  </a:lnTo>
                  <a:lnTo>
                    <a:pt x="240" y="168"/>
                  </a:lnTo>
                  <a:lnTo>
                    <a:pt x="244" y="168"/>
                  </a:lnTo>
                  <a:lnTo>
                    <a:pt x="248" y="166"/>
                  </a:lnTo>
                  <a:lnTo>
                    <a:pt x="248" y="162"/>
                  </a:lnTo>
                  <a:lnTo>
                    <a:pt x="244" y="162"/>
                  </a:lnTo>
                  <a:lnTo>
                    <a:pt x="240" y="162"/>
                  </a:lnTo>
                  <a:lnTo>
                    <a:pt x="244" y="162"/>
                  </a:lnTo>
                  <a:lnTo>
                    <a:pt x="244" y="158"/>
                  </a:lnTo>
                  <a:lnTo>
                    <a:pt x="240" y="158"/>
                  </a:lnTo>
                  <a:lnTo>
                    <a:pt x="240" y="162"/>
                  </a:lnTo>
                  <a:lnTo>
                    <a:pt x="236" y="166"/>
                  </a:lnTo>
                  <a:lnTo>
                    <a:pt x="236" y="162"/>
                  </a:lnTo>
                  <a:lnTo>
                    <a:pt x="232" y="162"/>
                  </a:lnTo>
                  <a:lnTo>
                    <a:pt x="232" y="166"/>
                  </a:lnTo>
                  <a:lnTo>
                    <a:pt x="228" y="166"/>
                  </a:lnTo>
                  <a:lnTo>
                    <a:pt x="232" y="166"/>
                  </a:lnTo>
                  <a:lnTo>
                    <a:pt x="228" y="166"/>
                  </a:lnTo>
                  <a:lnTo>
                    <a:pt x="224" y="166"/>
                  </a:lnTo>
                  <a:lnTo>
                    <a:pt x="224" y="168"/>
                  </a:lnTo>
                  <a:lnTo>
                    <a:pt x="222" y="168"/>
                  </a:lnTo>
                  <a:lnTo>
                    <a:pt x="222" y="172"/>
                  </a:lnTo>
                  <a:lnTo>
                    <a:pt x="218" y="172"/>
                  </a:lnTo>
                  <a:lnTo>
                    <a:pt x="218" y="168"/>
                  </a:lnTo>
                  <a:lnTo>
                    <a:pt x="214" y="166"/>
                  </a:lnTo>
                  <a:lnTo>
                    <a:pt x="210" y="166"/>
                  </a:lnTo>
                  <a:lnTo>
                    <a:pt x="210" y="168"/>
                  </a:lnTo>
                  <a:lnTo>
                    <a:pt x="214" y="168"/>
                  </a:lnTo>
                  <a:lnTo>
                    <a:pt x="214" y="172"/>
                  </a:lnTo>
                  <a:lnTo>
                    <a:pt x="210" y="172"/>
                  </a:lnTo>
                  <a:lnTo>
                    <a:pt x="210" y="168"/>
                  </a:lnTo>
                  <a:lnTo>
                    <a:pt x="206" y="168"/>
                  </a:lnTo>
                  <a:lnTo>
                    <a:pt x="202" y="168"/>
                  </a:lnTo>
                  <a:lnTo>
                    <a:pt x="198" y="168"/>
                  </a:lnTo>
                  <a:lnTo>
                    <a:pt x="194" y="168"/>
                  </a:lnTo>
                  <a:lnTo>
                    <a:pt x="192" y="168"/>
                  </a:lnTo>
                  <a:lnTo>
                    <a:pt x="188" y="168"/>
                  </a:lnTo>
                  <a:lnTo>
                    <a:pt x="188" y="172"/>
                  </a:lnTo>
                  <a:lnTo>
                    <a:pt x="192" y="172"/>
                  </a:lnTo>
                  <a:lnTo>
                    <a:pt x="192" y="168"/>
                  </a:lnTo>
                  <a:lnTo>
                    <a:pt x="192" y="172"/>
                  </a:lnTo>
                  <a:lnTo>
                    <a:pt x="188" y="172"/>
                  </a:lnTo>
                  <a:lnTo>
                    <a:pt x="184" y="172"/>
                  </a:lnTo>
                  <a:lnTo>
                    <a:pt x="184" y="168"/>
                  </a:lnTo>
                  <a:lnTo>
                    <a:pt x="180" y="168"/>
                  </a:lnTo>
                  <a:lnTo>
                    <a:pt x="176" y="168"/>
                  </a:lnTo>
                  <a:lnTo>
                    <a:pt x="172" y="168"/>
                  </a:lnTo>
                  <a:lnTo>
                    <a:pt x="168" y="168"/>
                  </a:lnTo>
                  <a:lnTo>
                    <a:pt x="168" y="166"/>
                  </a:lnTo>
                  <a:lnTo>
                    <a:pt x="166" y="166"/>
                  </a:lnTo>
                  <a:lnTo>
                    <a:pt x="166" y="162"/>
                  </a:lnTo>
                  <a:lnTo>
                    <a:pt x="168" y="162"/>
                  </a:lnTo>
                  <a:lnTo>
                    <a:pt x="166" y="162"/>
                  </a:lnTo>
                  <a:lnTo>
                    <a:pt x="166" y="158"/>
                  </a:lnTo>
                  <a:lnTo>
                    <a:pt x="162" y="158"/>
                  </a:lnTo>
                  <a:lnTo>
                    <a:pt x="162" y="154"/>
                  </a:lnTo>
                  <a:lnTo>
                    <a:pt x="158" y="154"/>
                  </a:lnTo>
                  <a:lnTo>
                    <a:pt x="162" y="154"/>
                  </a:lnTo>
                  <a:lnTo>
                    <a:pt x="162" y="150"/>
                  </a:lnTo>
                  <a:lnTo>
                    <a:pt x="162" y="154"/>
                  </a:lnTo>
                  <a:lnTo>
                    <a:pt x="166" y="154"/>
                  </a:lnTo>
                  <a:lnTo>
                    <a:pt x="168" y="150"/>
                  </a:lnTo>
                  <a:lnTo>
                    <a:pt x="168" y="154"/>
                  </a:lnTo>
                  <a:lnTo>
                    <a:pt x="172" y="154"/>
                  </a:lnTo>
                  <a:lnTo>
                    <a:pt x="172" y="150"/>
                  </a:lnTo>
                  <a:lnTo>
                    <a:pt x="168" y="150"/>
                  </a:lnTo>
                  <a:lnTo>
                    <a:pt x="166" y="150"/>
                  </a:lnTo>
                  <a:lnTo>
                    <a:pt x="162" y="150"/>
                  </a:lnTo>
                  <a:lnTo>
                    <a:pt x="158" y="150"/>
                  </a:lnTo>
                  <a:lnTo>
                    <a:pt x="154" y="146"/>
                  </a:lnTo>
                  <a:lnTo>
                    <a:pt x="150" y="146"/>
                  </a:lnTo>
                  <a:lnTo>
                    <a:pt x="146" y="146"/>
                  </a:lnTo>
                  <a:lnTo>
                    <a:pt x="146" y="142"/>
                  </a:lnTo>
                  <a:lnTo>
                    <a:pt x="142" y="142"/>
                  </a:lnTo>
                  <a:lnTo>
                    <a:pt x="142" y="138"/>
                  </a:lnTo>
                  <a:lnTo>
                    <a:pt x="146" y="138"/>
                  </a:lnTo>
                  <a:lnTo>
                    <a:pt x="146" y="142"/>
                  </a:lnTo>
                  <a:lnTo>
                    <a:pt x="142" y="142"/>
                  </a:lnTo>
                  <a:lnTo>
                    <a:pt x="146" y="142"/>
                  </a:lnTo>
                  <a:lnTo>
                    <a:pt x="150" y="138"/>
                  </a:lnTo>
                  <a:lnTo>
                    <a:pt x="154" y="138"/>
                  </a:lnTo>
                  <a:lnTo>
                    <a:pt x="154" y="136"/>
                  </a:lnTo>
                  <a:lnTo>
                    <a:pt x="158" y="138"/>
                  </a:lnTo>
                  <a:lnTo>
                    <a:pt x="158" y="136"/>
                  </a:lnTo>
                  <a:lnTo>
                    <a:pt x="162" y="136"/>
                  </a:lnTo>
                  <a:lnTo>
                    <a:pt x="158" y="136"/>
                  </a:lnTo>
                  <a:lnTo>
                    <a:pt x="162" y="136"/>
                  </a:lnTo>
                  <a:lnTo>
                    <a:pt x="162" y="132"/>
                  </a:lnTo>
                  <a:lnTo>
                    <a:pt x="166" y="132"/>
                  </a:lnTo>
                  <a:lnTo>
                    <a:pt x="168" y="128"/>
                  </a:lnTo>
                  <a:lnTo>
                    <a:pt x="172" y="132"/>
                  </a:lnTo>
                  <a:lnTo>
                    <a:pt x="176" y="132"/>
                  </a:lnTo>
                  <a:lnTo>
                    <a:pt x="180" y="132"/>
                  </a:lnTo>
                  <a:lnTo>
                    <a:pt x="176" y="128"/>
                  </a:lnTo>
                  <a:lnTo>
                    <a:pt x="172" y="128"/>
                  </a:lnTo>
                  <a:lnTo>
                    <a:pt x="176" y="128"/>
                  </a:lnTo>
                  <a:lnTo>
                    <a:pt x="176" y="124"/>
                  </a:lnTo>
                  <a:lnTo>
                    <a:pt x="180" y="124"/>
                  </a:lnTo>
                  <a:lnTo>
                    <a:pt x="184" y="124"/>
                  </a:lnTo>
                  <a:lnTo>
                    <a:pt x="188" y="124"/>
                  </a:lnTo>
                  <a:lnTo>
                    <a:pt x="192" y="120"/>
                  </a:lnTo>
                  <a:lnTo>
                    <a:pt x="194" y="120"/>
                  </a:lnTo>
                  <a:lnTo>
                    <a:pt x="198" y="120"/>
                  </a:lnTo>
                  <a:lnTo>
                    <a:pt x="202" y="120"/>
                  </a:lnTo>
                  <a:lnTo>
                    <a:pt x="206" y="120"/>
                  </a:lnTo>
                  <a:lnTo>
                    <a:pt x="202" y="120"/>
                  </a:lnTo>
                  <a:lnTo>
                    <a:pt x="206" y="120"/>
                  </a:lnTo>
                  <a:lnTo>
                    <a:pt x="202" y="124"/>
                  </a:lnTo>
                  <a:lnTo>
                    <a:pt x="202" y="128"/>
                  </a:lnTo>
                  <a:lnTo>
                    <a:pt x="198" y="128"/>
                  </a:lnTo>
                  <a:lnTo>
                    <a:pt x="202" y="128"/>
                  </a:lnTo>
                  <a:lnTo>
                    <a:pt x="202" y="132"/>
                  </a:lnTo>
                  <a:lnTo>
                    <a:pt x="206" y="132"/>
                  </a:lnTo>
                  <a:lnTo>
                    <a:pt x="210" y="132"/>
                  </a:lnTo>
                  <a:lnTo>
                    <a:pt x="214" y="132"/>
                  </a:lnTo>
                  <a:lnTo>
                    <a:pt x="218" y="132"/>
                  </a:lnTo>
                  <a:lnTo>
                    <a:pt x="222" y="132"/>
                  </a:lnTo>
                  <a:lnTo>
                    <a:pt x="224" y="132"/>
                  </a:lnTo>
                  <a:lnTo>
                    <a:pt x="228" y="132"/>
                  </a:lnTo>
                  <a:lnTo>
                    <a:pt x="232" y="136"/>
                  </a:lnTo>
                  <a:lnTo>
                    <a:pt x="232" y="132"/>
                  </a:lnTo>
                  <a:lnTo>
                    <a:pt x="236" y="132"/>
                  </a:lnTo>
                  <a:lnTo>
                    <a:pt x="236" y="128"/>
                  </a:lnTo>
                  <a:lnTo>
                    <a:pt x="240" y="128"/>
                  </a:lnTo>
                  <a:lnTo>
                    <a:pt x="244" y="128"/>
                  </a:lnTo>
                  <a:lnTo>
                    <a:pt x="244" y="132"/>
                  </a:lnTo>
                  <a:lnTo>
                    <a:pt x="240" y="132"/>
                  </a:lnTo>
                  <a:lnTo>
                    <a:pt x="244" y="132"/>
                  </a:lnTo>
                  <a:lnTo>
                    <a:pt x="244" y="128"/>
                  </a:lnTo>
                  <a:lnTo>
                    <a:pt x="244" y="124"/>
                  </a:lnTo>
                  <a:lnTo>
                    <a:pt x="240" y="124"/>
                  </a:lnTo>
                  <a:lnTo>
                    <a:pt x="236" y="124"/>
                  </a:lnTo>
                  <a:lnTo>
                    <a:pt x="232" y="124"/>
                  </a:lnTo>
                  <a:lnTo>
                    <a:pt x="232" y="128"/>
                  </a:lnTo>
                  <a:lnTo>
                    <a:pt x="228" y="124"/>
                  </a:lnTo>
                  <a:lnTo>
                    <a:pt x="232" y="124"/>
                  </a:lnTo>
                  <a:lnTo>
                    <a:pt x="232" y="120"/>
                  </a:lnTo>
                  <a:lnTo>
                    <a:pt x="228" y="116"/>
                  </a:lnTo>
                  <a:lnTo>
                    <a:pt x="224" y="116"/>
                  </a:lnTo>
                  <a:lnTo>
                    <a:pt x="222" y="116"/>
                  </a:lnTo>
                  <a:lnTo>
                    <a:pt x="222" y="112"/>
                  </a:lnTo>
                  <a:lnTo>
                    <a:pt x="224" y="110"/>
                  </a:lnTo>
                  <a:lnTo>
                    <a:pt x="228" y="112"/>
                  </a:lnTo>
                  <a:lnTo>
                    <a:pt x="228" y="116"/>
                  </a:lnTo>
                  <a:lnTo>
                    <a:pt x="232" y="120"/>
                  </a:lnTo>
                  <a:lnTo>
                    <a:pt x="236" y="124"/>
                  </a:lnTo>
                  <a:lnTo>
                    <a:pt x="240" y="120"/>
                  </a:lnTo>
                  <a:lnTo>
                    <a:pt x="244" y="120"/>
                  </a:lnTo>
                  <a:lnTo>
                    <a:pt x="244" y="124"/>
                  </a:lnTo>
                  <a:lnTo>
                    <a:pt x="248" y="124"/>
                  </a:lnTo>
                  <a:lnTo>
                    <a:pt x="250" y="124"/>
                  </a:lnTo>
                  <a:lnTo>
                    <a:pt x="254" y="124"/>
                  </a:lnTo>
                  <a:lnTo>
                    <a:pt x="254" y="120"/>
                  </a:lnTo>
                  <a:lnTo>
                    <a:pt x="254" y="116"/>
                  </a:lnTo>
                  <a:lnTo>
                    <a:pt x="250" y="120"/>
                  </a:lnTo>
                  <a:lnTo>
                    <a:pt x="248" y="120"/>
                  </a:lnTo>
                  <a:lnTo>
                    <a:pt x="248" y="116"/>
                  </a:lnTo>
                  <a:lnTo>
                    <a:pt x="244" y="116"/>
                  </a:lnTo>
                  <a:lnTo>
                    <a:pt x="240" y="116"/>
                  </a:lnTo>
                  <a:lnTo>
                    <a:pt x="240" y="120"/>
                  </a:lnTo>
                  <a:lnTo>
                    <a:pt x="236" y="120"/>
                  </a:lnTo>
                  <a:lnTo>
                    <a:pt x="232" y="120"/>
                  </a:lnTo>
                  <a:lnTo>
                    <a:pt x="232" y="116"/>
                  </a:lnTo>
                  <a:lnTo>
                    <a:pt x="232" y="112"/>
                  </a:lnTo>
                  <a:lnTo>
                    <a:pt x="232" y="110"/>
                  </a:lnTo>
                  <a:lnTo>
                    <a:pt x="236" y="110"/>
                  </a:lnTo>
                  <a:lnTo>
                    <a:pt x="232" y="110"/>
                  </a:lnTo>
                  <a:lnTo>
                    <a:pt x="224" y="110"/>
                  </a:lnTo>
                  <a:lnTo>
                    <a:pt x="222" y="110"/>
                  </a:lnTo>
                  <a:lnTo>
                    <a:pt x="224" y="110"/>
                  </a:lnTo>
                  <a:lnTo>
                    <a:pt x="224" y="106"/>
                  </a:lnTo>
                  <a:lnTo>
                    <a:pt x="222" y="110"/>
                  </a:lnTo>
                  <a:lnTo>
                    <a:pt x="218" y="110"/>
                  </a:lnTo>
                  <a:lnTo>
                    <a:pt x="214" y="110"/>
                  </a:lnTo>
                  <a:lnTo>
                    <a:pt x="210" y="110"/>
                  </a:lnTo>
                  <a:lnTo>
                    <a:pt x="206" y="106"/>
                  </a:lnTo>
                  <a:lnTo>
                    <a:pt x="202" y="106"/>
                  </a:lnTo>
                  <a:lnTo>
                    <a:pt x="206" y="106"/>
                  </a:lnTo>
                  <a:lnTo>
                    <a:pt x="202" y="102"/>
                  </a:lnTo>
                  <a:lnTo>
                    <a:pt x="202" y="98"/>
                  </a:lnTo>
                  <a:lnTo>
                    <a:pt x="202" y="94"/>
                  </a:lnTo>
                  <a:lnTo>
                    <a:pt x="198" y="94"/>
                  </a:lnTo>
                  <a:lnTo>
                    <a:pt x="194" y="94"/>
                  </a:lnTo>
                  <a:lnTo>
                    <a:pt x="194" y="90"/>
                  </a:lnTo>
                  <a:lnTo>
                    <a:pt x="192" y="90"/>
                  </a:lnTo>
                  <a:lnTo>
                    <a:pt x="184" y="86"/>
                  </a:lnTo>
                  <a:lnTo>
                    <a:pt x="184" y="82"/>
                  </a:lnTo>
                  <a:lnTo>
                    <a:pt x="180" y="82"/>
                  </a:lnTo>
                  <a:lnTo>
                    <a:pt x="176" y="82"/>
                  </a:lnTo>
                  <a:lnTo>
                    <a:pt x="172" y="82"/>
                  </a:lnTo>
                  <a:lnTo>
                    <a:pt x="172" y="80"/>
                  </a:lnTo>
                  <a:lnTo>
                    <a:pt x="168" y="80"/>
                  </a:lnTo>
                  <a:lnTo>
                    <a:pt x="168" y="76"/>
                  </a:lnTo>
                  <a:lnTo>
                    <a:pt x="166" y="76"/>
                  </a:lnTo>
                  <a:lnTo>
                    <a:pt x="162" y="76"/>
                  </a:lnTo>
                  <a:lnTo>
                    <a:pt x="166" y="76"/>
                  </a:lnTo>
                  <a:lnTo>
                    <a:pt x="162" y="76"/>
                  </a:lnTo>
                  <a:lnTo>
                    <a:pt x="166" y="76"/>
                  </a:lnTo>
                  <a:lnTo>
                    <a:pt x="168" y="76"/>
                  </a:lnTo>
                  <a:lnTo>
                    <a:pt x="168" y="72"/>
                  </a:lnTo>
                  <a:lnTo>
                    <a:pt x="168" y="68"/>
                  </a:lnTo>
                  <a:lnTo>
                    <a:pt x="168" y="64"/>
                  </a:lnTo>
                  <a:lnTo>
                    <a:pt x="172" y="64"/>
                  </a:lnTo>
                  <a:lnTo>
                    <a:pt x="176" y="64"/>
                  </a:lnTo>
                  <a:lnTo>
                    <a:pt x="180" y="64"/>
                  </a:lnTo>
                  <a:lnTo>
                    <a:pt x="184" y="64"/>
                  </a:lnTo>
                  <a:lnTo>
                    <a:pt x="188" y="60"/>
                  </a:lnTo>
                  <a:lnTo>
                    <a:pt x="192" y="60"/>
                  </a:lnTo>
                  <a:lnTo>
                    <a:pt x="194" y="60"/>
                  </a:lnTo>
                  <a:lnTo>
                    <a:pt x="198" y="60"/>
                  </a:lnTo>
                  <a:lnTo>
                    <a:pt x="202" y="60"/>
                  </a:lnTo>
                  <a:lnTo>
                    <a:pt x="206" y="56"/>
                  </a:lnTo>
                  <a:lnTo>
                    <a:pt x="210" y="56"/>
                  </a:lnTo>
                  <a:lnTo>
                    <a:pt x="210" y="52"/>
                  </a:lnTo>
                  <a:lnTo>
                    <a:pt x="214" y="50"/>
                  </a:lnTo>
                  <a:lnTo>
                    <a:pt x="210" y="52"/>
                  </a:lnTo>
                  <a:lnTo>
                    <a:pt x="214" y="50"/>
                  </a:lnTo>
                  <a:lnTo>
                    <a:pt x="214" y="46"/>
                  </a:lnTo>
                  <a:lnTo>
                    <a:pt x="214" y="42"/>
                  </a:lnTo>
                  <a:lnTo>
                    <a:pt x="218" y="42"/>
                  </a:lnTo>
                  <a:lnTo>
                    <a:pt x="214" y="42"/>
                  </a:lnTo>
                  <a:lnTo>
                    <a:pt x="218" y="38"/>
                  </a:lnTo>
                  <a:lnTo>
                    <a:pt x="222" y="38"/>
                  </a:lnTo>
                  <a:lnTo>
                    <a:pt x="222" y="34"/>
                  </a:lnTo>
                  <a:lnTo>
                    <a:pt x="224" y="30"/>
                  </a:lnTo>
                  <a:lnTo>
                    <a:pt x="228" y="26"/>
                  </a:lnTo>
                  <a:lnTo>
                    <a:pt x="232" y="26"/>
                  </a:lnTo>
                  <a:lnTo>
                    <a:pt x="232" y="30"/>
                  </a:lnTo>
                  <a:lnTo>
                    <a:pt x="228" y="30"/>
                  </a:lnTo>
                  <a:lnTo>
                    <a:pt x="232" y="30"/>
                  </a:lnTo>
                  <a:lnTo>
                    <a:pt x="232" y="26"/>
                  </a:lnTo>
                  <a:lnTo>
                    <a:pt x="236" y="26"/>
                  </a:lnTo>
                  <a:lnTo>
                    <a:pt x="240" y="26"/>
                  </a:lnTo>
                  <a:lnTo>
                    <a:pt x="244" y="26"/>
                  </a:lnTo>
                  <a:lnTo>
                    <a:pt x="248" y="26"/>
                  </a:lnTo>
                  <a:lnTo>
                    <a:pt x="248" y="24"/>
                  </a:lnTo>
                  <a:lnTo>
                    <a:pt x="250" y="24"/>
                  </a:lnTo>
                  <a:lnTo>
                    <a:pt x="250" y="20"/>
                  </a:lnTo>
                  <a:lnTo>
                    <a:pt x="254" y="20"/>
                  </a:lnTo>
                  <a:lnTo>
                    <a:pt x="258" y="20"/>
                  </a:lnTo>
                  <a:lnTo>
                    <a:pt x="258" y="24"/>
                  </a:lnTo>
                  <a:lnTo>
                    <a:pt x="254" y="24"/>
                  </a:lnTo>
                  <a:lnTo>
                    <a:pt x="258" y="24"/>
                  </a:lnTo>
                  <a:lnTo>
                    <a:pt x="258" y="26"/>
                  </a:lnTo>
                  <a:lnTo>
                    <a:pt x="258" y="24"/>
                  </a:lnTo>
                  <a:lnTo>
                    <a:pt x="262" y="24"/>
                  </a:lnTo>
                  <a:lnTo>
                    <a:pt x="266" y="24"/>
                  </a:lnTo>
                  <a:lnTo>
                    <a:pt x="266" y="20"/>
                  </a:lnTo>
                  <a:lnTo>
                    <a:pt x="262" y="20"/>
                  </a:lnTo>
                  <a:lnTo>
                    <a:pt x="262" y="24"/>
                  </a:lnTo>
                  <a:lnTo>
                    <a:pt x="258" y="20"/>
                  </a:lnTo>
                  <a:lnTo>
                    <a:pt x="254" y="20"/>
                  </a:lnTo>
                  <a:lnTo>
                    <a:pt x="258" y="16"/>
                  </a:lnTo>
                  <a:lnTo>
                    <a:pt x="262" y="16"/>
                  </a:lnTo>
                  <a:lnTo>
                    <a:pt x="262" y="12"/>
                  </a:lnTo>
                  <a:lnTo>
                    <a:pt x="266" y="12"/>
                  </a:lnTo>
                  <a:lnTo>
                    <a:pt x="270" y="12"/>
                  </a:lnTo>
                  <a:lnTo>
                    <a:pt x="266" y="12"/>
                  </a:lnTo>
                  <a:lnTo>
                    <a:pt x="270" y="12"/>
                  </a:lnTo>
                  <a:lnTo>
                    <a:pt x="266" y="12"/>
                  </a:lnTo>
                  <a:lnTo>
                    <a:pt x="266" y="16"/>
                  </a:lnTo>
                  <a:lnTo>
                    <a:pt x="270" y="16"/>
                  </a:lnTo>
                  <a:lnTo>
                    <a:pt x="274" y="16"/>
                  </a:lnTo>
                  <a:lnTo>
                    <a:pt x="274" y="12"/>
                  </a:lnTo>
                  <a:lnTo>
                    <a:pt x="274" y="16"/>
                  </a:lnTo>
                  <a:lnTo>
                    <a:pt x="278" y="16"/>
                  </a:lnTo>
                  <a:lnTo>
                    <a:pt x="278" y="12"/>
                  </a:lnTo>
                  <a:lnTo>
                    <a:pt x="280" y="12"/>
                  </a:lnTo>
                  <a:lnTo>
                    <a:pt x="284" y="12"/>
                  </a:lnTo>
                  <a:lnTo>
                    <a:pt x="288" y="12"/>
                  </a:lnTo>
                  <a:lnTo>
                    <a:pt x="292" y="8"/>
                  </a:lnTo>
                  <a:lnTo>
                    <a:pt x="294" y="8"/>
                  </a:lnTo>
                  <a:lnTo>
                    <a:pt x="294" y="4"/>
                  </a:lnTo>
                  <a:lnTo>
                    <a:pt x="298" y="4"/>
                  </a:lnTo>
                  <a:lnTo>
                    <a:pt x="302" y="0"/>
                  </a:lnTo>
                  <a:lnTo>
                    <a:pt x="306" y="0"/>
                  </a:lnTo>
                  <a:lnTo>
                    <a:pt x="310" y="0"/>
                  </a:lnTo>
                  <a:lnTo>
                    <a:pt x="314" y="0"/>
                  </a:lnTo>
                  <a:lnTo>
                    <a:pt x="314" y="4"/>
                  </a:lnTo>
                  <a:lnTo>
                    <a:pt x="318" y="4"/>
                  </a:lnTo>
                  <a:lnTo>
                    <a:pt x="322" y="4"/>
                  </a:lnTo>
                  <a:lnTo>
                    <a:pt x="318" y="8"/>
                  </a:lnTo>
                  <a:lnTo>
                    <a:pt x="314" y="8"/>
                  </a:lnTo>
                  <a:lnTo>
                    <a:pt x="310" y="12"/>
                  </a:lnTo>
                  <a:lnTo>
                    <a:pt x="314" y="12"/>
                  </a:lnTo>
                  <a:lnTo>
                    <a:pt x="314" y="16"/>
                  </a:lnTo>
                  <a:lnTo>
                    <a:pt x="314" y="12"/>
                  </a:lnTo>
                  <a:lnTo>
                    <a:pt x="318" y="12"/>
                  </a:lnTo>
                  <a:lnTo>
                    <a:pt x="322" y="12"/>
                  </a:lnTo>
                  <a:lnTo>
                    <a:pt x="322" y="8"/>
                  </a:lnTo>
                  <a:lnTo>
                    <a:pt x="324" y="8"/>
                  </a:lnTo>
                  <a:lnTo>
                    <a:pt x="324" y="4"/>
                  </a:lnTo>
                  <a:lnTo>
                    <a:pt x="328" y="4"/>
                  </a:lnTo>
                  <a:lnTo>
                    <a:pt x="328" y="8"/>
                  </a:lnTo>
                  <a:lnTo>
                    <a:pt x="324" y="8"/>
                  </a:lnTo>
                  <a:lnTo>
                    <a:pt x="328" y="8"/>
                  </a:lnTo>
                  <a:lnTo>
                    <a:pt x="328" y="4"/>
                  </a:lnTo>
                  <a:lnTo>
                    <a:pt x="332" y="8"/>
                  </a:lnTo>
                  <a:lnTo>
                    <a:pt x="332" y="12"/>
                  </a:lnTo>
                  <a:lnTo>
                    <a:pt x="336" y="12"/>
                  </a:lnTo>
                  <a:lnTo>
                    <a:pt x="340" y="12"/>
                  </a:lnTo>
                  <a:lnTo>
                    <a:pt x="340" y="16"/>
                  </a:lnTo>
                  <a:lnTo>
                    <a:pt x="344" y="12"/>
                  </a:lnTo>
                  <a:lnTo>
                    <a:pt x="348" y="12"/>
                  </a:lnTo>
                  <a:lnTo>
                    <a:pt x="350" y="12"/>
                  </a:lnTo>
                  <a:lnTo>
                    <a:pt x="354" y="12"/>
                  </a:lnTo>
                  <a:lnTo>
                    <a:pt x="358" y="12"/>
                  </a:lnTo>
                  <a:lnTo>
                    <a:pt x="362" y="12"/>
                  </a:lnTo>
                  <a:lnTo>
                    <a:pt x="366" y="12"/>
                  </a:lnTo>
                  <a:lnTo>
                    <a:pt x="366" y="16"/>
                  </a:lnTo>
                  <a:lnTo>
                    <a:pt x="362" y="16"/>
                  </a:lnTo>
                  <a:lnTo>
                    <a:pt x="362" y="20"/>
                  </a:lnTo>
                  <a:lnTo>
                    <a:pt x="366" y="20"/>
                  </a:lnTo>
                  <a:lnTo>
                    <a:pt x="370" y="20"/>
                  </a:lnTo>
                  <a:lnTo>
                    <a:pt x="366" y="20"/>
                  </a:lnTo>
                  <a:lnTo>
                    <a:pt x="362" y="20"/>
                  </a:lnTo>
                  <a:lnTo>
                    <a:pt x="366" y="20"/>
                  </a:lnTo>
                  <a:lnTo>
                    <a:pt x="370" y="20"/>
                  </a:lnTo>
                  <a:lnTo>
                    <a:pt x="374" y="20"/>
                  </a:lnTo>
                  <a:lnTo>
                    <a:pt x="374" y="24"/>
                  </a:lnTo>
                  <a:lnTo>
                    <a:pt x="370" y="24"/>
                  </a:lnTo>
                  <a:lnTo>
                    <a:pt x="374" y="24"/>
                  </a:lnTo>
                  <a:lnTo>
                    <a:pt x="378" y="24"/>
                  </a:lnTo>
                  <a:lnTo>
                    <a:pt x="380" y="24"/>
                  </a:lnTo>
                  <a:lnTo>
                    <a:pt x="384" y="24"/>
                  </a:lnTo>
                  <a:lnTo>
                    <a:pt x="388" y="24"/>
                  </a:lnTo>
                  <a:lnTo>
                    <a:pt x="388" y="20"/>
                  </a:lnTo>
                  <a:lnTo>
                    <a:pt x="392" y="20"/>
                  </a:lnTo>
                  <a:lnTo>
                    <a:pt x="392" y="24"/>
                  </a:lnTo>
                  <a:lnTo>
                    <a:pt x="396" y="24"/>
                  </a:lnTo>
                  <a:lnTo>
                    <a:pt x="400" y="24"/>
                  </a:lnTo>
                  <a:lnTo>
                    <a:pt x="400" y="20"/>
                  </a:lnTo>
                  <a:lnTo>
                    <a:pt x="406" y="20"/>
                  </a:lnTo>
                  <a:lnTo>
                    <a:pt x="406" y="24"/>
                  </a:lnTo>
                  <a:lnTo>
                    <a:pt x="410" y="24"/>
                  </a:lnTo>
                  <a:lnTo>
                    <a:pt x="414" y="24"/>
                  </a:lnTo>
                  <a:lnTo>
                    <a:pt x="418" y="24"/>
                  </a:lnTo>
                  <a:lnTo>
                    <a:pt x="418" y="26"/>
                  </a:lnTo>
                  <a:lnTo>
                    <a:pt x="422" y="26"/>
                  </a:lnTo>
                  <a:lnTo>
                    <a:pt x="426" y="24"/>
                  </a:lnTo>
                  <a:lnTo>
                    <a:pt x="426" y="26"/>
                  </a:lnTo>
                  <a:lnTo>
                    <a:pt x="430" y="26"/>
                  </a:lnTo>
                  <a:lnTo>
                    <a:pt x="434" y="30"/>
                  </a:lnTo>
                  <a:lnTo>
                    <a:pt x="436" y="30"/>
                  </a:lnTo>
                  <a:lnTo>
                    <a:pt x="440" y="30"/>
                  </a:lnTo>
                  <a:lnTo>
                    <a:pt x="444" y="30"/>
                  </a:lnTo>
                  <a:lnTo>
                    <a:pt x="448" y="30"/>
                  </a:lnTo>
                  <a:lnTo>
                    <a:pt x="452" y="30"/>
                  </a:lnTo>
                  <a:lnTo>
                    <a:pt x="456" y="30"/>
                  </a:lnTo>
                  <a:lnTo>
                    <a:pt x="460" y="30"/>
                  </a:lnTo>
                  <a:lnTo>
                    <a:pt x="464" y="34"/>
                  </a:lnTo>
                  <a:lnTo>
                    <a:pt x="466" y="34"/>
                  </a:lnTo>
                  <a:lnTo>
                    <a:pt x="470" y="34"/>
                  </a:lnTo>
                  <a:lnTo>
                    <a:pt x="474" y="34"/>
                  </a:lnTo>
                  <a:lnTo>
                    <a:pt x="478" y="34"/>
                  </a:lnTo>
                  <a:lnTo>
                    <a:pt x="482" y="34"/>
                  </a:lnTo>
                  <a:lnTo>
                    <a:pt x="482" y="30"/>
                  </a:lnTo>
                  <a:lnTo>
                    <a:pt x="490" y="30"/>
                  </a:lnTo>
                  <a:lnTo>
                    <a:pt x="492" y="30"/>
                  </a:lnTo>
                  <a:lnTo>
                    <a:pt x="496" y="30"/>
                  </a:lnTo>
                  <a:lnTo>
                    <a:pt x="500" y="30"/>
                  </a:lnTo>
                  <a:lnTo>
                    <a:pt x="504" y="34"/>
                  </a:lnTo>
                  <a:lnTo>
                    <a:pt x="508" y="34"/>
                  </a:lnTo>
                  <a:lnTo>
                    <a:pt x="508" y="38"/>
                  </a:lnTo>
                  <a:lnTo>
                    <a:pt x="512" y="38"/>
                  </a:lnTo>
                  <a:lnTo>
                    <a:pt x="516" y="38"/>
                  </a:lnTo>
                  <a:lnTo>
                    <a:pt x="516" y="42"/>
                  </a:lnTo>
                  <a:lnTo>
                    <a:pt x="520" y="42"/>
                  </a:lnTo>
                  <a:lnTo>
                    <a:pt x="522" y="42"/>
                  </a:lnTo>
                  <a:lnTo>
                    <a:pt x="526" y="42"/>
                  </a:lnTo>
                  <a:lnTo>
                    <a:pt x="526" y="46"/>
                  </a:lnTo>
                  <a:lnTo>
                    <a:pt x="526" y="50"/>
                  </a:lnTo>
                  <a:lnTo>
                    <a:pt x="526" y="60"/>
                  </a:lnTo>
                  <a:lnTo>
                    <a:pt x="526" y="72"/>
                  </a:lnTo>
                  <a:lnTo>
                    <a:pt x="526" y="80"/>
                  </a:lnTo>
                  <a:lnTo>
                    <a:pt x="526" y="82"/>
                  </a:lnTo>
                  <a:lnTo>
                    <a:pt x="526" y="86"/>
                  </a:lnTo>
                  <a:lnTo>
                    <a:pt x="526" y="90"/>
                  </a:lnTo>
                  <a:lnTo>
                    <a:pt x="526" y="98"/>
                  </a:lnTo>
                  <a:lnTo>
                    <a:pt x="526" y="102"/>
                  </a:lnTo>
                  <a:lnTo>
                    <a:pt x="526" y="110"/>
                  </a:lnTo>
                  <a:lnTo>
                    <a:pt x="526" y="112"/>
                  </a:lnTo>
                  <a:lnTo>
                    <a:pt x="526" y="116"/>
                  </a:lnTo>
                  <a:lnTo>
                    <a:pt x="526" y="120"/>
                  </a:lnTo>
                  <a:lnTo>
                    <a:pt x="526" y="132"/>
                  </a:lnTo>
                  <a:lnTo>
                    <a:pt x="526" y="142"/>
                  </a:lnTo>
                  <a:lnTo>
                    <a:pt x="526" y="154"/>
                  </a:lnTo>
                  <a:lnTo>
                    <a:pt x="526" y="176"/>
                  </a:lnTo>
                  <a:lnTo>
                    <a:pt x="526" y="184"/>
                  </a:lnTo>
                  <a:lnTo>
                    <a:pt x="526" y="188"/>
                  </a:lnTo>
                  <a:lnTo>
                    <a:pt x="526" y="202"/>
                  </a:lnTo>
                  <a:lnTo>
                    <a:pt x="526" y="214"/>
                  </a:lnTo>
                  <a:lnTo>
                    <a:pt x="526" y="254"/>
                  </a:lnTo>
                  <a:lnTo>
                    <a:pt x="526" y="266"/>
                  </a:lnTo>
                  <a:lnTo>
                    <a:pt x="526" y="268"/>
                  </a:lnTo>
                  <a:lnTo>
                    <a:pt x="534" y="268"/>
                  </a:lnTo>
                  <a:lnTo>
                    <a:pt x="542" y="268"/>
                  </a:lnTo>
                  <a:lnTo>
                    <a:pt x="546" y="268"/>
                  </a:lnTo>
                  <a:lnTo>
                    <a:pt x="546" y="266"/>
                  </a:lnTo>
                  <a:lnTo>
                    <a:pt x="548" y="266"/>
                  </a:lnTo>
                  <a:lnTo>
                    <a:pt x="552" y="266"/>
                  </a:lnTo>
                  <a:lnTo>
                    <a:pt x="552" y="268"/>
                  </a:lnTo>
                  <a:lnTo>
                    <a:pt x="552" y="272"/>
                  </a:lnTo>
                  <a:lnTo>
                    <a:pt x="556" y="276"/>
                  </a:lnTo>
                  <a:lnTo>
                    <a:pt x="560" y="276"/>
                  </a:lnTo>
                  <a:lnTo>
                    <a:pt x="560" y="280"/>
                  </a:lnTo>
                  <a:lnTo>
                    <a:pt x="564" y="284"/>
                  </a:lnTo>
                  <a:lnTo>
                    <a:pt x="568" y="284"/>
                  </a:lnTo>
                  <a:lnTo>
                    <a:pt x="572" y="288"/>
                  </a:lnTo>
                  <a:lnTo>
                    <a:pt x="576" y="292"/>
                  </a:lnTo>
                  <a:lnTo>
                    <a:pt x="576" y="294"/>
                  </a:lnTo>
                  <a:lnTo>
                    <a:pt x="576" y="298"/>
                  </a:lnTo>
                  <a:lnTo>
                    <a:pt x="578" y="298"/>
                  </a:lnTo>
                  <a:lnTo>
                    <a:pt x="578" y="294"/>
                  </a:lnTo>
                  <a:lnTo>
                    <a:pt x="582" y="294"/>
                  </a:lnTo>
                  <a:lnTo>
                    <a:pt x="586" y="294"/>
                  </a:lnTo>
                  <a:lnTo>
                    <a:pt x="590" y="294"/>
                  </a:lnTo>
                  <a:lnTo>
                    <a:pt x="590" y="292"/>
                  </a:lnTo>
                  <a:lnTo>
                    <a:pt x="590" y="288"/>
                  </a:lnTo>
                  <a:lnTo>
                    <a:pt x="594" y="288"/>
                  </a:lnTo>
                  <a:lnTo>
                    <a:pt x="594" y="284"/>
                  </a:lnTo>
                  <a:lnTo>
                    <a:pt x="598" y="284"/>
                  </a:lnTo>
                  <a:lnTo>
                    <a:pt x="598" y="280"/>
                  </a:lnTo>
                  <a:lnTo>
                    <a:pt x="602" y="280"/>
                  </a:lnTo>
                  <a:lnTo>
                    <a:pt x="606" y="280"/>
                  </a:lnTo>
                  <a:lnTo>
                    <a:pt x="608" y="284"/>
                  </a:lnTo>
                  <a:lnTo>
                    <a:pt x="612" y="284"/>
                  </a:lnTo>
                  <a:lnTo>
                    <a:pt x="612" y="288"/>
                  </a:lnTo>
                  <a:lnTo>
                    <a:pt x="608" y="288"/>
                  </a:lnTo>
                  <a:lnTo>
                    <a:pt x="612" y="292"/>
                  </a:lnTo>
                  <a:lnTo>
                    <a:pt x="616" y="292"/>
                  </a:lnTo>
                  <a:lnTo>
                    <a:pt x="616" y="294"/>
                  </a:lnTo>
                  <a:lnTo>
                    <a:pt x="620" y="294"/>
                  </a:lnTo>
                  <a:lnTo>
                    <a:pt x="620" y="298"/>
                  </a:lnTo>
                  <a:lnTo>
                    <a:pt x="622" y="298"/>
                  </a:lnTo>
                  <a:lnTo>
                    <a:pt x="622" y="302"/>
                  </a:lnTo>
                  <a:lnTo>
                    <a:pt x="626" y="302"/>
                  </a:lnTo>
                  <a:lnTo>
                    <a:pt x="626" y="306"/>
                  </a:lnTo>
                  <a:lnTo>
                    <a:pt x="630" y="306"/>
                  </a:lnTo>
                  <a:lnTo>
                    <a:pt x="634" y="310"/>
                  </a:lnTo>
                  <a:lnTo>
                    <a:pt x="634" y="314"/>
                  </a:lnTo>
                  <a:lnTo>
                    <a:pt x="638" y="314"/>
                  </a:lnTo>
                  <a:lnTo>
                    <a:pt x="638" y="318"/>
                  </a:lnTo>
                  <a:lnTo>
                    <a:pt x="638" y="322"/>
                  </a:lnTo>
                  <a:lnTo>
                    <a:pt x="642" y="322"/>
                  </a:lnTo>
                  <a:lnTo>
                    <a:pt x="642" y="324"/>
                  </a:lnTo>
                  <a:lnTo>
                    <a:pt x="646" y="328"/>
                  </a:lnTo>
                  <a:lnTo>
                    <a:pt x="646" y="332"/>
                  </a:lnTo>
                  <a:lnTo>
                    <a:pt x="648" y="332"/>
                  </a:lnTo>
                  <a:lnTo>
                    <a:pt x="648" y="336"/>
                  </a:lnTo>
                  <a:lnTo>
                    <a:pt x="648" y="340"/>
                  </a:lnTo>
                  <a:lnTo>
                    <a:pt x="652" y="340"/>
                  </a:lnTo>
                  <a:lnTo>
                    <a:pt x="652" y="344"/>
                  </a:lnTo>
                  <a:lnTo>
                    <a:pt x="656" y="348"/>
                  </a:lnTo>
                  <a:lnTo>
                    <a:pt x="656" y="350"/>
                  </a:lnTo>
                  <a:lnTo>
                    <a:pt x="660" y="350"/>
                  </a:lnTo>
                  <a:lnTo>
                    <a:pt x="664" y="350"/>
                  </a:lnTo>
                  <a:lnTo>
                    <a:pt x="664" y="354"/>
                  </a:lnTo>
                  <a:lnTo>
                    <a:pt x="668" y="354"/>
                  </a:lnTo>
                  <a:lnTo>
                    <a:pt x="672" y="354"/>
                  </a:lnTo>
                  <a:lnTo>
                    <a:pt x="672" y="358"/>
                  </a:lnTo>
                  <a:lnTo>
                    <a:pt x="676" y="358"/>
                  </a:lnTo>
                  <a:lnTo>
                    <a:pt x="676" y="362"/>
                  </a:lnTo>
                  <a:lnTo>
                    <a:pt x="678" y="362"/>
                  </a:lnTo>
                  <a:lnTo>
                    <a:pt x="682" y="362"/>
                  </a:lnTo>
                  <a:lnTo>
                    <a:pt x="682" y="366"/>
                  </a:lnTo>
                  <a:lnTo>
                    <a:pt x="678" y="366"/>
                  </a:lnTo>
                  <a:lnTo>
                    <a:pt x="678" y="370"/>
                  </a:lnTo>
                  <a:lnTo>
                    <a:pt x="678" y="374"/>
                  </a:lnTo>
                  <a:lnTo>
                    <a:pt x="678" y="378"/>
                  </a:lnTo>
                  <a:lnTo>
                    <a:pt x="682" y="380"/>
                  </a:lnTo>
                  <a:lnTo>
                    <a:pt x="678" y="380"/>
                  </a:lnTo>
                  <a:lnTo>
                    <a:pt x="678" y="384"/>
                  </a:lnTo>
                  <a:lnTo>
                    <a:pt x="676" y="388"/>
                  </a:lnTo>
                  <a:lnTo>
                    <a:pt x="672" y="388"/>
                  </a:lnTo>
                  <a:lnTo>
                    <a:pt x="672" y="392"/>
                  </a:lnTo>
                  <a:lnTo>
                    <a:pt x="672" y="388"/>
                  </a:lnTo>
                  <a:lnTo>
                    <a:pt x="672" y="392"/>
                  </a:lnTo>
                  <a:lnTo>
                    <a:pt x="668" y="392"/>
                  </a:lnTo>
                  <a:lnTo>
                    <a:pt x="668" y="388"/>
                  </a:lnTo>
                  <a:lnTo>
                    <a:pt x="668" y="384"/>
                  </a:lnTo>
                  <a:lnTo>
                    <a:pt x="672" y="384"/>
                  </a:lnTo>
                  <a:lnTo>
                    <a:pt x="676" y="380"/>
                  </a:lnTo>
                  <a:lnTo>
                    <a:pt x="676" y="378"/>
                  </a:lnTo>
                  <a:lnTo>
                    <a:pt x="676" y="380"/>
                  </a:lnTo>
                  <a:lnTo>
                    <a:pt x="672" y="380"/>
                  </a:lnTo>
                  <a:lnTo>
                    <a:pt x="672" y="384"/>
                  </a:lnTo>
                  <a:lnTo>
                    <a:pt x="672" y="380"/>
                  </a:lnTo>
                  <a:lnTo>
                    <a:pt x="668" y="384"/>
                  </a:lnTo>
                  <a:lnTo>
                    <a:pt x="668" y="380"/>
                  </a:lnTo>
                  <a:lnTo>
                    <a:pt x="672" y="380"/>
                  </a:lnTo>
                  <a:lnTo>
                    <a:pt x="672" y="378"/>
                  </a:lnTo>
                  <a:lnTo>
                    <a:pt x="668" y="378"/>
                  </a:lnTo>
                  <a:lnTo>
                    <a:pt x="668" y="374"/>
                  </a:lnTo>
                  <a:lnTo>
                    <a:pt x="668" y="370"/>
                  </a:lnTo>
                  <a:lnTo>
                    <a:pt x="668" y="366"/>
                  </a:lnTo>
                  <a:lnTo>
                    <a:pt x="664" y="366"/>
                  </a:lnTo>
                  <a:lnTo>
                    <a:pt x="664" y="362"/>
                  </a:lnTo>
                  <a:lnTo>
                    <a:pt x="668" y="362"/>
                  </a:lnTo>
                  <a:lnTo>
                    <a:pt x="664" y="362"/>
                  </a:lnTo>
                  <a:lnTo>
                    <a:pt x="664" y="366"/>
                  </a:lnTo>
                  <a:lnTo>
                    <a:pt x="660" y="366"/>
                  </a:lnTo>
                  <a:lnTo>
                    <a:pt x="660" y="362"/>
                  </a:lnTo>
                  <a:lnTo>
                    <a:pt x="660" y="366"/>
                  </a:lnTo>
                  <a:lnTo>
                    <a:pt x="656" y="366"/>
                  </a:lnTo>
                  <a:lnTo>
                    <a:pt x="652" y="366"/>
                  </a:lnTo>
                  <a:lnTo>
                    <a:pt x="656" y="366"/>
                  </a:lnTo>
                  <a:lnTo>
                    <a:pt x="656" y="370"/>
                  </a:lnTo>
                  <a:lnTo>
                    <a:pt x="656" y="374"/>
                  </a:lnTo>
                  <a:lnTo>
                    <a:pt x="652" y="374"/>
                  </a:lnTo>
                  <a:lnTo>
                    <a:pt x="648" y="374"/>
                  </a:lnTo>
                  <a:lnTo>
                    <a:pt x="648" y="370"/>
                  </a:lnTo>
                  <a:lnTo>
                    <a:pt x="652" y="370"/>
                  </a:lnTo>
                  <a:lnTo>
                    <a:pt x="652" y="366"/>
                  </a:lnTo>
                  <a:lnTo>
                    <a:pt x="652" y="362"/>
                  </a:lnTo>
                  <a:lnTo>
                    <a:pt x="652" y="358"/>
                  </a:lnTo>
                  <a:lnTo>
                    <a:pt x="656" y="358"/>
                  </a:lnTo>
                  <a:lnTo>
                    <a:pt x="652" y="358"/>
                  </a:lnTo>
                  <a:lnTo>
                    <a:pt x="652" y="354"/>
                  </a:lnTo>
                  <a:lnTo>
                    <a:pt x="648" y="354"/>
                  </a:lnTo>
                  <a:lnTo>
                    <a:pt x="648" y="350"/>
                  </a:lnTo>
                  <a:lnTo>
                    <a:pt x="646" y="350"/>
                  </a:lnTo>
                  <a:lnTo>
                    <a:pt x="646" y="348"/>
                  </a:lnTo>
                  <a:lnTo>
                    <a:pt x="648" y="348"/>
                  </a:lnTo>
                  <a:lnTo>
                    <a:pt x="646" y="348"/>
                  </a:lnTo>
                  <a:lnTo>
                    <a:pt x="642" y="348"/>
                  </a:lnTo>
                  <a:lnTo>
                    <a:pt x="642" y="344"/>
                  </a:lnTo>
                  <a:lnTo>
                    <a:pt x="642" y="340"/>
                  </a:lnTo>
                  <a:lnTo>
                    <a:pt x="638" y="340"/>
                  </a:lnTo>
                  <a:lnTo>
                    <a:pt x="634" y="340"/>
                  </a:lnTo>
                  <a:lnTo>
                    <a:pt x="630" y="340"/>
                  </a:lnTo>
                  <a:lnTo>
                    <a:pt x="630" y="336"/>
                  </a:lnTo>
                  <a:lnTo>
                    <a:pt x="634" y="336"/>
                  </a:lnTo>
                  <a:lnTo>
                    <a:pt x="638" y="336"/>
                  </a:lnTo>
                  <a:lnTo>
                    <a:pt x="638" y="332"/>
                  </a:lnTo>
                  <a:lnTo>
                    <a:pt x="638" y="336"/>
                  </a:lnTo>
                  <a:lnTo>
                    <a:pt x="634" y="336"/>
                  </a:lnTo>
                  <a:lnTo>
                    <a:pt x="634" y="332"/>
                  </a:lnTo>
                  <a:lnTo>
                    <a:pt x="630" y="332"/>
                  </a:lnTo>
                  <a:lnTo>
                    <a:pt x="634" y="328"/>
                  </a:lnTo>
                  <a:lnTo>
                    <a:pt x="630" y="328"/>
                  </a:lnTo>
                  <a:lnTo>
                    <a:pt x="630" y="324"/>
                  </a:lnTo>
                  <a:lnTo>
                    <a:pt x="638" y="328"/>
                  </a:lnTo>
                  <a:lnTo>
                    <a:pt x="634" y="328"/>
                  </a:lnTo>
                  <a:lnTo>
                    <a:pt x="634" y="324"/>
                  </a:lnTo>
                  <a:lnTo>
                    <a:pt x="630" y="324"/>
                  </a:lnTo>
                  <a:lnTo>
                    <a:pt x="630" y="322"/>
                  </a:lnTo>
                  <a:lnTo>
                    <a:pt x="634" y="322"/>
                  </a:lnTo>
                  <a:lnTo>
                    <a:pt x="638" y="322"/>
                  </a:lnTo>
                  <a:lnTo>
                    <a:pt x="634" y="322"/>
                  </a:lnTo>
                  <a:lnTo>
                    <a:pt x="630" y="322"/>
                  </a:lnTo>
                  <a:lnTo>
                    <a:pt x="630" y="324"/>
                  </a:lnTo>
                  <a:lnTo>
                    <a:pt x="626" y="322"/>
                  </a:lnTo>
                  <a:lnTo>
                    <a:pt x="626" y="318"/>
                  </a:lnTo>
                  <a:lnTo>
                    <a:pt x="630" y="318"/>
                  </a:lnTo>
                  <a:lnTo>
                    <a:pt x="626" y="318"/>
                  </a:lnTo>
                  <a:lnTo>
                    <a:pt x="626" y="322"/>
                  </a:lnTo>
                  <a:lnTo>
                    <a:pt x="626" y="318"/>
                  </a:lnTo>
                  <a:lnTo>
                    <a:pt x="622" y="318"/>
                  </a:lnTo>
                  <a:lnTo>
                    <a:pt x="622" y="314"/>
                  </a:lnTo>
                  <a:lnTo>
                    <a:pt x="626" y="310"/>
                  </a:lnTo>
                  <a:lnTo>
                    <a:pt x="622" y="310"/>
                  </a:lnTo>
                  <a:lnTo>
                    <a:pt x="626" y="310"/>
                  </a:lnTo>
                  <a:lnTo>
                    <a:pt x="626" y="306"/>
                  </a:lnTo>
                  <a:lnTo>
                    <a:pt x="626" y="310"/>
                  </a:lnTo>
                  <a:lnTo>
                    <a:pt x="626" y="306"/>
                  </a:lnTo>
                  <a:lnTo>
                    <a:pt x="626" y="310"/>
                  </a:lnTo>
                  <a:lnTo>
                    <a:pt x="622" y="310"/>
                  </a:lnTo>
                  <a:lnTo>
                    <a:pt x="622" y="314"/>
                  </a:lnTo>
                  <a:lnTo>
                    <a:pt x="620" y="314"/>
                  </a:lnTo>
                  <a:lnTo>
                    <a:pt x="620" y="310"/>
                  </a:lnTo>
                  <a:lnTo>
                    <a:pt x="616" y="310"/>
                  </a:lnTo>
                  <a:lnTo>
                    <a:pt x="612" y="306"/>
                  </a:lnTo>
                  <a:lnTo>
                    <a:pt x="612" y="302"/>
                  </a:lnTo>
                  <a:lnTo>
                    <a:pt x="608" y="302"/>
                  </a:lnTo>
                  <a:lnTo>
                    <a:pt x="608" y="298"/>
                  </a:lnTo>
                  <a:lnTo>
                    <a:pt x="608" y="294"/>
                  </a:lnTo>
                  <a:lnTo>
                    <a:pt x="608" y="292"/>
                  </a:lnTo>
                  <a:lnTo>
                    <a:pt x="606" y="292"/>
                  </a:lnTo>
                  <a:lnTo>
                    <a:pt x="606" y="288"/>
                  </a:lnTo>
                  <a:lnTo>
                    <a:pt x="606" y="292"/>
                  </a:lnTo>
                  <a:lnTo>
                    <a:pt x="608" y="294"/>
                  </a:lnTo>
                  <a:lnTo>
                    <a:pt x="606" y="294"/>
                  </a:lnTo>
                  <a:lnTo>
                    <a:pt x="606" y="292"/>
                  </a:lnTo>
                  <a:lnTo>
                    <a:pt x="606" y="294"/>
                  </a:lnTo>
                  <a:lnTo>
                    <a:pt x="606" y="298"/>
                  </a:lnTo>
                  <a:lnTo>
                    <a:pt x="608" y="298"/>
                  </a:lnTo>
                  <a:lnTo>
                    <a:pt x="608" y="302"/>
                  </a:lnTo>
                  <a:lnTo>
                    <a:pt x="608" y="306"/>
                  </a:lnTo>
                  <a:lnTo>
                    <a:pt x="608" y="310"/>
                  </a:lnTo>
                  <a:lnTo>
                    <a:pt x="612" y="310"/>
                  </a:lnTo>
                  <a:lnTo>
                    <a:pt x="612" y="314"/>
                  </a:lnTo>
                  <a:lnTo>
                    <a:pt x="608" y="314"/>
                  </a:lnTo>
                  <a:lnTo>
                    <a:pt x="606" y="314"/>
                  </a:lnTo>
                  <a:lnTo>
                    <a:pt x="606" y="310"/>
                  </a:lnTo>
                  <a:lnTo>
                    <a:pt x="602" y="310"/>
                  </a:lnTo>
                  <a:lnTo>
                    <a:pt x="598" y="310"/>
                  </a:lnTo>
                  <a:lnTo>
                    <a:pt x="602" y="306"/>
                  </a:lnTo>
                  <a:lnTo>
                    <a:pt x="598" y="306"/>
                  </a:lnTo>
                  <a:lnTo>
                    <a:pt x="598" y="302"/>
                  </a:lnTo>
                  <a:lnTo>
                    <a:pt x="598" y="298"/>
                  </a:lnTo>
                  <a:lnTo>
                    <a:pt x="602" y="298"/>
                  </a:lnTo>
                  <a:lnTo>
                    <a:pt x="598" y="298"/>
                  </a:lnTo>
                  <a:lnTo>
                    <a:pt x="598" y="294"/>
                  </a:lnTo>
                  <a:lnTo>
                    <a:pt x="594" y="294"/>
                  </a:lnTo>
                  <a:lnTo>
                    <a:pt x="594" y="298"/>
                  </a:lnTo>
                  <a:lnTo>
                    <a:pt x="598" y="298"/>
                  </a:lnTo>
                  <a:lnTo>
                    <a:pt x="598" y="302"/>
                  </a:lnTo>
                  <a:lnTo>
                    <a:pt x="594" y="302"/>
                  </a:lnTo>
                  <a:lnTo>
                    <a:pt x="590" y="302"/>
                  </a:lnTo>
                  <a:lnTo>
                    <a:pt x="590" y="298"/>
                  </a:lnTo>
                  <a:lnTo>
                    <a:pt x="586" y="298"/>
                  </a:lnTo>
                  <a:lnTo>
                    <a:pt x="582" y="294"/>
                  </a:lnTo>
                  <a:lnTo>
                    <a:pt x="582" y="298"/>
                  </a:lnTo>
                  <a:lnTo>
                    <a:pt x="582" y="302"/>
                  </a:lnTo>
                  <a:lnTo>
                    <a:pt x="582" y="298"/>
                  </a:lnTo>
                  <a:lnTo>
                    <a:pt x="586" y="298"/>
                  </a:lnTo>
                  <a:lnTo>
                    <a:pt x="590" y="298"/>
                  </a:lnTo>
                  <a:lnTo>
                    <a:pt x="590" y="302"/>
                  </a:lnTo>
                  <a:lnTo>
                    <a:pt x="586" y="302"/>
                  </a:lnTo>
                  <a:lnTo>
                    <a:pt x="590" y="302"/>
                  </a:lnTo>
                  <a:lnTo>
                    <a:pt x="594" y="302"/>
                  </a:lnTo>
                  <a:lnTo>
                    <a:pt x="590" y="306"/>
                  </a:lnTo>
                  <a:lnTo>
                    <a:pt x="594" y="306"/>
                  </a:lnTo>
                  <a:lnTo>
                    <a:pt x="598" y="306"/>
                  </a:lnTo>
                  <a:lnTo>
                    <a:pt x="598" y="310"/>
                  </a:lnTo>
                  <a:lnTo>
                    <a:pt x="594" y="314"/>
                  </a:lnTo>
                  <a:lnTo>
                    <a:pt x="594" y="310"/>
                  </a:lnTo>
                  <a:lnTo>
                    <a:pt x="590" y="310"/>
                  </a:lnTo>
                  <a:lnTo>
                    <a:pt x="590" y="314"/>
                  </a:lnTo>
                  <a:lnTo>
                    <a:pt x="590" y="310"/>
                  </a:lnTo>
                  <a:lnTo>
                    <a:pt x="594" y="314"/>
                  </a:lnTo>
                  <a:lnTo>
                    <a:pt x="590" y="314"/>
                  </a:lnTo>
                  <a:lnTo>
                    <a:pt x="590" y="310"/>
                  </a:lnTo>
                  <a:lnTo>
                    <a:pt x="586" y="314"/>
                  </a:lnTo>
                  <a:lnTo>
                    <a:pt x="590" y="314"/>
                  </a:lnTo>
                  <a:lnTo>
                    <a:pt x="586" y="314"/>
                  </a:lnTo>
                  <a:lnTo>
                    <a:pt x="586" y="310"/>
                  </a:lnTo>
                  <a:lnTo>
                    <a:pt x="582" y="310"/>
                  </a:lnTo>
                  <a:lnTo>
                    <a:pt x="578" y="310"/>
                  </a:lnTo>
                  <a:lnTo>
                    <a:pt x="578" y="306"/>
                  </a:lnTo>
                  <a:lnTo>
                    <a:pt x="576" y="306"/>
                  </a:lnTo>
                  <a:lnTo>
                    <a:pt x="576" y="302"/>
                  </a:lnTo>
                  <a:lnTo>
                    <a:pt x="576" y="306"/>
                  </a:lnTo>
                  <a:lnTo>
                    <a:pt x="572" y="302"/>
                  </a:lnTo>
                  <a:lnTo>
                    <a:pt x="572" y="298"/>
                  </a:lnTo>
                  <a:lnTo>
                    <a:pt x="568" y="298"/>
                  </a:lnTo>
                  <a:lnTo>
                    <a:pt x="568" y="294"/>
                  </a:lnTo>
                  <a:lnTo>
                    <a:pt x="564" y="294"/>
                  </a:lnTo>
                  <a:lnTo>
                    <a:pt x="560" y="294"/>
                  </a:lnTo>
                  <a:lnTo>
                    <a:pt x="564" y="292"/>
                  </a:lnTo>
                  <a:lnTo>
                    <a:pt x="560" y="292"/>
                  </a:lnTo>
                  <a:lnTo>
                    <a:pt x="560" y="294"/>
                  </a:lnTo>
                  <a:lnTo>
                    <a:pt x="556" y="292"/>
                  </a:lnTo>
                  <a:lnTo>
                    <a:pt x="552" y="292"/>
                  </a:lnTo>
                  <a:lnTo>
                    <a:pt x="552" y="288"/>
                  </a:lnTo>
                  <a:lnTo>
                    <a:pt x="548" y="288"/>
                  </a:lnTo>
                  <a:lnTo>
                    <a:pt x="546" y="288"/>
                  </a:lnTo>
                  <a:lnTo>
                    <a:pt x="546" y="284"/>
                  </a:lnTo>
                  <a:lnTo>
                    <a:pt x="548" y="280"/>
                  </a:lnTo>
                  <a:lnTo>
                    <a:pt x="546" y="280"/>
                  </a:lnTo>
                  <a:lnTo>
                    <a:pt x="546" y="276"/>
                  </a:lnTo>
                  <a:lnTo>
                    <a:pt x="548" y="276"/>
                  </a:lnTo>
                  <a:lnTo>
                    <a:pt x="548" y="280"/>
                  </a:lnTo>
                  <a:lnTo>
                    <a:pt x="548" y="284"/>
                  </a:lnTo>
                  <a:lnTo>
                    <a:pt x="552" y="284"/>
                  </a:lnTo>
                  <a:lnTo>
                    <a:pt x="552" y="280"/>
                  </a:lnTo>
                  <a:lnTo>
                    <a:pt x="548" y="280"/>
                  </a:lnTo>
                  <a:lnTo>
                    <a:pt x="552" y="276"/>
                  </a:lnTo>
                  <a:lnTo>
                    <a:pt x="556" y="280"/>
                  </a:lnTo>
                  <a:lnTo>
                    <a:pt x="556" y="276"/>
                  </a:lnTo>
                  <a:lnTo>
                    <a:pt x="552" y="276"/>
                  </a:lnTo>
                  <a:lnTo>
                    <a:pt x="548" y="276"/>
                  </a:lnTo>
                  <a:lnTo>
                    <a:pt x="548" y="272"/>
                  </a:lnTo>
                  <a:lnTo>
                    <a:pt x="546" y="272"/>
                  </a:lnTo>
                  <a:lnTo>
                    <a:pt x="546" y="276"/>
                  </a:lnTo>
                  <a:lnTo>
                    <a:pt x="542" y="280"/>
                  </a:lnTo>
                  <a:lnTo>
                    <a:pt x="538" y="280"/>
                  </a:lnTo>
                  <a:lnTo>
                    <a:pt x="534" y="280"/>
                  </a:lnTo>
                  <a:lnTo>
                    <a:pt x="530" y="280"/>
                  </a:lnTo>
                  <a:lnTo>
                    <a:pt x="526" y="280"/>
                  </a:lnTo>
                  <a:lnTo>
                    <a:pt x="522" y="276"/>
                  </a:lnTo>
                  <a:lnTo>
                    <a:pt x="520" y="276"/>
                  </a:lnTo>
                  <a:lnTo>
                    <a:pt x="522" y="276"/>
                  </a:lnTo>
                  <a:lnTo>
                    <a:pt x="522" y="272"/>
                  </a:lnTo>
                  <a:lnTo>
                    <a:pt x="520" y="272"/>
                  </a:lnTo>
                  <a:lnTo>
                    <a:pt x="520" y="276"/>
                  </a:lnTo>
                  <a:lnTo>
                    <a:pt x="516" y="276"/>
                  </a:lnTo>
                  <a:lnTo>
                    <a:pt x="516" y="272"/>
                  </a:lnTo>
                  <a:lnTo>
                    <a:pt x="512" y="272"/>
                  </a:lnTo>
                  <a:lnTo>
                    <a:pt x="504" y="272"/>
                  </a:lnTo>
                  <a:lnTo>
                    <a:pt x="500" y="272"/>
                  </a:lnTo>
                  <a:lnTo>
                    <a:pt x="496" y="272"/>
                  </a:lnTo>
                  <a:lnTo>
                    <a:pt x="492" y="272"/>
                  </a:lnTo>
                  <a:lnTo>
                    <a:pt x="490" y="272"/>
                  </a:lnTo>
                  <a:lnTo>
                    <a:pt x="486" y="272"/>
                  </a:lnTo>
                  <a:lnTo>
                    <a:pt x="482" y="272"/>
                  </a:lnTo>
                  <a:lnTo>
                    <a:pt x="482" y="268"/>
                  </a:lnTo>
                  <a:lnTo>
                    <a:pt x="478" y="268"/>
                  </a:lnTo>
                  <a:lnTo>
                    <a:pt x="474" y="268"/>
                  </a:lnTo>
                  <a:lnTo>
                    <a:pt x="470" y="268"/>
                  </a:lnTo>
                  <a:lnTo>
                    <a:pt x="470" y="266"/>
                  </a:lnTo>
                  <a:lnTo>
                    <a:pt x="470" y="262"/>
                  </a:lnTo>
                  <a:lnTo>
                    <a:pt x="474" y="262"/>
                  </a:lnTo>
                  <a:lnTo>
                    <a:pt x="474" y="258"/>
                  </a:lnTo>
                  <a:lnTo>
                    <a:pt x="470" y="262"/>
                  </a:lnTo>
                  <a:lnTo>
                    <a:pt x="466" y="266"/>
                  </a:lnTo>
                  <a:lnTo>
                    <a:pt x="464" y="266"/>
                  </a:lnTo>
                  <a:lnTo>
                    <a:pt x="460" y="266"/>
                  </a:lnTo>
                  <a:lnTo>
                    <a:pt x="456" y="262"/>
                  </a:lnTo>
                  <a:lnTo>
                    <a:pt x="460" y="262"/>
                  </a:lnTo>
                  <a:lnTo>
                    <a:pt x="460" y="258"/>
                  </a:lnTo>
                  <a:lnTo>
                    <a:pt x="460" y="262"/>
                  </a:lnTo>
                  <a:lnTo>
                    <a:pt x="456" y="262"/>
                  </a:lnTo>
                  <a:lnTo>
                    <a:pt x="456" y="258"/>
                  </a:lnTo>
                  <a:lnTo>
                    <a:pt x="456" y="262"/>
                  </a:lnTo>
                  <a:lnTo>
                    <a:pt x="452" y="262"/>
                  </a:lnTo>
                  <a:lnTo>
                    <a:pt x="452" y="258"/>
                  </a:lnTo>
                  <a:lnTo>
                    <a:pt x="456" y="258"/>
                  </a:lnTo>
                  <a:lnTo>
                    <a:pt x="452" y="258"/>
                  </a:lnTo>
                  <a:lnTo>
                    <a:pt x="448" y="258"/>
                  </a:lnTo>
                  <a:lnTo>
                    <a:pt x="444" y="258"/>
                  </a:lnTo>
                  <a:lnTo>
                    <a:pt x="448" y="258"/>
                  </a:lnTo>
                  <a:lnTo>
                    <a:pt x="452" y="254"/>
                  </a:lnTo>
                  <a:lnTo>
                    <a:pt x="448" y="254"/>
                  </a:lnTo>
                  <a:lnTo>
                    <a:pt x="444" y="254"/>
                  </a:lnTo>
                  <a:lnTo>
                    <a:pt x="448" y="250"/>
                  </a:lnTo>
                  <a:lnTo>
                    <a:pt x="452" y="250"/>
                  </a:lnTo>
                  <a:lnTo>
                    <a:pt x="452" y="246"/>
                  </a:lnTo>
                  <a:lnTo>
                    <a:pt x="448" y="246"/>
                  </a:lnTo>
                  <a:lnTo>
                    <a:pt x="448" y="250"/>
                  </a:lnTo>
                  <a:lnTo>
                    <a:pt x="444" y="250"/>
                  </a:lnTo>
                  <a:lnTo>
                    <a:pt x="440" y="254"/>
                  </a:lnTo>
                  <a:lnTo>
                    <a:pt x="440" y="250"/>
                  </a:lnTo>
                  <a:lnTo>
                    <a:pt x="436" y="250"/>
                  </a:lnTo>
                  <a:lnTo>
                    <a:pt x="436" y="254"/>
                  </a:lnTo>
                  <a:lnTo>
                    <a:pt x="434" y="254"/>
                  </a:lnTo>
                  <a:lnTo>
                    <a:pt x="434" y="250"/>
                  </a:lnTo>
                  <a:lnTo>
                    <a:pt x="434" y="246"/>
                  </a:lnTo>
                  <a:lnTo>
                    <a:pt x="434" y="254"/>
                  </a:lnTo>
                  <a:lnTo>
                    <a:pt x="430" y="254"/>
                  </a:lnTo>
                  <a:lnTo>
                    <a:pt x="426" y="254"/>
                  </a:lnTo>
                  <a:lnTo>
                    <a:pt x="430" y="250"/>
                  </a:lnTo>
                  <a:lnTo>
                    <a:pt x="430" y="246"/>
                  </a:lnTo>
                  <a:lnTo>
                    <a:pt x="430" y="250"/>
                  </a:lnTo>
                  <a:lnTo>
                    <a:pt x="426" y="250"/>
                  </a:lnTo>
                  <a:lnTo>
                    <a:pt x="422" y="250"/>
                  </a:lnTo>
                  <a:lnTo>
                    <a:pt x="426" y="250"/>
                  </a:lnTo>
                  <a:lnTo>
                    <a:pt x="422" y="254"/>
                  </a:lnTo>
                  <a:lnTo>
                    <a:pt x="418" y="254"/>
                  </a:lnTo>
                  <a:lnTo>
                    <a:pt x="418" y="258"/>
                  </a:lnTo>
                  <a:lnTo>
                    <a:pt x="418" y="254"/>
                  </a:lnTo>
                  <a:lnTo>
                    <a:pt x="422" y="258"/>
                  </a:lnTo>
                  <a:lnTo>
                    <a:pt x="418" y="258"/>
                  </a:lnTo>
                  <a:lnTo>
                    <a:pt x="422" y="258"/>
                  </a:lnTo>
                  <a:lnTo>
                    <a:pt x="426" y="262"/>
                  </a:lnTo>
                  <a:lnTo>
                    <a:pt x="422" y="262"/>
                  </a:lnTo>
                  <a:lnTo>
                    <a:pt x="418" y="262"/>
                  </a:lnTo>
                  <a:lnTo>
                    <a:pt x="418" y="266"/>
                  </a:lnTo>
                  <a:lnTo>
                    <a:pt x="418" y="266"/>
                  </a:lnTo>
                  <a:lnTo>
                    <a:pt x="418" y="266"/>
                  </a:lnTo>
                  <a:close/>
                  <a:moveTo>
                    <a:pt x="434" y="266"/>
                  </a:moveTo>
                  <a:lnTo>
                    <a:pt x="430" y="266"/>
                  </a:lnTo>
                  <a:lnTo>
                    <a:pt x="434" y="266"/>
                  </a:lnTo>
                  <a:lnTo>
                    <a:pt x="430" y="268"/>
                  </a:lnTo>
                  <a:lnTo>
                    <a:pt x="430" y="266"/>
                  </a:lnTo>
                  <a:lnTo>
                    <a:pt x="434" y="262"/>
                  </a:lnTo>
                  <a:lnTo>
                    <a:pt x="434" y="266"/>
                  </a:lnTo>
                  <a:lnTo>
                    <a:pt x="434" y="266"/>
                  </a:lnTo>
                  <a:lnTo>
                    <a:pt x="434" y="266"/>
                  </a:lnTo>
                  <a:close/>
                  <a:moveTo>
                    <a:pt x="224" y="384"/>
                  </a:moveTo>
                  <a:lnTo>
                    <a:pt x="224" y="388"/>
                  </a:lnTo>
                  <a:lnTo>
                    <a:pt x="224" y="384"/>
                  </a:lnTo>
                  <a:lnTo>
                    <a:pt x="224" y="384"/>
                  </a:lnTo>
                  <a:lnTo>
                    <a:pt x="224" y="384"/>
                  </a:lnTo>
                  <a:close/>
                  <a:moveTo>
                    <a:pt x="1440" y="706"/>
                  </a:moveTo>
                  <a:lnTo>
                    <a:pt x="1440" y="708"/>
                  </a:lnTo>
                  <a:lnTo>
                    <a:pt x="1440" y="706"/>
                  </a:lnTo>
                  <a:lnTo>
                    <a:pt x="1436" y="706"/>
                  </a:lnTo>
                  <a:lnTo>
                    <a:pt x="1440" y="708"/>
                  </a:lnTo>
                  <a:lnTo>
                    <a:pt x="1440" y="712"/>
                  </a:lnTo>
                  <a:lnTo>
                    <a:pt x="1440" y="716"/>
                  </a:lnTo>
                  <a:lnTo>
                    <a:pt x="1440" y="720"/>
                  </a:lnTo>
                  <a:lnTo>
                    <a:pt x="1440" y="724"/>
                  </a:lnTo>
                  <a:lnTo>
                    <a:pt x="1436" y="724"/>
                  </a:lnTo>
                  <a:lnTo>
                    <a:pt x="1436" y="720"/>
                  </a:lnTo>
                  <a:lnTo>
                    <a:pt x="1436" y="716"/>
                  </a:lnTo>
                  <a:lnTo>
                    <a:pt x="1436" y="720"/>
                  </a:lnTo>
                  <a:lnTo>
                    <a:pt x="1436" y="724"/>
                  </a:lnTo>
                  <a:lnTo>
                    <a:pt x="1440" y="724"/>
                  </a:lnTo>
                  <a:lnTo>
                    <a:pt x="1440" y="728"/>
                  </a:lnTo>
                  <a:lnTo>
                    <a:pt x="1440" y="732"/>
                  </a:lnTo>
                  <a:lnTo>
                    <a:pt x="1440" y="728"/>
                  </a:lnTo>
                  <a:lnTo>
                    <a:pt x="1436" y="728"/>
                  </a:lnTo>
                  <a:lnTo>
                    <a:pt x="1432" y="724"/>
                  </a:lnTo>
                  <a:lnTo>
                    <a:pt x="1428" y="724"/>
                  </a:lnTo>
                  <a:lnTo>
                    <a:pt x="1428" y="720"/>
                  </a:lnTo>
                  <a:lnTo>
                    <a:pt x="1428" y="716"/>
                  </a:lnTo>
                  <a:lnTo>
                    <a:pt x="1432" y="716"/>
                  </a:lnTo>
                  <a:lnTo>
                    <a:pt x="1432" y="712"/>
                  </a:lnTo>
                  <a:lnTo>
                    <a:pt x="1432" y="716"/>
                  </a:lnTo>
                  <a:lnTo>
                    <a:pt x="1428" y="716"/>
                  </a:lnTo>
                  <a:lnTo>
                    <a:pt x="1428" y="720"/>
                  </a:lnTo>
                  <a:lnTo>
                    <a:pt x="1428" y="724"/>
                  </a:lnTo>
                  <a:lnTo>
                    <a:pt x="1432" y="724"/>
                  </a:lnTo>
                  <a:lnTo>
                    <a:pt x="1432" y="728"/>
                  </a:lnTo>
                  <a:lnTo>
                    <a:pt x="1436" y="728"/>
                  </a:lnTo>
                  <a:lnTo>
                    <a:pt x="1440" y="732"/>
                  </a:lnTo>
                  <a:lnTo>
                    <a:pt x="1442" y="732"/>
                  </a:lnTo>
                  <a:lnTo>
                    <a:pt x="1442" y="734"/>
                  </a:lnTo>
                  <a:lnTo>
                    <a:pt x="1440" y="738"/>
                  </a:lnTo>
                  <a:lnTo>
                    <a:pt x="1440" y="734"/>
                  </a:lnTo>
                  <a:lnTo>
                    <a:pt x="1436" y="734"/>
                  </a:lnTo>
                  <a:lnTo>
                    <a:pt x="1432" y="732"/>
                  </a:lnTo>
                  <a:lnTo>
                    <a:pt x="1432" y="728"/>
                  </a:lnTo>
                  <a:lnTo>
                    <a:pt x="1428" y="728"/>
                  </a:lnTo>
                  <a:lnTo>
                    <a:pt x="1432" y="728"/>
                  </a:lnTo>
                  <a:lnTo>
                    <a:pt x="1432" y="732"/>
                  </a:lnTo>
                  <a:lnTo>
                    <a:pt x="1436" y="734"/>
                  </a:lnTo>
                  <a:lnTo>
                    <a:pt x="1440" y="738"/>
                  </a:lnTo>
                  <a:lnTo>
                    <a:pt x="1442" y="738"/>
                  </a:lnTo>
                  <a:lnTo>
                    <a:pt x="1442" y="742"/>
                  </a:lnTo>
                  <a:lnTo>
                    <a:pt x="1440" y="742"/>
                  </a:lnTo>
                  <a:lnTo>
                    <a:pt x="1440" y="746"/>
                  </a:lnTo>
                  <a:lnTo>
                    <a:pt x="1440" y="742"/>
                  </a:lnTo>
                  <a:lnTo>
                    <a:pt x="1436" y="742"/>
                  </a:lnTo>
                  <a:lnTo>
                    <a:pt x="1440" y="742"/>
                  </a:lnTo>
                  <a:lnTo>
                    <a:pt x="1440" y="746"/>
                  </a:lnTo>
                  <a:lnTo>
                    <a:pt x="1442" y="746"/>
                  </a:lnTo>
                  <a:lnTo>
                    <a:pt x="1440" y="750"/>
                  </a:lnTo>
                  <a:lnTo>
                    <a:pt x="1436" y="746"/>
                  </a:lnTo>
                  <a:lnTo>
                    <a:pt x="1432" y="746"/>
                  </a:lnTo>
                  <a:lnTo>
                    <a:pt x="1432" y="742"/>
                  </a:lnTo>
                  <a:lnTo>
                    <a:pt x="1428" y="742"/>
                  </a:lnTo>
                  <a:lnTo>
                    <a:pt x="1432" y="742"/>
                  </a:lnTo>
                  <a:lnTo>
                    <a:pt x="1432" y="746"/>
                  </a:lnTo>
                  <a:lnTo>
                    <a:pt x="1436" y="746"/>
                  </a:lnTo>
                  <a:lnTo>
                    <a:pt x="1436" y="750"/>
                  </a:lnTo>
                  <a:lnTo>
                    <a:pt x="1440" y="750"/>
                  </a:lnTo>
                  <a:lnTo>
                    <a:pt x="1440" y="754"/>
                  </a:lnTo>
                  <a:lnTo>
                    <a:pt x="1440" y="750"/>
                  </a:lnTo>
                  <a:lnTo>
                    <a:pt x="1442" y="750"/>
                  </a:lnTo>
                  <a:lnTo>
                    <a:pt x="1446" y="750"/>
                  </a:lnTo>
                  <a:lnTo>
                    <a:pt x="1446" y="754"/>
                  </a:lnTo>
                  <a:lnTo>
                    <a:pt x="1446" y="758"/>
                  </a:lnTo>
                  <a:lnTo>
                    <a:pt x="1446" y="762"/>
                  </a:lnTo>
                  <a:lnTo>
                    <a:pt x="1446" y="764"/>
                  </a:lnTo>
                  <a:lnTo>
                    <a:pt x="1450" y="764"/>
                  </a:lnTo>
                  <a:lnTo>
                    <a:pt x="1450" y="768"/>
                  </a:lnTo>
                  <a:lnTo>
                    <a:pt x="1450" y="772"/>
                  </a:lnTo>
                  <a:lnTo>
                    <a:pt x="1450" y="768"/>
                  </a:lnTo>
                  <a:lnTo>
                    <a:pt x="1450" y="764"/>
                  </a:lnTo>
                  <a:lnTo>
                    <a:pt x="1446" y="764"/>
                  </a:lnTo>
                  <a:lnTo>
                    <a:pt x="1446" y="762"/>
                  </a:lnTo>
                  <a:lnTo>
                    <a:pt x="1446" y="758"/>
                  </a:lnTo>
                  <a:lnTo>
                    <a:pt x="1446" y="754"/>
                  </a:lnTo>
                  <a:lnTo>
                    <a:pt x="1446" y="758"/>
                  </a:lnTo>
                  <a:lnTo>
                    <a:pt x="1442" y="758"/>
                  </a:lnTo>
                  <a:lnTo>
                    <a:pt x="1446" y="762"/>
                  </a:lnTo>
                  <a:lnTo>
                    <a:pt x="1446" y="764"/>
                  </a:lnTo>
                  <a:lnTo>
                    <a:pt x="1446" y="768"/>
                  </a:lnTo>
                  <a:lnTo>
                    <a:pt x="1446" y="764"/>
                  </a:lnTo>
                  <a:lnTo>
                    <a:pt x="1446" y="762"/>
                  </a:lnTo>
                  <a:lnTo>
                    <a:pt x="1446" y="764"/>
                  </a:lnTo>
                  <a:lnTo>
                    <a:pt x="1442" y="764"/>
                  </a:lnTo>
                  <a:lnTo>
                    <a:pt x="1442" y="762"/>
                  </a:lnTo>
                  <a:lnTo>
                    <a:pt x="1442" y="764"/>
                  </a:lnTo>
                  <a:lnTo>
                    <a:pt x="1440" y="764"/>
                  </a:lnTo>
                  <a:lnTo>
                    <a:pt x="1440" y="768"/>
                  </a:lnTo>
                  <a:lnTo>
                    <a:pt x="1436" y="768"/>
                  </a:lnTo>
                  <a:lnTo>
                    <a:pt x="1436" y="764"/>
                  </a:lnTo>
                  <a:lnTo>
                    <a:pt x="1436" y="768"/>
                  </a:lnTo>
                  <a:lnTo>
                    <a:pt x="1440" y="768"/>
                  </a:lnTo>
                  <a:lnTo>
                    <a:pt x="1442" y="768"/>
                  </a:lnTo>
                  <a:lnTo>
                    <a:pt x="1440" y="768"/>
                  </a:lnTo>
                  <a:lnTo>
                    <a:pt x="1442" y="768"/>
                  </a:lnTo>
                  <a:lnTo>
                    <a:pt x="1446" y="768"/>
                  </a:lnTo>
                  <a:lnTo>
                    <a:pt x="1442" y="772"/>
                  </a:lnTo>
                  <a:lnTo>
                    <a:pt x="1442" y="776"/>
                  </a:lnTo>
                  <a:lnTo>
                    <a:pt x="1442" y="772"/>
                  </a:lnTo>
                  <a:lnTo>
                    <a:pt x="1442" y="776"/>
                  </a:lnTo>
                  <a:lnTo>
                    <a:pt x="1446" y="772"/>
                  </a:lnTo>
                  <a:lnTo>
                    <a:pt x="1446" y="768"/>
                  </a:lnTo>
                  <a:lnTo>
                    <a:pt x="1450" y="772"/>
                  </a:lnTo>
                  <a:lnTo>
                    <a:pt x="1450" y="776"/>
                  </a:lnTo>
                  <a:lnTo>
                    <a:pt x="1446" y="776"/>
                  </a:lnTo>
                  <a:lnTo>
                    <a:pt x="1446" y="780"/>
                  </a:lnTo>
                  <a:lnTo>
                    <a:pt x="1442" y="780"/>
                  </a:lnTo>
                  <a:lnTo>
                    <a:pt x="1440" y="780"/>
                  </a:lnTo>
                  <a:lnTo>
                    <a:pt x="1436" y="780"/>
                  </a:lnTo>
                  <a:lnTo>
                    <a:pt x="1436" y="776"/>
                  </a:lnTo>
                  <a:lnTo>
                    <a:pt x="1440" y="776"/>
                  </a:lnTo>
                  <a:lnTo>
                    <a:pt x="1436" y="776"/>
                  </a:lnTo>
                  <a:lnTo>
                    <a:pt x="1436" y="780"/>
                  </a:lnTo>
                  <a:lnTo>
                    <a:pt x="1432" y="780"/>
                  </a:lnTo>
                  <a:lnTo>
                    <a:pt x="1432" y="776"/>
                  </a:lnTo>
                  <a:lnTo>
                    <a:pt x="1432" y="780"/>
                  </a:lnTo>
                  <a:lnTo>
                    <a:pt x="1440" y="780"/>
                  </a:lnTo>
                  <a:lnTo>
                    <a:pt x="1440" y="784"/>
                  </a:lnTo>
                  <a:lnTo>
                    <a:pt x="1436" y="784"/>
                  </a:lnTo>
                  <a:lnTo>
                    <a:pt x="1436" y="788"/>
                  </a:lnTo>
                  <a:lnTo>
                    <a:pt x="1432" y="788"/>
                  </a:lnTo>
                  <a:lnTo>
                    <a:pt x="1432" y="784"/>
                  </a:lnTo>
                  <a:lnTo>
                    <a:pt x="1432" y="788"/>
                  </a:lnTo>
                  <a:lnTo>
                    <a:pt x="1436" y="788"/>
                  </a:lnTo>
                  <a:lnTo>
                    <a:pt x="1440" y="788"/>
                  </a:lnTo>
                  <a:lnTo>
                    <a:pt x="1442" y="788"/>
                  </a:lnTo>
                  <a:lnTo>
                    <a:pt x="1440" y="788"/>
                  </a:lnTo>
                  <a:lnTo>
                    <a:pt x="1440" y="790"/>
                  </a:lnTo>
                  <a:lnTo>
                    <a:pt x="1436" y="790"/>
                  </a:lnTo>
                  <a:lnTo>
                    <a:pt x="1428" y="794"/>
                  </a:lnTo>
                  <a:lnTo>
                    <a:pt x="1424" y="794"/>
                  </a:lnTo>
                  <a:lnTo>
                    <a:pt x="1428" y="794"/>
                  </a:lnTo>
                  <a:lnTo>
                    <a:pt x="1424" y="790"/>
                  </a:lnTo>
                  <a:lnTo>
                    <a:pt x="1424" y="794"/>
                  </a:lnTo>
                  <a:lnTo>
                    <a:pt x="1424" y="798"/>
                  </a:lnTo>
                  <a:lnTo>
                    <a:pt x="1420" y="798"/>
                  </a:lnTo>
                  <a:lnTo>
                    <a:pt x="1420" y="802"/>
                  </a:lnTo>
                  <a:lnTo>
                    <a:pt x="1416" y="802"/>
                  </a:lnTo>
                  <a:lnTo>
                    <a:pt x="1416" y="806"/>
                  </a:lnTo>
                  <a:lnTo>
                    <a:pt x="1416" y="802"/>
                  </a:lnTo>
                  <a:lnTo>
                    <a:pt x="1416" y="806"/>
                  </a:lnTo>
                  <a:lnTo>
                    <a:pt x="1416" y="810"/>
                  </a:lnTo>
                  <a:lnTo>
                    <a:pt x="1416" y="806"/>
                  </a:lnTo>
                  <a:lnTo>
                    <a:pt x="1414" y="806"/>
                  </a:lnTo>
                  <a:lnTo>
                    <a:pt x="1410" y="810"/>
                  </a:lnTo>
                  <a:lnTo>
                    <a:pt x="1406" y="810"/>
                  </a:lnTo>
                  <a:lnTo>
                    <a:pt x="1406" y="814"/>
                  </a:lnTo>
                  <a:lnTo>
                    <a:pt x="1402" y="814"/>
                  </a:lnTo>
                  <a:lnTo>
                    <a:pt x="1402" y="818"/>
                  </a:lnTo>
                  <a:lnTo>
                    <a:pt x="1398" y="820"/>
                  </a:lnTo>
                  <a:lnTo>
                    <a:pt x="1398" y="818"/>
                  </a:lnTo>
                  <a:lnTo>
                    <a:pt x="1398" y="820"/>
                  </a:lnTo>
                  <a:lnTo>
                    <a:pt x="1398" y="824"/>
                  </a:lnTo>
                  <a:lnTo>
                    <a:pt x="1394" y="824"/>
                  </a:lnTo>
                  <a:lnTo>
                    <a:pt x="1390" y="828"/>
                  </a:lnTo>
                  <a:lnTo>
                    <a:pt x="1390" y="832"/>
                  </a:lnTo>
                  <a:lnTo>
                    <a:pt x="1386" y="832"/>
                  </a:lnTo>
                  <a:lnTo>
                    <a:pt x="1384" y="836"/>
                  </a:lnTo>
                  <a:lnTo>
                    <a:pt x="1380" y="832"/>
                  </a:lnTo>
                  <a:lnTo>
                    <a:pt x="1380" y="836"/>
                  </a:lnTo>
                  <a:lnTo>
                    <a:pt x="1384" y="836"/>
                  </a:lnTo>
                  <a:lnTo>
                    <a:pt x="1380" y="840"/>
                  </a:lnTo>
                  <a:lnTo>
                    <a:pt x="1380" y="836"/>
                  </a:lnTo>
                  <a:lnTo>
                    <a:pt x="1376" y="836"/>
                  </a:lnTo>
                  <a:lnTo>
                    <a:pt x="1376" y="832"/>
                  </a:lnTo>
                  <a:lnTo>
                    <a:pt x="1376" y="836"/>
                  </a:lnTo>
                  <a:lnTo>
                    <a:pt x="1380" y="840"/>
                  </a:lnTo>
                  <a:lnTo>
                    <a:pt x="1376" y="840"/>
                  </a:lnTo>
                  <a:lnTo>
                    <a:pt x="1376" y="844"/>
                  </a:lnTo>
                  <a:lnTo>
                    <a:pt x="1376" y="848"/>
                  </a:lnTo>
                  <a:lnTo>
                    <a:pt x="1372" y="848"/>
                  </a:lnTo>
                  <a:lnTo>
                    <a:pt x="1372" y="850"/>
                  </a:lnTo>
                  <a:lnTo>
                    <a:pt x="1368" y="850"/>
                  </a:lnTo>
                  <a:lnTo>
                    <a:pt x="1372" y="854"/>
                  </a:lnTo>
                  <a:lnTo>
                    <a:pt x="1372" y="850"/>
                  </a:lnTo>
                  <a:lnTo>
                    <a:pt x="1372" y="854"/>
                  </a:lnTo>
                  <a:lnTo>
                    <a:pt x="1372" y="858"/>
                  </a:lnTo>
                  <a:lnTo>
                    <a:pt x="1368" y="858"/>
                  </a:lnTo>
                  <a:lnTo>
                    <a:pt x="1368" y="862"/>
                  </a:lnTo>
                  <a:lnTo>
                    <a:pt x="1368" y="858"/>
                  </a:lnTo>
                  <a:lnTo>
                    <a:pt x="1368" y="862"/>
                  </a:lnTo>
                  <a:lnTo>
                    <a:pt x="1368" y="866"/>
                  </a:lnTo>
                  <a:lnTo>
                    <a:pt x="1368" y="870"/>
                  </a:lnTo>
                  <a:lnTo>
                    <a:pt x="1368" y="874"/>
                  </a:lnTo>
                  <a:lnTo>
                    <a:pt x="1368" y="876"/>
                  </a:lnTo>
                  <a:lnTo>
                    <a:pt x="1368" y="880"/>
                  </a:lnTo>
                  <a:lnTo>
                    <a:pt x="1372" y="880"/>
                  </a:lnTo>
                  <a:lnTo>
                    <a:pt x="1372" y="884"/>
                  </a:lnTo>
                  <a:lnTo>
                    <a:pt x="1372" y="888"/>
                  </a:lnTo>
                  <a:lnTo>
                    <a:pt x="1376" y="896"/>
                  </a:lnTo>
                  <a:lnTo>
                    <a:pt x="1376" y="900"/>
                  </a:lnTo>
                  <a:lnTo>
                    <a:pt x="1380" y="904"/>
                  </a:lnTo>
                  <a:lnTo>
                    <a:pt x="1380" y="906"/>
                  </a:lnTo>
                  <a:lnTo>
                    <a:pt x="1380" y="910"/>
                  </a:lnTo>
                  <a:lnTo>
                    <a:pt x="1380" y="914"/>
                  </a:lnTo>
                  <a:lnTo>
                    <a:pt x="1384" y="918"/>
                  </a:lnTo>
                  <a:lnTo>
                    <a:pt x="1380" y="918"/>
                  </a:lnTo>
                  <a:lnTo>
                    <a:pt x="1380" y="914"/>
                  </a:lnTo>
                  <a:lnTo>
                    <a:pt x="1380" y="910"/>
                  </a:lnTo>
                  <a:lnTo>
                    <a:pt x="1380" y="906"/>
                  </a:lnTo>
                  <a:lnTo>
                    <a:pt x="1376" y="906"/>
                  </a:lnTo>
                  <a:lnTo>
                    <a:pt x="1376" y="904"/>
                  </a:lnTo>
                  <a:lnTo>
                    <a:pt x="1380" y="904"/>
                  </a:lnTo>
                  <a:lnTo>
                    <a:pt x="1376" y="904"/>
                  </a:lnTo>
                  <a:lnTo>
                    <a:pt x="1380" y="910"/>
                  </a:lnTo>
                  <a:lnTo>
                    <a:pt x="1380" y="914"/>
                  </a:lnTo>
                  <a:lnTo>
                    <a:pt x="1384" y="918"/>
                  </a:lnTo>
                  <a:lnTo>
                    <a:pt x="1384" y="922"/>
                  </a:lnTo>
                  <a:lnTo>
                    <a:pt x="1384" y="926"/>
                  </a:lnTo>
                  <a:lnTo>
                    <a:pt x="1386" y="932"/>
                  </a:lnTo>
                  <a:lnTo>
                    <a:pt x="1386" y="936"/>
                  </a:lnTo>
                  <a:lnTo>
                    <a:pt x="1386" y="940"/>
                  </a:lnTo>
                  <a:lnTo>
                    <a:pt x="1386" y="944"/>
                  </a:lnTo>
                  <a:lnTo>
                    <a:pt x="1386" y="948"/>
                  </a:lnTo>
                  <a:lnTo>
                    <a:pt x="1386" y="956"/>
                  </a:lnTo>
                  <a:lnTo>
                    <a:pt x="1386" y="960"/>
                  </a:lnTo>
                  <a:lnTo>
                    <a:pt x="1384" y="960"/>
                  </a:lnTo>
                  <a:lnTo>
                    <a:pt x="1384" y="962"/>
                  </a:lnTo>
                  <a:lnTo>
                    <a:pt x="1384" y="966"/>
                  </a:lnTo>
                  <a:lnTo>
                    <a:pt x="1380" y="966"/>
                  </a:lnTo>
                  <a:lnTo>
                    <a:pt x="1376" y="966"/>
                  </a:lnTo>
                  <a:lnTo>
                    <a:pt x="1372" y="970"/>
                  </a:lnTo>
                  <a:lnTo>
                    <a:pt x="1372" y="966"/>
                  </a:lnTo>
                  <a:lnTo>
                    <a:pt x="1376" y="966"/>
                  </a:lnTo>
                  <a:lnTo>
                    <a:pt x="1372" y="966"/>
                  </a:lnTo>
                  <a:lnTo>
                    <a:pt x="1372" y="962"/>
                  </a:lnTo>
                  <a:lnTo>
                    <a:pt x="1368" y="956"/>
                  </a:lnTo>
                  <a:lnTo>
                    <a:pt x="1364" y="956"/>
                  </a:lnTo>
                  <a:lnTo>
                    <a:pt x="1364" y="952"/>
                  </a:lnTo>
                  <a:lnTo>
                    <a:pt x="1360" y="948"/>
                  </a:lnTo>
                  <a:lnTo>
                    <a:pt x="1360" y="944"/>
                  </a:lnTo>
                  <a:lnTo>
                    <a:pt x="1364" y="940"/>
                  </a:lnTo>
                  <a:lnTo>
                    <a:pt x="1360" y="940"/>
                  </a:lnTo>
                  <a:lnTo>
                    <a:pt x="1360" y="944"/>
                  </a:lnTo>
                  <a:lnTo>
                    <a:pt x="1360" y="940"/>
                  </a:lnTo>
                  <a:lnTo>
                    <a:pt x="1360" y="936"/>
                  </a:lnTo>
                  <a:lnTo>
                    <a:pt x="1358" y="936"/>
                  </a:lnTo>
                  <a:lnTo>
                    <a:pt x="1358" y="940"/>
                  </a:lnTo>
                  <a:lnTo>
                    <a:pt x="1358" y="936"/>
                  </a:lnTo>
                  <a:lnTo>
                    <a:pt x="1354" y="936"/>
                  </a:lnTo>
                  <a:lnTo>
                    <a:pt x="1354" y="932"/>
                  </a:lnTo>
                  <a:lnTo>
                    <a:pt x="1354" y="930"/>
                  </a:lnTo>
                  <a:lnTo>
                    <a:pt x="1354" y="926"/>
                  </a:lnTo>
                  <a:lnTo>
                    <a:pt x="1350" y="926"/>
                  </a:lnTo>
                  <a:lnTo>
                    <a:pt x="1354" y="926"/>
                  </a:lnTo>
                  <a:lnTo>
                    <a:pt x="1350" y="926"/>
                  </a:lnTo>
                  <a:lnTo>
                    <a:pt x="1354" y="922"/>
                  </a:lnTo>
                  <a:lnTo>
                    <a:pt x="1354" y="918"/>
                  </a:lnTo>
                  <a:lnTo>
                    <a:pt x="1350" y="914"/>
                  </a:lnTo>
                  <a:lnTo>
                    <a:pt x="1350" y="918"/>
                  </a:lnTo>
                  <a:lnTo>
                    <a:pt x="1354" y="918"/>
                  </a:lnTo>
                  <a:lnTo>
                    <a:pt x="1350" y="922"/>
                  </a:lnTo>
                  <a:lnTo>
                    <a:pt x="1350" y="918"/>
                  </a:lnTo>
                  <a:lnTo>
                    <a:pt x="1350" y="914"/>
                  </a:lnTo>
                  <a:lnTo>
                    <a:pt x="1350" y="910"/>
                  </a:lnTo>
                  <a:lnTo>
                    <a:pt x="1350" y="906"/>
                  </a:lnTo>
                  <a:lnTo>
                    <a:pt x="1350" y="904"/>
                  </a:lnTo>
                  <a:lnTo>
                    <a:pt x="1350" y="900"/>
                  </a:lnTo>
                  <a:lnTo>
                    <a:pt x="1350" y="896"/>
                  </a:lnTo>
                  <a:lnTo>
                    <a:pt x="1346" y="896"/>
                  </a:lnTo>
                  <a:lnTo>
                    <a:pt x="1346" y="892"/>
                  </a:lnTo>
                  <a:lnTo>
                    <a:pt x="1342" y="892"/>
                  </a:lnTo>
                  <a:lnTo>
                    <a:pt x="1342" y="888"/>
                  </a:lnTo>
                  <a:lnTo>
                    <a:pt x="1338" y="888"/>
                  </a:lnTo>
                  <a:lnTo>
                    <a:pt x="1338" y="884"/>
                  </a:lnTo>
                  <a:lnTo>
                    <a:pt x="1338" y="880"/>
                  </a:lnTo>
                  <a:lnTo>
                    <a:pt x="1334" y="880"/>
                  </a:lnTo>
                  <a:lnTo>
                    <a:pt x="1330" y="880"/>
                  </a:lnTo>
                  <a:lnTo>
                    <a:pt x="1330" y="876"/>
                  </a:lnTo>
                  <a:lnTo>
                    <a:pt x="1328" y="876"/>
                  </a:lnTo>
                  <a:lnTo>
                    <a:pt x="1324" y="880"/>
                  </a:lnTo>
                  <a:lnTo>
                    <a:pt x="1328" y="880"/>
                  </a:lnTo>
                  <a:lnTo>
                    <a:pt x="1324" y="880"/>
                  </a:lnTo>
                  <a:lnTo>
                    <a:pt x="1324" y="884"/>
                  </a:lnTo>
                  <a:lnTo>
                    <a:pt x="1320" y="884"/>
                  </a:lnTo>
                  <a:lnTo>
                    <a:pt x="1316" y="884"/>
                  </a:lnTo>
                  <a:lnTo>
                    <a:pt x="1312" y="884"/>
                  </a:lnTo>
                  <a:lnTo>
                    <a:pt x="1312" y="880"/>
                  </a:lnTo>
                  <a:lnTo>
                    <a:pt x="1308" y="880"/>
                  </a:lnTo>
                  <a:lnTo>
                    <a:pt x="1308" y="876"/>
                  </a:lnTo>
                  <a:lnTo>
                    <a:pt x="1308" y="880"/>
                  </a:lnTo>
                  <a:lnTo>
                    <a:pt x="1312" y="880"/>
                  </a:lnTo>
                  <a:lnTo>
                    <a:pt x="1308" y="876"/>
                  </a:lnTo>
                  <a:lnTo>
                    <a:pt x="1308" y="874"/>
                  </a:lnTo>
                  <a:lnTo>
                    <a:pt x="1304" y="874"/>
                  </a:lnTo>
                  <a:lnTo>
                    <a:pt x="1304" y="876"/>
                  </a:lnTo>
                  <a:lnTo>
                    <a:pt x="1308" y="876"/>
                  </a:lnTo>
                  <a:lnTo>
                    <a:pt x="1304" y="876"/>
                  </a:lnTo>
                  <a:lnTo>
                    <a:pt x="1304" y="874"/>
                  </a:lnTo>
                  <a:lnTo>
                    <a:pt x="1300" y="874"/>
                  </a:lnTo>
                  <a:lnTo>
                    <a:pt x="1298" y="874"/>
                  </a:lnTo>
                  <a:lnTo>
                    <a:pt x="1300" y="874"/>
                  </a:lnTo>
                  <a:lnTo>
                    <a:pt x="1300" y="870"/>
                  </a:lnTo>
                  <a:lnTo>
                    <a:pt x="1298" y="870"/>
                  </a:lnTo>
                  <a:lnTo>
                    <a:pt x="1298" y="874"/>
                  </a:lnTo>
                  <a:lnTo>
                    <a:pt x="1294" y="874"/>
                  </a:lnTo>
                  <a:lnTo>
                    <a:pt x="1290" y="874"/>
                  </a:lnTo>
                  <a:lnTo>
                    <a:pt x="1286" y="874"/>
                  </a:lnTo>
                  <a:lnTo>
                    <a:pt x="1290" y="874"/>
                  </a:lnTo>
                  <a:lnTo>
                    <a:pt x="1290" y="870"/>
                  </a:lnTo>
                  <a:lnTo>
                    <a:pt x="1286" y="870"/>
                  </a:lnTo>
                  <a:lnTo>
                    <a:pt x="1286" y="874"/>
                  </a:lnTo>
                  <a:lnTo>
                    <a:pt x="1282" y="874"/>
                  </a:lnTo>
                  <a:lnTo>
                    <a:pt x="1286" y="874"/>
                  </a:lnTo>
                  <a:lnTo>
                    <a:pt x="1282" y="870"/>
                  </a:lnTo>
                  <a:lnTo>
                    <a:pt x="1282" y="874"/>
                  </a:lnTo>
                  <a:lnTo>
                    <a:pt x="1278" y="876"/>
                  </a:lnTo>
                  <a:lnTo>
                    <a:pt x="1274" y="876"/>
                  </a:lnTo>
                  <a:lnTo>
                    <a:pt x="1278" y="876"/>
                  </a:lnTo>
                  <a:lnTo>
                    <a:pt x="1278" y="874"/>
                  </a:lnTo>
                  <a:lnTo>
                    <a:pt x="1274" y="874"/>
                  </a:lnTo>
                  <a:lnTo>
                    <a:pt x="1274" y="870"/>
                  </a:lnTo>
                  <a:lnTo>
                    <a:pt x="1274" y="866"/>
                  </a:lnTo>
                  <a:lnTo>
                    <a:pt x="1274" y="870"/>
                  </a:lnTo>
                  <a:lnTo>
                    <a:pt x="1274" y="874"/>
                  </a:lnTo>
                  <a:lnTo>
                    <a:pt x="1272" y="874"/>
                  </a:lnTo>
                  <a:lnTo>
                    <a:pt x="1268" y="874"/>
                  </a:lnTo>
                  <a:lnTo>
                    <a:pt x="1264" y="874"/>
                  </a:lnTo>
                  <a:lnTo>
                    <a:pt x="1260" y="874"/>
                  </a:lnTo>
                  <a:lnTo>
                    <a:pt x="1258" y="874"/>
                  </a:lnTo>
                  <a:lnTo>
                    <a:pt x="1258" y="876"/>
                  </a:lnTo>
                  <a:lnTo>
                    <a:pt x="1254" y="876"/>
                  </a:lnTo>
                  <a:lnTo>
                    <a:pt x="1250" y="876"/>
                  </a:lnTo>
                  <a:lnTo>
                    <a:pt x="1250" y="874"/>
                  </a:lnTo>
                  <a:lnTo>
                    <a:pt x="1246" y="874"/>
                  </a:lnTo>
                  <a:lnTo>
                    <a:pt x="1242" y="876"/>
                  </a:lnTo>
                  <a:lnTo>
                    <a:pt x="1242" y="880"/>
                  </a:lnTo>
                  <a:lnTo>
                    <a:pt x="1246" y="880"/>
                  </a:lnTo>
                  <a:lnTo>
                    <a:pt x="1250" y="876"/>
                  </a:lnTo>
                  <a:lnTo>
                    <a:pt x="1254" y="876"/>
                  </a:lnTo>
                  <a:lnTo>
                    <a:pt x="1254" y="880"/>
                  </a:lnTo>
                  <a:lnTo>
                    <a:pt x="1250" y="880"/>
                  </a:lnTo>
                  <a:lnTo>
                    <a:pt x="1254" y="880"/>
                  </a:lnTo>
                  <a:lnTo>
                    <a:pt x="1254" y="876"/>
                  </a:lnTo>
                  <a:lnTo>
                    <a:pt x="1258" y="880"/>
                  </a:lnTo>
                  <a:lnTo>
                    <a:pt x="1258" y="884"/>
                  </a:lnTo>
                  <a:lnTo>
                    <a:pt x="1254" y="884"/>
                  </a:lnTo>
                  <a:lnTo>
                    <a:pt x="1250" y="888"/>
                  </a:lnTo>
                  <a:lnTo>
                    <a:pt x="1254" y="888"/>
                  </a:lnTo>
                  <a:lnTo>
                    <a:pt x="1254" y="892"/>
                  </a:lnTo>
                  <a:lnTo>
                    <a:pt x="1258" y="892"/>
                  </a:lnTo>
                  <a:lnTo>
                    <a:pt x="1260" y="892"/>
                  </a:lnTo>
                  <a:lnTo>
                    <a:pt x="1260" y="896"/>
                  </a:lnTo>
                  <a:lnTo>
                    <a:pt x="1260" y="900"/>
                  </a:lnTo>
                  <a:lnTo>
                    <a:pt x="1258" y="896"/>
                  </a:lnTo>
                  <a:lnTo>
                    <a:pt x="1258" y="900"/>
                  </a:lnTo>
                  <a:lnTo>
                    <a:pt x="1258" y="896"/>
                  </a:lnTo>
                  <a:lnTo>
                    <a:pt x="1254" y="896"/>
                  </a:lnTo>
                  <a:lnTo>
                    <a:pt x="1254" y="892"/>
                  </a:lnTo>
                  <a:lnTo>
                    <a:pt x="1250" y="892"/>
                  </a:lnTo>
                  <a:lnTo>
                    <a:pt x="1250" y="888"/>
                  </a:lnTo>
                  <a:lnTo>
                    <a:pt x="1246" y="888"/>
                  </a:lnTo>
                  <a:lnTo>
                    <a:pt x="1246" y="892"/>
                  </a:lnTo>
                  <a:lnTo>
                    <a:pt x="1246" y="896"/>
                  </a:lnTo>
                  <a:lnTo>
                    <a:pt x="1242" y="896"/>
                  </a:lnTo>
                  <a:lnTo>
                    <a:pt x="1242" y="892"/>
                  </a:lnTo>
                  <a:lnTo>
                    <a:pt x="1238" y="892"/>
                  </a:lnTo>
                  <a:lnTo>
                    <a:pt x="1238" y="896"/>
                  </a:lnTo>
                  <a:lnTo>
                    <a:pt x="1234" y="896"/>
                  </a:lnTo>
                  <a:lnTo>
                    <a:pt x="1230" y="896"/>
                  </a:lnTo>
                  <a:lnTo>
                    <a:pt x="1230" y="892"/>
                  </a:lnTo>
                  <a:lnTo>
                    <a:pt x="1228" y="892"/>
                  </a:lnTo>
                  <a:lnTo>
                    <a:pt x="1230" y="892"/>
                  </a:lnTo>
                  <a:lnTo>
                    <a:pt x="1230" y="896"/>
                  </a:lnTo>
                  <a:lnTo>
                    <a:pt x="1230" y="892"/>
                  </a:lnTo>
                  <a:lnTo>
                    <a:pt x="1230" y="888"/>
                  </a:lnTo>
                  <a:lnTo>
                    <a:pt x="1228" y="888"/>
                  </a:lnTo>
                  <a:lnTo>
                    <a:pt x="1224" y="884"/>
                  </a:lnTo>
                  <a:lnTo>
                    <a:pt x="1220" y="884"/>
                  </a:lnTo>
                  <a:lnTo>
                    <a:pt x="1216" y="884"/>
                  </a:lnTo>
                  <a:lnTo>
                    <a:pt x="1216" y="888"/>
                  </a:lnTo>
                  <a:lnTo>
                    <a:pt x="1212" y="888"/>
                  </a:lnTo>
                  <a:lnTo>
                    <a:pt x="1208" y="888"/>
                  </a:lnTo>
                  <a:lnTo>
                    <a:pt x="1204" y="884"/>
                  </a:lnTo>
                  <a:lnTo>
                    <a:pt x="1202" y="884"/>
                  </a:lnTo>
                  <a:lnTo>
                    <a:pt x="1198" y="884"/>
                  </a:lnTo>
                  <a:lnTo>
                    <a:pt x="1194" y="884"/>
                  </a:lnTo>
                  <a:lnTo>
                    <a:pt x="1194" y="880"/>
                  </a:lnTo>
                  <a:lnTo>
                    <a:pt x="1190" y="884"/>
                  </a:lnTo>
                  <a:lnTo>
                    <a:pt x="1194" y="884"/>
                  </a:lnTo>
                  <a:lnTo>
                    <a:pt x="1190" y="884"/>
                  </a:lnTo>
                  <a:lnTo>
                    <a:pt x="1190" y="888"/>
                  </a:lnTo>
                  <a:lnTo>
                    <a:pt x="1186" y="888"/>
                  </a:lnTo>
                  <a:lnTo>
                    <a:pt x="1182" y="888"/>
                  </a:lnTo>
                  <a:lnTo>
                    <a:pt x="1182" y="892"/>
                  </a:lnTo>
                  <a:lnTo>
                    <a:pt x="1178" y="892"/>
                  </a:lnTo>
                  <a:lnTo>
                    <a:pt x="1182" y="888"/>
                  </a:lnTo>
                  <a:lnTo>
                    <a:pt x="1178" y="888"/>
                  </a:lnTo>
                  <a:lnTo>
                    <a:pt x="1182" y="888"/>
                  </a:lnTo>
                  <a:lnTo>
                    <a:pt x="1182" y="884"/>
                  </a:lnTo>
                  <a:lnTo>
                    <a:pt x="1178" y="884"/>
                  </a:lnTo>
                  <a:lnTo>
                    <a:pt x="1174" y="884"/>
                  </a:lnTo>
                  <a:lnTo>
                    <a:pt x="1174" y="888"/>
                  </a:lnTo>
                  <a:lnTo>
                    <a:pt x="1178" y="892"/>
                  </a:lnTo>
                  <a:lnTo>
                    <a:pt x="1174" y="896"/>
                  </a:lnTo>
                  <a:lnTo>
                    <a:pt x="1172" y="900"/>
                  </a:lnTo>
                  <a:lnTo>
                    <a:pt x="1168" y="904"/>
                  </a:lnTo>
                  <a:lnTo>
                    <a:pt x="1164" y="904"/>
                  </a:lnTo>
                  <a:lnTo>
                    <a:pt x="1164" y="906"/>
                  </a:lnTo>
                  <a:lnTo>
                    <a:pt x="1164" y="904"/>
                  </a:lnTo>
                  <a:lnTo>
                    <a:pt x="1168" y="904"/>
                  </a:lnTo>
                  <a:lnTo>
                    <a:pt x="1164" y="904"/>
                  </a:lnTo>
                  <a:lnTo>
                    <a:pt x="1164" y="906"/>
                  </a:lnTo>
                  <a:lnTo>
                    <a:pt x="1160" y="906"/>
                  </a:lnTo>
                  <a:lnTo>
                    <a:pt x="1164" y="906"/>
                  </a:lnTo>
                  <a:lnTo>
                    <a:pt x="1164" y="904"/>
                  </a:lnTo>
                  <a:lnTo>
                    <a:pt x="1160" y="906"/>
                  </a:lnTo>
                  <a:lnTo>
                    <a:pt x="1160" y="904"/>
                  </a:lnTo>
                  <a:lnTo>
                    <a:pt x="1156" y="904"/>
                  </a:lnTo>
                  <a:lnTo>
                    <a:pt x="1156" y="906"/>
                  </a:lnTo>
                  <a:lnTo>
                    <a:pt x="1156" y="904"/>
                  </a:lnTo>
                  <a:lnTo>
                    <a:pt x="1152" y="904"/>
                  </a:lnTo>
                  <a:lnTo>
                    <a:pt x="1152" y="906"/>
                  </a:lnTo>
                  <a:lnTo>
                    <a:pt x="1156" y="906"/>
                  </a:lnTo>
                  <a:lnTo>
                    <a:pt x="1152" y="910"/>
                  </a:lnTo>
                  <a:lnTo>
                    <a:pt x="1152" y="906"/>
                  </a:lnTo>
                  <a:lnTo>
                    <a:pt x="1148" y="910"/>
                  </a:lnTo>
                  <a:lnTo>
                    <a:pt x="1152" y="910"/>
                  </a:lnTo>
                  <a:lnTo>
                    <a:pt x="1148" y="914"/>
                  </a:lnTo>
                  <a:lnTo>
                    <a:pt x="1144" y="914"/>
                  </a:lnTo>
                  <a:lnTo>
                    <a:pt x="1148" y="914"/>
                  </a:lnTo>
                  <a:lnTo>
                    <a:pt x="1144" y="918"/>
                  </a:lnTo>
                  <a:lnTo>
                    <a:pt x="1142" y="918"/>
                  </a:lnTo>
                  <a:lnTo>
                    <a:pt x="1142" y="922"/>
                  </a:lnTo>
                  <a:lnTo>
                    <a:pt x="1144" y="922"/>
                  </a:lnTo>
                  <a:lnTo>
                    <a:pt x="1142" y="930"/>
                  </a:lnTo>
                  <a:lnTo>
                    <a:pt x="1138" y="930"/>
                  </a:lnTo>
                  <a:lnTo>
                    <a:pt x="1138" y="926"/>
                  </a:lnTo>
                  <a:lnTo>
                    <a:pt x="1138" y="930"/>
                  </a:lnTo>
                  <a:lnTo>
                    <a:pt x="1142" y="930"/>
                  </a:lnTo>
                  <a:lnTo>
                    <a:pt x="1142" y="932"/>
                  </a:lnTo>
                  <a:lnTo>
                    <a:pt x="1142" y="936"/>
                  </a:lnTo>
                  <a:lnTo>
                    <a:pt x="1142" y="940"/>
                  </a:lnTo>
                  <a:lnTo>
                    <a:pt x="1142" y="944"/>
                  </a:lnTo>
                  <a:lnTo>
                    <a:pt x="1142" y="948"/>
                  </a:lnTo>
                  <a:lnTo>
                    <a:pt x="1144" y="948"/>
                  </a:lnTo>
                  <a:lnTo>
                    <a:pt x="1144" y="952"/>
                  </a:lnTo>
                  <a:lnTo>
                    <a:pt x="1144" y="956"/>
                  </a:lnTo>
                  <a:lnTo>
                    <a:pt x="1142" y="956"/>
                  </a:lnTo>
                  <a:lnTo>
                    <a:pt x="1142" y="952"/>
                  </a:lnTo>
                  <a:lnTo>
                    <a:pt x="1138" y="952"/>
                  </a:lnTo>
                  <a:lnTo>
                    <a:pt x="1134" y="952"/>
                  </a:lnTo>
                  <a:lnTo>
                    <a:pt x="1130" y="952"/>
                  </a:lnTo>
                  <a:lnTo>
                    <a:pt x="1130" y="948"/>
                  </a:lnTo>
                  <a:lnTo>
                    <a:pt x="1126" y="948"/>
                  </a:lnTo>
                  <a:lnTo>
                    <a:pt x="1122" y="948"/>
                  </a:lnTo>
                  <a:lnTo>
                    <a:pt x="1122" y="944"/>
                  </a:lnTo>
                  <a:lnTo>
                    <a:pt x="1118" y="944"/>
                  </a:lnTo>
                  <a:lnTo>
                    <a:pt x="1118" y="940"/>
                  </a:lnTo>
                  <a:lnTo>
                    <a:pt x="1116" y="936"/>
                  </a:lnTo>
                  <a:lnTo>
                    <a:pt x="1116" y="932"/>
                  </a:lnTo>
                  <a:lnTo>
                    <a:pt x="1116" y="930"/>
                  </a:lnTo>
                  <a:lnTo>
                    <a:pt x="1116" y="926"/>
                  </a:lnTo>
                  <a:lnTo>
                    <a:pt x="1112" y="926"/>
                  </a:lnTo>
                  <a:lnTo>
                    <a:pt x="1112" y="922"/>
                  </a:lnTo>
                  <a:lnTo>
                    <a:pt x="1108" y="922"/>
                  </a:lnTo>
                  <a:lnTo>
                    <a:pt x="1108" y="918"/>
                  </a:lnTo>
                  <a:lnTo>
                    <a:pt x="1104" y="914"/>
                  </a:lnTo>
                  <a:lnTo>
                    <a:pt x="1104" y="910"/>
                  </a:lnTo>
                  <a:lnTo>
                    <a:pt x="1100" y="910"/>
                  </a:lnTo>
                  <a:lnTo>
                    <a:pt x="1100" y="906"/>
                  </a:lnTo>
                  <a:lnTo>
                    <a:pt x="1100" y="904"/>
                  </a:lnTo>
                  <a:lnTo>
                    <a:pt x="1096" y="900"/>
                  </a:lnTo>
                  <a:lnTo>
                    <a:pt x="1096" y="896"/>
                  </a:lnTo>
                  <a:lnTo>
                    <a:pt x="1092" y="892"/>
                  </a:lnTo>
                  <a:lnTo>
                    <a:pt x="1092" y="888"/>
                  </a:lnTo>
                  <a:lnTo>
                    <a:pt x="1088" y="888"/>
                  </a:lnTo>
                  <a:lnTo>
                    <a:pt x="1086" y="888"/>
                  </a:lnTo>
                  <a:lnTo>
                    <a:pt x="1086" y="884"/>
                  </a:lnTo>
                  <a:lnTo>
                    <a:pt x="1082" y="884"/>
                  </a:lnTo>
                  <a:lnTo>
                    <a:pt x="1078" y="884"/>
                  </a:lnTo>
                  <a:lnTo>
                    <a:pt x="1074" y="884"/>
                  </a:lnTo>
                  <a:lnTo>
                    <a:pt x="1074" y="880"/>
                  </a:lnTo>
                  <a:lnTo>
                    <a:pt x="1074" y="884"/>
                  </a:lnTo>
                  <a:lnTo>
                    <a:pt x="1070" y="884"/>
                  </a:lnTo>
                  <a:lnTo>
                    <a:pt x="1066" y="884"/>
                  </a:lnTo>
                  <a:lnTo>
                    <a:pt x="1066" y="888"/>
                  </a:lnTo>
                  <a:lnTo>
                    <a:pt x="1066" y="892"/>
                  </a:lnTo>
                  <a:lnTo>
                    <a:pt x="1066" y="896"/>
                  </a:lnTo>
                  <a:lnTo>
                    <a:pt x="1062" y="896"/>
                  </a:lnTo>
                  <a:lnTo>
                    <a:pt x="1062" y="900"/>
                  </a:lnTo>
                  <a:lnTo>
                    <a:pt x="1060" y="900"/>
                  </a:lnTo>
                  <a:lnTo>
                    <a:pt x="1056" y="896"/>
                  </a:lnTo>
                  <a:lnTo>
                    <a:pt x="1052" y="896"/>
                  </a:lnTo>
                  <a:lnTo>
                    <a:pt x="1052" y="892"/>
                  </a:lnTo>
                  <a:lnTo>
                    <a:pt x="1048" y="892"/>
                  </a:lnTo>
                  <a:lnTo>
                    <a:pt x="1048" y="888"/>
                  </a:lnTo>
                  <a:lnTo>
                    <a:pt x="1044" y="888"/>
                  </a:lnTo>
                  <a:lnTo>
                    <a:pt x="1040" y="884"/>
                  </a:lnTo>
                  <a:lnTo>
                    <a:pt x="1040" y="880"/>
                  </a:lnTo>
                  <a:lnTo>
                    <a:pt x="1040" y="876"/>
                  </a:lnTo>
                  <a:lnTo>
                    <a:pt x="1036" y="874"/>
                  </a:lnTo>
                  <a:lnTo>
                    <a:pt x="1036" y="870"/>
                  </a:lnTo>
                  <a:lnTo>
                    <a:pt x="1032" y="866"/>
                  </a:lnTo>
                  <a:lnTo>
                    <a:pt x="1030" y="866"/>
                  </a:lnTo>
                  <a:lnTo>
                    <a:pt x="1030" y="862"/>
                  </a:lnTo>
                  <a:lnTo>
                    <a:pt x="1026" y="862"/>
                  </a:lnTo>
                  <a:lnTo>
                    <a:pt x="1026" y="858"/>
                  </a:lnTo>
                  <a:lnTo>
                    <a:pt x="1022" y="858"/>
                  </a:lnTo>
                  <a:lnTo>
                    <a:pt x="1022" y="854"/>
                  </a:lnTo>
                  <a:lnTo>
                    <a:pt x="1018" y="854"/>
                  </a:lnTo>
                  <a:lnTo>
                    <a:pt x="1018" y="850"/>
                  </a:lnTo>
                  <a:lnTo>
                    <a:pt x="1014" y="850"/>
                  </a:lnTo>
                  <a:lnTo>
                    <a:pt x="1014" y="848"/>
                  </a:lnTo>
                  <a:lnTo>
                    <a:pt x="1010" y="848"/>
                  </a:lnTo>
                  <a:lnTo>
                    <a:pt x="1006" y="848"/>
                  </a:lnTo>
                  <a:lnTo>
                    <a:pt x="1002" y="848"/>
                  </a:lnTo>
                  <a:lnTo>
                    <a:pt x="1000" y="848"/>
                  </a:lnTo>
                  <a:lnTo>
                    <a:pt x="996" y="848"/>
                  </a:lnTo>
                  <a:lnTo>
                    <a:pt x="988" y="848"/>
                  </a:lnTo>
                  <a:lnTo>
                    <a:pt x="988" y="850"/>
                  </a:lnTo>
                  <a:lnTo>
                    <a:pt x="988" y="854"/>
                  </a:lnTo>
                  <a:lnTo>
                    <a:pt x="980" y="854"/>
                  </a:lnTo>
                  <a:lnTo>
                    <a:pt x="976" y="854"/>
                  </a:lnTo>
                  <a:lnTo>
                    <a:pt x="970" y="854"/>
                  </a:lnTo>
                  <a:lnTo>
                    <a:pt x="966" y="854"/>
                  </a:lnTo>
                  <a:lnTo>
                    <a:pt x="962" y="854"/>
                  </a:lnTo>
                  <a:lnTo>
                    <a:pt x="958" y="854"/>
                  </a:lnTo>
                  <a:lnTo>
                    <a:pt x="950" y="854"/>
                  </a:lnTo>
                  <a:lnTo>
                    <a:pt x="944" y="854"/>
                  </a:lnTo>
                  <a:lnTo>
                    <a:pt x="936" y="850"/>
                  </a:lnTo>
                  <a:lnTo>
                    <a:pt x="932" y="848"/>
                  </a:lnTo>
                  <a:lnTo>
                    <a:pt x="930" y="848"/>
                  </a:lnTo>
                  <a:lnTo>
                    <a:pt x="926" y="844"/>
                  </a:lnTo>
                  <a:lnTo>
                    <a:pt x="922" y="844"/>
                  </a:lnTo>
                  <a:lnTo>
                    <a:pt x="918" y="844"/>
                  </a:lnTo>
                  <a:lnTo>
                    <a:pt x="914" y="840"/>
                  </a:lnTo>
                  <a:lnTo>
                    <a:pt x="910" y="840"/>
                  </a:lnTo>
                  <a:lnTo>
                    <a:pt x="906" y="840"/>
                  </a:lnTo>
                  <a:lnTo>
                    <a:pt x="904" y="836"/>
                  </a:lnTo>
                  <a:lnTo>
                    <a:pt x="900" y="836"/>
                  </a:lnTo>
                  <a:lnTo>
                    <a:pt x="896" y="832"/>
                  </a:lnTo>
                  <a:lnTo>
                    <a:pt x="900" y="832"/>
                  </a:lnTo>
                  <a:lnTo>
                    <a:pt x="900" y="828"/>
                  </a:lnTo>
                  <a:lnTo>
                    <a:pt x="896" y="828"/>
                  </a:lnTo>
                  <a:lnTo>
                    <a:pt x="892" y="832"/>
                  </a:lnTo>
                  <a:lnTo>
                    <a:pt x="888" y="832"/>
                  </a:lnTo>
                  <a:lnTo>
                    <a:pt x="884" y="832"/>
                  </a:lnTo>
                  <a:lnTo>
                    <a:pt x="880" y="832"/>
                  </a:lnTo>
                  <a:lnTo>
                    <a:pt x="876" y="832"/>
                  </a:lnTo>
                  <a:lnTo>
                    <a:pt x="874" y="832"/>
                  </a:lnTo>
                  <a:lnTo>
                    <a:pt x="870" y="832"/>
                  </a:lnTo>
                  <a:lnTo>
                    <a:pt x="866" y="832"/>
                  </a:lnTo>
                  <a:lnTo>
                    <a:pt x="862" y="832"/>
                  </a:lnTo>
                  <a:lnTo>
                    <a:pt x="866" y="832"/>
                  </a:lnTo>
                  <a:lnTo>
                    <a:pt x="862" y="832"/>
                  </a:lnTo>
                  <a:lnTo>
                    <a:pt x="862" y="828"/>
                  </a:lnTo>
                  <a:lnTo>
                    <a:pt x="862" y="832"/>
                  </a:lnTo>
                  <a:lnTo>
                    <a:pt x="862" y="828"/>
                  </a:lnTo>
                  <a:lnTo>
                    <a:pt x="862" y="824"/>
                  </a:lnTo>
                  <a:lnTo>
                    <a:pt x="862" y="820"/>
                  </a:lnTo>
                  <a:lnTo>
                    <a:pt x="858" y="820"/>
                  </a:lnTo>
                  <a:lnTo>
                    <a:pt x="858" y="818"/>
                  </a:lnTo>
                  <a:lnTo>
                    <a:pt x="854" y="818"/>
                  </a:lnTo>
                  <a:lnTo>
                    <a:pt x="854" y="814"/>
                  </a:lnTo>
                  <a:lnTo>
                    <a:pt x="850" y="814"/>
                  </a:lnTo>
                  <a:lnTo>
                    <a:pt x="850" y="810"/>
                  </a:lnTo>
                  <a:lnTo>
                    <a:pt x="846" y="810"/>
                  </a:lnTo>
                  <a:lnTo>
                    <a:pt x="846" y="806"/>
                  </a:lnTo>
                  <a:lnTo>
                    <a:pt x="844" y="806"/>
                  </a:lnTo>
                  <a:lnTo>
                    <a:pt x="840" y="806"/>
                  </a:lnTo>
                  <a:lnTo>
                    <a:pt x="836" y="806"/>
                  </a:lnTo>
                  <a:lnTo>
                    <a:pt x="836" y="802"/>
                  </a:lnTo>
                  <a:lnTo>
                    <a:pt x="832" y="802"/>
                  </a:lnTo>
                  <a:lnTo>
                    <a:pt x="832" y="798"/>
                  </a:lnTo>
                  <a:lnTo>
                    <a:pt x="828" y="798"/>
                  </a:lnTo>
                  <a:lnTo>
                    <a:pt x="824" y="798"/>
                  </a:lnTo>
                  <a:lnTo>
                    <a:pt x="820" y="798"/>
                  </a:lnTo>
                  <a:lnTo>
                    <a:pt x="818" y="798"/>
                  </a:lnTo>
                  <a:lnTo>
                    <a:pt x="818" y="794"/>
                  </a:lnTo>
                  <a:lnTo>
                    <a:pt x="814" y="794"/>
                  </a:lnTo>
                  <a:lnTo>
                    <a:pt x="814" y="790"/>
                  </a:lnTo>
                  <a:lnTo>
                    <a:pt x="814" y="788"/>
                  </a:lnTo>
                  <a:lnTo>
                    <a:pt x="814" y="784"/>
                  </a:lnTo>
                  <a:lnTo>
                    <a:pt x="810" y="784"/>
                  </a:lnTo>
                  <a:lnTo>
                    <a:pt x="810" y="780"/>
                  </a:lnTo>
                  <a:lnTo>
                    <a:pt x="810" y="776"/>
                  </a:lnTo>
                  <a:lnTo>
                    <a:pt x="806" y="776"/>
                  </a:lnTo>
                  <a:lnTo>
                    <a:pt x="806" y="772"/>
                  </a:lnTo>
                  <a:lnTo>
                    <a:pt x="802" y="772"/>
                  </a:lnTo>
                  <a:lnTo>
                    <a:pt x="802" y="768"/>
                  </a:lnTo>
                  <a:lnTo>
                    <a:pt x="798" y="764"/>
                  </a:lnTo>
                  <a:lnTo>
                    <a:pt x="798" y="762"/>
                  </a:lnTo>
                  <a:lnTo>
                    <a:pt x="794" y="762"/>
                  </a:lnTo>
                  <a:lnTo>
                    <a:pt x="794" y="758"/>
                  </a:lnTo>
                  <a:lnTo>
                    <a:pt x="798" y="758"/>
                  </a:lnTo>
                  <a:lnTo>
                    <a:pt x="798" y="754"/>
                  </a:lnTo>
                  <a:lnTo>
                    <a:pt x="798" y="750"/>
                  </a:lnTo>
                  <a:lnTo>
                    <a:pt x="794" y="750"/>
                  </a:lnTo>
                  <a:lnTo>
                    <a:pt x="790" y="750"/>
                  </a:lnTo>
                  <a:lnTo>
                    <a:pt x="790" y="746"/>
                  </a:lnTo>
                  <a:lnTo>
                    <a:pt x="790" y="742"/>
                  </a:lnTo>
                  <a:lnTo>
                    <a:pt x="788" y="738"/>
                  </a:lnTo>
                  <a:lnTo>
                    <a:pt x="788" y="734"/>
                  </a:lnTo>
                  <a:lnTo>
                    <a:pt x="790" y="734"/>
                  </a:lnTo>
                  <a:lnTo>
                    <a:pt x="790" y="738"/>
                  </a:lnTo>
                  <a:lnTo>
                    <a:pt x="794" y="742"/>
                  </a:lnTo>
                  <a:lnTo>
                    <a:pt x="794" y="738"/>
                  </a:lnTo>
                  <a:lnTo>
                    <a:pt x="794" y="734"/>
                  </a:lnTo>
                  <a:lnTo>
                    <a:pt x="790" y="734"/>
                  </a:lnTo>
                  <a:lnTo>
                    <a:pt x="790" y="732"/>
                  </a:lnTo>
                  <a:lnTo>
                    <a:pt x="790" y="728"/>
                  </a:lnTo>
                  <a:lnTo>
                    <a:pt x="790" y="732"/>
                  </a:lnTo>
                  <a:lnTo>
                    <a:pt x="794" y="732"/>
                  </a:lnTo>
                  <a:lnTo>
                    <a:pt x="794" y="728"/>
                  </a:lnTo>
                  <a:lnTo>
                    <a:pt x="798" y="732"/>
                  </a:lnTo>
                  <a:lnTo>
                    <a:pt x="798" y="728"/>
                  </a:lnTo>
                  <a:lnTo>
                    <a:pt x="802" y="728"/>
                  </a:lnTo>
                  <a:lnTo>
                    <a:pt x="802" y="732"/>
                  </a:lnTo>
                  <a:lnTo>
                    <a:pt x="802" y="728"/>
                  </a:lnTo>
                  <a:lnTo>
                    <a:pt x="798" y="728"/>
                  </a:lnTo>
                  <a:lnTo>
                    <a:pt x="798" y="732"/>
                  </a:lnTo>
                  <a:lnTo>
                    <a:pt x="798" y="728"/>
                  </a:lnTo>
                  <a:lnTo>
                    <a:pt x="794" y="728"/>
                  </a:lnTo>
                  <a:lnTo>
                    <a:pt x="790" y="728"/>
                  </a:lnTo>
                  <a:lnTo>
                    <a:pt x="788" y="728"/>
                  </a:lnTo>
                  <a:lnTo>
                    <a:pt x="788" y="732"/>
                  </a:lnTo>
                  <a:lnTo>
                    <a:pt x="788" y="734"/>
                  </a:lnTo>
                  <a:lnTo>
                    <a:pt x="788" y="732"/>
                  </a:lnTo>
                  <a:lnTo>
                    <a:pt x="784" y="732"/>
                  </a:lnTo>
                  <a:lnTo>
                    <a:pt x="784" y="728"/>
                  </a:lnTo>
                  <a:lnTo>
                    <a:pt x="780" y="728"/>
                  </a:lnTo>
                  <a:lnTo>
                    <a:pt x="784" y="728"/>
                  </a:lnTo>
                  <a:lnTo>
                    <a:pt x="780" y="724"/>
                  </a:lnTo>
                  <a:lnTo>
                    <a:pt x="780" y="720"/>
                  </a:lnTo>
                  <a:lnTo>
                    <a:pt x="776" y="720"/>
                  </a:lnTo>
                  <a:lnTo>
                    <a:pt x="776" y="716"/>
                  </a:lnTo>
                  <a:lnTo>
                    <a:pt x="772" y="716"/>
                  </a:lnTo>
                  <a:lnTo>
                    <a:pt x="772" y="712"/>
                  </a:lnTo>
                  <a:lnTo>
                    <a:pt x="772" y="708"/>
                  </a:lnTo>
                  <a:lnTo>
                    <a:pt x="768" y="706"/>
                  </a:lnTo>
                  <a:lnTo>
                    <a:pt x="768" y="702"/>
                  </a:lnTo>
                  <a:lnTo>
                    <a:pt x="768" y="698"/>
                  </a:lnTo>
                  <a:lnTo>
                    <a:pt x="768" y="694"/>
                  </a:lnTo>
                  <a:lnTo>
                    <a:pt x="764" y="690"/>
                  </a:lnTo>
                  <a:lnTo>
                    <a:pt x="762" y="686"/>
                  </a:lnTo>
                  <a:lnTo>
                    <a:pt x="762" y="682"/>
                  </a:lnTo>
                  <a:lnTo>
                    <a:pt x="762" y="678"/>
                  </a:lnTo>
                  <a:lnTo>
                    <a:pt x="764" y="678"/>
                  </a:lnTo>
                  <a:lnTo>
                    <a:pt x="764" y="676"/>
                  </a:lnTo>
                  <a:lnTo>
                    <a:pt x="764" y="672"/>
                  </a:lnTo>
                  <a:lnTo>
                    <a:pt x="764" y="668"/>
                  </a:lnTo>
                  <a:lnTo>
                    <a:pt x="764" y="664"/>
                  </a:lnTo>
                  <a:lnTo>
                    <a:pt x="764" y="660"/>
                  </a:lnTo>
                  <a:lnTo>
                    <a:pt x="764" y="656"/>
                  </a:lnTo>
                  <a:lnTo>
                    <a:pt x="764" y="652"/>
                  </a:lnTo>
                  <a:lnTo>
                    <a:pt x="762" y="652"/>
                  </a:lnTo>
                  <a:lnTo>
                    <a:pt x="762" y="648"/>
                  </a:lnTo>
                  <a:lnTo>
                    <a:pt x="762" y="646"/>
                  </a:lnTo>
                  <a:lnTo>
                    <a:pt x="762" y="642"/>
                  </a:lnTo>
                  <a:lnTo>
                    <a:pt x="762" y="638"/>
                  </a:lnTo>
                  <a:lnTo>
                    <a:pt x="758" y="638"/>
                  </a:lnTo>
                  <a:lnTo>
                    <a:pt x="758" y="634"/>
                  </a:lnTo>
                  <a:lnTo>
                    <a:pt x="762" y="634"/>
                  </a:lnTo>
                  <a:lnTo>
                    <a:pt x="762" y="632"/>
                  </a:lnTo>
                  <a:lnTo>
                    <a:pt x="762" y="628"/>
                  </a:lnTo>
                  <a:lnTo>
                    <a:pt x="764" y="628"/>
                  </a:lnTo>
                  <a:lnTo>
                    <a:pt x="764" y="624"/>
                  </a:lnTo>
                  <a:lnTo>
                    <a:pt x="762" y="628"/>
                  </a:lnTo>
                  <a:lnTo>
                    <a:pt x="762" y="624"/>
                  </a:lnTo>
                  <a:lnTo>
                    <a:pt x="764" y="624"/>
                  </a:lnTo>
                  <a:lnTo>
                    <a:pt x="764" y="620"/>
                  </a:lnTo>
                  <a:lnTo>
                    <a:pt x="764" y="616"/>
                  </a:lnTo>
                  <a:lnTo>
                    <a:pt x="764" y="612"/>
                  </a:lnTo>
                  <a:lnTo>
                    <a:pt x="764" y="606"/>
                  </a:lnTo>
                  <a:lnTo>
                    <a:pt x="764" y="602"/>
                  </a:lnTo>
                  <a:lnTo>
                    <a:pt x="764" y="598"/>
                  </a:lnTo>
                  <a:lnTo>
                    <a:pt x="764" y="594"/>
                  </a:lnTo>
                  <a:lnTo>
                    <a:pt x="768" y="590"/>
                  </a:lnTo>
                  <a:lnTo>
                    <a:pt x="768" y="586"/>
                  </a:lnTo>
                  <a:lnTo>
                    <a:pt x="768" y="582"/>
                  </a:lnTo>
                  <a:lnTo>
                    <a:pt x="768" y="578"/>
                  </a:lnTo>
                  <a:lnTo>
                    <a:pt x="768" y="576"/>
                  </a:lnTo>
                  <a:lnTo>
                    <a:pt x="768" y="572"/>
                  </a:lnTo>
                  <a:lnTo>
                    <a:pt x="772" y="572"/>
                  </a:lnTo>
                  <a:lnTo>
                    <a:pt x="772" y="568"/>
                  </a:lnTo>
                  <a:lnTo>
                    <a:pt x="776" y="572"/>
                  </a:lnTo>
                  <a:lnTo>
                    <a:pt x="780" y="572"/>
                  </a:lnTo>
                  <a:lnTo>
                    <a:pt x="776" y="572"/>
                  </a:lnTo>
                  <a:lnTo>
                    <a:pt x="776" y="568"/>
                  </a:lnTo>
                  <a:lnTo>
                    <a:pt x="772" y="568"/>
                  </a:lnTo>
                  <a:lnTo>
                    <a:pt x="768" y="568"/>
                  </a:lnTo>
                  <a:lnTo>
                    <a:pt x="764" y="568"/>
                  </a:lnTo>
                  <a:lnTo>
                    <a:pt x="764" y="564"/>
                  </a:lnTo>
                  <a:lnTo>
                    <a:pt x="764" y="560"/>
                  </a:lnTo>
                  <a:lnTo>
                    <a:pt x="764" y="564"/>
                  </a:lnTo>
                  <a:lnTo>
                    <a:pt x="768" y="568"/>
                  </a:lnTo>
                  <a:lnTo>
                    <a:pt x="768" y="564"/>
                  </a:lnTo>
                  <a:lnTo>
                    <a:pt x="768" y="560"/>
                  </a:lnTo>
                  <a:lnTo>
                    <a:pt x="764" y="560"/>
                  </a:lnTo>
                  <a:lnTo>
                    <a:pt x="764" y="556"/>
                  </a:lnTo>
                  <a:lnTo>
                    <a:pt x="768" y="556"/>
                  </a:lnTo>
                  <a:lnTo>
                    <a:pt x="768" y="552"/>
                  </a:lnTo>
                  <a:lnTo>
                    <a:pt x="764" y="552"/>
                  </a:lnTo>
                  <a:lnTo>
                    <a:pt x="764" y="556"/>
                  </a:lnTo>
                  <a:lnTo>
                    <a:pt x="764" y="552"/>
                  </a:lnTo>
                  <a:lnTo>
                    <a:pt x="764" y="550"/>
                  </a:lnTo>
                  <a:lnTo>
                    <a:pt x="762" y="546"/>
                  </a:lnTo>
                  <a:lnTo>
                    <a:pt x="762" y="542"/>
                  </a:lnTo>
                  <a:lnTo>
                    <a:pt x="762" y="538"/>
                  </a:lnTo>
                  <a:lnTo>
                    <a:pt x="758" y="534"/>
                  </a:lnTo>
                  <a:lnTo>
                    <a:pt x="758" y="530"/>
                  </a:lnTo>
                  <a:lnTo>
                    <a:pt x="758" y="526"/>
                  </a:lnTo>
                  <a:lnTo>
                    <a:pt x="762" y="526"/>
                  </a:lnTo>
                  <a:lnTo>
                    <a:pt x="764" y="526"/>
                  </a:lnTo>
                  <a:lnTo>
                    <a:pt x="764" y="530"/>
                  </a:lnTo>
                  <a:lnTo>
                    <a:pt x="768" y="530"/>
                  </a:lnTo>
                  <a:lnTo>
                    <a:pt x="772" y="530"/>
                  </a:lnTo>
                  <a:lnTo>
                    <a:pt x="776" y="530"/>
                  </a:lnTo>
                  <a:lnTo>
                    <a:pt x="780" y="530"/>
                  </a:lnTo>
                  <a:lnTo>
                    <a:pt x="784" y="530"/>
                  </a:lnTo>
                  <a:lnTo>
                    <a:pt x="784" y="534"/>
                  </a:lnTo>
                  <a:lnTo>
                    <a:pt x="788" y="534"/>
                  </a:lnTo>
                  <a:lnTo>
                    <a:pt x="784" y="538"/>
                  </a:lnTo>
                  <a:lnTo>
                    <a:pt x="784" y="542"/>
                  </a:lnTo>
                  <a:lnTo>
                    <a:pt x="780" y="542"/>
                  </a:lnTo>
                  <a:lnTo>
                    <a:pt x="780" y="546"/>
                  </a:lnTo>
                  <a:lnTo>
                    <a:pt x="784" y="546"/>
                  </a:lnTo>
                  <a:lnTo>
                    <a:pt x="780" y="546"/>
                  </a:lnTo>
                  <a:lnTo>
                    <a:pt x="780" y="542"/>
                  </a:lnTo>
                  <a:lnTo>
                    <a:pt x="784" y="542"/>
                  </a:lnTo>
                  <a:lnTo>
                    <a:pt x="784" y="538"/>
                  </a:lnTo>
                  <a:lnTo>
                    <a:pt x="788" y="534"/>
                  </a:lnTo>
                  <a:lnTo>
                    <a:pt x="788" y="538"/>
                  </a:lnTo>
                  <a:lnTo>
                    <a:pt x="788" y="542"/>
                  </a:lnTo>
                  <a:lnTo>
                    <a:pt x="784" y="542"/>
                  </a:lnTo>
                  <a:lnTo>
                    <a:pt x="788" y="542"/>
                  </a:lnTo>
                  <a:lnTo>
                    <a:pt x="788" y="546"/>
                  </a:lnTo>
                  <a:lnTo>
                    <a:pt x="788" y="550"/>
                  </a:lnTo>
                  <a:lnTo>
                    <a:pt x="784" y="550"/>
                  </a:lnTo>
                  <a:lnTo>
                    <a:pt x="788" y="546"/>
                  </a:lnTo>
                  <a:lnTo>
                    <a:pt x="784" y="546"/>
                  </a:lnTo>
                  <a:lnTo>
                    <a:pt x="784" y="550"/>
                  </a:lnTo>
                  <a:lnTo>
                    <a:pt x="784" y="546"/>
                  </a:lnTo>
                  <a:lnTo>
                    <a:pt x="784" y="550"/>
                  </a:lnTo>
                  <a:lnTo>
                    <a:pt x="780" y="550"/>
                  </a:lnTo>
                  <a:lnTo>
                    <a:pt x="780" y="552"/>
                  </a:lnTo>
                  <a:lnTo>
                    <a:pt x="784" y="552"/>
                  </a:lnTo>
                  <a:lnTo>
                    <a:pt x="784" y="550"/>
                  </a:lnTo>
                  <a:lnTo>
                    <a:pt x="784" y="552"/>
                  </a:lnTo>
                  <a:lnTo>
                    <a:pt x="788" y="550"/>
                  </a:lnTo>
                  <a:lnTo>
                    <a:pt x="790" y="546"/>
                  </a:lnTo>
                  <a:lnTo>
                    <a:pt x="790" y="542"/>
                  </a:lnTo>
                  <a:lnTo>
                    <a:pt x="788" y="542"/>
                  </a:lnTo>
                  <a:lnTo>
                    <a:pt x="790" y="538"/>
                  </a:lnTo>
                  <a:lnTo>
                    <a:pt x="790" y="534"/>
                  </a:lnTo>
                  <a:lnTo>
                    <a:pt x="790" y="530"/>
                  </a:lnTo>
                  <a:lnTo>
                    <a:pt x="788" y="530"/>
                  </a:lnTo>
                  <a:lnTo>
                    <a:pt x="788" y="526"/>
                  </a:lnTo>
                  <a:lnTo>
                    <a:pt x="790" y="526"/>
                  </a:lnTo>
                  <a:lnTo>
                    <a:pt x="788" y="522"/>
                  </a:lnTo>
                  <a:lnTo>
                    <a:pt x="788" y="526"/>
                  </a:lnTo>
                  <a:lnTo>
                    <a:pt x="784" y="522"/>
                  </a:lnTo>
                  <a:lnTo>
                    <a:pt x="788" y="522"/>
                  </a:lnTo>
                  <a:lnTo>
                    <a:pt x="788" y="520"/>
                  </a:lnTo>
                  <a:lnTo>
                    <a:pt x="784" y="516"/>
                  </a:lnTo>
                  <a:lnTo>
                    <a:pt x="784" y="512"/>
                  </a:lnTo>
                  <a:lnTo>
                    <a:pt x="788" y="512"/>
                  </a:lnTo>
                  <a:lnTo>
                    <a:pt x="790" y="512"/>
                  </a:lnTo>
                  <a:lnTo>
                    <a:pt x="794" y="512"/>
                  </a:lnTo>
                  <a:lnTo>
                    <a:pt x="810" y="512"/>
                  </a:lnTo>
                  <a:lnTo>
                    <a:pt x="818" y="512"/>
                  </a:lnTo>
                  <a:lnTo>
                    <a:pt x="820" y="512"/>
                  </a:lnTo>
                  <a:lnTo>
                    <a:pt x="824" y="512"/>
                  </a:lnTo>
                  <a:lnTo>
                    <a:pt x="832" y="512"/>
                  </a:lnTo>
                  <a:lnTo>
                    <a:pt x="836" y="512"/>
                  </a:lnTo>
                  <a:lnTo>
                    <a:pt x="840" y="512"/>
                  </a:lnTo>
                  <a:lnTo>
                    <a:pt x="846" y="512"/>
                  </a:lnTo>
                  <a:lnTo>
                    <a:pt x="850" y="512"/>
                  </a:lnTo>
                  <a:lnTo>
                    <a:pt x="854" y="512"/>
                  </a:lnTo>
                  <a:lnTo>
                    <a:pt x="858" y="512"/>
                  </a:lnTo>
                  <a:lnTo>
                    <a:pt x="862" y="512"/>
                  </a:lnTo>
                  <a:lnTo>
                    <a:pt x="866" y="512"/>
                  </a:lnTo>
                  <a:lnTo>
                    <a:pt x="880" y="512"/>
                  </a:lnTo>
                  <a:lnTo>
                    <a:pt x="884" y="512"/>
                  </a:lnTo>
                  <a:lnTo>
                    <a:pt x="888" y="512"/>
                  </a:lnTo>
                  <a:lnTo>
                    <a:pt x="892" y="512"/>
                  </a:lnTo>
                  <a:lnTo>
                    <a:pt x="896" y="512"/>
                  </a:lnTo>
                  <a:lnTo>
                    <a:pt x="900" y="512"/>
                  </a:lnTo>
                  <a:lnTo>
                    <a:pt x="904" y="512"/>
                  </a:lnTo>
                  <a:lnTo>
                    <a:pt x="906" y="512"/>
                  </a:lnTo>
                  <a:lnTo>
                    <a:pt x="914" y="512"/>
                  </a:lnTo>
                  <a:lnTo>
                    <a:pt x="918" y="512"/>
                  </a:lnTo>
                  <a:lnTo>
                    <a:pt x="922" y="512"/>
                  </a:lnTo>
                  <a:lnTo>
                    <a:pt x="930" y="512"/>
                  </a:lnTo>
                  <a:lnTo>
                    <a:pt x="932" y="512"/>
                  </a:lnTo>
                  <a:lnTo>
                    <a:pt x="936" y="512"/>
                  </a:lnTo>
                  <a:lnTo>
                    <a:pt x="940" y="512"/>
                  </a:lnTo>
                  <a:lnTo>
                    <a:pt x="944" y="512"/>
                  </a:lnTo>
                  <a:lnTo>
                    <a:pt x="954" y="512"/>
                  </a:lnTo>
                  <a:lnTo>
                    <a:pt x="958" y="512"/>
                  </a:lnTo>
                  <a:lnTo>
                    <a:pt x="962" y="512"/>
                  </a:lnTo>
                  <a:lnTo>
                    <a:pt x="966" y="512"/>
                  </a:lnTo>
                  <a:lnTo>
                    <a:pt x="970" y="512"/>
                  </a:lnTo>
                  <a:lnTo>
                    <a:pt x="974" y="512"/>
                  </a:lnTo>
                  <a:lnTo>
                    <a:pt x="980" y="512"/>
                  </a:lnTo>
                  <a:lnTo>
                    <a:pt x="984" y="512"/>
                  </a:lnTo>
                  <a:lnTo>
                    <a:pt x="988" y="512"/>
                  </a:lnTo>
                  <a:lnTo>
                    <a:pt x="992" y="512"/>
                  </a:lnTo>
                  <a:lnTo>
                    <a:pt x="996" y="512"/>
                  </a:lnTo>
                  <a:lnTo>
                    <a:pt x="1000" y="512"/>
                  </a:lnTo>
                  <a:lnTo>
                    <a:pt x="1002" y="512"/>
                  </a:lnTo>
                  <a:lnTo>
                    <a:pt x="1010" y="512"/>
                  </a:lnTo>
                  <a:lnTo>
                    <a:pt x="1014" y="512"/>
                  </a:lnTo>
                  <a:lnTo>
                    <a:pt x="1018" y="512"/>
                  </a:lnTo>
                  <a:lnTo>
                    <a:pt x="1022" y="512"/>
                  </a:lnTo>
                  <a:lnTo>
                    <a:pt x="1026" y="512"/>
                  </a:lnTo>
                  <a:lnTo>
                    <a:pt x="1032" y="512"/>
                  </a:lnTo>
                  <a:lnTo>
                    <a:pt x="1036" y="512"/>
                  </a:lnTo>
                  <a:lnTo>
                    <a:pt x="1044" y="512"/>
                  </a:lnTo>
                  <a:lnTo>
                    <a:pt x="1048" y="512"/>
                  </a:lnTo>
                  <a:lnTo>
                    <a:pt x="1052" y="512"/>
                  </a:lnTo>
                  <a:lnTo>
                    <a:pt x="1056" y="512"/>
                  </a:lnTo>
                  <a:lnTo>
                    <a:pt x="1060" y="512"/>
                  </a:lnTo>
                  <a:lnTo>
                    <a:pt x="1062" y="512"/>
                  </a:lnTo>
                  <a:lnTo>
                    <a:pt x="1066" y="512"/>
                  </a:lnTo>
                  <a:lnTo>
                    <a:pt x="1070" y="512"/>
                  </a:lnTo>
                  <a:lnTo>
                    <a:pt x="1074" y="512"/>
                  </a:lnTo>
                  <a:lnTo>
                    <a:pt x="1086" y="512"/>
                  </a:lnTo>
                  <a:lnTo>
                    <a:pt x="1088" y="512"/>
                  </a:lnTo>
                  <a:lnTo>
                    <a:pt x="1100" y="512"/>
                  </a:lnTo>
                  <a:lnTo>
                    <a:pt x="1108" y="512"/>
                  </a:lnTo>
                  <a:lnTo>
                    <a:pt x="1116" y="512"/>
                  </a:lnTo>
                  <a:lnTo>
                    <a:pt x="1122" y="512"/>
                  </a:lnTo>
                  <a:lnTo>
                    <a:pt x="1126" y="512"/>
                  </a:lnTo>
                  <a:lnTo>
                    <a:pt x="1130" y="512"/>
                  </a:lnTo>
                  <a:lnTo>
                    <a:pt x="1134" y="512"/>
                  </a:lnTo>
                  <a:lnTo>
                    <a:pt x="1138" y="512"/>
                  </a:lnTo>
                  <a:lnTo>
                    <a:pt x="1142" y="512"/>
                  </a:lnTo>
                  <a:lnTo>
                    <a:pt x="1144" y="512"/>
                  </a:lnTo>
                  <a:lnTo>
                    <a:pt x="1172" y="512"/>
                  </a:lnTo>
                  <a:lnTo>
                    <a:pt x="1174" y="512"/>
                  </a:lnTo>
                  <a:lnTo>
                    <a:pt x="1174" y="508"/>
                  </a:lnTo>
                  <a:lnTo>
                    <a:pt x="1174" y="504"/>
                  </a:lnTo>
                  <a:lnTo>
                    <a:pt x="1178" y="504"/>
                  </a:lnTo>
                  <a:lnTo>
                    <a:pt x="1178" y="508"/>
                  </a:lnTo>
                  <a:lnTo>
                    <a:pt x="1178" y="512"/>
                  </a:lnTo>
                  <a:lnTo>
                    <a:pt x="1182" y="512"/>
                  </a:lnTo>
                  <a:lnTo>
                    <a:pt x="1182" y="516"/>
                  </a:lnTo>
                  <a:lnTo>
                    <a:pt x="1182" y="520"/>
                  </a:lnTo>
                  <a:lnTo>
                    <a:pt x="1186" y="520"/>
                  </a:lnTo>
                  <a:lnTo>
                    <a:pt x="1190" y="520"/>
                  </a:lnTo>
                  <a:lnTo>
                    <a:pt x="1194" y="520"/>
                  </a:lnTo>
                  <a:lnTo>
                    <a:pt x="1194" y="522"/>
                  </a:lnTo>
                  <a:lnTo>
                    <a:pt x="1198" y="522"/>
                  </a:lnTo>
                  <a:lnTo>
                    <a:pt x="1202" y="520"/>
                  </a:lnTo>
                  <a:lnTo>
                    <a:pt x="1204" y="520"/>
                  </a:lnTo>
                  <a:lnTo>
                    <a:pt x="1208" y="522"/>
                  </a:lnTo>
                  <a:lnTo>
                    <a:pt x="1212" y="522"/>
                  </a:lnTo>
                  <a:lnTo>
                    <a:pt x="1212" y="526"/>
                  </a:lnTo>
                  <a:lnTo>
                    <a:pt x="1216" y="530"/>
                  </a:lnTo>
                  <a:lnTo>
                    <a:pt x="1216" y="526"/>
                  </a:lnTo>
                  <a:lnTo>
                    <a:pt x="1220" y="526"/>
                  </a:lnTo>
                  <a:lnTo>
                    <a:pt x="1220" y="530"/>
                  </a:lnTo>
                  <a:lnTo>
                    <a:pt x="1224" y="530"/>
                  </a:lnTo>
                  <a:lnTo>
                    <a:pt x="1228" y="530"/>
                  </a:lnTo>
                  <a:lnTo>
                    <a:pt x="1228" y="534"/>
                  </a:lnTo>
                  <a:lnTo>
                    <a:pt x="1228" y="530"/>
                  </a:lnTo>
                  <a:lnTo>
                    <a:pt x="1230" y="530"/>
                  </a:lnTo>
                  <a:lnTo>
                    <a:pt x="1234" y="530"/>
                  </a:lnTo>
                  <a:lnTo>
                    <a:pt x="1234" y="526"/>
                  </a:lnTo>
                  <a:lnTo>
                    <a:pt x="1234" y="530"/>
                  </a:lnTo>
                  <a:lnTo>
                    <a:pt x="1238" y="530"/>
                  </a:lnTo>
                  <a:lnTo>
                    <a:pt x="1242" y="530"/>
                  </a:lnTo>
                  <a:lnTo>
                    <a:pt x="1246" y="530"/>
                  </a:lnTo>
                  <a:lnTo>
                    <a:pt x="1246" y="534"/>
                  </a:lnTo>
                  <a:lnTo>
                    <a:pt x="1250" y="534"/>
                  </a:lnTo>
                  <a:lnTo>
                    <a:pt x="1254" y="534"/>
                  </a:lnTo>
                  <a:lnTo>
                    <a:pt x="1258" y="534"/>
                  </a:lnTo>
                  <a:lnTo>
                    <a:pt x="1260" y="530"/>
                  </a:lnTo>
                  <a:lnTo>
                    <a:pt x="1264" y="526"/>
                  </a:lnTo>
                  <a:lnTo>
                    <a:pt x="1268" y="526"/>
                  </a:lnTo>
                  <a:lnTo>
                    <a:pt x="1272" y="526"/>
                  </a:lnTo>
                  <a:lnTo>
                    <a:pt x="1282" y="534"/>
                  </a:lnTo>
                  <a:lnTo>
                    <a:pt x="1286" y="534"/>
                  </a:lnTo>
                  <a:lnTo>
                    <a:pt x="1286" y="538"/>
                  </a:lnTo>
                  <a:lnTo>
                    <a:pt x="1290" y="538"/>
                  </a:lnTo>
                  <a:lnTo>
                    <a:pt x="1294" y="542"/>
                  </a:lnTo>
                  <a:lnTo>
                    <a:pt x="1298" y="542"/>
                  </a:lnTo>
                  <a:lnTo>
                    <a:pt x="1300" y="546"/>
                  </a:lnTo>
                  <a:lnTo>
                    <a:pt x="1304" y="546"/>
                  </a:lnTo>
                  <a:lnTo>
                    <a:pt x="1304" y="550"/>
                  </a:lnTo>
                  <a:lnTo>
                    <a:pt x="1308" y="550"/>
                  </a:lnTo>
                  <a:lnTo>
                    <a:pt x="1312" y="550"/>
                  </a:lnTo>
                  <a:lnTo>
                    <a:pt x="1312" y="552"/>
                  </a:lnTo>
                  <a:lnTo>
                    <a:pt x="1320" y="556"/>
                  </a:lnTo>
                  <a:lnTo>
                    <a:pt x="1320" y="560"/>
                  </a:lnTo>
                  <a:lnTo>
                    <a:pt x="1324" y="564"/>
                  </a:lnTo>
                  <a:lnTo>
                    <a:pt x="1328" y="564"/>
                  </a:lnTo>
                  <a:lnTo>
                    <a:pt x="1330" y="564"/>
                  </a:lnTo>
                  <a:lnTo>
                    <a:pt x="1330" y="568"/>
                  </a:lnTo>
                  <a:lnTo>
                    <a:pt x="1330" y="572"/>
                  </a:lnTo>
                  <a:lnTo>
                    <a:pt x="1334" y="572"/>
                  </a:lnTo>
                  <a:lnTo>
                    <a:pt x="1338" y="572"/>
                  </a:lnTo>
                  <a:lnTo>
                    <a:pt x="1338" y="576"/>
                  </a:lnTo>
                  <a:lnTo>
                    <a:pt x="1338" y="578"/>
                  </a:lnTo>
                  <a:lnTo>
                    <a:pt x="1342" y="578"/>
                  </a:lnTo>
                  <a:lnTo>
                    <a:pt x="1346" y="582"/>
                  </a:lnTo>
                  <a:lnTo>
                    <a:pt x="1350" y="586"/>
                  </a:lnTo>
                  <a:lnTo>
                    <a:pt x="1354" y="586"/>
                  </a:lnTo>
                  <a:lnTo>
                    <a:pt x="1354" y="598"/>
                  </a:lnTo>
                  <a:lnTo>
                    <a:pt x="1358" y="606"/>
                  </a:lnTo>
                  <a:lnTo>
                    <a:pt x="1358" y="616"/>
                  </a:lnTo>
                  <a:lnTo>
                    <a:pt x="1358" y="624"/>
                  </a:lnTo>
                  <a:lnTo>
                    <a:pt x="1358" y="628"/>
                  </a:lnTo>
                  <a:lnTo>
                    <a:pt x="1358" y="632"/>
                  </a:lnTo>
                  <a:lnTo>
                    <a:pt x="1354" y="632"/>
                  </a:lnTo>
                  <a:lnTo>
                    <a:pt x="1354" y="634"/>
                  </a:lnTo>
                  <a:lnTo>
                    <a:pt x="1354" y="638"/>
                  </a:lnTo>
                  <a:lnTo>
                    <a:pt x="1354" y="642"/>
                  </a:lnTo>
                  <a:lnTo>
                    <a:pt x="1350" y="642"/>
                  </a:lnTo>
                  <a:lnTo>
                    <a:pt x="1350" y="646"/>
                  </a:lnTo>
                  <a:lnTo>
                    <a:pt x="1346" y="646"/>
                  </a:lnTo>
                  <a:lnTo>
                    <a:pt x="1346" y="648"/>
                  </a:lnTo>
                  <a:lnTo>
                    <a:pt x="1342" y="652"/>
                  </a:lnTo>
                  <a:lnTo>
                    <a:pt x="1346" y="652"/>
                  </a:lnTo>
                  <a:lnTo>
                    <a:pt x="1346" y="656"/>
                  </a:lnTo>
                  <a:lnTo>
                    <a:pt x="1350" y="660"/>
                  </a:lnTo>
                  <a:lnTo>
                    <a:pt x="1354" y="660"/>
                  </a:lnTo>
                  <a:lnTo>
                    <a:pt x="1358" y="656"/>
                  </a:lnTo>
                  <a:lnTo>
                    <a:pt x="1360" y="652"/>
                  </a:lnTo>
                  <a:lnTo>
                    <a:pt x="1364" y="652"/>
                  </a:lnTo>
                  <a:lnTo>
                    <a:pt x="1368" y="648"/>
                  </a:lnTo>
                  <a:lnTo>
                    <a:pt x="1372" y="648"/>
                  </a:lnTo>
                  <a:lnTo>
                    <a:pt x="1376" y="648"/>
                  </a:lnTo>
                  <a:lnTo>
                    <a:pt x="1380" y="646"/>
                  </a:lnTo>
                  <a:lnTo>
                    <a:pt x="1386" y="646"/>
                  </a:lnTo>
                  <a:lnTo>
                    <a:pt x="1390" y="642"/>
                  </a:lnTo>
                  <a:lnTo>
                    <a:pt x="1394" y="642"/>
                  </a:lnTo>
                  <a:lnTo>
                    <a:pt x="1398" y="638"/>
                  </a:lnTo>
                  <a:lnTo>
                    <a:pt x="1402" y="638"/>
                  </a:lnTo>
                  <a:lnTo>
                    <a:pt x="1402" y="634"/>
                  </a:lnTo>
                  <a:lnTo>
                    <a:pt x="1406" y="634"/>
                  </a:lnTo>
                  <a:lnTo>
                    <a:pt x="1402" y="634"/>
                  </a:lnTo>
                  <a:lnTo>
                    <a:pt x="1402" y="632"/>
                  </a:lnTo>
                  <a:lnTo>
                    <a:pt x="1402" y="628"/>
                  </a:lnTo>
                  <a:lnTo>
                    <a:pt x="1402" y="624"/>
                  </a:lnTo>
                  <a:lnTo>
                    <a:pt x="1406" y="620"/>
                  </a:lnTo>
                  <a:lnTo>
                    <a:pt x="1414" y="620"/>
                  </a:lnTo>
                  <a:lnTo>
                    <a:pt x="1416" y="620"/>
                  </a:lnTo>
                  <a:lnTo>
                    <a:pt x="1420" y="620"/>
                  </a:lnTo>
                  <a:lnTo>
                    <a:pt x="1424" y="620"/>
                  </a:lnTo>
                  <a:lnTo>
                    <a:pt x="1428" y="620"/>
                  </a:lnTo>
                  <a:lnTo>
                    <a:pt x="1432" y="620"/>
                  </a:lnTo>
                  <a:lnTo>
                    <a:pt x="1436" y="620"/>
                  </a:lnTo>
                  <a:lnTo>
                    <a:pt x="1436" y="616"/>
                  </a:lnTo>
                  <a:lnTo>
                    <a:pt x="1440" y="616"/>
                  </a:lnTo>
                  <a:lnTo>
                    <a:pt x="1440" y="612"/>
                  </a:lnTo>
                  <a:lnTo>
                    <a:pt x="1442" y="608"/>
                  </a:lnTo>
                  <a:lnTo>
                    <a:pt x="1446" y="608"/>
                  </a:lnTo>
                  <a:lnTo>
                    <a:pt x="1446" y="606"/>
                  </a:lnTo>
                  <a:lnTo>
                    <a:pt x="1450" y="606"/>
                  </a:lnTo>
                  <a:lnTo>
                    <a:pt x="1450" y="602"/>
                  </a:lnTo>
                  <a:lnTo>
                    <a:pt x="1454" y="598"/>
                  </a:lnTo>
                  <a:lnTo>
                    <a:pt x="1458" y="598"/>
                  </a:lnTo>
                  <a:lnTo>
                    <a:pt x="1458" y="594"/>
                  </a:lnTo>
                  <a:lnTo>
                    <a:pt x="1462" y="594"/>
                  </a:lnTo>
                  <a:lnTo>
                    <a:pt x="1466" y="594"/>
                  </a:lnTo>
                  <a:lnTo>
                    <a:pt x="1470" y="594"/>
                  </a:lnTo>
                  <a:lnTo>
                    <a:pt x="1476" y="594"/>
                  </a:lnTo>
                  <a:lnTo>
                    <a:pt x="1480" y="594"/>
                  </a:lnTo>
                  <a:lnTo>
                    <a:pt x="1484" y="594"/>
                  </a:lnTo>
                  <a:lnTo>
                    <a:pt x="1488" y="594"/>
                  </a:lnTo>
                  <a:lnTo>
                    <a:pt x="1492" y="594"/>
                  </a:lnTo>
                  <a:lnTo>
                    <a:pt x="1496" y="594"/>
                  </a:lnTo>
                  <a:lnTo>
                    <a:pt x="1498" y="594"/>
                  </a:lnTo>
                  <a:lnTo>
                    <a:pt x="1502" y="594"/>
                  </a:lnTo>
                  <a:lnTo>
                    <a:pt x="1506" y="594"/>
                  </a:lnTo>
                  <a:lnTo>
                    <a:pt x="1510" y="594"/>
                  </a:lnTo>
                  <a:lnTo>
                    <a:pt x="1510" y="590"/>
                  </a:lnTo>
                  <a:lnTo>
                    <a:pt x="1510" y="586"/>
                  </a:lnTo>
                  <a:lnTo>
                    <a:pt x="1514" y="586"/>
                  </a:lnTo>
                  <a:lnTo>
                    <a:pt x="1514" y="590"/>
                  </a:lnTo>
                  <a:lnTo>
                    <a:pt x="1514" y="586"/>
                  </a:lnTo>
                  <a:lnTo>
                    <a:pt x="1518" y="590"/>
                  </a:lnTo>
                  <a:lnTo>
                    <a:pt x="1522" y="586"/>
                  </a:lnTo>
                  <a:lnTo>
                    <a:pt x="1522" y="582"/>
                  </a:lnTo>
                  <a:lnTo>
                    <a:pt x="1522" y="578"/>
                  </a:lnTo>
                  <a:lnTo>
                    <a:pt x="1526" y="578"/>
                  </a:lnTo>
                  <a:lnTo>
                    <a:pt x="1526" y="576"/>
                  </a:lnTo>
                  <a:lnTo>
                    <a:pt x="1526" y="572"/>
                  </a:lnTo>
                  <a:lnTo>
                    <a:pt x="1526" y="568"/>
                  </a:lnTo>
                  <a:lnTo>
                    <a:pt x="1528" y="568"/>
                  </a:lnTo>
                  <a:lnTo>
                    <a:pt x="1528" y="564"/>
                  </a:lnTo>
                  <a:lnTo>
                    <a:pt x="1528" y="560"/>
                  </a:lnTo>
                  <a:lnTo>
                    <a:pt x="1532" y="556"/>
                  </a:lnTo>
                  <a:lnTo>
                    <a:pt x="1532" y="552"/>
                  </a:lnTo>
                  <a:lnTo>
                    <a:pt x="1536" y="552"/>
                  </a:lnTo>
                  <a:lnTo>
                    <a:pt x="1540" y="550"/>
                  </a:lnTo>
                  <a:lnTo>
                    <a:pt x="1540" y="546"/>
                  </a:lnTo>
                  <a:lnTo>
                    <a:pt x="1544" y="546"/>
                  </a:lnTo>
                  <a:lnTo>
                    <a:pt x="1544" y="550"/>
                  </a:lnTo>
                  <a:lnTo>
                    <a:pt x="1548" y="550"/>
                  </a:lnTo>
                  <a:lnTo>
                    <a:pt x="1552" y="550"/>
                  </a:lnTo>
                  <a:lnTo>
                    <a:pt x="1556" y="546"/>
                  </a:lnTo>
                  <a:lnTo>
                    <a:pt x="1558" y="550"/>
                  </a:lnTo>
                  <a:lnTo>
                    <a:pt x="1558" y="552"/>
                  </a:lnTo>
                  <a:lnTo>
                    <a:pt x="1562" y="552"/>
                  </a:lnTo>
                  <a:lnTo>
                    <a:pt x="1562" y="556"/>
                  </a:lnTo>
                  <a:lnTo>
                    <a:pt x="1562" y="568"/>
                  </a:lnTo>
                  <a:lnTo>
                    <a:pt x="1562" y="576"/>
                  </a:lnTo>
                  <a:lnTo>
                    <a:pt x="1562" y="578"/>
                  </a:lnTo>
                  <a:lnTo>
                    <a:pt x="1562" y="582"/>
                  </a:lnTo>
                  <a:lnTo>
                    <a:pt x="1566" y="582"/>
                  </a:lnTo>
                  <a:lnTo>
                    <a:pt x="1566" y="586"/>
                  </a:lnTo>
                  <a:lnTo>
                    <a:pt x="1566" y="590"/>
                  </a:lnTo>
                  <a:lnTo>
                    <a:pt x="1570" y="590"/>
                  </a:lnTo>
                  <a:lnTo>
                    <a:pt x="1570" y="594"/>
                  </a:lnTo>
                  <a:lnTo>
                    <a:pt x="1574" y="594"/>
                  </a:lnTo>
                  <a:lnTo>
                    <a:pt x="1570" y="594"/>
                  </a:lnTo>
                  <a:lnTo>
                    <a:pt x="1570" y="598"/>
                  </a:lnTo>
                  <a:lnTo>
                    <a:pt x="1574" y="598"/>
                  </a:lnTo>
                  <a:lnTo>
                    <a:pt x="1570" y="602"/>
                  </a:lnTo>
                  <a:lnTo>
                    <a:pt x="1566" y="602"/>
                  </a:lnTo>
                  <a:lnTo>
                    <a:pt x="1562" y="606"/>
                  </a:lnTo>
                  <a:lnTo>
                    <a:pt x="1562" y="602"/>
                  </a:lnTo>
                  <a:lnTo>
                    <a:pt x="1558" y="606"/>
                  </a:lnTo>
                  <a:lnTo>
                    <a:pt x="1558" y="608"/>
                  </a:lnTo>
                  <a:lnTo>
                    <a:pt x="1558" y="606"/>
                  </a:lnTo>
                  <a:lnTo>
                    <a:pt x="1556" y="606"/>
                  </a:lnTo>
                  <a:lnTo>
                    <a:pt x="1552" y="606"/>
                  </a:lnTo>
                  <a:lnTo>
                    <a:pt x="1552" y="608"/>
                  </a:lnTo>
                  <a:lnTo>
                    <a:pt x="1548" y="608"/>
                  </a:lnTo>
                  <a:lnTo>
                    <a:pt x="1548" y="606"/>
                  </a:lnTo>
                  <a:lnTo>
                    <a:pt x="1548" y="602"/>
                  </a:lnTo>
                  <a:lnTo>
                    <a:pt x="1548" y="606"/>
                  </a:lnTo>
                  <a:lnTo>
                    <a:pt x="1544" y="606"/>
                  </a:lnTo>
                  <a:lnTo>
                    <a:pt x="1544" y="608"/>
                  </a:lnTo>
                  <a:lnTo>
                    <a:pt x="1544" y="612"/>
                  </a:lnTo>
                  <a:lnTo>
                    <a:pt x="1540" y="616"/>
                  </a:lnTo>
                  <a:lnTo>
                    <a:pt x="1540" y="612"/>
                  </a:lnTo>
                  <a:lnTo>
                    <a:pt x="1536" y="616"/>
                  </a:lnTo>
                  <a:lnTo>
                    <a:pt x="1536" y="612"/>
                  </a:lnTo>
                  <a:lnTo>
                    <a:pt x="1536" y="616"/>
                  </a:lnTo>
                  <a:lnTo>
                    <a:pt x="1536" y="612"/>
                  </a:lnTo>
                  <a:lnTo>
                    <a:pt x="1536" y="616"/>
                  </a:lnTo>
                  <a:lnTo>
                    <a:pt x="1532" y="616"/>
                  </a:lnTo>
                  <a:lnTo>
                    <a:pt x="1536" y="616"/>
                  </a:lnTo>
                  <a:lnTo>
                    <a:pt x="1532" y="620"/>
                  </a:lnTo>
                  <a:lnTo>
                    <a:pt x="1532" y="616"/>
                  </a:lnTo>
                  <a:lnTo>
                    <a:pt x="1532" y="612"/>
                  </a:lnTo>
                  <a:lnTo>
                    <a:pt x="1532" y="616"/>
                  </a:lnTo>
                  <a:lnTo>
                    <a:pt x="1532" y="620"/>
                  </a:lnTo>
                  <a:lnTo>
                    <a:pt x="1532" y="616"/>
                  </a:lnTo>
                  <a:lnTo>
                    <a:pt x="1528" y="616"/>
                  </a:lnTo>
                  <a:lnTo>
                    <a:pt x="1528" y="620"/>
                  </a:lnTo>
                  <a:lnTo>
                    <a:pt x="1526" y="620"/>
                  </a:lnTo>
                  <a:lnTo>
                    <a:pt x="1528" y="620"/>
                  </a:lnTo>
                  <a:lnTo>
                    <a:pt x="1528" y="624"/>
                  </a:lnTo>
                  <a:lnTo>
                    <a:pt x="1526" y="624"/>
                  </a:lnTo>
                  <a:lnTo>
                    <a:pt x="1526" y="628"/>
                  </a:lnTo>
                  <a:lnTo>
                    <a:pt x="1522" y="628"/>
                  </a:lnTo>
                  <a:lnTo>
                    <a:pt x="1522" y="632"/>
                  </a:lnTo>
                  <a:lnTo>
                    <a:pt x="1522" y="634"/>
                  </a:lnTo>
                  <a:lnTo>
                    <a:pt x="1518" y="634"/>
                  </a:lnTo>
                  <a:lnTo>
                    <a:pt x="1518" y="638"/>
                  </a:lnTo>
                  <a:lnTo>
                    <a:pt x="1522" y="642"/>
                  </a:lnTo>
                  <a:lnTo>
                    <a:pt x="1522" y="638"/>
                  </a:lnTo>
                  <a:lnTo>
                    <a:pt x="1522" y="642"/>
                  </a:lnTo>
                  <a:lnTo>
                    <a:pt x="1518" y="642"/>
                  </a:lnTo>
                  <a:lnTo>
                    <a:pt x="1514" y="646"/>
                  </a:lnTo>
                  <a:lnTo>
                    <a:pt x="1518" y="648"/>
                  </a:lnTo>
                  <a:lnTo>
                    <a:pt x="1522" y="648"/>
                  </a:lnTo>
                  <a:lnTo>
                    <a:pt x="1522" y="652"/>
                  </a:lnTo>
                  <a:lnTo>
                    <a:pt x="1522" y="656"/>
                  </a:lnTo>
                  <a:lnTo>
                    <a:pt x="1526" y="656"/>
                  </a:lnTo>
                  <a:lnTo>
                    <a:pt x="1526" y="660"/>
                  </a:lnTo>
                  <a:lnTo>
                    <a:pt x="1528" y="656"/>
                  </a:lnTo>
                  <a:lnTo>
                    <a:pt x="1528" y="652"/>
                  </a:lnTo>
                  <a:lnTo>
                    <a:pt x="1526" y="652"/>
                  </a:lnTo>
                  <a:lnTo>
                    <a:pt x="1528" y="652"/>
                  </a:lnTo>
                  <a:lnTo>
                    <a:pt x="1532" y="652"/>
                  </a:lnTo>
                  <a:lnTo>
                    <a:pt x="1532" y="656"/>
                  </a:lnTo>
                  <a:lnTo>
                    <a:pt x="1532" y="660"/>
                  </a:lnTo>
                  <a:lnTo>
                    <a:pt x="1528" y="660"/>
                  </a:lnTo>
                  <a:lnTo>
                    <a:pt x="1526" y="660"/>
                  </a:lnTo>
                  <a:lnTo>
                    <a:pt x="1522" y="660"/>
                  </a:lnTo>
                  <a:lnTo>
                    <a:pt x="1522" y="656"/>
                  </a:lnTo>
                  <a:lnTo>
                    <a:pt x="1518" y="660"/>
                  </a:lnTo>
                  <a:lnTo>
                    <a:pt x="1514" y="664"/>
                  </a:lnTo>
                  <a:lnTo>
                    <a:pt x="1514" y="660"/>
                  </a:lnTo>
                  <a:lnTo>
                    <a:pt x="1514" y="656"/>
                  </a:lnTo>
                  <a:lnTo>
                    <a:pt x="1514" y="660"/>
                  </a:lnTo>
                  <a:lnTo>
                    <a:pt x="1510" y="660"/>
                  </a:lnTo>
                  <a:lnTo>
                    <a:pt x="1510" y="656"/>
                  </a:lnTo>
                  <a:lnTo>
                    <a:pt x="1510" y="660"/>
                  </a:lnTo>
                  <a:lnTo>
                    <a:pt x="1510" y="664"/>
                  </a:lnTo>
                  <a:lnTo>
                    <a:pt x="1506" y="664"/>
                  </a:lnTo>
                  <a:lnTo>
                    <a:pt x="1506" y="668"/>
                  </a:lnTo>
                  <a:lnTo>
                    <a:pt x="1502" y="668"/>
                  </a:lnTo>
                  <a:lnTo>
                    <a:pt x="1502" y="664"/>
                  </a:lnTo>
                  <a:lnTo>
                    <a:pt x="1498" y="668"/>
                  </a:lnTo>
                  <a:lnTo>
                    <a:pt x="1496" y="668"/>
                  </a:lnTo>
                  <a:lnTo>
                    <a:pt x="1492" y="668"/>
                  </a:lnTo>
                  <a:lnTo>
                    <a:pt x="1488" y="668"/>
                  </a:lnTo>
                  <a:lnTo>
                    <a:pt x="1484" y="668"/>
                  </a:lnTo>
                  <a:lnTo>
                    <a:pt x="1484" y="672"/>
                  </a:lnTo>
                  <a:lnTo>
                    <a:pt x="1480" y="672"/>
                  </a:lnTo>
                  <a:lnTo>
                    <a:pt x="1476" y="672"/>
                  </a:lnTo>
                  <a:lnTo>
                    <a:pt x="1476" y="676"/>
                  </a:lnTo>
                  <a:lnTo>
                    <a:pt x="1472" y="676"/>
                  </a:lnTo>
                  <a:lnTo>
                    <a:pt x="1476" y="676"/>
                  </a:lnTo>
                  <a:lnTo>
                    <a:pt x="1476" y="672"/>
                  </a:lnTo>
                  <a:lnTo>
                    <a:pt x="1476" y="668"/>
                  </a:lnTo>
                  <a:lnTo>
                    <a:pt x="1472" y="668"/>
                  </a:lnTo>
                  <a:lnTo>
                    <a:pt x="1476" y="668"/>
                  </a:lnTo>
                  <a:lnTo>
                    <a:pt x="1476" y="672"/>
                  </a:lnTo>
                  <a:lnTo>
                    <a:pt x="1472" y="676"/>
                  </a:lnTo>
                  <a:lnTo>
                    <a:pt x="1472" y="678"/>
                  </a:lnTo>
                  <a:lnTo>
                    <a:pt x="1470" y="678"/>
                  </a:lnTo>
                  <a:lnTo>
                    <a:pt x="1470" y="682"/>
                  </a:lnTo>
                  <a:lnTo>
                    <a:pt x="1472" y="682"/>
                  </a:lnTo>
                  <a:lnTo>
                    <a:pt x="1472" y="686"/>
                  </a:lnTo>
                  <a:lnTo>
                    <a:pt x="1472" y="690"/>
                  </a:lnTo>
                  <a:lnTo>
                    <a:pt x="1472" y="698"/>
                  </a:lnTo>
                  <a:lnTo>
                    <a:pt x="1472" y="694"/>
                  </a:lnTo>
                  <a:lnTo>
                    <a:pt x="1472" y="690"/>
                  </a:lnTo>
                  <a:lnTo>
                    <a:pt x="1472" y="694"/>
                  </a:lnTo>
                  <a:lnTo>
                    <a:pt x="1472" y="698"/>
                  </a:lnTo>
                  <a:lnTo>
                    <a:pt x="1470" y="698"/>
                  </a:lnTo>
                  <a:lnTo>
                    <a:pt x="1470" y="702"/>
                  </a:lnTo>
                  <a:lnTo>
                    <a:pt x="1466" y="702"/>
                  </a:lnTo>
                  <a:lnTo>
                    <a:pt x="1466" y="706"/>
                  </a:lnTo>
                  <a:lnTo>
                    <a:pt x="1470" y="706"/>
                  </a:lnTo>
                  <a:lnTo>
                    <a:pt x="1466" y="706"/>
                  </a:lnTo>
                  <a:lnTo>
                    <a:pt x="1466" y="708"/>
                  </a:lnTo>
                  <a:lnTo>
                    <a:pt x="1462" y="708"/>
                  </a:lnTo>
                  <a:lnTo>
                    <a:pt x="1462" y="712"/>
                  </a:lnTo>
                  <a:lnTo>
                    <a:pt x="1462" y="708"/>
                  </a:lnTo>
                  <a:lnTo>
                    <a:pt x="1458" y="708"/>
                  </a:lnTo>
                  <a:lnTo>
                    <a:pt x="1458" y="706"/>
                  </a:lnTo>
                  <a:lnTo>
                    <a:pt x="1454" y="706"/>
                  </a:lnTo>
                  <a:lnTo>
                    <a:pt x="1450" y="702"/>
                  </a:lnTo>
                  <a:lnTo>
                    <a:pt x="1450" y="698"/>
                  </a:lnTo>
                  <a:lnTo>
                    <a:pt x="1454" y="698"/>
                  </a:lnTo>
                  <a:lnTo>
                    <a:pt x="1454" y="694"/>
                  </a:lnTo>
                  <a:lnTo>
                    <a:pt x="1458" y="694"/>
                  </a:lnTo>
                  <a:lnTo>
                    <a:pt x="1458" y="690"/>
                  </a:lnTo>
                  <a:lnTo>
                    <a:pt x="1458" y="694"/>
                  </a:lnTo>
                  <a:lnTo>
                    <a:pt x="1454" y="694"/>
                  </a:lnTo>
                  <a:lnTo>
                    <a:pt x="1454" y="698"/>
                  </a:lnTo>
                  <a:lnTo>
                    <a:pt x="1450" y="698"/>
                  </a:lnTo>
                  <a:lnTo>
                    <a:pt x="1450" y="702"/>
                  </a:lnTo>
                  <a:lnTo>
                    <a:pt x="1454" y="706"/>
                  </a:lnTo>
                  <a:lnTo>
                    <a:pt x="1454" y="708"/>
                  </a:lnTo>
                  <a:lnTo>
                    <a:pt x="1454" y="712"/>
                  </a:lnTo>
                  <a:lnTo>
                    <a:pt x="1458" y="716"/>
                  </a:lnTo>
                  <a:lnTo>
                    <a:pt x="1458" y="720"/>
                  </a:lnTo>
                  <a:lnTo>
                    <a:pt x="1458" y="724"/>
                  </a:lnTo>
                  <a:lnTo>
                    <a:pt x="1458" y="720"/>
                  </a:lnTo>
                  <a:lnTo>
                    <a:pt x="1458" y="724"/>
                  </a:lnTo>
                  <a:lnTo>
                    <a:pt x="1458" y="728"/>
                  </a:lnTo>
                  <a:lnTo>
                    <a:pt x="1454" y="728"/>
                  </a:lnTo>
                  <a:lnTo>
                    <a:pt x="1454" y="732"/>
                  </a:lnTo>
                  <a:lnTo>
                    <a:pt x="1454" y="734"/>
                  </a:lnTo>
                  <a:lnTo>
                    <a:pt x="1450" y="734"/>
                  </a:lnTo>
                  <a:lnTo>
                    <a:pt x="1450" y="738"/>
                  </a:lnTo>
                  <a:lnTo>
                    <a:pt x="1446" y="742"/>
                  </a:lnTo>
                  <a:lnTo>
                    <a:pt x="1446" y="746"/>
                  </a:lnTo>
                  <a:lnTo>
                    <a:pt x="1446" y="742"/>
                  </a:lnTo>
                  <a:lnTo>
                    <a:pt x="1446" y="738"/>
                  </a:lnTo>
                  <a:lnTo>
                    <a:pt x="1446" y="734"/>
                  </a:lnTo>
                  <a:lnTo>
                    <a:pt x="1450" y="734"/>
                  </a:lnTo>
                  <a:lnTo>
                    <a:pt x="1450" y="732"/>
                  </a:lnTo>
                  <a:lnTo>
                    <a:pt x="1446" y="732"/>
                  </a:lnTo>
                  <a:lnTo>
                    <a:pt x="1446" y="728"/>
                  </a:lnTo>
                  <a:lnTo>
                    <a:pt x="1446" y="724"/>
                  </a:lnTo>
                  <a:lnTo>
                    <a:pt x="1446" y="728"/>
                  </a:lnTo>
                  <a:lnTo>
                    <a:pt x="1442" y="728"/>
                  </a:lnTo>
                  <a:lnTo>
                    <a:pt x="1442" y="724"/>
                  </a:lnTo>
                  <a:lnTo>
                    <a:pt x="1440" y="720"/>
                  </a:lnTo>
                  <a:lnTo>
                    <a:pt x="1442" y="720"/>
                  </a:lnTo>
                  <a:lnTo>
                    <a:pt x="1446" y="720"/>
                  </a:lnTo>
                  <a:lnTo>
                    <a:pt x="1446" y="716"/>
                  </a:lnTo>
                  <a:lnTo>
                    <a:pt x="1446" y="720"/>
                  </a:lnTo>
                  <a:lnTo>
                    <a:pt x="1442" y="720"/>
                  </a:lnTo>
                  <a:lnTo>
                    <a:pt x="1442" y="716"/>
                  </a:lnTo>
                  <a:lnTo>
                    <a:pt x="1440" y="716"/>
                  </a:lnTo>
                  <a:lnTo>
                    <a:pt x="1442" y="712"/>
                  </a:lnTo>
                  <a:lnTo>
                    <a:pt x="1442" y="716"/>
                  </a:lnTo>
                  <a:lnTo>
                    <a:pt x="1442" y="712"/>
                  </a:lnTo>
                  <a:lnTo>
                    <a:pt x="1440" y="712"/>
                  </a:lnTo>
                  <a:lnTo>
                    <a:pt x="1440" y="708"/>
                  </a:lnTo>
                  <a:lnTo>
                    <a:pt x="1442" y="712"/>
                  </a:lnTo>
                  <a:lnTo>
                    <a:pt x="1442" y="708"/>
                  </a:lnTo>
                  <a:lnTo>
                    <a:pt x="1442" y="706"/>
                  </a:lnTo>
                  <a:lnTo>
                    <a:pt x="1446" y="706"/>
                  </a:lnTo>
                  <a:lnTo>
                    <a:pt x="1446" y="702"/>
                  </a:lnTo>
                  <a:lnTo>
                    <a:pt x="1446" y="698"/>
                  </a:lnTo>
                  <a:lnTo>
                    <a:pt x="1442" y="702"/>
                  </a:lnTo>
                  <a:lnTo>
                    <a:pt x="1442" y="706"/>
                  </a:lnTo>
                  <a:lnTo>
                    <a:pt x="1442" y="702"/>
                  </a:lnTo>
                  <a:lnTo>
                    <a:pt x="1440" y="706"/>
                  </a:lnTo>
                  <a:lnTo>
                    <a:pt x="1440" y="706"/>
                  </a:lnTo>
                  <a:lnTo>
                    <a:pt x="1440" y="706"/>
                  </a:lnTo>
                  <a:close/>
                  <a:moveTo>
                    <a:pt x="780" y="520"/>
                  </a:moveTo>
                  <a:lnTo>
                    <a:pt x="780" y="522"/>
                  </a:lnTo>
                  <a:lnTo>
                    <a:pt x="780" y="520"/>
                  </a:lnTo>
                  <a:lnTo>
                    <a:pt x="780" y="520"/>
                  </a:lnTo>
                  <a:lnTo>
                    <a:pt x="780" y="520"/>
                  </a:lnTo>
                  <a:close/>
                  <a:moveTo>
                    <a:pt x="824" y="806"/>
                  </a:moveTo>
                  <a:lnTo>
                    <a:pt x="828" y="806"/>
                  </a:lnTo>
                  <a:lnTo>
                    <a:pt x="824" y="806"/>
                  </a:lnTo>
                  <a:lnTo>
                    <a:pt x="824" y="806"/>
                  </a:lnTo>
                  <a:lnTo>
                    <a:pt x="824" y="806"/>
                  </a:lnTo>
                  <a:close/>
                  <a:moveTo>
                    <a:pt x="192" y="120"/>
                  </a:moveTo>
                  <a:lnTo>
                    <a:pt x="188" y="120"/>
                  </a:lnTo>
                  <a:lnTo>
                    <a:pt x="180" y="124"/>
                  </a:lnTo>
                  <a:lnTo>
                    <a:pt x="184" y="120"/>
                  </a:lnTo>
                  <a:lnTo>
                    <a:pt x="188" y="120"/>
                  </a:lnTo>
                  <a:lnTo>
                    <a:pt x="192" y="120"/>
                  </a:lnTo>
                  <a:lnTo>
                    <a:pt x="192" y="120"/>
                  </a:lnTo>
                  <a:lnTo>
                    <a:pt x="192" y="120"/>
                  </a:lnTo>
                  <a:close/>
                  <a:moveTo>
                    <a:pt x="168" y="128"/>
                  </a:moveTo>
                  <a:lnTo>
                    <a:pt x="166" y="132"/>
                  </a:lnTo>
                  <a:lnTo>
                    <a:pt x="166" y="128"/>
                  </a:lnTo>
                  <a:lnTo>
                    <a:pt x="168" y="128"/>
                  </a:lnTo>
                  <a:lnTo>
                    <a:pt x="168" y="128"/>
                  </a:lnTo>
                  <a:lnTo>
                    <a:pt x="168" y="128"/>
                  </a:lnTo>
                  <a:close/>
                  <a:moveTo>
                    <a:pt x="224" y="192"/>
                  </a:moveTo>
                  <a:lnTo>
                    <a:pt x="222" y="192"/>
                  </a:lnTo>
                  <a:lnTo>
                    <a:pt x="224" y="192"/>
                  </a:lnTo>
                  <a:lnTo>
                    <a:pt x="224" y="192"/>
                  </a:lnTo>
                  <a:lnTo>
                    <a:pt x="224" y="192"/>
                  </a:lnTo>
                  <a:close/>
                  <a:moveTo>
                    <a:pt x="426" y="258"/>
                  </a:moveTo>
                  <a:lnTo>
                    <a:pt x="426" y="262"/>
                  </a:lnTo>
                  <a:lnTo>
                    <a:pt x="426" y="258"/>
                  </a:lnTo>
                  <a:lnTo>
                    <a:pt x="422" y="258"/>
                  </a:lnTo>
                  <a:lnTo>
                    <a:pt x="426" y="258"/>
                  </a:lnTo>
                  <a:lnTo>
                    <a:pt x="426" y="258"/>
                  </a:lnTo>
                  <a:lnTo>
                    <a:pt x="426" y="258"/>
                  </a:lnTo>
                  <a:close/>
                  <a:moveTo>
                    <a:pt x="82" y="268"/>
                  </a:moveTo>
                  <a:lnTo>
                    <a:pt x="82" y="266"/>
                  </a:lnTo>
                  <a:lnTo>
                    <a:pt x="80" y="266"/>
                  </a:lnTo>
                  <a:lnTo>
                    <a:pt x="76" y="266"/>
                  </a:lnTo>
                  <a:lnTo>
                    <a:pt x="72" y="262"/>
                  </a:lnTo>
                  <a:lnTo>
                    <a:pt x="76" y="262"/>
                  </a:lnTo>
                  <a:lnTo>
                    <a:pt x="76" y="266"/>
                  </a:lnTo>
                  <a:lnTo>
                    <a:pt x="80" y="266"/>
                  </a:lnTo>
                  <a:lnTo>
                    <a:pt x="82" y="266"/>
                  </a:lnTo>
                  <a:lnTo>
                    <a:pt x="82" y="268"/>
                  </a:lnTo>
                  <a:lnTo>
                    <a:pt x="82" y="268"/>
                  </a:lnTo>
                  <a:lnTo>
                    <a:pt x="82" y="268"/>
                  </a:lnTo>
                  <a:close/>
                  <a:moveTo>
                    <a:pt x="466" y="266"/>
                  </a:moveTo>
                  <a:lnTo>
                    <a:pt x="466" y="268"/>
                  </a:lnTo>
                  <a:lnTo>
                    <a:pt x="466" y="266"/>
                  </a:lnTo>
                  <a:lnTo>
                    <a:pt x="466" y="266"/>
                  </a:lnTo>
                  <a:lnTo>
                    <a:pt x="466" y="266"/>
                  </a:lnTo>
                  <a:close/>
                  <a:moveTo>
                    <a:pt x="426" y="266"/>
                  </a:moveTo>
                  <a:lnTo>
                    <a:pt x="426" y="268"/>
                  </a:lnTo>
                  <a:lnTo>
                    <a:pt x="426" y="266"/>
                  </a:lnTo>
                  <a:lnTo>
                    <a:pt x="426" y="266"/>
                  </a:lnTo>
                  <a:lnTo>
                    <a:pt x="426" y="266"/>
                  </a:lnTo>
                  <a:close/>
                  <a:moveTo>
                    <a:pt x="426" y="268"/>
                  </a:moveTo>
                  <a:lnTo>
                    <a:pt x="426" y="272"/>
                  </a:lnTo>
                  <a:lnTo>
                    <a:pt x="422" y="272"/>
                  </a:lnTo>
                  <a:lnTo>
                    <a:pt x="426" y="272"/>
                  </a:lnTo>
                  <a:lnTo>
                    <a:pt x="426" y="268"/>
                  </a:lnTo>
                  <a:lnTo>
                    <a:pt x="426" y="268"/>
                  </a:lnTo>
                  <a:lnTo>
                    <a:pt x="426" y="268"/>
                  </a:lnTo>
                  <a:close/>
                  <a:moveTo>
                    <a:pt x="482" y="276"/>
                  </a:moveTo>
                  <a:lnTo>
                    <a:pt x="478" y="276"/>
                  </a:lnTo>
                  <a:lnTo>
                    <a:pt x="474" y="276"/>
                  </a:lnTo>
                  <a:lnTo>
                    <a:pt x="474" y="280"/>
                  </a:lnTo>
                  <a:lnTo>
                    <a:pt x="474" y="276"/>
                  </a:lnTo>
                  <a:lnTo>
                    <a:pt x="478" y="276"/>
                  </a:lnTo>
                  <a:lnTo>
                    <a:pt x="478" y="272"/>
                  </a:lnTo>
                  <a:lnTo>
                    <a:pt x="482" y="272"/>
                  </a:lnTo>
                  <a:lnTo>
                    <a:pt x="482" y="276"/>
                  </a:lnTo>
                  <a:lnTo>
                    <a:pt x="482" y="276"/>
                  </a:lnTo>
                  <a:lnTo>
                    <a:pt x="482" y="276"/>
                  </a:lnTo>
                  <a:close/>
                  <a:moveTo>
                    <a:pt x="244" y="306"/>
                  </a:moveTo>
                  <a:lnTo>
                    <a:pt x="244" y="302"/>
                  </a:lnTo>
                  <a:lnTo>
                    <a:pt x="248" y="302"/>
                  </a:lnTo>
                  <a:lnTo>
                    <a:pt x="244" y="306"/>
                  </a:lnTo>
                  <a:lnTo>
                    <a:pt x="244" y="306"/>
                  </a:lnTo>
                  <a:lnTo>
                    <a:pt x="244" y="306"/>
                  </a:lnTo>
                  <a:close/>
                  <a:moveTo>
                    <a:pt x="620" y="314"/>
                  </a:moveTo>
                  <a:lnTo>
                    <a:pt x="616" y="314"/>
                  </a:lnTo>
                  <a:lnTo>
                    <a:pt x="616" y="310"/>
                  </a:lnTo>
                  <a:lnTo>
                    <a:pt x="620" y="314"/>
                  </a:lnTo>
                  <a:lnTo>
                    <a:pt x="620" y="314"/>
                  </a:lnTo>
                  <a:lnTo>
                    <a:pt x="620" y="314"/>
                  </a:lnTo>
                  <a:close/>
                  <a:moveTo>
                    <a:pt x="112" y="340"/>
                  </a:moveTo>
                  <a:lnTo>
                    <a:pt x="110" y="340"/>
                  </a:lnTo>
                  <a:lnTo>
                    <a:pt x="110" y="336"/>
                  </a:lnTo>
                  <a:lnTo>
                    <a:pt x="112" y="336"/>
                  </a:lnTo>
                  <a:lnTo>
                    <a:pt x="112" y="340"/>
                  </a:lnTo>
                  <a:lnTo>
                    <a:pt x="112" y="340"/>
                  </a:lnTo>
                  <a:lnTo>
                    <a:pt x="112" y="340"/>
                  </a:lnTo>
                  <a:close/>
                  <a:moveTo>
                    <a:pt x="120" y="350"/>
                  </a:moveTo>
                  <a:lnTo>
                    <a:pt x="124" y="350"/>
                  </a:lnTo>
                  <a:lnTo>
                    <a:pt x="120" y="350"/>
                  </a:lnTo>
                  <a:lnTo>
                    <a:pt x="120" y="350"/>
                  </a:lnTo>
                  <a:lnTo>
                    <a:pt x="120" y="350"/>
                  </a:lnTo>
                  <a:close/>
                  <a:moveTo>
                    <a:pt x="340" y="350"/>
                  </a:moveTo>
                  <a:lnTo>
                    <a:pt x="336" y="350"/>
                  </a:lnTo>
                  <a:lnTo>
                    <a:pt x="340" y="350"/>
                  </a:lnTo>
                  <a:lnTo>
                    <a:pt x="340" y="350"/>
                  </a:lnTo>
                  <a:lnTo>
                    <a:pt x="340" y="350"/>
                  </a:lnTo>
                  <a:close/>
                  <a:moveTo>
                    <a:pt x="344" y="350"/>
                  </a:moveTo>
                  <a:lnTo>
                    <a:pt x="340" y="350"/>
                  </a:lnTo>
                  <a:lnTo>
                    <a:pt x="344" y="350"/>
                  </a:lnTo>
                  <a:lnTo>
                    <a:pt x="344" y="350"/>
                  </a:lnTo>
                  <a:lnTo>
                    <a:pt x="344" y="350"/>
                  </a:lnTo>
                  <a:close/>
                  <a:moveTo>
                    <a:pt x="322" y="366"/>
                  </a:moveTo>
                  <a:lnTo>
                    <a:pt x="322" y="370"/>
                  </a:lnTo>
                  <a:lnTo>
                    <a:pt x="318" y="370"/>
                  </a:lnTo>
                  <a:lnTo>
                    <a:pt x="318" y="366"/>
                  </a:lnTo>
                  <a:lnTo>
                    <a:pt x="322" y="366"/>
                  </a:lnTo>
                  <a:lnTo>
                    <a:pt x="322" y="366"/>
                  </a:lnTo>
                  <a:lnTo>
                    <a:pt x="322" y="366"/>
                  </a:lnTo>
                  <a:close/>
                  <a:moveTo>
                    <a:pt x="634" y="366"/>
                  </a:moveTo>
                  <a:lnTo>
                    <a:pt x="634" y="370"/>
                  </a:lnTo>
                  <a:lnTo>
                    <a:pt x="634" y="366"/>
                  </a:lnTo>
                  <a:lnTo>
                    <a:pt x="634" y="366"/>
                  </a:lnTo>
                  <a:lnTo>
                    <a:pt x="634" y="366"/>
                  </a:lnTo>
                  <a:close/>
                  <a:moveTo>
                    <a:pt x="1472" y="678"/>
                  </a:moveTo>
                  <a:lnTo>
                    <a:pt x="1472" y="682"/>
                  </a:lnTo>
                  <a:lnTo>
                    <a:pt x="1470" y="682"/>
                  </a:lnTo>
                  <a:lnTo>
                    <a:pt x="1470" y="678"/>
                  </a:lnTo>
                  <a:lnTo>
                    <a:pt x="1472" y="678"/>
                  </a:lnTo>
                  <a:lnTo>
                    <a:pt x="1472" y="678"/>
                  </a:lnTo>
                  <a:lnTo>
                    <a:pt x="1472" y="678"/>
                  </a:lnTo>
                  <a:close/>
                  <a:moveTo>
                    <a:pt x="1450" y="784"/>
                  </a:moveTo>
                  <a:lnTo>
                    <a:pt x="1450" y="780"/>
                  </a:lnTo>
                  <a:lnTo>
                    <a:pt x="1454" y="780"/>
                  </a:lnTo>
                  <a:lnTo>
                    <a:pt x="1454" y="776"/>
                  </a:lnTo>
                  <a:lnTo>
                    <a:pt x="1450" y="772"/>
                  </a:lnTo>
                  <a:lnTo>
                    <a:pt x="1454" y="772"/>
                  </a:lnTo>
                  <a:lnTo>
                    <a:pt x="1454" y="776"/>
                  </a:lnTo>
                  <a:lnTo>
                    <a:pt x="1454" y="780"/>
                  </a:lnTo>
                  <a:lnTo>
                    <a:pt x="1450" y="784"/>
                  </a:lnTo>
                  <a:lnTo>
                    <a:pt x="1450" y="784"/>
                  </a:lnTo>
                  <a:lnTo>
                    <a:pt x="1450" y="784"/>
                  </a:lnTo>
                  <a:close/>
                  <a:moveTo>
                    <a:pt x="1380" y="910"/>
                  </a:moveTo>
                  <a:lnTo>
                    <a:pt x="1380" y="906"/>
                  </a:lnTo>
                  <a:lnTo>
                    <a:pt x="1380" y="910"/>
                  </a:lnTo>
                  <a:lnTo>
                    <a:pt x="1380" y="910"/>
                  </a:lnTo>
                  <a:lnTo>
                    <a:pt x="1380" y="910"/>
                  </a:lnTo>
                  <a:close/>
                  <a:moveTo>
                    <a:pt x="1384" y="918"/>
                  </a:moveTo>
                  <a:lnTo>
                    <a:pt x="1384" y="922"/>
                  </a:lnTo>
                  <a:lnTo>
                    <a:pt x="1384" y="926"/>
                  </a:lnTo>
                  <a:lnTo>
                    <a:pt x="1386" y="930"/>
                  </a:lnTo>
                  <a:lnTo>
                    <a:pt x="1386" y="932"/>
                  </a:lnTo>
                  <a:lnTo>
                    <a:pt x="1386" y="930"/>
                  </a:lnTo>
                  <a:lnTo>
                    <a:pt x="1384" y="926"/>
                  </a:lnTo>
                  <a:lnTo>
                    <a:pt x="1384" y="922"/>
                  </a:lnTo>
                  <a:lnTo>
                    <a:pt x="1384" y="918"/>
                  </a:lnTo>
                  <a:lnTo>
                    <a:pt x="1384" y="918"/>
                  </a:lnTo>
                  <a:lnTo>
                    <a:pt x="1384" y="918"/>
                  </a:lnTo>
                  <a:close/>
                  <a:moveTo>
                    <a:pt x="1144" y="926"/>
                  </a:moveTo>
                  <a:lnTo>
                    <a:pt x="1144" y="930"/>
                  </a:lnTo>
                  <a:lnTo>
                    <a:pt x="1142" y="930"/>
                  </a:lnTo>
                  <a:lnTo>
                    <a:pt x="1144" y="926"/>
                  </a:lnTo>
                  <a:lnTo>
                    <a:pt x="1144" y="922"/>
                  </a:lnTo>
                  <a:lnTo>
                    <a:pt x="1148" y="918"/>
                  </a:lnTo>
                  <a:lnTo>
                    <a:pt x="1148" y="922"/>
                  </a:lnTo>
                  <a:lnTo>
                    <a:pt x="1144" y="922"/>
                  </a:lnTo>
                  <a:lnTo>
                    <a:pt x="1144" y="926"/>
                  </a:lnTo>
                  <a:lnTo>
                    <a:pt x="1144" y="926"/>
                  </a:lnTo>
                  <a:lnTo>
                    <a:pt x="1144" y="926"/>
                  </a:lnTo>
                  <a:close/>
                  <a:moveTo>
                    <a:pt x="1144" y="940"/>
                  </a:moveTo>
                  <a:lnTo>
                    <a:pt x="1144" y="936"/>
                  </a:lnTo>
                  <a:lnTo>
                    <a:pt x="1142" y="936"/>
                  </a:lnTo>
                  <a:lnTo>
                    <a:pt x="1142" y="932"/>
                  </a:lnTo>
                  <a:lnTo>
                    <a:pt x="1142" y="930"/>
                  </a:lnTo>
                  <a:lnTo>
                    <a:pt x="1142" y="932"/>
                  </a:lnTo>
                  <a:lnTo>
                    <a:pt x="1144" y="936"/>
                  </a:lnTo>
                  <a:lnTo>
                    <a:pt x="1144" y="940"/>
                  </a:lnTo>
                  <a:lnTo>
                    <a:pt x="1144" y="944"/>
                  </a:lnTo>
                  <a:lnTo>
                    <a:pt x="1144" y="948"/>
                  </a:lnTo>
                  <a:lnTo>
                    <a:pt x="1144" y="952"/>
                  </a:lnTo>
                  <a:lnTo>
                    <a:pt x="1144" y="948"/>
                  </a:lnTo>
                  <a:lnTo>
                    <a:pt x="1144" y="944"/>
                  </a:lnTo>
                  <a:lnTo>
                    <a:pt x="1144" y="940"/>
                  </a:lnTo>
                  <a:lnTo>
                    <a:pt x="1144" y="940"/>
                  </a:lnTo>
                  <a:lnTo>
                    <a:pt x="1144" y="940"/>
                  </a:lnTo>
                  <a:close/>
                  <a:moveTo>
                    <a:pt x="132" y="202"/>
                  </a:moveTo>
                  <a:lnTo>
                    <a:pt x="128" y="202"/>
                  </a:lnTo>
                  <a:lnTo>
                    <a:pt x="124" y="202"/>
                  </a:lnTo>
                  <a:lnTo>
                    <a:pt x="120" y="206"/>
                  </a:lnTo>
                  <a:lnTo>
                    <a:pt x="120" y="202"/>
                  </a:lnTo>
                  <a:lnTo>
                    <a:pt x="116" y="202"/>
                  </a:lnTo>
                  <a:lnTo>
                    <a:pt x="112" y="202"/>
                  </a:lnTo>
                  <a:lnTo>
                    <a:pt x="112" y="198"/>
                  </a:lnTo>
                  <a:lnTo>
                    <a:pt x="110" y="194"/>
                  </a:lnTo>
                  <a:lnTo>
                    <a:pt x="106" y="194"/>
                  </a:lnTo>
                  <a:lnTo>
                    <a:pt x="102" y="194"/>
                  </a:lnTo>
                  <a:lnTo>
                    <a:pt x="106" y="194"/>
                  </a:lnTo>
                  <a:lnTo>
                    <a:pt x="110" y="194"/>
                  </a:lnTo>
                  <a:lnTo>
                    <a:pt x="110" y="198"/>
                  </a:lnTo>
                  <a:lnTo>
                    <a:pt x="112" y="198"/>
                  </a:lnTo>
                  <a:lnTo>
                    <a:pt x="110" y="198"/>
                  </a:lnTo>
                  <a:lnTo>
                    <a:pt x="106" y="194"/>
                  </a:lnTo>
                  <a:lnTo>
                    <a:pt x="102" y="194"/>
                  </a:lnTo>
                  <a:lnTo>
                    <a:pt x="98" y="194"/>
                  </a:lnTo>
                  <a:lnTo>
                    <a:pt x="98" y="198"/>
                  </a:lnTo>
                  <a:lnTo>
                    <a:pt x="94" y="198"/>
                  </a:lnTo>
                  <a:lnTo>
                    <a:pt x="90" y="198"/>
                  </a:lnTo>
                  <a:lnTo>
                    <a:pt x="90" y="194"/>
                  </a:lnTo>
                  <a:lnTo>
                    <a:pt x="90" y="192"/>
                  </a:lnTo>
                  <a:lnTo>
                    <a:pt x="90" y="188"/>
                  </a:lnTo>
                  <a:lnTo>
                    <a:pt x="94" y="188"/>
                  </a:lnTo>
                  <a:lnTo>
                    <a:pt x="94" y="192"/>
                  </a:lnTo>
                  <a:lnTo>
                    <a:pt x="98" y="192"/>
                  </a:lnTo>
                  <a:lnTo>
                    <a:pt x="102" y="192"/>
                  </a:lnTo>
                  <a:lnTo>
                    <a:pt x="106" y="192"/>
                  </a:lnTo>
                  <a:lnTo>
                    <a:pt x="110" y="188"/>
                  </a:lnTo>
                  <a:lnTo>
                    <a:pt x="112" y="188"/>
                  </a:lnTo>
                  <a:lnTo>
                    <a:pt x="112" y="192"/>
                  </a:lnTo>
                  <a:lnTo>
                    <a:pt x="116" y="192"/>
                  </a:lnTo>
                  <a:lnTo>
                    <a:pt x="116" y="194"/>
                  </a:lnTo>
                  <a:lnTo>
                    <a:pt x="120" y="194"/>
                  </a:lnTo>
                  <a:lnTo>
                    <a:pt x="124" y="194"/>
                  </a:lnTo>
                  <a:lnTo>
                    <a:pt x="124" y="198"/>
                  </a:lnTo>
                  <a:lnTo>
                    <a:pt x="128" y="198"/>
                  </a:lnTo>
                  <a:lnTo>
                    <a:pt x="132" y="198"/>
                  </a:lnTo>
                  <a:lnTo>
                    <a:pt x="136" y="198"/>
                  </a:lnTo>
                  <a:lnTo>
                    <a:pt x="132" y="202"/>
                  </a:lnTo>
                  <a:lnTo>
                    <a:pt x="132" y="202"/>
                  </a:lnTo>
                  <a:lnTo>
                    <a:pt x="132" y="202"/>
                  </a:lnTo>
                  <a:close/>
                  <a:moveTo>
                    <a:pt x="426" y="254"/>
                  </a:moveTo>
                  <a:lnTo>
                    <a:pt x="430" y="254"/>
                  </a:lnTo>
                  <a:lnTo>
                    <a:pt x="426" y="258"/>
                  </a:lnTo>
                  <a:lnTo>
                    <a:pt x="426" y="254"/>
                  </a:lnTo>
                  <a:lnTo>
                    <a:pt x="426" y="254"/>
                  </a:lnTo>
                  <a:lnTo>
                    <a:pt x="426" y="254"/>
                  </a:lnTo>
                  <a:close/>
                  <a:moveTo>
                    <a:pt x="460" y="262"/>
                  </a:moveTo>
                  <a:lnTo>
                    <a:pt x="456" y="262"/>
                  </a:lnTo>
                  <a:lnTo>
                    <a:pt x="452" y="266"/>
                  </a:lnTo>
                  <a:lnTo>
                    <a:pt x="452" y="262"/>
                  </a:lnTo>
                  <a:lnTo>
                    <a:pt x="456" y="262"/>
                  </a:lnTo>
                  <a:lnTo>
                    <a:pt x="460" y="262"/>
                  </a:lnTo>
                  <a:lnTo>
                    <a:pt x="460" y="262"/>
                  </a:lnTo>
                  <a:lnTo>
                    <a:pt x="460" y="262"/>
                  </a:lnTo>
                  <a:close/>
                  <a:moveTo>
                    <a:pt x="456" y="266"/>
                  </a:moveTo>
                  <a:lnTo>
                    <a:pt x="452" y="266"/>
                  </a:lnTo>
                  <a:lnTo>
                    <a:pt x="448" y="266"/>
                  </a:lnTo>
                  <a:lnTo>
                    <a:pt x="448" y="268"/>
                  </a:lnTo>
                  <a:lnTo>
                    <a:pt x="444" y="268"/>
                  </a:lnTo>
                  <a:lnTo>
                    <a:pt x="448" y="268"/>
                  </a:lnTo>
                  <a:lnTo>
                    <a:pt x="448" y="266"/>
                  </a:lnTo>
                  <a:lnTo>
                    <a:pt x="444" y="266"/>
                  </a:lnTo>
                  <a:lnTo>
                    <a:pt x="448" y="266"/>
                  </a:lnTo>
                  <a:lnTo>
                    <a:pt x="448" y="262"/>
                  </a:lnTo>
                  <a:lnTo>
                    <a:pt x="448" y="266"/>
                  </a:lnTo>
                  <a:lnTo>
                    <a:pt x="452" y="266"/>
                  </a:lnTo>
                  <a:lnTo>
                    <a:pt x="456" y="266"/>
                  </a:lnTo>
                  <a:lnTo>
                    <a:pt x="456" y="266"/>
                  </a:lnTo>
                  <a:lnTo>
                    <a:pt x="456" y="266"/>
                  </a:lnTo>
                  <a:close/>
                  <a:moveTo>
                    <a:pt x="172" y="266"/>
                  </a:moveTo>
                  <a:lnTo>
                    <a:pt x="176" y="266"/>
                  </a:lnTo>
                  <a:lnTo>
                    <a:pt x="176" y="268"/>
                  </a:lnTo>
                  <a:lnTo>
                    <a:pt x="176" y="272"/>
                  </a:lnTo>
                  <a:lnTo>
                    <a:pt x="180" y="276"/>
                  </a:lnTo>
                  <a:lnTo>
                    <a:pt x="176" y="276"/>
                  </a:lnTo>
                  <a:lnTo>
                    <a:pt x="172" y="276"/>
                  </a:lnTo>
                  <a:lnTo>
                    <a:pt x="168" y="276"/>
                  </a:lnTo>
                  <a:lnTo>
                    <a:pt x="168" y="280"/>
                  </a:lnTo>
                  <a:lnTo>
                    <a:pt x="172" y="280"/>
                  </a:lnTo>
                  <a:lnTo>
                    <a:pt x="168" y="280"/>
                  </a:lnTo>
                  <a:lnTo>
                    <a:pt x="166" y="276"/>
                  </a:lnTo>
                  <a:lnTo>
                    <a:pt x="158" y="276"/>
                  </a:lnTo>
                  <a:lnTo>
                    <a:pt x="158" y="272"/>
                  </a:lnTo>
                  <a:lnTo>
                    <a:pt x="154" y="272"/>
                  </a:lnTo>
                  <a:lnTo>
                    <a:pt x="154" y="268"/>
                  </a:lnTo>
                  <a:lnTo>
                    <a:pt x="158" y="268"/>
                  </a:lnTo>
                  <a:lnTo>
                    <a:pt x="162" y="268"/>
                  </a:lnTo>
                  <a:lnTo>
                    <a:pt x="162" y="266"/>
                  </a:lnTo>
                  <a:lnTo>
                    <a:pt x="166" y="266"/>
                  </a:lnTo>
                  <a:lnTo>
                    <a:pt x="168" y="266"/>
                  </a:lnTo>
                  <a:lnTo>
                    <a:pt x="172" y="266"/>
                  </a:lnTo>
                  <a:lnTo>
                    <a:pt x="172" y="266"/>
                  </a:lnTo>
                  <a:lnTo>
                    <a:pt x="172" y="266"/>
                  </a:lnTo>
                  <a:close/>
                  <a:moveTo>
                    <a:pt x="440" y="268"/>
                  </a:moveTo>
                  <a:lnTo>
                    <a:pt x="436" y="268"/>
                  </a:lnTo>
                  <a:lnTo>
                    <a:pt x="436" y="272"/>
                  </a:lnTo>
                  <a:lnTo>
                    <a:pt x="434" y="276"/>
                  </a:lnTo>
                  <a:lnTo>
                    <a:pt x="430" y="280"/>
                  </a:lnTo>
                  <a:lnTo>
                    <a:pt x="430" y="276"/>
                  </a:lnTo>
                  <a:lnTo>
                    <a:pt x="434" y="272"/>
                  </a:lnTo>
                  <a:lnTo>
                    <a:pt x="436" y="272"/>
                  </a:lnTo>
                  <a:lnTo>
                    <a:pt x="436" y="268"/>
                  </a:lnTo>
                  <a:lnTo>
                    <a:pt x="436" y="266"/>
                  </a:lnTo>
                  <a:lnTo>
                    <a:pt x="440" y="266"/>
                  </a:lnTo>
                  <a:lnTo>
                    <a:pt x="440" y="268"/>
                  </a:lnTo>
                  <a:lnTo>
                    <a:pt x="440" y="268"/>
                  </a:lnTo>
                  <a:lnTo>
                    <a:pt x="440" y="268"/>
                  </a:lnTo>
                  <a:close/>
                  <a:moveTo>
                    <a:pt x="430" y="272"/>
                  </a:moveTo>
                  <a:lnTo>
                    <a:pt x="426" y="272"/>
                  </a:lnTo>
                  <a:lnTo>
                    <a:pt x="430" y="268"/>
                  </a:lnTo>
                  <a:lnTo>
                    <a:pt x="430" y="272"/>
                  </a:lnTo>
                  <a:lnTo>
                    <a:pt x="430" y="272"/>
                  </a:lnTo>
                  <a:lnTo>
                    <a:pt x="430" y="272"/>
                  </a:lnTo>
                  <a:close/>
                  <a:moveTo>
                    <a:pt x="430" y="272"/>
                  </a:moveTo>
                  <a:lnTo>
                    <a:pt x="430" y="276"/>
                  </a:lnTo>
                  <a:lnTo>
                    <a:pt x="426" y="276"/>
                  </a:lnTo>
                  <a:lnTo>
                    <a:pt x="426" y="272"/>
                  </a:lnTo>
                  <a:lnTo>
                    <a:pt x="430" y="272"/>
                  </a:lnTo>
                  <a:lnTo>
                    <a:pt x="430" y="272"/>
                  </a:lnTo>
                  <a:lnTo>
                    <a:pt x="430" y="272"/>
                  </a:lnTo>
                  <a:close/>
                  <a:moveTo>
                    <a:pt x="350" y="288"/>
                  </a:moveTo>
                  <a:lnTo>
                    <a:pt x="350" y="292"/>
                  </a:lnTo>
                  <a:lnTo>
                    <a:pt x="348" y="292"/>
                  </a:lnTo>
                  <a:lnTo>
                    <a:pt x="348" y="288"/>
                  </a:lnTo>
                  <a:lnTo>
                    <a:pt x="350" y="288"/>
                  </a:lnTo>
                  <a:lnTo>
                    <a:pt x="350" y="288"/>
                  </a:lnTo>
                  <a:lnTo>
                    <a:pt x="350" y="288"/>
                  </a:lnTo>
                  <a:close/>
                  <a:moveTo>
                    <a:pt x="388" y="288"/>
                  </a:moveTo>
                  <a:lnTo>
                    <a:pt x="388" y="292"/>
                  </a:lnTo>
                  <a:lnTo>
                    <a:pt x="388" y="288"/>
                  </a:lnTo>
                  <a:lnTo>
                    <a:pt x="388" y="288"/>
                  </a:lnTo>
                  <a:lnTo>
                    <a:pt x="388" y="288"/>
                  </a:lnTo>
                  <a:close/>
                  <a:moveTo>
                    <a:pt x="366" y="306"/>
                  </a:moveTo>
                  <a:lnTo>
                    <a:pt x="362" y="310"/>
                  </a:lnTo>
                  <a:lnTo>
                    <a:pt x="362" y="306"/>
                  </a:lnTo>
                  <a:lnTo>
                    <a:pt x="366" y="306"/>
                  </a:lnTo>
                  <a:lnTo>
                    <a:pt x="366" y="306"/>
                  </a:lnTo>
                  <a:lnTo>
                    <a:pt x="366" y="306"/>
                  </a:lnTo>
                  <a:close/>
                  <a:moveTo>
                    <a:pt x="362" y="318"/>
                  </a:moveTo>
                  <a:lnTo>
                    <a:pt x="358" y="322"/>
                  </a:lnTo>
                  <a:lnTo>
                    <a:pt x="358" y="318"/>
                  </a:lnTo>
                  <a:lnTo>
                    <a:pt x="354" y="318"/>
                  </a:lnTo>
                  <a:lnTo>
                    <a:pt x="354" y="314"/>
                  </a:lnTo>
                  <a:lnTo>
                    <a:pt x="358" y="318"/>
                  </a:lnTo>
                  <a:lnTo>
                    <a:pt x="358" y="314"/>
                  </a:lnTo>
                  <a:lnTo>
                    <a:pt x="354" y="314"/>
                  </a:lnTo>
                  <a:lnTo>
                    <a:pt x="358" y="314"/>
                  </a:lnTo>
                  <a:lnTo>
                    <a:pt x="358" y="310"/>
                  </a:lnTo>
                  <a:lnTo>
                    <a:pt x="362" y="310"/>
                  </a:lnTo>
                  <a:lnTo>
                    <a:pt x="366" y="310"/>
                  </a:lnTo>
                  <a:lnTo>
                    <a:pt x="370" y="310"/>
                  </a:lnTo>
                  <a:lnTo>
                    <a:pt x="370" y="314"/>
                  </a:lnTo>
                  <a:lnTo>
                    <a:pt x="370" y="318"/>
                  </a:lnTo>
                  <a:lnTo>
                    <a:pt x="366" y="314"/>
                  </a:lnTo>
                  <a:lnTo>
                    <a:pt x="366" y="318"/>
                  </a:lnTo>
                  <a:lnTo>
                    <a:pt x="362" y="318"/>
                  </a:lnTo>
                  <a:lnTo>
                    <a:pt x="362" y="318"/>
                  </a:lnTo>
                  <a:lnTo>
                    <a:pt x="362" y="318"/>
                  </a:lnTo>
                  <a:close/>
                  <a:moveTo>
                    <a:pt x="626" y="332"/>
                  </a:moveTo>
                  <a:lnTo>
                    <a:pt x="622" y="332"/>
                  </a:lnTo>
                  <a:lnTo>
                    <a:pt x="626" y="332"/>
                  </a:lnTo>
                  <a:lnTo>
                    <a:pt x="626" y="336"/>
                  </a:lnTo>
                  <a:lnTo>
                    <a:pt x="622" y="336"/>
                  </a:lnTo>
                  <a:lnTo>
                    <a:pt x="622" y="332"/>
                  </a:lnTo>
                  <a:lnTo>
                    <a:pt x="622" y="336"/>
                  </a:lnTo>
                  <a:lnTo>
                    <a:pt x="620" y="340"/>
                  </a:lnTo>
                  <a:lnTo>
                    <a:pt x="616" y="340"/>
                  </a:lnTo>
                  <a:lnTo>
                    <a:pt x="616" y="336"/>
                  </a:lnTo>
                  <a:lnTo>
                    <a:pt x="620" y="332"/>
                  </a:lnTo>
                  <a:lnTo>
                    <a:pt x="620" y="336"/>
                  </a:lnTo>
                  <a:lnTo>
                    <a:pt x="620" y="332"/>
                  </a:lnTo>
                  <a:lnTo>
                    <a:pt x="616" y="332"/>
                  </a:lnTo>
                  <a:lnTo>
                    <a:pt x="620" y="332"/>
                  </a:lnTo>
                  <a:lnTo>
                    <a:pt x="620" y="328"/>
                  </a:lnTo>
                  <a:lnTo>
                    <a:pt x="616" y="328"/>
                  </a:lnTo>
                  <a:lnTo>
                    <a:pt x="616" y="324"/>
                  </a:lnTo>
                  <a:lnTo>
                    <a:pt x="616" y="318"/>
                  </a:lnTo>
                  <a:lnTo>
                    <a:pt x="612" y="314"/>
                  </a:lnTo>
                  <a:lnTo>
                    <a:pt x="612" y="310"/>
                  </a:lnTo>
                  <a:lnTo>
                    <a:pt x="612" y="314"/>
                  </a:lnTo>
                  <a:lnTo>
                    <a:pt x="616" y="314"/>
                  </a:lnTo>
                  <a:lnTo>
                    <a:pt x="616" y="318"/>
                  </a:lnTo>
                  <a:lnTo>
                    <a:pt x="616" y="314"/>
                  </a:lnTo>
                  <a:lnTo>
                    <a:pt x="620" y="314"/>
                  </a:lnTo>
                  <a:lnTo>
                    <a:pt x="620" y="318"/>
                  </a:lnTo>
                  <a:lnTo>
                    <a:pt x="622" y="318"/>
                  </a:lnTo>
                  <a:lnTo>
                    <a:pt x="622" y="322"/>
                  </a:lnTo>
                  <a:lnTo>
                    <a:pt x="626" y="324"/>
                  </a:lnTo>
                  <a:lnTo>
                    <a:pt x="626" y="328"/>
                  </a:lnTo>
                  <a:lnTo>
                    <a:pt x="626" y="324"/>
                  </a:lnTo>
                  <a:lnTo>
                    <a:pt x="622" y="324"/>
                  </a:lnTo>
                  <a:lnTo>
                    <a:pt x="622" y="322"/>
                  </a:lnTo>
                  <a:lnTo>
                    <a:pt x="622" y="318"/>
                  </a:lnTo>
                  <a:lnTo>
                    <a:pt x="620" y="318"/>
                  </a:lnTo>
                  <a:lnTo>
                    <a:pt x="620" y="322"/>
                  </a:lnTo>
                  <a:lnTo>
                    <a:pt x="622" y="322"/>
                  </a:lnTo>
                  <a:lnTo>
                    <a:pt x="622" y="324"/>
                  </a:lnTo>
                  <a:lnTo>
                    <a:pt x="622" y="328"/>
                  </a:lnTo>
                  <a:lnTo>
                    <a:pt x="626" y="328"/>
                  </a:lnTo>
                  <a:lnTo>
                    <a:pt x="626" y="332"/>
                  </a:lnTo>
                  <a:lnTo>
                    <a:pt x="626" y="332"/>
                  </a:lnTo>
                  <a:lnTo>
                    <a:pt x="626" y="332"/>
                  </a:lnTo>
                  <a:close/>
                  <a:moveTo>
                    <a:pt x="594" y="324"/>
                  </a:moveTo>
                  <a:lnTo>
                    <a:pt x="590" y="324"/>
                  </a:lnTo>
                  <a:lnTo>
                    <a:pt x="594" y="322"/>
                  </a:lnTo>
                  <a:lnTo>
                    <a:pt x="598" y="322"/>
                  </a:lnTo>
                  <a:lnTo>
                    <a:pt x="594" y="322"/>
                  </a:lnTo>
                  <a:lnTo>
                    <a:pt x="590" y="318"/>
                  </a:lnTo>
                  <a:lnTo>
                    <a:pt x="594" y="314"/>
                  </a:lnTo>
                  <a:lnTo>
                    <a:pt x="594" y="318"/>
                  </a:lnTo>
                  <a:lnTo>
                    <a:pt x="594" y="314"/>
                  </a:lnTo>
                  <a:lnTo>
                    <a:pt x="598" y="314"/>
                  </a:lnTo>
                  <a:lnTo>
                    <a:pt x="602" y="314"/>
                  </a:lnTo>
                  <a:lnTo>
                    <a:pt x="606" y="314"/>
                  </a:lnTo>
                  <a:lnTo>
                    <a:pt x="606" y="318"/>
                  </a:lnTo>
                  <a:lnTo>
                    <a:pt x="602" y="318"/>
                  </a:lnTo>
                  <a:lnTo>
                    <a:pt x="602" y="322"/>
                  </a:lnTo>
                  <a:lnTo>
                    <a:pt x="606" y="322"/>
                  </a:lnTo>
                  <a:lnTo>
                    <a:pt x="606" y="318"/>
                  </a:lnTo>
                  <a:lnTo>
                    <a:pt x="608" y="318"/>
                  </a:lnTo>
                  <a:lnTo>
                    <a:pt x="612" y="318"/>
                  </a:lnTo>
                  <a:lnTo>
                    <a:pt x="612" y="322"/>
                  </a:lnTo>
                  <a:lnTo>
                    <a:pt x="608" y="322"/>
                  </a:lnTo>
                  <a:lnTo>
                    <a:pt x="612" y="322"/>
                  </a:lnTo>
                  <a:lnTo>
                    <a:pt x="612" y="324"/>
                  </a:lnTo>
                  <a:lnTo>
                    <a:pt x="608" y="324"/>
                  </a:lnTo>
                  <a:lnTo>
                    <a:pt x="606" y="324"/>
                  </a:lnTo>
                  <a:lnTo>
                    <a:pt x="606" y="322"/>
                  </a:lnTo>
                  <a:lnTo>
                    <a:pt x="602" y="322"/>
                  </a:lnTo>
                  <a:lnTo>
                    <a:pt x="598" y="322"/>
                  </a:lnTo>
                  <a:lnTo>
                    <a:pt x="602" y="322"/>
                  </a:lnTo>
                  <a:lnTo>
                    <a:pt x="606" y="322"/>
                  </a:lnTo>
                  <a:lnTo>
                    <a:pt x="606" y="324"/>
                  </a:lnTo>
                  <a:lnTo>
                    <a:pt x="608" y="324"/>
                  </a:lnTo>
                  <a:lnTo>
                    <a:pt x="612" y="324"/>
                  </a:lnTo>
                  <a:lnTo>
                    <a:pt x="612" y="328"/>
                  </a:lnTo>
                  <a:lnTo>
                    <a:pt x="612" y="332"/>
                  </a:lnTo>
                  <a:lnTo>
                    <a:pt x="608" y="332"/>
                  </a:lnTo>
                  <a:lnTo>
                    <a:pt x="608" y="328"/>
                  </a:lnTo>
                  <a:lnTo>
                    <a:pt x="606" y="328"/>
                  </a:lnTo>
                  <a:lnTo>
                    <a:pt x="606" y="324"/>
                  </a:lnTo>
                  <a:lnTo>
                    <a:pt x="602" y="324"/>
                  </a:lnTo>
                  <a:lnTo>
                    <a:pt x="602" y="328"/>
                  </a:lnTo>
                  <a:lnTo>
                    <a:pt x="606" y="328"/>
                  </a:lnTo>
                  <a:lnTo>
                    <a:pt x="606" y="332"/>
                  </a:lnTo>
                  <a:lnTo>
                    <a:pt x="602" y="332"/>
                  </a:lnTo>
                  <a:lnTo>
                    <a:pt x="598" y="332"/>
                  </a:lnTo>
                  <a:lnTo>
                    <a:pt x="598" y="328"/>
                  </a:lnTo>
                  <a:lnTo>
                    <a:pt x="598" y="332"/>
                  </a:lnTo>
                  <a:lnTo>
                    <a:pt x="602" y="332"/>
                  </a:lnTo>
                  <a:lnTo>
                    <a:pt x="598" y="328"/>
                  </a:lnTo>
                  <a:lnTo>
                    <a:pt x="594" y="324"/>
                  </a:lnTo>
                  <a:lnTo>
                    <a:pt x="594" y="324"/>
                  </a:lnTo>
                  <a:lnTo>
                    <a:pt x="594" y="324"/>
                  </a:lnTo>
                  <a:close/>
                  <a:moveTo>
                    <a:pt x="350" y="318"/>
                  </a:moveTo>
                  <a:lnTo>
                    <a:pt x="354" y="318"/>
                  </a:lnTo>
                  <a:lnTo>
                    <a:pt x="358" y="318"/>
                  </a:lnTo>
                  <a:lnTo>
                    <a:pt x="358" y="322"/>
                  </a:lnTo>
                  <a:lnTo>
                    <a:pt x="354" y="322"/>
                  </a:lnTo>
                  <a:lnTo>
                    <a:pt x="354" y="318"/>
                  </a:lnTo>
                  <a:lnTo>
                    <a:pt x="350" y="318"/>
                  </a:lnTo>
                  <a:lnTo>
                    <a:pt x="350" y="318"/>
                  </a:lnTo>
                  <a:lnTo>
                    <a:pt x="350" y="318"/>
                  </a:lnTo>
                  <a:close/>
                  <a:moveTo>
                    <a:pt x="590" y="318"/>
                  </a:moveTo>
                  <a:lnTo>
                    <a:pt x="594" y="318"/>
                  </a:lnTo>
                  <a:lnTo>
                    <a:pt x="594" y="322"/>
                  </a:lnTo>
                  <a:lnTo>
                    <a:pt x="590" y="322"/>
                  </a:lnTo>
                  <a:lnTo>
                    <a:pt x="590" y="318"/>
                  </a:lnTo>
                  <a:lnTo>
                    <a:pt x="590" y="318"/>
                  </a:lnTo>
                  <a:lnTo>
                    <a:pt x="590" y="318"/>
                  </a:lnTo>
                  <a:close/>
                  <a:moveTo>
                    <a:pt x="348" y="328"/>
                  </a:moveTo>
                  <a:lnTo>
                    <a:pt x="348" y="324"/>
                  </a:lnTo>
                  <a:lnTo>
                    <a:pt x="344" y="324"/>
                  </a:lnTo>
                  <a:lnTo>
                    <a:pt x="348" y="322"/>
                  </a:lnTo>
                  <a:lnTo>
                    <a:pt x="348" y="324"/>
                  </a:lnTo>
                  <a:lnTo>
                    <a:pt x="348" y="328"/>
                  </a:lnTo>
                  <a:lnTo>
                    <a:pt x="350" y="324"/>
                  </a:lnTo>
                  <a:lnTo>
                    <a:pt x="350" y="322"/>
                  </a:lnTo>
                  <a:lnTo>
                    <a:pt x="354" y="324"/>
                  </a:lnTo>
                  <a:lnTo>
                    <a:pt x="354" y="322"/>
                  </a:lnTo>
                  <a:lnTo>
                    <a:pt x="354" y="324"/>
                  </a:lnTo>
                  <a:lnTo>
                    <a:pt x="354" y="322"/>
                  </a:lnTo>
                  <a:lnTo>
                    <a:pt x="350" y="322"/>
                  </a:lnTo>
                  <a:lnTo>
                    <a:pt x="354" y="322"/>
                  </a:lnTo>
                  <a:lnTo>
                    <a:pt x="358" y="322"/>
                  </a:lnTo>
                  <a:lnTo>
                    <a:pt x="358" y="324"/>
                  </a:lnTo>
                  <a:lnTo>
                    <a:pt x="358" y="322"/>
                  </a:lnTo>
                  <a:lnTo>
                    <a:pt x="362" y="322"/>
                  </a:lnTo>
                  <a:lnTo>
                    <a:pt x="366" y="322"/>
                  </a:lnTo>
                  <a:lnTo>
                    <a:pt x="366" y="324"/>
                  </a:lnTo>
                  <a:lnTo>
                    <a:pt x="362" y="324"/>
                  </a:lnTo>
                  <a:lnTo>
                    <a:pt x="366" y="328"/>
                  </a:lnTo>
                  <a:lnTo>
                    <a:pt x="370" y="328"/>
                  </a:lnTo>
                  <a:lnTo>
                    <a:pt x="366" y="328"/>
                  </a:lnTo>
                  <a:lnTo>
                    <a:pt x="366" y="332"/>
                  </a:lnTo>
                  <a:lnTo>
                    <a:pt x="362" y="332"/>
                  </a:lnTo>
                  <a:lnTo>
                    <a:pt x="358" y="328"/>
                  </a:lnTo>
                  <a:lnTo>
                    <a:pt x="354" y="332"/>
                  </a:lnTo>
                  <a:lnTo>
                    <a:pt x="358" y="332"/>
                  </a:lnTo>
                  <a:lnTo>
                    <a:pt x="362" y="332"/>
                  </a:lnTo>
                  <a:lnTo>
                    <a:pt x="362" y="336"/>
                  </a:lnTo>
                  <a:lnTo>
                    <a:pt x="358" y="336"/>
                  </a:lnTo>
                  <a:lnTo>
                    <a:pt x="354" y="332"/>
                  </a:lnTo>
                  <a:lnTo>
                    <a:pt x="354" y="336"/>
                  </a:lnTo>
                  <a:lnTo>
                    <a:pt x="358" y="336"/>
                  </a:lnTo>
                  <a:lnTo>
                    <a:pt x="354" y="336"/>
                  </a:lnTo>
                  <a:lnTo>
                    <a:pt x="350" y="336"/>
                  </a:lnTo>
                  <a:lnTo>
                    <a:pt x="350" y="340"/>
                  </a:lnTo>
                  <a:lnTo>
                    <a:pt x="348" y="340"/>
                  </a:lnTo>
                  <a:lnTo>
                    <a:pt x="348" y="344"/>
                  </a:lnTo>
                  <a:lnTo>
                    <a:pt x="344" y="344"/>
                  </a:lnTo>
                  <a:lnTo>
                    <a:pt x="344" y="348"/>
                  </a:lnTo>
                  <a:lnTo>
                    <a:pt x="340" y="348"/>
                  </a:lnTo>
                  <a:lnTo>
                    <a:pt x="340" y="344"/>
                  </a:lnTo>
                  <a:lnTo>
                    <a:pt x="344" y="344"/>
                  </a:lnTo>
                  <a:lnTo>
                    <a:pt x="344" y="340"/>
                  </a:lnTo>
                  <a:lnTo>
                    <a:pt x="344" y="344"/>
                  </a:lnTo>
                  <a:lnTo>
                    <a:pt x="344" y="340"/>
                  </a:lnTo>
                  <a:lnTo>
                    <a:pt x="348" y="340"/>
                  </a:lnTo>
                  <a:lnTo>
                    <a:pt x="344" y="340"/>
                  </a:lnTo>
                  <a:lnTo>
                    <a:pt x="340" y="340"/>
                  </a:lnTo>
                  <a:lnTo>
                    <a:pt x="340" y="344"/>
                  </a:lnTo>
                  <a:lnTo>
                    <a:pt x="340" y="340"/>
                  </a:lnTo>
                  <a:lnTo>
                    <a:pt x="344" y="340"/>
                  </a:lnTo>
                  <a:lnTo>
                    <a:pt x="340" y="340"/>
                  </a:lnTo>
                  <a:lnTo>
                    <a:pt x="336" y="340"/>
                  </a:lnTo>
                  <a:lnTo>
                    <a:pt x="340" y="340"/>
                  </a:lnTo>
                  <a:lnTo>
                    <a:pt x="340" y="344"/>
                  </a:lnTo>
                  <a:lnTo>
                    <a:pt x="336" y="344"/>
                  </a:lnTo>
                  <a:lnTo>
                    <a:pt x="336" y="340"/>
                  </a:lnTo>
                  <a:lnTo>
                    <a:pt x="336" y="336"/>
                  </a:lnTo>
                  <a:lnTo>
                    <a:pt x="332" y="336"/>
                  </a:lnTo>
                  <a:lnTo>
                    <a:pt x="332" y="332"/>
                  </a:lnTo>
                  <a:lnTo>
                    <a:pt x="332" y="328"/>
                  </a:lnTo>
                  <a:lnTo>
                    <a:pt x="336" y="328"/>
                  </a:lnTo>
                  <a:lnTo>
                    <a:pt x="340" y="328"/>
                  </a:lnTo>
                  <a:lnTo>
                    <a:pt x="344" y="328"/>
                  </a:lnTo>
                  <a:lnTo>
                    <a:pt x="344" y="332"/>
                  </a:lnTo>
                  <a:lnTo>
                    <a:pt x="344" y="336"/>
                  </a:lnTo>
                  <a:lnTo>
                    <a:pt x="348" y="336"/>
                  </a:lnTo>
                  <a:lnTo>
                    <a:pt x="344" y="332"/>
                  </a:lnTo>
                  <a:lnTo>
                    <a:pt x="344" y="328"/>
                  </a:lnTo>
                  <a:lnTo>
                    <a:pt x="348" y="328"/>
                  </a:lnTo>
                  <a:lnTo>
                    <a:pt x="348" y="328"/>
                  </a:lnTo>
                  <a:lnTo>
                    <a:pt x="348" y="328"/>
                  </a:lnTo>
                  <a:close/>
                  <a:moveTo>
                    <a:pt x="350" y="322"/>
                  </a:moveTo>
                  <a:lnTo>
                    <a:pt x="354" y="322"/>
                  </a:lnTo>
                  <a:lnTo>
                    <a:pt x="354" y="324"/>
                  </a:lnTo>
                  <a:lnTo>
                    <a:pt x="350" y="324"/>
                  </a:lnTo>
                  <a:lnTo>
                    <a:pt x="350" y="322"/>
                  </a:lnTo>
                  <a:lnTo>
                    <a:pt x="348" y="322"/>
                  </a:lnTo>
                  <a:lnTo>
                    <a:pt x="350" y="322"/>
                  </a:lnTo>
                  <a:lnTo>
                    <a:pt x="350" y="322"/>
                  </a:lnTo>
                  <a:lnTo>
                    <a:pt x="350" y="322"/>
                  </a:lnTo>
                  <a:close/>
                  <a:moveTo>
                    <a:pt x="616" y="350"/>
                  </a:moveTo>
                  <a:lnTo>
                    <a:pt x="616" y="354"/>
                  </a:lnTo>
                  <a:lnTo>
                    <a:pt x="616" y="358"/>
                  </a:lnTo>
                  <a:lnTo>
                    <a:pt x="612" y="354"/>
                  </a:lnTo>
                  <a:lnTo>
                    <a:pt x="612" y="350"/>
                  </a:lnTo>
                  <a:lnTo>
                    <a:pt x="612" y="348"/>
                  </a:lnTo>
                  <a:lnTo>
                    <a:pt x="608" y="350"/>
                  </a:lnTo>
                  <a:lnTo>
                    <a:pt x="608" y="348"/>
                  </a:lnTo>
                  <a:lnTo>
                    <a:pt x="606" y="344"/>
                  </a:lnTo>
                  <a:lnTo>
                    <a:pt x="606" y="340"/>
                  </a:lnTo>
                  <a:lnTo>
                    <a:pt x="606" y="336"/>
                  </a:lnTo>
                  <a:lnTo>
                    <a:pt x="602" y="336"/>
                  </a:lnTo>
                  <a:lnTo>
                    <a:pt x="602" y="332"/>
                  </a:lnTo>
                  <a:lnTo>
                    <a:pt x="606" y="332"/>
                  </a:lnTo>
                  <a:lnTo>
                    <a:pt x="606" y="328"/>
                  </a:lnTo>
                  <a:lnTo>
                    <a:pt x="608" y="332"/>
                  </a:lnTo>
                  <a:lnTo>
                    <a:pt x="612" y="332"/>
                  </a:lnTo>
                  <a:lnTo>
                    <a:pt x="612" y="336"/>
                  </a:lnTo>
                  <a:lnTo>
                    <a:pt x="616" y="340"/>
                  </a:lnTo>
                  <a:lnTo>
                    <a:pt x="616" y="344"/>
                  </a:lnTo>
                  <a:lnTo>
                    <a:pt x="616" y="348"/>
                  </a:lnTo>
                  <a:lnTo>
                    <a:pt x="616" y="350"/>
                  </a:lnTo>
                  <a:lnTo>
                    <a:pt x="616" y="350"/>
                  </a:lnTo>
                  <a:lnTo>
                    <a:pt x="616" y="350"/>
                  </a:lnTo>
                  <a:close/>
                  <a:moveTo>
                    <a:pt x="612" y="332"/>
                  </a:moveTo>
                  <a:lnTo>
                    <a:pt x="616" y="332"/>
                  </a:lnTo>
                  <a:lnTo>
                    <a:pt x="612" y="336"/>
                  </a:lnTo>
                  <a:lnTo>
                    <a:pt x="612" y="332"/>
                  </a:lnTo>
                  <a:lnTo>
                    <a:pt x="612" y="332"/>
                  </a:lnTo>
                  <a:lnTo>
                    <a:pt x="612" y="332"/>
                  </a:lnTo>
                  <a:close/>
                  <a:moveTo>
                    <a:pt x="602" y="336"/>
                  </a:moveTo>
                  <a:lnTo>
                    <a:pt x="606" y="336"/>
                  </a:lnTo>
                  <a:lnTo>
                    <a:pt x="606" y="340"/>
                  </a:lnTo>
                  <a:lnTo>
                    <a:pt x="602" y="340"/>
                  </a:lnTo>
                  <a:lnTo>
                    <a:pt x="602" y="344"/>
                  </a:lnTo>
                  <a:lnTo>
                    <a:pt x="602" y="340"/>
                  </a:lnTo>
                  <a:lnTo>
                    <a:pt x="602" y="336"/>
                  </a:lnTo>
                  <a:lnTo>
                    <a:pt x="598" y="336"/>
                  </a:lnTo>
                  <a:lnTo>
                    <a:pt x="602" y="336"/>
                  </a:lnTo>
                  <a:lnTo>
                    <a:pt x="602" y="336"/>
                  </a:lnTo>
                  <a:lnTo>
                    <a:pt x="602" y="336"/>
                  </a:lnTo>
                  <a:close/>
                  <a:moveTo>
                    <a:pt x="358" y="340"/>
                  </a:moveTo>
                  <a:lnTo>
                    <a:pt x="354" y="340"/>
                  </a:lnTo>
                  <a:lnTo>
                    <a:pt x="350" y="340"/>
                  </a:lnTo>
                  <a:lnTo>
                    <a:pt x="350" y="344"/>
                  </a:lnTo>
                  <a:lnTo>
                    <a:pt x="350" y="340"/>
                  </a:lnTo>
                  <a:lnTo>
                    <a:pt x="350" y="336"/>
                  </a:lnTo>
                  <a:lnTo>
                    <a:pt x="354" y="336"/>
                  </a:lnTo>
                  <a:lnTo>
                    <a:pt x="358" y="336"/>
                  </a:lnTo>
                  <a:lnTo>
                    <a:pt x="358" y="340"/>
                  </a:lnTo>
                  <a:lnTo>
                    <a:pt x="358" y="340"/>
                  </a:lnTo>
                  <a:lnTo>
                    <a:pt x="358" y="340"/>
                  </a:lnTo>
                  <a:close/>
                  <a:moveTo>
                    <a:pt x="638" y="344"/>
                  </a:moveTo>
                  <a:lnTo>
                    <a:pt x="642" y="344"/>
                  </a:lnTo>
                  <a:lnTo>
                    <a:pt x="638" y="348"/>
                  </a:lnTo>
                  <a:lnTo>
                    <a:pt x="642" y="350"/>
                  </a:lnTo>
                  <a:lnTo>
                    <a:pt x="638" y="350"/>
                  </a:lnTo>
                  <a:lnTo>
                    <a:pt x="638" y="348"/>
                  </a:lnTo>
                  <a:lnTo>
                    <a:pt x="634" y="348"/>
                  </a:lnTo>
                  <a:lnTo>
                    <a:pt x="634" y="344"/>
                  </a:lnTo>
                  <a:lnTo>
                    <a:pt x="634" y="348"/>
                  </a:lnTo>
                  <a:lnTo>
                    <a:pt x="638" y="350"/>
                  </a:lnTo>
                  <a:lnTo>
                    <a:pt x="638" y="354"/>
                  </a:lnTo>
                  <a:lnTo>
                    <a:pt x="634" y="354"/>
                  </a:lnTo>
                  <a:lnTo>
                    <a:pt x="630" y="354"/>
                  </a:lnTo>
                  <a:lnTo>
                    <a:pt x="630" y="350"/>
                  </a:lnTo>
                  <a:lnTo>
                    <a:pt x="630" y="348"/>
                  </a:lnTo>
                  <a:lnTo>
                    <a:pt x="626" y="348"/>
                  </a:lnTo>
                  <a:lnTo>
                    <a:pt x="626" y="344"/>
                  </a:lnTo>
                  <a:lnTo>
                    <a:pt x="622" y="340"/>
                  </a:lnTo>
                  <a:lnTo>
                    <a:pt x="626" y="340"/>
                  </a:lnTo>
                  <a:lnTo>
                    <a:pt x="630" y="340"/>
                  </a:lnTo>
                  <a:lnTo>
                    <a:pt x="634" y="340"/>
                  </a:lnTo>
                  <a:lnTo>
                    <a:pt x="634" y="344"/>
                  </a:lnTo>
                  <a:lnTo>
                    <a:pt x="638" y="340"/>
                  </a:lnTo>
                  <a:lnTo>
                    <a:pt x="638" y="344"/>
                  </a:lnTo>
                  <a:lnTo>
                    <a:pt x="638" y="344"/>
                  </a:lnTo>
                  <a:lnTo>
                    <a:pt x="638" y="344"/>
                  </a:lnTo>
                  <a:close/>
                  <a:moveTo>
                    <a:pt x="626" y="358"/>
                  </a:moveTo>
                  <a:lnTo>
                    <a:pt x="626" y="354"/>
                  </a:lnTo>
                  <a:lnTo>
                    <a:pt x="626" y="358"/>
                  </a:lnTo>
                  <a:lnTo>
                    <a:pt x="626" y="362"/>
                  </a:lnTo>
                  <a:lnTo>
                    <a:pt x="622" y="362"/>
                  </a:lnTo>
                  <a:lnTo>
                    <a:pt x="622" y="358"/>
                  </a:lnTo>
                  <a:lnTo>
                    <a:pt x="622" y="362"/>
                  </a:lnTo>
                  <a:lnTo>
                    <a:pt x="620" y="358"/>
                  </a:lnTo>
                  <a:lnTo>
                    <a:pt x="622" y="358"/>
                  </a:lnTo>
                  <a:lnTo>
                    <a:pt x="620" y="354"/>
                  </a:lnTo>
                  <a:lnTo>
                    <a:pt x="622" y="354"/>
                  </a:lnTo>
                  <a:lnTo>
                    <a:pt x="622" y="350"/>
                  </a:lnTo>
                  <a:lnTo>
                    <a:pt x="620" y="350"/>
                  </a:lnTo>
                  <a:lnTo>
                    <a:pt x="620" y="348"/>
                  </a:lnTo>
                  <a:lnTo>
                    <a:pt x="620" y="344"/>
                  </a:lnTo>
                  <a:lnTo>
                    <a:pt x="622" y="344"/>
                  </a:lnTo>
                  <a:lnTo>
                    <a:pt x="620" y="344"/>
                  </a:lnTo>
                  <a:lnTo>
                    <a:pt x="622" y="344"/>
                  </a:lnTo>
                  <a:lnTo>
                    <a:pt x="626" y="344"/>
                  </a:lnTo>
                  <a:lnTo>
                    <a:pt x="626" y="348"/>
                  </a:lnTo>
                  <a:lnTo>
                    <a:pt x="626" y="350"/>
                  </a:lnTo>
                  <a:lnTo>
                    <a:pt x="622" y="350"/>
                  </a:lnTo>
                  <a:lnTo>
                    <a:pt x="626" y="350"/>
                  </a:lnTo>
                  <a:lnTo>
                    <a:pt x="626" y="348"/>
                  </a:lnTo>
                  <a:lnTo>
                    <a:pt x="630" y="348"/>
                  </a:lnTo>
                  <a:lnTo>
                    <a:pt x="630" y="350"/>
                  </a:lnTo>
                  <a:lnTo>
                    <a:pt x="626" y="350"/>
                  </a:lnTo>
                  <a:lnTo>
                    <a:pt x="626" y="354"/>
                  </a:lnTo>
                  <a:lnTo>
                    <a:pt x="626" y="358"/>
                  </a:lnTo>
                  <a:lnTo>
                    <a:pt x="626" y="358"/>
                  </a:lnTo>
                  <a:lnTo>
                    <a:pt x="626" y="358"/>
                  </a:lnTo>
                  <a:close/>
                  <a:moveTo>
                    <a:pt x="642" y="348"/>
                  </a:moveTo>
                  <a:lnTo>
                    <a:pt x="646" y="348"/>
                  </a:lnTo>
                  <a:lnTo>
                    <a:pt x="646" y="350"/>
                  </a:lnTo>
                  <a:lnTo>
                    <a:pt x="642" y="350"/>
                  </a:lnTo>
                  <a:lnTo>
                    <a:pt x="638" y="350"/>
                  </a:lnTo>
                  <a:lnTo>
                    <a:pt x="642" y="350"/>
                  </a:lnTo>
                  <a:lnTo>
                    <a:pt x="642" y="348"/>
                  </a:lnTo>
                  <a:lnTo>
                    <a:pt x="642" y="348"/>
                  </a:lnTo>
                  <a:lnTo>
                    <a:pt x="642" y="348"/>
                  </a:lnTo>
                  <a:close/>
                  <a:moveTo>
                    <a:pt x="336" y="350"/>
                  </a:moveTo>
                  <a:lnTo>
                    <a:pt x="332" y="354"/>
                  </a:lnTo>
                  <a:lnTo>
                    <a:pt x="332" y="350"/>
                  </a:lnTo>
                  <a:lnTo>
                    <a:pt x="336" y="350"/>
                  </a:lnTo>
                  <a:lnTo>
                    <a:pt x="336" y="350"/>
                  </a:lnTo>
                  <a:lnTo>
                    <a:pt x="336" y="350"/>
                  </a:lnTo>
                  <a:close/>
                  <a:moveTo>
                    <a:pt x="294" y="350"/>
                  </a:moveTo>
                  <a:lnTo>
                    <a:pt x="298" y="350"/>
                  </a:lnTo>
                  <a:lnTo>
                    <a:pt x="294" y="350"/>
                  </a:lnTo>
                  <a:lnTo>
                    <a:pt x="294" y="350"/>
                  </a:lnTo>
                  <a:lnTo>
                    <a:pt x="294" y="350"/>
                  </a:lnTo>
                  <a:close/>
                  <a:moveTo>
                    <a:pt x="652" y="362"/>
                  </a:moveTo>
                  <a:lnTo>
                    <a:pt x="652" y="358"/>
                  </a:lnTo>
                  <a:lnTo>
                    <a:pt x="648" y="358"/>
                  </a:lnTo>
                  <a:lnTo>
                    <a:pt x="648" y="354"/>
                  </a:lnTo>
                  <a:lnTo>
                    <a:pt x="652" y="354"/>
                  </a:lnTo>
                  <a:lnTo>
                    <a:pt x="652" y="358"/>
                  </a:lnTo>
                  <a:lnTo>
                    <a:pt x="652" y="362"/>
                  </a:lnTo>
                  <a:lnTo>
                    <a:pt x="652" y="362"/>
                  </a:lnTo>
                  <a:lnTo>
                    <a:pt x="652" y="362"/>
                  </a:lnTo>
                  <a:close/>
                  <a:moveTo>
                    <a:pt x="642" y="358"/>
                  </a:moveTo>
                  <a:lnTo>
                    <a:pt x="638" y="354"/>
                  </a:lnTo>
                  <a:lnTo>
                    <a:pt x="642" y="354"/>
                  </a:lnTo>
                  <a:lnTo>
                    <a:pt x="646" y="354"/>
                  </a:lnTo>
                  <a:lnTo>
                    <a:pt x="646" y="358"/>
                  </a:lnTo>
                  <a:lnTo>
                    <a:pt x="642" y="358"/>
                  </a:lnTo>
                  <a:lnTo>
                    <a:pt x="642" y="358"/>
                  </a:lnTo>
                  <a:lnTo>
                    <a:pt x="642" y="358"/>
                  </a:lnTo>
                  <a:close/>
                  <a:moveTo>
                    <a:pt x="648" y="366"/>
                  </a:moveTo>
                  <a:lnTo>
                    <a:pt x="646" y="366"/>
                  </a:lnTo>
                  <a:lnTo>
                    <a:pt x="648" y="362"/>
                  </a:lnTo>
                  <a:lnTo>
                    <a:pt x="646" y="362"/>
                  </a:lnTo>
                  <a:lnTo>
                    <a:pt x="642" y="362"/>
                  </a:lnTo>
                  <a:lnTo>
                    <a:pt x="642" y="358"/>
                  </a:lnTo>
                  <a:lnTo>
                    <a:pt x="646" y="358"/>
                  </a:lnTo>
                  <a:lnTo>
                    <a:pt x="646" y="354"/>
                  </a:lnTo>
                  <a:lnTo>
                    <a:pt x="648" y="354"/>
                  </a:lnTo>
                  <a:lnTo>
                    <a:pt x="648" y="358"/>
                  </a:lnTo>
                  <a:lnTo>
                    <a:pt x="652" y="362"/>
                  </a:lnTo>
                  <a:lnTo>
                    <a:pt x="652" y="366"/>
                  </a:lnTo>
                  <a:lnTo>
                    <a:pt x="648" y="366"/>
                  </a:lnTo>
                  <a:lnTo>
                    <a:pt x="648" y="366"/>
                  </a:lnTo>
                  <a:lnTo>
                    <a:pt x="648" y="366"/>
                  </a:lnTo>
                  <a:close/>
                  <a:moveTo>
                    <a:pt x="648" y="378"/>
                  </a:moveTo>
                  <a:lnTo>
                    <a:pt x="648" y="374"/>
                  </a:lnTo>
                  <a:lnTo>
                    <a:pt x="646" y="374"/>
                  </a:lnTo>
                  <a:lnTo>
                    <a:pt x="648" y="378"/>
                  </a:lnTo>
                  <a:lnTo>
                    <a:pt x="652" y="380"/>
                  </a:lnTo>
                  <a:lnTo>
                    <a:pt x="648" y="380"/>
                  </a:lnTo>
                  <a:lnTo>
                    <a:pt x="652" y="380"/>
                  </a:lnTo>
                  <a:lnTo>
                    <a:pt x="652" y="384"/>
                  </a:lnTo>
                  <a:lnTo>
                    <a:pt x="648" y="384"/>
                  </a:lnTo>
                  <a:lnTo>
                    <a:pt x="652" y="384"/>
                  </a:lnTo>
                  <a:lnTo>
                    <a:pt x="652" y="388"/>
                  </a:lnTo>
                  <a:lnTo>
                    <a:pt x="652" y="392"/>
                  </a:lnTo>
                  <a:lnTo>
                    <a:pt x="648" y="392"/>
                  </a:lnTo>
                  <a:lnTo>
                    <a:pt x="648" y="388"/>
                  </a:lnTo>
                  <a:lnTo>
                    <a:pt x="646" y="384"/>
                  </a:lnTo>
                  <a:lnTo>
                    <a:pt x="646" y="388"/>
                  </a:lnTo>
                  <a:lnTo>
                    <a:pt x="646" y="384"/>
                  </a:lnTo>
                  <a:lnTo>
                    <a:pt x="646" y="380"/>
                  </a:lnTo>
                  <a:lnTo>
                    <a:pt x="642" y="380"/>
                  </a:lnTo>
                  <a:lnTo>
                    <a:pt x="638" y="380"/>
                  </a:lnTo>
                  <a:lnTo>
                    <a:pt x="642" y="380"/>
                  </a:lnTo>
                  <a:lnTo>
                    <a:pt x="638" y="380"/>
                  </a:lnTo>
                  <a:lnTo>
                    <a:pt x="634" y="380"/>
                  </a:lnTo>
                  <a:lnTo>
                    <a:pt x="634" y="378"/>
                  </a:lnTo>
                  <a:lnTo>
                    <a:pt x="638" y="378"/>
                  </a:lnTo>
                  <a:lnTo>
                    <a:pt x="642" y="378"/>
                  </a:lnTo>
                  <a:lnTo>
                    <a:pt x="638" y="378"/>
                  </a:lnTo>
                  <a:lnTo>
                    <a:pt x="638" y="374"/>
                  </a:lnTo>
                  <a:lnTo>
                    <a:pt x="642" y="374"/>
                  </a:lnTo>
                  <a:lnTo>
                    <a:pt x="638" y="374"/>
                  </a:lnTo>
                  <a:lnTo>
                    <a:pt x="634" y="374"/>
                  </a:lnTo>
                  <a:lnTo>
                    <a:pt x="634" y="370"/>
                  </a:lnTo>
                  <a:lnTo>
                    <a:pt x="638" y="366"/>
                  </a:lnTo>
                  <a:lnTo>
                    <a:pt x="634" y="366"/>
                  </a:lnTo>
                  <a:lnTo>
                    <a:pt x="634" y="358"/>
                  </a:lnTo>
                  <a:lnTo>
                    <a:pt x="630" y="358"/>
                  </a:lnTo>
                  <a:lnTo>
                    <a:pt x="630" y="354"/>
                  </a:lnTo>
                  <a:lnTo>
                    <a:pt x="634" y="354"/>
                  </a:lnTo>
                  <a:lnTo>
                    <a:pt x="638" y="354"/>
                  </a:lnTo>
                  <a:lnTo>
                    <a:pt x="638" y="358"/>
                  </a:lnTo>
                  <a:lnTo>
                    <a:pt x="638" y="362"/>
                  </a:lnTo>
                  <a:lnTo>
                    <a:pt x="642" y="362"/>
                  </a:lnTo>
                  <a:lnTo>
                    <a:pt x="646" y="366"/>
                  </a:lnTo>
                  <a:lnTo>
                    <a:pt x="646" y="370"/>
                  </a:lnTo>
                  <a:lnTo>
                    <a:pt x="648" y="370"/>
                  </a:lnTo>
                  <a:lnTo>
                    <a:pt x="648" y="374"/>
                  </a:lnTo>
                  <a:lnTo>
                    <a:pt x="652" y="374"/>
                  </a:lnTo>
                  <a:lnTo>
                    <a:pt x="652" y="378"/>
                  </a:lnTo>
                  <a:lnTo>
                    <a:pt x="648" y="378"/>
                  </a:lnTo>
                  <a:lnTo>
                    <a:pt x="648" y="378"/>
                  </a:lnTo>
                  <a:lnTo>
                    <a:pt x="648" y="378"/>
                  </a:lnTo>
                  <a:close/>
                  <a:moveTo>
                    <a:pt x="634" y="362"/>
                  </a:moveTo>
                  <a:lnTo>
                    <a:pt x="630" y="366"/>
                  </a:lnTo>
                  <a:lnTo>
                    <a:pt x="626" y="366"/>
                  </a:lnTo>
                  <a:lnTo>
                    <a:pt x="630" y="362"/>
                  </a:lnTo>
                  <a:lnTo>
                    <a:pt x="634" y="358"/>
                  </a:lnTo>
                  <a:lnTo>
                    <a:pt x="634" y="362"/>
                  </a:lnTo>
                  <a:lnTo>
                    <a:pt x="634" y="362"/>
                  </a:lnTo>
                  <a:lnTo>
                    <a:pt x="634" y="362"/>
                  </a:lnTo>
                  <a:close/>
                  <a:moveTo>
                    <a:pt x="660" y="380"/>
                  </a:moveTo>
                  <a:lnTo>
                    <a:pt x="660" y="378"/>
                  </a:lnTo>
                  <a:lnTo>
                    <a:pt x="664" y="378"/>
                  </a:lnTo>
                  <a:lnTo>
                    <a:pt x="664" y="374"/>
                  </a:lnTo>
                  <a:lnTo>
                    <a:pt x="664" y="370"/>
                  </a:lnTo>
                  <a:lnTo>
                    <a:pt x="660" y="374"/>
                  </a:lnTo>
                  <a:lnTo>
                    <a:pt x="664" y="374"/>
                  </a:lnTo>
                  <a:lnTo>
                    <a:pt x="664" y="378"/>
                  </a:lnTo>
                  <a:lnTo>
                    <a:pt x="660" y="378"/>
                  </a:lnTo>
                  <a:lnTo>
                    <a:pt x="660" y="374"/>
                  </a:lnTo>
                  <a:lnTo>
                    <a:pt x="660" y="378"/>
                  </a:lnTo>
                  <a:lnTo>
                    <a:pt x="660" y="380"/>
                  </a:lnTo>
                  <a:lnTo>
                    <a:pt x="656" y="378"/>
                  </a:lnTo>
                  <a:lnTo>
                    <a:pt x="656" y="374"/>
                  </a:lnTo>
                  <a:lnTo>
                    <a:pt x="656" y="370"/>
                  </a:lnTo>
                  <a:lnTo>
                    <a:pt x="660" y="370"/>
                  </a:lnTo>
                  <a:lnTo>
                    <a:pt x="656" y="370"/>
                  </a:lnTo>
                  <a:lnTo>
                    <a:pt x="656" y="366"/>
                  </a:lnTo>
                  <a:lnTo>
                    <a:pt x="660" y="366"/>
                  </a:lnTo>
                  <a:lnTo>
                    <a:pt x="664" y="366"/>
                  </a:lnTo>
                  <a:lnTo>
                    <a:pt x="668" y="366"/>
                  </a:lnTo>
                  <a:lnTo>
                    <a:pt x="668" y="370"/>
                  </a:lnTo>
                  <a:lnTo>
                    <a:pt x="668" y="374"/>
                  </a:lnTo>
                  <a:lnTo>
                    <a:pt x="668" y="378"/>
                  </a:lnTo>
                  <a:lnTo>
                    <a:pt x="668" y="380"/>
                  </a:lnTo>
                  <a:lnTo>
                    <a:pt x="664" y="380"/>
                  </a:lnTo>
                  <a:lnTo>
                    <a:pt x="664" y="378"/>
                  </a:lnTo>
                  <a:lnTo>
                    <a:pt x="664" y="380"/>
                  </a:lnTo>
                  <a:lnTo>
                    <a:pt x="660" y="380"/>
                  </a:lnTo>
                  <a:lnTo>
                    <a:pt x="660" y="380"/>
                  </a:lnTo>
                  <a:lnTo>
                    <a:pt x="660" y="380"/>
                  </a:lnTo>
                  <a:close/>
                  <a:moveTo>
                    <a:pt x="622" y="366"/>
                  </a:moveTo>
                  <a:lnTo>
                    <a:pt x="620" y="366"/>
                  </a:lnTo>
                  <a:lnTo>
                    <a:pt x="622" y="366"/>
                  </a:lnTo>
                  <a:lnTo>
                    <a:pt x="622" y="366"/>
                  </a:lnTo>
                  <a:lnTo>
                    <a:pt x="622" y="366"/>
                  </a:lnTo>
                  <a:close/>
                  <a:moveTo>
                    <a:pt x="274" y="366"/>
                  </a:moveTo>
                  <a:lnTo>
                    <a:pt x="278" y="366"/>
                  </a:lnTo>
                  <a:lnTo>
                    <a:pt x="274" y="370"/>
                  </a:lnTo>
                  <a:lnTo>
                    <a:pt x="274" y="366"/>
                  </a:lnTo>
                  <a:lnTo>
                    <a:pt x="274" y="366"/>
                  </a:lnTo>
                  <a:lnTo>
                    <a:pt x="274" y="366"/>
                  </a:lnTo>
                  <a:close/>
                  <a:moveTo>
                    <a:pt x="634" y="370"/>
                  </a:moveTo>
                  <a:lnTo>
                    <a:pt x="630" y="370"/>
                  </a:lnTo>
                  <a:lnTo>
                    <a:pt x="630" y="366"/>
                  </a:lnTo>
                  <a:lnTo>
                    <a:pt x="634" y="370"/>
                  </a:lnTo>
                  <a:lnTo>
                    <a:pt x="634" y="370"/>
                  </a:lnTo>
                  <a:lnTo>
                    <a:pt x="634" y="370"/>
                  </a:lnTo>
                  <a:close/>
                  <a:moveTo>
                    <a:pt x="634" y="374"/>
                  </a:moveTo>
                  <a:lnTo>
                    <a:pt x="634" y="378"/>
                  </a:lnTo>
                  <a:lnTo>
                    <a:pt x="634" y="374"/>
                  </a:lnTo>
                  <a:lnTo>
                    <a:pt x="634" y="374"/>
                  </a:lnTo>
                  <a:lnTo>
                    <a:pt x="634" y="374"/>
                  </a:lnTo>
                  <a:close/>
                  <a:moveTo>
                    <a:pt x="630" y="378"/>
                  </a:moveTo>
                  <a:lnTo>
                    <a:pt x="626" y="378"/>
                  </a:lnTo>
                  <a:lnTo>
                    <a:pt x="626" y="374"/>
                  </a:lnTo>
                  <a:lnTo>
                    <a:pt x="630" y="374"/>
                  </a:lnTo>
                  <a:lnTo>
                    <a:pt x="630" y="378"/>
                  </a:lnTo>
                  <a:lnTo>
                    <a:pt x="630" y="378"/>
                  </a:lnTo>
                  <a:lnTo>
                    <a:pt x="630" y="378"/>
                  </a:lnTo>
                  <a:close/>
                  <a:moveTo>
                    <a:pt x="630" y="374"/>
                  </a:moveTo>
                  <a:lnTo>
                    <a:pt x="634" y="374"/>
                  </a:lnTo>
                  <a:lnTo>
                    <a:pt x="634" y="378"/>
                  </a:lnTo>
                  <a:lnTo>
                    <a:pt x="630" y="378"/>
                  </a:lnTo>
                  <a:lnTo>
                    <a:pt x="630" y="374"/>
                  </a:lnTo>
                  <a:lnTo>
                    <a:pt x="630" y="374"/>
                  </a:lnTo>
                  <a:lnTo>
                    <a:pt x="630" y="374"/>
                  </a:lnTo>
                  <a:close/>
                  <a:moveTo>
                    <a:pt x="634" y="378"/>
                  </a:moveTo>
                  <a:lnTo>
                    <a:pt x="630" y="378"/>
                  </a:lnTo>
                  <a:lnTo>
                    <a:pt x="630" y="380"/>
                  </a:lnTo>
                  <a:lnTo>
                    <a:pt x="630" y="378"/>
                  </a:lnTo>
                  <a:lnTo>
                    <a:pt x="634" y="378"/>
                  </a:lnTo>
                  <a:lnTo>
                    <a:pt x="634" y="378"/>
                  </a:lnTo>
                  <a:lnTo>
                    <a:pt x="634" y="378"/>
                  </a:lnTo>
                  <a:close/>
                  <a:moveTo>
                    <a:pt x="656" y="378"/>
                  </a:moveTo>
                  <a:lnTo>
                    <a:pt x="660" y="380"/>
                  </a:lnTo>
                  <a:lnTo>
                    <a:pt x="656" y="380"/>
                  </a:lnTo>
                  <a:lnTo>
                    <a:pt x="656" y="378"/>
                  </a:lnTo>
                  <a:lnTo>
                    <a:pt x="656" y="378"/>
                  </a:lnTo>
                  <a:lnTo>
                    <a:pt x="656" y="378"/>
                  </a:lnTo>
                  <a:close/>
                  <a:moveTo>
                    <a:pt x="248" y="378"/>
                  </a:moveTo>
                  <a:lnTo>
                    <a:pt x="250" y="378"/>
                  </a:lnTo>
                  <a:lnTo>
                    <a:pt x="250" y="380"/>
                  </a:lnTo>
                  <a:lnTo>
                    <a:pt x="248" y="380"/>
                  </a:lnTo>
                  <a:lnTo>
                    <a:pt x="248" y="384"/>
                  </a:lnTo>
                  <a:lnTo>
                    <a:pt x="248" y="380"/>
                  </a:lnTo>
                  <a:lnTo>
                    <a:pt x="248" y="378"/>
                  </a:lnTo>
                  <a:lnTo>
                    <a:pt x="248" y="378"/>
                  </a:lnTo>
                  <a:lnTo>
                    <a:pt x="248" y="378"/>
                  </a:lnTo>
                  <a:close/>
                  <a:moveTo>
                    <a:pt x="254" y="378"/>
                  </a:moveTo>
                  <a:lnTo>
                    <a:pt x="254" y="380"/>
                  </a:lnTo>
                  <a:lnTo>
                    <a:pt x="250" y="380"/>
                  </a:lnTo>
                  <a:lnTo>
                    <a:pt x="250" y="378"/>
                  </a:lnTo>
                  <a:lnTo>
                    <a:pt x="254" y="378"/>
                  </a:lnTo>
                  <a:lnTo>
                    <a:pt x="254" y="378"/>
                  </a:lnTo>
                  <a:lnTo>
                    <a:pt x="254" y="378"/>
                  </a:lnTo>
                  <a:close/>
                  <a:moveTo>
                    <a:pt x="634" y="378"/>
                  </a:moveTo>
                  <a:lnTo>
                    <a:pt x="634" y="380"/>
                  </a:lnTo>
                  <a:lnTo>
                    <a:pt x="634" y="378"/>
                  </a:lnTo>
                  <a:lnTo>
                    <a:pt x="634" y="378"/>
                  </a:lnTo>
                  <a:lnTo>
                    <a:pt x="634" y="378"/>
                  </a:lnTo>
                  <a:close/>
                  <a:moveTo>
                    <a:pt x="258" y="380"/>
                  </a:moveTo>
                  <a:lnTo>
                    <a:pt x="258" y="384"/>
                  </a:lnTo>
                  <a:lnTo>
                    <a:pt x="254" y="384"/>
                  </a:lnTo>
                  <a:lnTo>
                    <a:pt x="254" y="388"/>
                  </a:lnTo>
                  <a:lnTo>
                    <a:pt x="254" y="384"/>
                  </a:lnTo>
                  <a:lnTo>
                    <a:pt x="254" y="380"/>
                  </a:lnTo>
                  <a:lnTo>
                    <a:pt x="258" y="380"/>
                  </a:lnTo>
                  <a:lnTo>
                    <a:pt x="258" y="384"/>
                  </a:lnTo>
                  <a:lnTo>
                    <a:pt x="258" y="380"/>
                  </a:lnTo>
                  <a:lnTo>
                    <a:pt x="258" y="380"/>
                  </a:lnTo>
                  <a:lnTo>
                    <a:pt x="258" y="380"/>
                  </a:lnTo>
                  <a:close/>
                  <a:moveTo>
                    <a:pt x="660" y="380"/>
                  </a:moveTo>
                  <a:lnTo>
                    <a:pt x="664" y="384"/>
                  </a:lnTo>
                  <a:lnTo>
                    <a:pt x="660" y="384"/>
                  </a:lnTo>
                  <a:lnTo>
                    <a:pt x="660" y="380"/>
                  </a:lnTo>
                  <a:lnTo>
                    <a:pt x="660" y="380"/>
                  </a:lnTo>
                  <a:lnTo>
                    <a:pt x="660" y="380"/>
                  </a:lnTo>
                  <a:close/>
                  <a:moveTo>
                    <a:pt x="638" y="380"/>
                  </a:moveTo>
                  <a:lnTo>
                    <a:pt x="638" y="384"/>
                  </a:lnTo>
                  <a:lnTo>
                    <a:pt x="642" y="388"/>
                  </a:lnTo>
                  <a:lnTo>
                    <a:pt x="642" y="392"/>
                  </a:lnTo>
                  <a:lnTo>
                    <a:pt x="646" y="392"/>
                  </a:lnTo>
                  <a:lnTo>
                    <a:pt x="642" y="392"/>
                  </a:lnTo>
                  <a:lnTo>
                    <a:pt x="642" y="388"/>
                  </a:lnTo>
                  <a:lnTo>
                    <a:pt x="638" y="388"/>
                  </a:lnTo>
                  <a:lnTo>
                    <a:pt x="638" y="384"/>
                  </a:lnTo>
                  <a:lnTo>
                    <a:pt x="634" y="384"/>
                  </a:lnTo>
                  <a:lnTo>
                    <a:pt x="638" y="380"/>
                  </a:lnTo>
                  <a:lnTo>
                    <a:pt x="638" y="380"/>
                  </a:lnTo>
                  <a:lnTo>
                    <a:pt x="638" y="380"/>
                  </a:lnTo>
                  <a:close/>
                  <a:moveTo>
                    <a:pt x="266" y="380"/>
                  </a:moveTo>
                  <a:lnTo>
                    <a:pt x="266" y="384"/>
                  </a:lnTo>
                  <a:lnTo>
                    <a:pt x="262" y="384"/>
                  </a:lnTo>
                  <a:lnTo>
                    <a:pt x="266" y="380"/>
                  </a:lnTo>
                  <a:lnTo>
                    <a:pt x="266" y="380"/>
                  </a:lnTo>
                  <a:lnTo>
                    <a:pt x="266" y="380"/>
                  </a:lnTo>
                  <a:close/>
                  <a:moveTo>
                    <a:pt x="642" y="380"/>
                  </a:moveTo>
                  <a:lnTo>
                    <a:pt x="642" y="384"/>
                  </a:lnTo>
                  <a:lnTo>
                    <a:pt x="646" y="384"/>
                  </a:lnTo>
                  <a:lnTo>
                    <a:pt x="642" y="384"/>
                  </a:lnTo>
                  <a:lnTo>
                    <a:pt x="642" y="380"/>
                  </a:lnTo>
                  <a:lnTo>
                    <a:pt x="642" y="380"/>
                  </a:lnTo>
                  <a:lnTo>
                    <a:pt x="642" y="380"/>
                  </a:lnTo>
                  <a:close/>
                  <a:moveTo>
                    <a:pt x="232" y="380"/>
                  </a:moveTo>
                  <a:lnTo>
                    <a:pt x="236" y="380"/>
                  </a:lnTo>
                  <a:lnTo>
                    <a:pt x="236" y="384"/>
                  </a:lnTo>
                  <a:lnTo>
                    <a:pt x="232" y="384"/>
                  </a:lnTo>
                  <a:lnTo>
                    <a:pt x="232" y="380"/>
                  </a:lnTo>
                  <a:lnTo>
                    <a:pt x="232" y="380"/>
                  </a:lnTo>
                  <a:lnTo>
                    <a:pt x="232" y="380"/>
                  </a:lnTo>
                  <a:close/>
                  <a:moveTo>
                    <a:pt x="266" y="384"/>
                  </a:moveTo>
                  <a:lnTo>
                    <a:pt x="266" y="388"/>
                  </a:lnTo>
                  <a:lnTo>
                    <a:pt x="266" y="384"/>
                  </a:lnTo>
                  <a:lnTo>
                    <a:pt x="266" y="384"/>
                  </a:lnTo>
                  <a:lnTo>
                    <a:pt x="266" y="384"/>
                  </a:lnTo>
                  <a:close/>
                  <a:moveTo>
                    <a:pt x="198" y="396"/>
                  </a:moveTo>
                  <a:lnTo>
                    <a:pt x="194" y="396"/>
                  </a:lnTo>
                  <a:lnTo>
                    <a:pt x="194" y="400"/>
                  </a:lnTo>
                  <a:lnTo>
                    <a:pt x="192" y="400"/>
                  </a:lnTo>
                  <a:lnTo>
                    <a:pt x="188" y="400"/>
                  </a:lnTo>
                  <a:lnTo>
                    <a:pt x="188" y="396"/>
                  </a:lnTo>
                  <a:lnTo>
                    <a:pt x="188" y="392"/>
                  </a:lnTo>
                  <a:lnTo>
                    <a:pt x="192" y="392"/>
                  </a:lnTo>
                  <a:lnTo>
                    <a:pt x="194" y="388"/>
                  </a:lnTo>
                  <a:lnTo>
                    <a:pt x="198" y="388"/>
                  </a:lnTo>
                  <a:lnTo>
                    <a:pt x="202" y="384"/>
                  </a:lnTo>
                  <a:lnTo>
                    <a:pt x="206" y="384"/>
                  </a:lnTo>
                  <a:lnTo>
                    <a:pt x="210" y="388"/>
                  </a:lnTo>
                  <a:lnTo>
                    <a:pt x="210" y="392"/>
                  </a:lnTo>
                  <a:lnTo>
                    <a:pt x="214" y="392"/>
                  </a:lnTo>
                  <a:lnTo>
                    <a:pt x="210" y="392"/>
                  </a:lnTo>
                  <a:lnTo>
                    <a:pt x="206" y="392"/>
                  </a:lnTo>
                  <a:lnTo>
                    <a:pt x="206" y="396"/>
                  </a:lnTo>
                  <a:lnTo>
                    <a:pt x="206" y="392"/>
                  </a:lnTo>
                  <a:lnTo>
                    <a:pt x="202" y="392"/>
                  </a:lnTo>
                  <a:lnTo>
                    <a:pt x="198" y="392"/>
                  </a:lnTo>
                  <a:lnTo>
                    <a:pt x="198" y="396"/>
                  </a:lnTo>
                  <a:lnTo>
                    <a:pt x="198" y="396"/>
                  </a:lnTo>
                  <a:lnTo>
                    <a:pt x="198" y="396"/>
                  </a:lnTo>
                  <a:close/>
                  <a:moveTo>
                    <a:pt x="664" y="384"/>
                  </a:moveTo>
                  <a:lnTo>
                    <a:pt x="664" y="388"/>
                  </a:lnTo>
                  <a:lnTo>
                    <a:pt x="660" y="388"/>
                  </a:lnTo>
                  <a:lnTo>
                    <a:pt x="664" y="384"/>
                  </a:lnTo>
                  <a:lnTo>
                    <a:pt x="664" y="384"/>
                  </a:lnTo>
                  <a:lnTo>
                    <a:pt x="664" y="384"/>
                  </a:lnTo>
                  <a:close/>
                  <a:moveTo>
                    <a:pt x="646" y="388"/>
                  </a:moveTo>
                  <a:lnTo>
                    <a:pt x="646" y="392"/>
                  </a:lnTo>
                  <a:lnTo>
                    <a:pt x="642" y="388"/>
                  </a:lnTo>
                  <a:lnTo>
                    <a:pt x="646" y="388"/>
                  </a:lnTo>
                  <a:lnTo>
                    <a:pt x="646" y="388"/>
                  </a:lnTo>
                  <a:lnTo>
                    <a:pt x="646" y="388"/>
                  </a:lnTo>
                  <a:close/>
                  <a:moveTo>
                    <a:pt x="218" y="396"/>
                  </a:moveTo>
                  <a:lnTo>
                    <a:pt x="222" y="396"/>
                  </a:lnTo>
                  <a:lnTo>
                    <a:pt x="222" y="400"/>
                  </a:lnTo>
                  <a:lnTo>
                    <a:pt x="218" y="400"/>
                  </a:lnTo>
                  <a:lnTo>
                    <a:pt x="218" y="396"/>
                  </a:lnTo>
                  <a:lnTo>
                    <a:pt x="218" y="396"/>
                  </a:lnTo>
                  <a:lnTo>
                    <a:pt x="218" y="396"/>
                  </a:lnTo>
                  <a:close/>
                  <a:moveTo>
                    <a:pt x="180" y="404"/>
                  </a:moveTo>
                  <a:lnTo>
                    <a:pt x="176" y="404"/>
                  </a:lnTo>
                  <a:lnTo>
                    <a:pt x="176" y="400"/>
                  </a:lnTo>
                  <a:lnTo>
                    <a:pt x="180" y="400"/>
                  </a:lnTo>
                  <a:lnTo>
                    <a:pt x="180" y="404"/>
                  </a:lnTo>
                  <a:lnTo>
                    <a:pt x="180" y="404"/>
                  </a:lnTo>
                  <a:lnTo>
                    <a:pt x="180" y="404"/>
                  </a:lnTo>
                  <a:close/>
                  <a:moveTo>
                    <a:pt x="172" y="408"/>
                  </a:moveTo>
                  <a:lnTo>
                    <a:pt x="172" y="404"/>
                  </a:lnTo>
                  <a:lnTo>
                    <a:pt x="176" y="404"/>
                  </a:lnTo>
                  <a:lnTo>
                    <a:pt x="176" y="408"/>
                  </a:lnTo>
                  <a:lnTo>
                    <a:pt x="172" y="408"/>
                  </a:lnTo>
                  <a:lnTo>
                    <a:pt x="172" y="408"/>
                  </a:lnTo>
                  <a:lnTo>
                    <a:pt x="172" y="408"/>
                  </a:lnTo>
                  <a:close/>
                  <a:moveTo>
                    <a:pt x="188" y="404"/>
                  </a:moveTo>
                  <a:lnTo>
                    <a:pt x="188" y="408"/>
                  </a:lnTo>
                  <a:lnTo>
                    <a:pt x="184" y="408"/>
                  </a:lnTo>
                  <a:lnTo>
                    <a:pt x="184" y="404"/>
                  </a:lnTo>
                  <a:lnTo>
                    <a:pt x="188" y="404"/>
                  </a:lnTo>
                  <a:lnTo>
                    <a:pt x="188" y="404"/>
                  </a:lnTo>
                  <a:lnTo>
                    <a:pt x="188" y="404"/>
                  </a:lnTo>
                  <a:close/>
                  <a:moveTo>
                    <a:pt x="158" y="414"/>
                  </a:moveTo>
                  <a:lnTo>
                    <a:pt x="162" y="414"/>
                  </a:lnTo>
                  <a:lnTo>
                    <a:pt x="158" y="410"/>
                  </a:lnTo>
                  <a:lnTo>
                    <a:pt x="158" y="408"/>
                  </a:lnTo>
                  <a:lnTo>
                    <a:pt x="162" y="408"/>
                  </a:lnTo>
                  <a:lnTo>
                    <a:pt x="166" y="408"/>
                  </a:lnTo>
                  <a:lnTo>
                    <a:pt x="166" y="410"/>
                  </a:lnTo>
                  <a:lnTo>
                    <a:pt x="166" y="408"/>
                  </a:lnTo>
                  <a:lnTo>
                    <a:pt x="168" y="408"/>
                  </a:lnTo>
                  <a:lnTo>
                    <a:pt x="168" y="410"/>
                  </a:lnTo>
                  <a:lnTo>
                    <a:pt x="166" y="410"/>
                  </a:lnTo>
                  <a:lnTo>
                    <a:pt x="166" y="414"/>
                  </a:lnTo>
                  <a:lnTo>
                    <a:pt x="166" y="410"/>
                  </a:lnTo>
                  <a:lnTo>
                    <a:pt x="168" y="410"/>
                  </a:lnTo>
                  <a:lnTo>
                    <a:pt x="168" y="414"/>
                  </a:lnTo>
                  <a:lnTo>
                    <a:pt x="166" y="414"/>
                  </a:lnTo>
                  <a:lnTo>
                    <a:pt x="166" y="418"/>
                  </a:lnTo>
                  <a:lnTo>
                    <a:pt x="162" y="418"/>
                  </a:lnTo>
                  <a:lnTo>
                    <a:pt x="158" y="418"/>
                  </a:lnTo>
                  <a:lnTo>
                    <a:pt x="154" y="422"/>
                  </a:lnTo>
                  <a:lnTo>
                    <a:pt x="150" y="422"/>
                  </a:lnTo>
                  <a:lnTo>
                    <a:pt x="146" y="422"/>
                  </a:lnTo>
                  <a:lnTo>
                    <a:pt x="150" y="422"/>
                  </a:lnTo>
                  <a:lnTo>
                    <a:pt x="150" y="418"/>
                  </a:lnTo>
                  <a:lnTo>
                    <a:pt x="154" y="418"/>
                  </a:lnTo>
                  <a:lnTo>
                    <a:pt x="158" y="418"/>
                  </a:lnTo>
                  <a:lnTo>
                    <a:pt x="158" y="414"/>
                  </a:lnTo>
                  <a:lnTo>
                    <a:pt x="158" y="414"/>
                  </a:lnTo>
                  <a:lnTo>
                    <a:pt x="158" y="414"/>
                  </a:lnTo>
                  <a:close/>
                  <a:moveTo>
                    <a:pt x="168" y="414"/>
                  </a:moveTo>
                  <a:lnTo>
                    <a:pt x="168" y="410"/>
                  </a:lnTo>
                  <a:lnTo>
                    <a:pt x="172" y="410"/>
                  </a:lnTo>
                  <a:lnTo>
                    <a:pt x="168" y="414"/>
                  </a:lnTo>
                  <a:lnTo>
                    <a:pt x="168" y="414"/>
                  </a:lnTo>
                  <a:lnTo>
                    <a:pt x="168" y="414"/>
                  </a:lnTo>
                  <a:close/>
                  <a:moveTo>
                    <a:pt x="146" y="418"/>
                  </a:moveTo>
                  <a:lnTo>
                    <a:pt x="146" y="422"/>
                  </a:lnTo>
                  <a:lnTo>
                    <a:pt x="142" y="422"/>
                  </a:lnTo>
                  <a:lnTo>
                    <a:pt x="138" y="422"/>
                  </a:lnTo>
                  <a:lnTo>
                    <a:pt x="138" y="426"/>
                  </a:lnTo>
                  <a:lnTo>
                    <a:pt x="138" y="430"/>
                  </a:lnTo>
                  <a:lnTo>
                    <a:pt x="136" y="430"/>
                  </a:lnTo>
                  <a:lnTo>
                    <a:pt x="132" y="430"/>
                  </a:lnTo>
                  <a:lnTo>
                    <a:pt x="132" y="434"/>
                  </a:lnTo>
                  <a:lnTo>
                    <a:pt x="128" y="434"/>
                  </a:lnTo>
                  <a:lnTo>
                    <a:pt x="132" y="430"/>
                  </a:lnTo>
                  <a:lnTo>
                    <a:pt x="136" y="426"/>
                  </a:lnTo>
                  <a:lnTo>
                    <a:pt x="132" y="426"/>
                  </a:lnTo>
                  <a:lnTo>
                    <a:pt x="136" y="426"/>
                  </a:lnTo>
                  <a:lnTo>
                    <a:pt x="136" y="422"/>
                  </a:lnTo>
                  <a:lnTo>
                    <a:pt x="138" y="422"/>
                  </a:lnTo>
                  <a:lnTo>
                    <a:pt x="138" y="418"/>
                  </a:lnTo>
                  <a:lnTo>
                    <a:pt x="142" y="418"/>
                  </a:lnTo>
                  <a:lnTo>
                    <a:pt x="146" y="418"/>
                  </a:lnTo>
                  <a:lnTo>
                    <a:pt x="146" y="418"/>
                  </a:lnTo>
                  <a:lnTo>
                    <a:pt x="146" y="418"/>
                  </a:lnTo>
                  <a:close/>
                  <a:moveTo>
                    <a:pt x="4964" y="434"/>
                  </a:moveTo>
                  <a:lnTo>
                    <a:pt x="4964" y="430"/>
                  </a:lnTo>
                  <a:lnTo>
                    <a:pt x="4960" y="434"/>
                  </a:lnTo>
                  <a:lnTo>
                    <a:pt x="4960" y="430"/>
                  </a:lnTo>
                  <a:lnTo>
                    <a:pt x="4964" y="430"/>
                  </a:lnTo>
                  <a:lnTo>
                    <a:pt x="4968" y="430"/>
                  </a:lnTo>
                  <a:lnTo>
                    <a:pt x="4972" y="430"/>
                  </a:lnTo>
                  <a:lnTo>
                    <a:pt x="4972" y="434"/>
                  </a:lnTo>
                  <a:lnTo>
                    <a:pt x="4968" y="434"/>
                  </a:lnTo>
                  <a:lnTo>
                    <a:pt x="4964" y="434"/>
                  </a:lnTo>
                  <a:lnTo>
                    <a:pt x="4964" y="434"/>
                  </a:lnTo>
                  <a:lnTo>
                    <a:pt x="4964" y="434"/>
                  </a:lnTo>
                  <a:close/>
                  <a:moveTo>
                    <a:pt x="116" y="434"/>
                  </a:moveTo>
                  <a:lnTo>
                    <a:pt x="120" y="430"/>
                  </a:lnTo>
                  <a:lnTo>
                    <a:pt x="120" y="434"/>
                  </a:lnTo>
                  <a:lnTo>
                    <a:pt x="116" y="434"/>
                  </a:lnTo>
                  <a:lnTo>
                    <a:pt x="116" y="434"/>
                  </a:lnTo>
                  <a:lnTo>
                    <a:pt x="116" y="434"/>
                  </a:lnTo>
                  <a:close/>
                  <a:moveTo>
                    <a:pt x="106" y="436"/>
                  </a:moveTo>
                  <a:lnTo>
                    <a:pt x="110" y="436"/>
                  </a:lnTo>
                  <a:lnTo>
                    <a:pt x="106" y="436"/>
                  </a:lnTo>
                  <a:lnTo>
                    <a:pt x="106" y="436"/>
                  </a:lnTo>
                  <a:lnTo>
                    <a:pt x="106" y="436"/>
                  </a:lnTo>
                  <a:close/>
                  <a:moveTo>
                    <a:pt x="4974" y="440"/>
                  </a:moveTo>
                  <a:lnTo>
                    <a:pt x="4972" y="440"/>
                  </a:lnTo>
                  <a:lnTo>
                    <a:pt x="4974" y="440"/>
                  </a:lnTo>
                  <a:lnTo>
                    <a:pt x="4974" y="440"/>
                  </a:lnTo>
                  <a:lnTo>
                    <a:pt x="4974" y="440"/>
                  </a:lnTo>
                  <a:close/>
                  <a:moveTo>
                    <a:pt x="46" y="448"/>
                  </a:moveTo>
                  <a:lnTo>
                    <a:pt x="50" y="448"/>
                  </a:lnTo>
                  <a:lnTo>
                    <a:pt x="52" y="448"/>
                  </a:lnTo>
                  <a:lnTo>
                    <a:pt x="52" y="444"/>
                  </a:lnTo>
                  <a:lnTo>
                    <a:pt x="56" y="444"/>
                  </a:lnTo>
                  <a:lnTo>
                    <a:pt x="52" y="444"/>
                  </a:lnTo>
                  <a:lnTo>
                    <a:pt x="52" y="440"/>
                  </a:lnTo>
                  <a:lnTo>
                    <a:pt x="56" y="440"/>
                  </a:lnTo>
                  <a:lnTo>
                    <a:pt x="60" y="440"/>
                  </a:lnTo>
                  <a:lnTo>
                    <a:pt x="60" y="444"/>
                  </a:lnTo>
                  <a:lnTo>
                    <a:pt x="56" y="448"/>
                  </a:lnTo>
                  <a:lnTo>
                    <a:pt x="52" y="448"/>
                  </a:lnTo>
                  <a:lnTo>
                    <a:pt x="50" y="448"/>
                  </a:lnTo>
                  <a:lnTo>
                    <a:pt x="46" y="448"/>
                  </a:lnTo>
                  <a:lnTo>
                    <a:pt x="42" y="448"/>
                  </a:lnTo>
                  <a:lnTo>
                    <a:pt x="46" y="448"/>
                  </a:lnTo>
                  <a:lnTo>
                    <a:pt x="46" y="448"/>
                  </a:lnTo>
                  <a:lnTo>
                    <a:pt x="46" y="448"/>
                  </a:lnTo>
                  <a:close/>
                  <a:moveTo>
                    <a:pt x="80" y="444"/>
                  </a:moveTo>
                  <a:lnTo>
                    <a:pt x="80" y="440"/>
                  </a:lnTo>
                  <a:lnTo>
                    <a:pt x="82" y="440"/>
                  </a:lnTo>
                  <a:lnTo>
                    <a:pt x="82" y="444"/>
                  </a:lnTo>
                  <a:lnTo>
                    <a:pt x="80" y="444"/>
                  </a:lnTo>
                  <a:lnTo>
                    <a:pt x="80" y="444"/>
                  </a:lnTo>
                  <a:lnTo>
                    <a:pt x="80" y="444"/>
                  </a:lnTo>
                  <a:close/>
                  <a:moveTo>
                    <a:pt x="68" y="448"/>
                  </a:moveTo>
                  <a:lnTo>
                    <a:pt x="64" y="448"/>
                  </a:lnTo>
                  <a:lnTo>
                    <a:pt x="60" y="448"/>
                  </a:lnTo>
                  <a:lnTo>
                    <a:pt x="56" y="448"/>
                  </a:lnTo>
                  <a:lnTo>
                    <a:pt x="60" y="448"/>
                  </a:lnTo>
                  <a:lnTo>
                    <a:pt x="64" y="448"/>
                  </a:lnTo>
                  <a:lnTo>
                    <a:pt x="68" y="448"/>
                  </a:lnTo>
                  <a:lnTo>
                    <a:pt x="72" y="448"/>
                  </a:lnTo>
                  <a:lnTo>
                    <a:pt x="76" y="448"/>
                  </a:lnTo>
                  <a:lnTo>
                    <a:pt x="72" y="448"/>
                  </a:lnTo>
                  <a:lnTo>
                    <a:pt x="68" y="448"/>
                  </a:lnTo>
                  <a:lnTo>
                    <a:pt x="68" y="448"/>
                  </a:lnTo>
                  <a:lnTo>
                    <a:pt x="68" y="448"/>
                  </a:lnTo>
                  <a:close/>
                  <a:moveTo>
                    <a:pt x="5028" y="452"/>
                  </a:moveTo>
                  <a:lnTo>
                    <a:pt x="5030" y="448"/>
                  </a:lnTo>
                  <a:lnTo>
                    <a:pt x="5030" y="452"/>
                  </a:lnTo>
                  <a:lnTo>
                    <a:pt x="5028" y="452"/>
                  </a:lnTo>
                  <a:lnTo>
                    <a:pt x="5028" y="452"/>
                  </a:lnTo>
                  <a:lnTo>
                    <a:pt x="5028" y="452"/>
                  </a:lnTo>
                  <a:close/>
                  <a:moveTo>
                    <a:pt x="30" y="452"/>
                  </a:moveTo>
                  <a:lnTo>
                    <a:pt x="26" y="452"/>
                  </a:lnTo>
                  <a:lnTo>
                    <a:pt x="26" y="448"/>
                  </a:lnTo>
                  <a:lnTo>
                    <a:pt x="30" y="448"/>
                  </a:lnTo>
                  <a:lnTo>
                    <a:pt x="30" y="452"/>
                  </a:lnTo>
                  <a:lnTo>
                    <a:pt x="30" y="452"/>
                  </a:lnTo>
                  <a:lnTo>
                    <a:pt x="30" y="452"/>
                  </a:lnTo>
                  <a:close/>
                  <a:moveTo>
                    <a:pt x="5060" y="452"/>
                  </a:moveTo>
                  <a:lnTo>
                    <a:pt x="5058" y="452"/>
                  </a:lnTo>
                  <a:lnTo>
                    <a:pt x="5060" y="448"/>
                  </a:lnTo>
                  <a:lnTo>
                    <a:pt x="5060" y="452"/>
                  </a:lnTo>
                  <a:lnTo>
                    <a:pt x="5060" y="452"/>
                  </a:lnTo>
                  <a:lnTo>
                    <a:pt x="5060" y="452"/>
                  </a:lnTo>
                  <a:close/>
                  <a:moveTo>
                    <a:pt x="5042" y="452"/>
                  </a:moveTo>
                  <a:lnTo>
                    <a:pt x="5046" y="452"/>
                  </a:lnTo>
                  <a:lnTo>
                    <a:pt x="5042" y="452"/>
                  </a:lnTo>
                  <a:lnTo>
                    <a:pt x="5042" y="452"/>
                  </a:lnTo>
                  <a:lnTo>
                    <a:pt x="5042" y="452"/>
                  </a:lnTo>
                  <a:close/>
                  <a:moveTo>
                    <a:pt x="20" y="460"/>
                  </a:moveTo>
                  <a:lnTo>
                    <a:pt x="16" y="460"/>
                  </a:lnTo>
                  <a:lnTo>
                    <a:pt x="16" y="456"/>
                  </a:lnTo>
                  <a:lnTo>
                    <a:pt x="20" y="456"/>
                  </a:lnTo>
                  <a:lnTo>
                    <a:pt x="20" y="452"/>
                  </a:lnTo>
                  <a:lnTo>
                    <a:pt x="24" y="452"/>
                  </a:lnTo>
                  <a:lnTo>
                    <a:pt x="26" y="456"/>
                  </a:lnTo>
                  <a:lnTo>
                    <a:pt x="24" y="456"/>
                  </a:lnTo>
                  <a:lnTo>
                    <a:pt x="20" y="456"/>
                  </a:lnTo>
                  <a:lnTo>
                    <a:pt x="20" y="460"/>
                  </a:lnTo>
                  <a:lnTo>
                    <a:pt x="20" y="460"/>
                  </a:lnTo>
                  <a:lnTo>
                    <a:pt x="20" y="460"/>
                  </a:lnTo>
                  <a:close/>
                  <a:moveTo>
                    <a:pt x="8" y="456"/>
                  </a:moveTo>
                  <a:lnTo>
                    <a:pt x="12" y="456"/>
                  </a:lnTo>
                  <a:lnTo>
                    <a:pt x="16" y="456"/>
                  </a:lnTo>
                  <a:lnTo>
                    <a:pt x="16" y="452"/>
                  </a:lnTo>
                  <a:lnTo>
                    <a:pt x="16" y="456"/>
                  </a:lnTo>
                  <a:lnTo>
                    <a:pt x="12" y="456"/>
                  </a:lnTo>
                  <a:lnTo>
                    <a:pt x="8" y="456"/>
                  </a:lnTo>
                  <a:lnTo>
                    <a:pt x="8" y="456"/>
                  </a:lnTo>
                  <a:lnTo>
                    <a:pt x="8" y="456"/>
                  </a:lnTo>
                  <a:close/>
                  <a:moveTo>
                    <a:pt x="4" y="460"/>
                  </a:moveTo>
                  <a:lnTo>
                    <a:pt x="0" y="456"/>
                  </a:lnTo>
                  <a:lnTo>
                    <a:pt x="4" y="456"/>
                  </a:lnTo>
                  <a:lnTo>
                    <a:pt x="0" y="456"/>
                  </a:lnTo>
                  <a:lnTo>
                    <a:pt x="0" y="452"/>
                  </a:lnTo>
                  <a:lnTo>
                    <a:pt x="4" y="452"/>
                  </a:lnTo>
                  <a:lnTo>
                    <a:pt x="4" y="456"/>
                  </a:lnTo>
                  <a:lnTo>
                    <a:pt x="4" y="460"/>
                  </a:lnTo>
                  <a:lnTo>
                    <a:pt x="4" y="460"/>
                  </a:lnTo>
                  <a:lnTo>
                    <a:pt x="4" y="460"/>
                  </a:lnTo>
                  <a:close/>
                  <a:moveTo>
                    <a:pt x="30" y="456"/>
                  </a:moveTo>
                  <a:lnTo>
                    <a:pt x="26" y="456"/>
                  </a:lnTo>
                  <a:lnTo>
                    <a:pt x="26" y="452"/>
                  </a:lnTo>
                  <a:lnTo>
                    <a:pt x="30" y="452"/>
                  </a:lnTo>
                  <a:lnTo>
                    <a:pt x="30" y="456"/>
                  </a:lnTo>
                  <a:lnTo>
                    <a:pt x="30" y="452"/>
                  </a:lnTo>
                  <a:lnTo>
                    <a:pt x="30" y="456"/>
                  </a:lnTo>
                  <a:lnTo>
                    <a:pt x="30" y="456"/>
                  </a:lnTo>
                  <a:lnTo>
                    <a:pt x="30" y="456"/>
                  </a:lnTo>
                  <a:close/>
                  <a:moveTo>
                    <a:pt x="26" y="456"/>
                  </a:moveTo>
                  <a:lnTo>
                    <a:pt x="26" y="452"/>
                  </a:lnTo>
                  <a:lnTo>
                    <a:pt x="26" y="456"/>
                  </a:lnTo>
                  <a:lnTo>
                    <a:pt x="26" y="456"/>
                  </a:lnTo>
                  <a:lnTo>
                    <a:pt x="26" y="456"/>
                  </a:lnTo>
                  <a:close/>
                  <a:moveTo>
                    <a:pt x="5054" y="464"/>
                  </a:moveTo>
                  <a:lnTo>
                    <a:pt x="5050" y="460"/>
                  </a:lnTo>
                  <a:lnTo>
                    <a:pt x="5046" y="460"/>
                  </a:lnTo>
                  <a:lnTo>
                    <a:pt x="5046" y="456"/>
                  </a:lnTo>
                  <a:lnTo>
                    <a:pt x="5046" y="460"/>
                  </a:lnTo>
                  <a:lnTo>
                    <a:pt x="5050" y="460"/>
                  </a:lnTo>
                  <a:lnTo>
                    <a:pt x="5054" y="460"/>
                  </a:lnTo>
                  <a:lnTo>
                    <a:pt x="5054" y="464"/>
                  </a:lnTo>
                  <a:lnTo>
                    <a:pt x="5058" y="464"/>
                  </a:lnTo>
                  <a:lnTo>
                    <a:pt x="5054" y="464"/>
                  </a:lnTo>
                  <a:lnTo>
                    <a:pt x="5054" y="464"/>
                  </a:lnTo>
                  <a:lnTo>
                    <a:pt x="5054" y="464"/>
                  </a:lnTo>
                  <a:close/>
                  <a:moveTo>
                    <a:pt x="784" y="520"/>
                  </a:moveTo>
                  <a:lnTo>
                    <a:pt x="784" y="522"/>
                  </a:lnTo>
                  <a:lnTo>
                    <a:pt x="780" y="520"/>
                  </a:lnTo>
                  <a:lnTo>
                    <a:pt x="784" y="520"/>
                  </a:lnTo>
                  <a:lnTo>
                    <a:pt x="784" y="520"/>
                  </a:lnTo>
                  <a:lnTo>
                    <a:pt x="784" y="520"/>
                  </a:lnTo>
                  <a:close/>
                  <a:moveTo>
                    <a:pt x="784" y="522"/>
                  </a:moveTo>
                  <a:lnTo>
                    <a:pt x="784" y="526"/>
                  </a:lnTo>
                  <a:lnTo>
                    <a:pt x="784" y="522"/>
                  </a:lnTo>
                  <a:lnTo>
                    <a:pt x="780" y="522"/>
                  </a:lnTo>
                  <a:lnTo>
                    <a:pt x="784" y="522"/>
                  </a:lnTo>
                  <a:lnTo>
                    <a:pt x="784" y="522"/>
                  </a:lnTo>
                  <a:lnTo>
                    <a:pt x="784" y="522"/>
                  </a:lnTo>
                  <a:close/>
                  <a:moveTo>
                    <a:pt x="788" y="526"/>
                  </a:moveTo>
                  <a:lnTo>
                    <a:pt x="788" y="530"/>
                  </a:lnTo>
                  <a:lnTo>
                    <a:pt x="790" y="534"/>
                  </a:lnTo>
                  <a:lnTo>
                    <a:pt x="788" y="534"/>
                  </a:lnTo>
                  <a:lnTo>
                    <a:pt x="788" y="530"/>
                  </a:lnTo>
                  <a:lnTo>
                    <a:pt x="784" y="530"/>
                  </a:lnTo>
                  <a:lnTo>
                    <a:pt x="784" y="526"/>
                  </a:lnTo>
                  <a:lnTo>
                    <a:pt x="788" y="526"/>
                  </a:lnTo>
                  <a:lnTo>
                    <a:pt x="788" y="526"/>
                  </a:lnTo>
                  <a:lnTo>
                    <a:pt x="788" y="526"/>
                  </a:lnTo>
                  <a:close/>
                  <a:moveTo>
                    <a:pt x="790" y="546"/>
                  </a:moveTo>
                  <a:lnTo>
                    <a:pt x="788" y="546"/>
                  </a:lnTo>
                  <a:lnTo>
                    <a:pt x="788" y="542"/>
                  </a:lnTo>
                  <a:lnTo>
                    <a:pt x="788" y="546"/>
                  </a:lnTo>
                  <a:lnTo>
                    <a:pt x="790" y="546"/>
                  </a:lnTo>
                  <a:lnTo>
                    <a:pt x="790" y="546"/>
                  </a:lnTo>
                  <a:lnTo>
                    <a:pt x="790" y="546"/>
                  </a:lnTo>
                  <a:close/>
                  <a:moveTo>
                    <a:pt x="1556" y="606"/>
                  </a:moveTo>
                  <a:lnTo>
                    <a:pt x="1556" y="608"/>
                  </a:lnTo>
                  <a:lnTo>
                    <a:pt x="1552" y="608"/>
                  </a:lnTo>
                  <a:lnTo>
                    <a:pt x="1552" y="606"/>
                  </a:lnTo>
                  <a:lnTo>
                    <a:pt x="1556" y="606"/>
                  </a:lnTo>
                  <a:lnTo>
                    <a:pt x="1556" y="606"/>
                  </a:lnTo>
                  <a:lnTo>
                    <a:pt x="1556" y="606"/>
                  </a:lnTo>
                  <a:close/>
                  <a:moveTo>
                    <a:pt x="1552" y="608"/>
                  </a:moveTo>
                  <a:lnTo>
                    <a:pt x="1548" y="612"/>
                  </a:lnTo>
                  <a:lnTo>
                    <a:pt x="1548" y="608"/>
                  </a:lnTo>
                  <a:lnTo>
                    <a:pt x="1552" y="608"/>
                  </a:lnTo>
                  <a:lnTo>
                    <a:pt x="1552" y="608"/>
                  </a:lnTo>
                  <a:lnTo>
                    <a:pt x="1552" y="608"/>
                  </a:lnTo>
                  <a:close/>
                  <a:moveTo>
                    <a:pt x="1514" y="660"/>
                  </a:moveTo>
                  <a:lnTo>
                    <a:pt x="1514" y="664"/>
                  </a:lnTo>
                  <a:lnTo>
                    <a:pt x="1510" y="664"/>
                  </a:lnTo>
                  <a:lnTo>
                    <a:pt x="1510" y="660"/>
                  </a:lnTo>
                  <a:lnTo>
                    <a:pt x="1514" y="660"/>
                  </a:lnTo>
                  <a:lnTo>
                    <a:pt x="1514" y="660"/>
                  </a:lnTo>
                  <a:lnTo>
                    <a:pt x="1514" y="660"/>
                  </a:lnTo>
                  <a:close/>
                  <a:moveTo>
                    <a:pt x="1522" y="664"/>
                  </a:moveTo>
                  <a:lnTo>
                    <a:pt x="1522" y="668"/>
                  </a:lnTo>
                  <a:lnTo>
                    <a:pt x="1518" y="668"/>
                  </a:lnTo>
                  <a:lnTo>
                    <a:pt x="1518" y="664"/>
                  </a:lnTo>
                  <a:lnTo>
                    <a:pt x="1522" y="664"/>
                  </a:lnTo>
                  <a:lnTo>
                    <a:pt x="1522" y="664"/>
                  </a:lnTo>
                  <a:lnTo>
                    <a:pt x="1522" y="664"/>
                  </a:lnTo>
                  <a:close/>
                  <a:moveTo>
                    <a:pt x="1528" y="664"/>
                  </a:moveTo>
                  <a:lnTo>
                    <a:pt x="1528" y="668"/>
                  </a:lnTo>
                  <a:lnTo>
                    <a:pt x="1532" y="668"/>
                  </a:lnTo>
                  <a:lnTo>
                    <a:pt x="1528" y="668"/>
                  </a:lnTo>
                  <a:lnTo>
                    <a:pt x="1526" y="668"/>
                  </a:lnTo>
                  <a:lnTo>
                    <a:pt x="1528" y="668"/>
                  </a:lnTo>
                  <a:lnTo>
                    <a:pt x="1528" y="664"/>
                  </a:lnTo>
                  <a:lnTo>
                    <a:pt x="1528" y="664"/>
                  </a:lnTo>
                  <a:lnTo>
                    <a:pt x="1528" y="664"/>
                  </a:lnTo>
                  <a:close/>
                  <a:moveTo>
                    <a:pt x="1488" y="678"/>
                  </a:moveTo>
                  <a:lnTo>
                    <a:pt x="1488" y="676"/>
                  </a:lnTo>
                  <a:lnTo>
                    <a:pt x="1488" y="678"/>
                  </a:lnTo>
                  <a:lnTo>
                    <a:pt x="1484" y="678"/>
                  </a:lnTo>
                  <a:lnTo>
                    <a:pt x="1480" y="678"/>
                  </a:lnTo>
                  <a:lnTo>
                    <a:pt x="1476" y="678"/>
                  </a:lnTo>
                  <a:lnTo>
                    <a:pt x="1472" y="678"/>
                  </a:lnTo>
                  <a:lnTo>
                    <a:pt x="1472" y="676"/>
                  </a:lnTo>
                  <a:lnTo>
                    <a:pt x="1476" y="676"/>
                  </a:lnTo>
                  <a:lnTo>
                    <a:pt x="1480" y="676"/>
                  </a:lnTo>
                  <a:lnTo>
                    <a:pt x="1484" y="676"/>
                  </a:lnTo>
                  <a:lnTo>
                    <a:pt x="1488" y="672"/>
                  </a:lnTo>
                  <a:lnTo>
                    <a:pt x="1492" y="672"/>
                  </a:lnTo>
                  <a:lnTo>
                    <a:pt x="1496" y="672"/>
                  </a:lnTo>
                  <a:lnTo>
                    <a:pt x="1498" y="668"/>
                  </a:lnTo>
                  <a:lnTo>
                    <a:pt x="1498" y="672"/>
                  </a:lnTo>
                  <a:lnTo>
                    <a:pt x="1496" y="672"/>
                  </a:lnTo>
                  <a:lnTo>
                    <a:pt x="1492" y="676"/>
                  </a:lnTo>
                  <a:lnTo>
                    <a:pt x="1496" y="676"/>
                  </a:lnTo>
                  <a:lnTo>
                    <a:pt x="1496" y="672"/>
                  </a:lnTo>
                  <a:lnTo>
                    <a:pt x="1498" y="672"/>
                  </a:lnTo>
                  <a:lnTo>
                    <a:pt x="1502" y="672"/>
                  </a:lnTo>
                  <a:lnTo>
                    <a:pt x="1498" y="672"/>
                  </a:lnTo>
                  <a:lnTo>
                    <a:pt x="1496" y="676"/>
                  </a:lnTo>
                  <a:lnTo>
                    <a:pt x="1492" y="676"/>
                  </a:lnTo>
                  <a:lnTo>
                    <a:pt x="1488" y="678"/>
                  </a:lnTo>
                  <a:lnTo>
                    <a:pt x="1488" y="678"/>
                  </a:lnTo>
                  <a:lnTo>
                    <a:pt x="1488" y="678"/>
                  </a:lnTo>
                  <a:close/>
                  <a:moveTo>
                    <a:pt x="824" y="806"/>
                  </a:moveTo>
                  <a:lnTo>
                    <a:pt x="820" y="806"/>
                  </a:lnTo>
                  <a:lnTo>
                    <a:pt x="824" y="806"/>
                  </a:lnTo>
                  <a:lnTo>
                    <a:pt x="824" y="806"/>
                  </a:lnTo>
                  <a:lnTo>
                    <a:pt x="824" y="806"/>
                  </a:lnTo>
                  <a:close/>
                  <a:moveTo>
                    <a:pt x="844" y="818"/>
                  </a:moveTo>
                  <a:lnTo>
                    <a:pt x="846" y="818"/>
                  </a:lnTo>
                  <a:lnTo>
                    <a:pt x="844" y="818"/>
                  </a:lnTo>
                  <a:lnTo>
                    <a:pt x="844" y="818"/>
                  </a:lnTo>
                  <a:lnTo>
                    <a:pt x="844" y="818"/>
                  </a:lnTo>
                  <a:close/>
                  <a:moveTo>
                    <a:pt x="844" y="824"/>
                  </a:moveTo>
                  <a:lnTo>
                    <a:pt x="846" y="828"/>
                  </a:lnTo>
                  <a:lnTo>
                    <a:pt x="844" y="828"/>
                  </a:lnTo>
                  <a:lnTo>
                    <a:pt x="844" y="824"/>
                  </a:lnTo>
                  <a:lnTo>
                    <a:pt x="844" y="824"/>
                  </a:lnTo>
                  <a:lnTo>
                    <a:pt x="844" y="824"/>
                  </a:lnTo>
                  <a:close/>
                  <a:moveTo>
                    <a:pt x="1298" y="874"/>
                  </a:moveTo>
                  <a:lnTo>
                    <a:pt x="1294" y="874"/>
                  </a:lnTo>
                  <a:lnTo>
                    <a:pt x="1290" y="874"/>
                  </a:lnTo>
                  <a:lnTo>
                    <a:pt x="1286" y="874"/>
                  </a:lnTo>
                  <a:lnTo>
                    <a:pt x="1290" y="874"/>
                  </a:lnTo>
                  <a:lnTo>
                    <a:pt x="1294" y="874"/>
                  </a:lnTo>
                  <a:lnTo>
                    <a:pt x="1298" y="874"/>
                  </a:lnTo>
                  <a:lnTo>
                    <a:pt x="1298" y="874"/>
                  </a:lnTo>
                  <a:lnTo>
                    <a:pt x="1298" y="874"/>
                  </a:lnTo>
                  <a:close/>
                  <a:moveTo>
                    <a:pt x="1224" y="888"/>
                  </a:moveTo>
                  <a:lnTo>
                    <a:pt x="1220" y="888"/>
                  </a:lnTo>
                  <a:lnTo>
                    <a:pt x="1224" y="888"/>
                  </a:lnTo>
                  <a:lnTo>
                    <a:pt x="1224" y="888"/>
                  </a:lnTo>
                  <a:lnTo>
                    <a:pt x="1224" y="888"/>
                  </a:lnTo>
                  <a:close/>
                  <a:moveTo>
                    <a:pt x="1178" y="892"/>
                  </a:moveTo>
                  <a:lnTo>
                    <a:pt x="1178" y="896"/>
                  </a:lnTo>
                  <a:lnTo>
                    <a:pt x="1174" y="896"/>
                  </a:lnTo>
                  <a:lnTo>
                    <a:pt x="1178" y="896"/>
                  </a:lnTo>
                  <a:lnTo>
                    <a:pt x="1178" y="892"/>
                  </a:lnTo>
                  <a:lnTo>
                    <a:pt x="1178" y="892"/>
                  </a:lnTo>
                  <a:lnTo>
                    <a:pt x="1178" y="892"/>
                  </a:lnTo>
                  <a:close/>
                  <a:moveTo>
                    <a:pt x="1152" y="914"/>
                  </a:moveTo>
                  <a:lnTo>
                    <a:pt x="1152" y="910"/>
                  </a:lnTo>
                  <a:lnTo>
                    <a:pt x="1156" y="910"/>
                  </a:lnTo>
                  <a:lnTo>
                    <a:pt x="1152" y="914"/>
                  </a:lnTo>
                  <a:lnTo>
                    <a:pt x="1152" y="914"/>
                  </a:lnTo>
                  <a:lnTo>
                    <a:pt x="1152" y="914"/>
                  </a:lnTo>
                  <a:close/>
                  <a:moveTo>
                    <a:pt x="1152" y="914"/>
                  </a:moveTo>
                  <a:lnTo>
                    <a:pt x="1148" y="914"/>
                  </a:lnTo>
                  <a:lnTo>
                    <a:pt x="1148" y="918"/>
                  </a:lnTo>
                  <a:lnTo>
                    <a:pt x="1148" y="914"/>
                  </a:lnTo>
                  <a:lnTo>
                    <a:pt x="1152" y="914"/>
                  </a:lnTo>
                  <a:lnTo>
                    <a:pt x="1152" y="914"/>
                  </a:lnTo>
                  <a:lnTo>
                    <a:pt x="1152" y="914"/>
                  </a:lnTo>
                  <a:close/>
                  <a:moveTo>
                    <a:pt x="1384" y="966"/>
                  </a:moveTo>
                  <a:lnTo>
                    <a:pt x="1384" y="962"/>
                  </a:lnTo>
                  <a:lnTo>
                    <a:pt x="1384" y="966"/>
                  </a:lnTo>
                  <a:lnTo>
                    <a:pt x="1380" y="970"/>
                  </a:lnTo>
                  <a:lnTo>
                    <a:pt x="1384" y="970"/>
                  </a:lnTo>
                  <a:lnTo>
                    <a:pt x="1384" y="966"/>
                  </a:lnTo>
                  <a:lnTo>
                    <a:pt x="1384" y="966"/>
                  </a:lnTo>
                  <a:lnTo>
                    <a:pt x="1384" y="966"/>
                  </a:lnTo>
                  <a:close/>
                  <a:moveTo>
                    <a:pt x="266" y="1026"/>
                  </a:moveTo>
                  <a:lnTo>
                    <a:pt x="262" y="1026"/>
                  </a:lnTo>
                  <a:lnTo>
                    <a:pt x="262" y="1022"/>
                  </a:lnTo>
                  <a:lnTo>
                    <a:pt x="262" y="1018"/>
                  </a:lnTo>
                  <a:lnTo>
                    <a:pt x="266" y="1018"/>
                  </a:lnTo>
                  <a:lnTo>
                    <a:pt x="266" y="1022"/>
                  </a:lnTo>
                  <a:lnTo>
                    <a:pt x="270" y="1022"/>
                  </a:lnTo>
                  <a:lnTo>
                    <a:pt x="266" y="1026"/>
                  </a:lnTo>
                  <a:lnTo>
                    <a:pt x="266" y="1026"/>
                  </a:lnTo>
                  <a:lnTo>
                    <a:pt x="266" y="1026"/>
                  </a:lnTo>
                  <a:close/>
                  <a:moveTo>
                    <a:pt x="254" y="1026"/>
                  </a:moveTo>
                  <a:lnTo>
                    <a:pt x="254" y="1022"/>
                  </a:lnTo>
                  <a:lnTo>
                    <a:pt x="258" y="1022"/>
                  </a:lnTo>
                  <a:lnTo>
                    <a:pt x="258" y="1026"/>
                  </a:lnTo>
                  <a:lnTo>
                    <a:pt x="254" y="1026"/>
                  </a:lnTo>
                  <a:lnTo>
                    <a:pt x="254" y="1026"/>
                  </a:lnTo>
                  <a:lnTo>
                    <a:pt x="254" y="1026"/>
                  </a:lnTo>
                  <a:close/>
                  <a:moveTo>
                    <a:pt x="288" y="1038"/>
                  </a:moveTo>
                  <a:lnTo>
                    <a:pt x="284" y="1038"/>
                  </a:lnTo>
                  <a:lnTo>
                    <a:pt x="284" y="1034"/>
                  </a:lnTo>
                  <a:lnTo>
                    <a:pt x="280" y="1030"/>
                  </a:lnTo>
                  <a:lnTo>
                    <a:pt x="284" y="1030"/>
                  </a:lnTo>
                  <a:lnTo>
                    <a:pt x="288" y="1030"/>
                  </a:lnTo>
                  <a:lnTo>
                    <a:pt x="288" y="1034"/>
                  </a:lnTo>
                  <a:lnTo>
                    <a:pt x="292" y="1038"/>
                  </a:lnTo>
                  <a:lnTo>
                    <a:pt x="288" y="1038"/>
                  </a:lnTo>
                  <a:lnTo>
                    <a:pt x="288" y="1038"/>
                  </a:lnTo>
                  <a:lnTo>
                    <a:pt x="288" y="1038"/>
                  </a:lnTo>
                  <a:close/>
                  <a:moveTo>
                    <a:pt x="302" y="1042"/>
                  </a:moveTo>
                  <a:lnTo>
                    <a:pt x="298" y="1042"/>
                  </a:lnTo>
                  <a:lnTo>
                    <a:pt x="294" y="1042"/>
                  </a:lnTo>
                  <a:lnTo>
                    <a:pt x="294" y="1038"/>
                  </a:lnTo>
                  <a:lnTo>
                    <a:pt x="298" y="1038"/>
                  </a:lnTo>
                  <a:lnTo>
                    <a:pt x="302" y="1038"/>
                  </a:lnTo>
                  <a:lnTo>
                    <a:pt x="302" y="1042"/>
                  </a:lnTo>
                  <a:lnTo>
                    <a:pt x="302" y="1042"/>
                  </a:lnTo>
                  <a:lnTo>
                    <a:pt x="302" y="1042"/>
                  </a:lnTo>
                  <a:close/>
                  <a:moveTo>
                    <a:pt x="310" y="1048"/>
                  </a:moveTo>
                  <a:lnTo>
                    <a:pt x="306" y="1048"/>
                  </a:lnTo>
                  <a:lnTo>
                    <a:pt x="306" y="1046"/>
                  </a:lnTo>
                  <a:lnTo>
                    <a:pt x="302" y="1046"/>
                  </a:lnTo>
                  <a:lnTo>
                    <a:pt x="302" y="1042"/>
                  </a:lnTo>
                  <a:lnTo>
                    <a:pt x="306" y="1042"/>
                  </a:lnTo>
                  <a:lnTo>
                    <a:pt x="306" y="1046"/>
                  </a:lnTo>
                  <a:lnTo>
                    <a:pt x="310" y="1046"/>
                  </a:lnTo>
                  <a:lnTo>
                    <a:pt x="310" y="1042"/>
                  </a:lnTo>
                  <a:lnTo>
                    <a:pt x="310" y="1046"/>
                  </a:lnTo>
                  <a:lnTo>
                    <a:pt x="314" y="1046"/>
                  </a:lnTo>
                  <a:lnTo>
                    <a:pt x="314" y="1048"/>
                  </a:lnTo>
                  <a:lnTo>
                    <a:pt x="310" y="1048"/>
                  </a:lnTo>
                  <a:lnTo>
                    <a:pt x="310" y="1048"/>
                  </a:lnTo>
                  <a:lnTo>
                    <a:pt x="310" y="1048"/>
                  </a:lnTo>
                  <a:close/>
                  <a:moveTo>
                    <a:pt x="302" y="1046"/>
                  </a:moveTo>
                  <a:lnTo>
                    <a:pt x="298" y="1046"/>
                  </a:lnTo>
                  <a:lnTo>
                    <a:pt x="302" y="1046"/>
                  </a:lnTo>
                  <a:lnTo>
                    <a:pt x="302" y="1046"/>
                  </a:lnTo>
                  <a:lnTo>
                    <a:pt x="302" y="1046"/>
                  </a:lnTo>
                  <a:close/>
                  <a:moveTo>
                    <a:pt x="318" y="1056"/>
                  </a:moveTo>
                  <a:lnTo>
                    <a:pt x="322" y="1056"/>
                  </a:lnTo>
                  <a:lnTo>
                    <a:pt x="324" y="1060"/>
                  </a:lnTo>
                  <a:lnTo>
                    <a:pt x="324" y="1062"/>
                  </a:lnTo>
                  <a:lnTo>
                    <a:pt x="328" y="1062"/>
                  </a:lnTo>
                  <a:lnTo>
                    <a:pt x="328" y="1066"/>
                  </a:lnTo>
                  <a:lnTo>
                    <a:pt x="332" y="1066"/>
                  </a:lnTo>
                  <a:lnTo>
                    <a:pt x="328" y="1070"/>
                  </a:lnTo>
                  <a:lnTo>
                    <a:pt x="324" y="1070"/>
                  </a:lnTo>
                  <a:lnTo>
                    <a:pt x="322" y="1074"/>
                  </a:lnTo>
                  <a:lnTo>
                    <a:pt x="322" y="1078"/>
                  </a:lnTo>
                  <a:lnTo>
                    <a:pt x="318" y="1078"/>
                  </a:lnTo>
                  <a:lnTo>
                    <a:pt x="314" y="1074"/>
                  </a:lnTo>
                  <a:lnTo>
                    <a:pt x="314" y="1070"/>
                  </a:lnTo>
                  <a:lnTo>
                    <a:pt x="314" y="1066"/>
                  </a:lnTo>
                  <a:lnTo>
                    <a:pt x="314" y="1062"/>
                  </a:lnTo>
                  <a:lnTo>
                    <a:pt x="318" y="1060"/>
                  </a:lnTo>
                  <a:lnTo>
                    <a:pt x="314" y="1056"/>
                  </a:lnTo>
                  <a:lnTo>
                    <a:pt x="318" y="1056"/>
                  </a:lnTo>
                  <a:lnTo>
                    <a:pt x="318" y="1056"/>
                  </a:lnTo>
                  <a:lnTo>
                    <a:pt x="318" y="105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04" name="Freeform 197"/>
            <p:cNvSpPr>
              <a:spLocks/>
            </p:cNvSpPr>
            <p:nvPr/>
          </p:nvSpPr>
          <p:spPr bwMode="auto">
            <a:xfrm>
              <a:off x="6406024" y="3314437"/>
              <a:ext cx="21351" cy="16999"/>
            </a:xfrm>
            <a:custGeom>
              <a:avLst/>
              <a:gdLst>
                <a:gd name="T0" fmla="*/ 0 w 34"/>
                <a:gd name="T1" fmla="*/ 6 h 26"/>
                <a:gd name="T2" fmla="*/ 4 w 34"/>
                <a:gd name="T3" fmla="*/ 2 h 26"/>
                <a:gd name="T4" fmla="*/ 4 w 34"/>
                <a:gd name="T5" fmla="*/ 0 h 26"/>
                <a:gd name="T6" fmla="*/ 4 w 34"/>
                <a:gd name="T7" fmla="*/ 0 h 26"/>
                <a:gd name="T8" fmla="*/ 4 w 34"/>
                <a:gd name="T9" fmla="*/ 0 h 26"/>
                <a:gd name="T10" fmla="*/ 8 w 34"/>
                <a:gd name="T11" fmla="*/ 0 h 26"/>
                <a:gd name="T12" fmla="*/ 8 w 34"/>
                <a:gd name="T13" fmla="*/ 0 h 26"/>
                <a:gd name="T14" fmla="*/ 8 w 34"/>
                <a:gd name="T15" fmla="*/ 0 h 26"/>
                <a:gd name="T16" fmla="*/ 8 w 34"/>
                <a:gd name="T17" fmla="*/ 0 h 26"/>
                <a:gd name="T18" fmla="*/ 12 w 34"/>
                <a:gd name="T19" fmla="*/ 2 h 26"/>
                <a:gd name="T20" fmla="*/ 12 w 34"/>
                <a:gd name="T21" fmla="*/ 2 h 26"/>
                <a:gd name="T22" fmla="*/ 20 w 34"/>
                <a:gd name="T23" fmla="*/ 6 h 26"/>
                <a:gd name="T24" fmla="*/ 26 w 34"/>
                <a:gd name="T25" fmla="*/ 10 h 26"/>
                <a:gd name="T26" fmla="*/ 26 w 34"/>
                <a:gd name="T27" fmla="*/ 10 h 26"/>
                <a:gd name="T28" fmla="*/ 26 w 34"/>
                <a:gd name="T29" fmla="*/ 10 h 26"/>
                <a:gd name="T30" fmla="*/ 26 w 34"/>
                <a:gd name="T31" fmla="*/ 10 h 26"/>
                <a:gd name="T32" fmla="*/ 30 w 34"/>
                <a:gd name="T33" fmla="*/ 10 h 26"/>
                <a:gd name="T34" fmla="*/ 30 w 34"/>
                <a:gd name="T35" fmla="*/ 10 h 26"/>
                <a:gd name="T36" fmla="*/ 30 w 34"/>
                <a:gd name="T37" fmla="*/ 10 h 26"/>
                <a:gd name="T38" fmla="*/ 26 w 34"/>
                <a:gd name="T39" fmla="*/ 10 h 26"/>
                <a:gd name="T40" fmla="*/ 24 w 34"/>
                <a:gd name="T41" fmla="*/ 14 h 26"/>
                <a:gd name="T42" fmla="*/ 26 w 34"/>
                <a:gd name="T43" fmla="*/ 14 h 26"/>
                <a:gd name="T44" fmla="*/ 30 w 34"/>
                <a:gd name="T45" fmla="*/ 14 h 26"/>
                <a:gd name="T46" fmla="*/ 30 w 34"/>
                <a:gd name="T47" fmla="*/ 14 h 26"/>
                <a:gd name="T48" fmla="*/ 34 w 34"/>
                <a:gd name="T49" fmla="*/ 14 h 26"/>
                <a:gd name="T50" fmla="*/ 34 w 34"/>
                <a:gd name="T51" fmla="*/ 14 h 26"/>
                <a:gd name="T52" fmla="*/ 30 w 34"/>
                <a:gd name="T53" fmla="*/ 14 h 26"/>
                <a:gd name="T54" fmla="*/ 26 w 34"/>
                <a:gd name="T55" fmla="*/ 18 h 26"/>
                <a:gd name="T56" fmla="*/ 26 w 34"/>
                <a:gd name="T57" fmla="*/ 18 h 26"/>
                <a:gd name="T58" fmla="*/ 26 w 34"/>
                <a:gd name="T59" fmla="*/ 18 h 26"/>
                <a:gd name="T60" fmla="*/ 24 w 34"/>
                <a:gd name="T61" fmla="*/ 18 h 26"/>
                <a:gd name="T62" fmla="*/ 24 w 34"/>
                <a:gd name="T63" fmla="*/ 18 h 26"/>
                <a:gd name="T64" fmla="*/ 20 w 34"/>
                <a:gd name="T65" fmla="*/ 18 h 26"/>
                <a:gd name="T66" fmla="*/ 16 w 34"/>
                <a:gd name="T67" fmla="*/ 18 h 26"/>
                <a:gd name="T68" fmla="*/ 16 w 34"/>
                <a:gd name="T69" fmla="*/ 18 h 26"/>
                <a:gd name="T70" fmla="*/ 16 w 34"/>
                <a:gd name="T71" fmla="*/ 18 h 26"/>
                <a:gd name="T72" fmla="*/ 12 w 34"/>
                <a:gd name="T73" fmla="*/ 14 h 26"/>
                <a:gd name="T74" fmla="*/ 12 w 34"/>
                <a:gd name="T75" fmla="*/ 18 h 26"/>
                <a:gd name="T76" fmla="*/ 8 w 34"/>
                <a:gd name="T77" fmla="*/ 22 h 26"/>
                <a:gd name="T78" fmla="*/ 4 w 34"/>
                <a:gd name="T79" fmla="*/ 26 h 26"/>
                <a:gd name="T80" fmla="*/ 0 w 34"/>
                <a:gd name="T81" fmla="*/ 26 h 26"/>
                <a:gd name="T82" fmla="*/ 4 w 34"/>
                <a:gd name="T83" fmla="*/ 22 h 26"/>
                <a:gd name="T84" fmla="*/ 4 w 34"/>
                <a:gd name="T85" fmla="*/ 22 h 26"/>
                <a:gd name="T86" fmla="*/ 4 w 34"/>
                <a:gd name="T87" fmla="*/ 22 h 26"/>
                <a:gd name="T88" fmla="*/ 4 w 34"/>
                <a:gd name="T89" fmla="*/ 22 h 26"/>
                <a:gd name="T90" fmla="*/ 0 w 34"/>
                <a:gd name="T91" fmla="*/ 22 h 26"/>
                <a:gd name="T92" fmla="*/ 4 w 34"/>
                <a:gd name="T93" fmla="*/ 22 h 26"/>
                <a:gd name="T94" fmla="*/ 4 w 34"/>
                <a:gd name="T95" fmla="*/ 18 h 26"/>
                <a:gd name="T96" fmla="*/ 4 w 34"/>
                <a:gd name="T97" fmla="*/ 14 h 26"/>
                <a:gd name="T98" fmla="*/ 0 w 34"/>
                <a:gd name="T99" fmla="*/ 10 h 26"/>
                <a:gd name="T100" fmla="*/ 0 w 34"/>
                <a:gd name="T101"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26">
                  <a:moveTo>
                    <a:pt x="0" y="10"/>
                  </a:moveTo>
                  <a:lnTo>
                    <a:pt x="0" y="10"/>
                  </a:lnTo>
                  <a:lnTo>
                    <a:pt x="0" y="6"/>
                  </a:lnTo>
                  <a:lnTo>
                    <a:pt x="0" y="6"/>
                  </a:lnTo>
                  <a:lnTo>
                    <a:pt x="0" y="6"/>
                  </a:lnTo>
                  <a:lnTo>
                    <a:pt x="0" y="6"/>
                  </a:lnTo>
                  <a:lnTo>
                    <a:pt x="0" y="6"/>
                  </a:lnTo>
                  <a:lnTo>
                    <a:pt x="4" y="2"/>
                  </a:lnTo>
                  <a:lnTo>
                    <a:pt x="4" y="2"/>
                  </a:lnTo>
                  <a:lnTo>
                    <a:pt x="4" y="0"/>
                  </a:lnTo>
                  <a:lnTo>
                    <a:pt x="4" y="0"/>
                  </a:lnTo>
                  <a:lnTo>
                    <a:pt x="4" y="0"/>
                  </a:lnTo>
                  <a:lnTo>
                    <a:pt x="4" y="0"/>
                  </a:lnTo>
                  <a:lnTo>
                    <a:pt x="4" y="0"/>
                  </a:lnTo>
                  <a:lnTo>
                    <a:pt x="4" y="0"/>
                  </a:lnTo>
                  <a:lnTo>
                    <a:pt x="4" y="0"/>
                  </a:lnTo>
                  <a:lnTo>
                    <a:pt x="4" y="0"/>
                  </a:lnTo>
                  <a:lnTo>
                    <a:pt x="4" y="0"/>
                  </a:lnTo>
                  <a:lnTo>
                    <a:pt x="4" y="0"/>
                  </a:lnTo>
                  <a:lnTo>
                    <a:pt x="4" y="0"/>
                  </a:lnTo>
                  <a:lnTo>
                    <a:pt x="8" y="0"/>
                  </a:lnTo>
                  <a:lnTo>
                    <a:pt x="8" y="0"/>
                  </a:lnTo>
                  <a:lnTo>
                    <a:pt x="8" y="0"/>
                  </a:lnTo>
                  <a:lnTo>
                    <a:pt x="8" y="0"/>
                  </a:lnTo>
                  <a:lnTo>
                    <a:pt x="12" y="0"/>
                  </a:lnTo>
                  <a:lnTo>
                    <a:pt x="12" y="0"/>
                  </a:lnTo>
                  <a:lnTo>
                    <a:pt x="12" y="0"/>
                  </a:lnTo>
                  <a:lnTo>
                    <a:pt x="8" y="0"/>
                  </a:lnTo>
                  <a:lnTo>
                    <a:pt x="8" y="0"/>
                  </a:lnTo>
                  <a:lnTo>
                    <a:pt x="8" y="0"/>
                  </a:lnTo>
                  <a:lnTo>
                    <a:pt x="8" y="0"/>
                  </a:lnTo>
                  <a:lnTo>
                    <a:pt x="8" y="0"/>
                  </a:lnTo>
                  <a:lnTo>
                    <a:pt x="8" y="0"/>
                  </a:lnTo>
                  <a:lnTo>
                    <a:pt x="8" y="0"/>
                  </a:lnTo>
                  <a:lnTo>
                    <a:pt x="8" y="0"/>
                  </a:lnTo>
                  <a:lnTo>
                    <a:pt x="8" y="0"/>
                  </a:lnTo>
                  <a:lnTo>
                    <a:pt x="12" y="2"/>
                  </a:lnTo>
                  <a:lnTo>
                    <a:pt x="12" y="2"/>
                  </a:lnTo>
                  <a:lnTo>
                    <a:pt x="12" y="2"/>
                  </a:lnTo>
                  <a:lnTo>
                    <a:pt x="12" y="2"/>
                  </a:lnTo>
                  <a:lnTo>
                    <a:pt x="12" y="2"/>
                  </a:lnTo>
                  <a:lnTo>
                    <a:pt x="12" y="2"/>
                  </a:lnTo>
                  <a:lnTo>
                    <a:pt x="12" y="2"/>
                  </a:lnTo>
                  <a:lnTo>
                    <a:pt x="12" y="2"/>
                  </a:lnTo>
                  <a:lnTo>
                    <a:pt x="12" y="6"/>
                  </a:lnTo>
                  <a:lnTo>
                    <a:pt x="12" y="6"/>
                  </a:lnTo>
                  <a:lnTo>
                    <a:pt x="16" y="6"/>
                  </a:lnTo>
                  <a:lnTo>
                    <a:pt x="20" y="6"/>
                  </a:lnTo>
                  <a:lnTo>
                    <a:pt x="20" y="6"/>
                  </a:lnTo>
                  <a:lnTo>
                    <a:pt x="20" y="6"/>
                  </a:lnTo>
                  <a:lnTo>
                    <a:pt x="24" y="6"/>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26"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30" y="10"/>
                  </a:lnTo>
                  <a:lnTo>
                    <a:pt x="26" y="10"/>
                  </a:lnTo>
                  <a:lnTo>
                    <a:pt x="26" y="10"/>
                  </a:lnTo>
                  <a:lnTo>
                    <a:pt x="26" y="10"/>
                  </a:lnTo>
                  <a:lnTo>
                    <a:pt x="26" y="10"/>
                  </a:lnTo>
                  <a:lnTo>
                    <a:pt x="26" y="14"/>
                  </a:lnTo>
                  <a:lnTo>
                    <a:pt x="24" y="14"/>
                  </a:lnTo>
                  <a:lnTo>
                    <a:pt x="24" y="14"/>
                  </a:lnTo>
                  <a:lnTo>
                    <a:pt x="26" y="14"/>
                  </a:lnTo>
                  <a:lnTo>
                    <a:pt x="26" y="14"/>
                  </a:lnTo>
                  <a:lnTo>
                    <a:pt x="26" y="14"/>
                  </a:lnTo>
                  <a:lnTo>
                    <a:pt x="26" y="14"/>
                  </a:lnTo>
                  <a:lnTo>
                    <a:pt x="30" y="14"/>
                  </a:lnTo>
                  <a:lnTo>
                    <a:pt x="30" y="14"/>
                  </a:lnTo>
                  <a:lnTo>
                    <a:pt x="30" y="14"/>
                  </a:lnTo>
                  <a:lnTo>
                    <a:pt x="30" y="14"/>
                  </a:lnTo>
                  <a:lnTo>
                    <a:pt x="30" y="14"/>
                  </a:lnTo>
                  <a:lnTo>
                    <a:pt x="30" y="14"/>
                  </a:lnTo>
                  <a:lnTo>
                    <a:pt x="30" y="14"/>
                  </a:lnTo>
                  <a:lnTo>
                    <a:pt x="30" y="14"/>
                  </a:lnTo>
                  <a:lnTo>
                    <a:pt x="30" y="14"/>
                  </a:lnTo>
                  <a:lnTo>
                    <a:pt x="30" y="14"/>
                  </a:lnTo>
                  <a:lnTo>
                    <a:pt x="34" y="14"/>
                  </a:lnTo>
                  <a:lnTo>
                    <a:pt x="34" y="14"/>
                  </a:lnTo>
                  <a:lnTo>
                    <a:pt x="34" y="14"/>
                  </a:lnTo>
                  <a:lnTo>
                    <a:pt x="34" y="14"/>
                  </a:lnTo>
                  <a:lnTo>
                    <a:pt x="34" y="14"/>
                  </a:lnTo>
                  <a:lnTo>
                    <a:pt x="34" y="14"/>
                  </a:lnTo>
                  <a:lnTo>
                    <a:pt x="34" y="14"/>
                  </a:lnTo>
                  <a:lnTo>
                    <a:pt x="30" y="14"/>
                  </a:lnTo>
                  <a:lnTo>
                    <a:pt x="30" y="14"/>
                  </a:lnTo>
                  <a:lnTo>
                    <a:pt x="30" y="14"/>
                  </a:lnTo>
                  <a:lnTo>
                    <a:pt x="30" y="14"/>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6" y="18"/>
                  </a:lnTo>
                  <a:lnTo>
                    <a:pt x="24" y="18"/>
                  </a:lnTo>
                  <a:lnTo>
                    <a:pt x="24" y="18"/>
                  </a:lnTo>
                  <a:lnTo>
                    <a:pt x="24" y="18"/>
                  </a:lnTo>
                  <a:lnTo>
                    <a:pt x="24" y="18"/>
                  </a:lnTo>
                  <a:lnTo>
                    <a:pt x="24" y="18"/>
                  </a:lnTo>
                  <a:lnTo>
                    <a:pt x="24" y="18"/>
                  </a:lnTo>
                  <a:lnTo>
                    <a:pt x="24" y="18"/>
                  </a:lnTo>
                  <a:lnTo>
                    <a:pt x="20" y="18"/>
                  </a:lnTo>
                  <a:lnTo>
                    <a:pt x="20" y="18"/>
                  </a:lnTo>
                  <a:lnTo>
                    <a:pt x="20" y="18"/>
                  </a:lnTo>
                  <a:lnTo>
                    <a:pt x="20" y="18"/>
                  </a:lnTo>
                  <a:lnTo>
                    <a:pt x="16" y="18"/>
                  </a:lnTo>
                  <a:lnTo>
                    <a:pt x="16" y="18"/>
                  </a:lnTo>
                  <a:lnTo>
                    <a:pt x="16" y="18"/>
                  </a:lnTo>
                  <a:lnTo>
                    <a:pt x="16" y="22"/>
                  </a:lnTo>
                  <a:lnTo>
                    <a:pt x="16" y="22"/>
                  </a:lnTo>
                  <a:lnTo>
                    <a:pt x="16" y="18"/>
                  </a:lnTo>
                  <a:lnTo>
                    <a:pt x="16" y="18"/>
                  </a:lnTo>
                  <a:lnTo>
                    <a:pt x="16" y="18"/>
                  </a:lnTo>
                  <a:lnTo>
                    <a:pt x="16" y="18"/>
                  </a:lnTo>
                  <a:lnTo>
                    <a:pt x="16" y="18"/>
                  </a:lnTo>
                  <a:lnTo>
                    <a:pt x="16" y="18"/>
                  </a:lnTo>
                  <a:lnTo>
                    <a:pt x="12" y="14"/>
                  </a:lnTo>
                  <a:lnTo>
                    <a:pt x="12" y="14"/>
                  </a:lnTo>
                  <a:lnTo>
                    <a:pt x="12" y="14"/>
                  </a:lnTo>
                  <a:lnTo>
                    <a:pt x="12" y="14"/>
                  </a:lnTo>
                  <a:lnTo>
                    <a:pt x="12" y="18"/>
                  </a:lnTo>
                  <a:lnTo>
                    <a:pt x="12" y="18"/>
                  </a:lnTo>
                  <a:lnTo>
                    <a:pt x="12" y="18"/>
                  </a:lnTo>
                  <a:lnTo>
                    <a:pt x="12" y="18"/>
                  </a:lnTo>
                  <a:lnTo>
                    <a:pt x="12" y="18"/>
                  </a:lnTo>
                  <a:lnTo>
                    <a:pt x="12" y="18"/>
                  </a:lnTo>
                  <a:lnTo>
                    <a:pt x="12" y="18"/>
                  </a:lnTo>
                  <a:lnTo>
                    <a:pt x="8" y="22"/>
                  </a:lnTo>
                  <a:lnTo>
                    <a:pt x="8" y="22"/>
                  </a:lnTo>
                  <a:lnTo>
                    <a:pt x="4" y="26"/>
                  </a:lnTo>
                  <a:lnTo>
                    <a:pt x="4" y="26"/>
                  </a:lnTo>
                  <a:lnTo>
                    <a:pt x="4" y="26"/>
                  </a:lnTo>
                  <a:lnTo>
                    <a:pt x="4" y="26"/>
                  </a:lnTo>
                  <a:lnTo>
                    <a:pt x="4" y="26"/>
                  </a:lnTo>
                  <a:lnTo>
                    <a:pt x="0" y="26"/>
                  </a:lnTo>
                  <a:lnTo>
                    <a:pt x="0" y="26"/>
                  </a:lnTo>
                  <a:lnTo>
                    <a:pt x="0" y="26"/>
                  </a:lnTo>
                  <a:lnTo>
                    <a:pt x="0" y="26"/>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4" y="22"/>
                  </a:lnTo>
                  <a:lnTo>
                    <a:pt x="0" y="22"/>
                  </a:lnTo>
                  <a:lnTo>
                    <a:pt x="0" y="22"/>
                  </a:lnTo>
                  <a:lnTo>
                    <a:pt x="4" y="22"/>
                  </a:lnTo>
                  <a:lnTo>
                    <a:pt x="4" y="22"/>
                  </a:lnTo>
                  <a:lnTo>
                    <a:pt x="4" y="22"/>
                  </a:lnTo>
                  <a:lnTo>
                    <a:pt x="4" y="22"/>
                  </a:lnTo>
                  <a:lnTo>
                    <a:pt x="4" y="22"/>
                  </a:lnTo>
                  <a:lnTo>
                    <a:pt x="4" y="18"/>
                  </a:lnTo>
                  <a:lnTo>
                    <a:pt x="4" y="18"/>
                  </a:lnTo>
                  <a:lnTo>
                    <a:pt x="4" y="14"/>
                  </a:lnTo>
                  <a:lnTo>
                    <a:pt x="4" y="14"/>
                  </a:lnTo>
                  <a:lnTo>
                    <a:pt x="4" y="14"/>
                  </a:lnTo>
                  <a:lnTo>
                    <a:pt x="4" y="14"/>
                  </a:lnTo>
                  <a:lnTo>
                    <a:pt x="4" y="14"/>
                  </a:lnTo>
                  <a:lnTo>
                    <a:pt x="0" y="10"/>
                  </a:lnTo>
                  <a:lnTo>
                    <a:pt x="0" y="10"/>
                  </a:lnTo>
                  <a:lnTo>
                    <a:pt x="0" y="10"/>
                  </a:lnTo>
                  <a:lnTo>
                    <a:pt x="0" y="10"/>
                  </a:lnTo>
                  <a:lnTo>
                    <a:pt x="0" y="10"/>
                  </a:lnTo>
                  <a:lnTo>
                    <a:pt x="0" y="10"/>
                  </a:lnTo>
                  <a:lnTo>
                    <a:pt x="0" y="10"/>
                  </a:lnTo>
                  <a:lnTo>
                    <a:pt x="0" y="10"/>
                  </a:lnTo>
                  <a:lnTo>
                    <a:pt x="0" y="10"/>
                  </a:lnTo>
                  <a:lnTo>
                    <a:pt x="0" y="1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05" name="Freeform 198"/>
            <p:cNvSpPr>
              <a:spLocks/>
            </p:cNvSpPr>
            <p:nvPr/>
          </p:nvSpPr>
          <p:spPr bwMode="auto">
            <a:xfrm>
              <a:off x="6277916" y="4024455"/>
              <a:ext cx="8792" cy="13076"/>
            </a:xfrm>
            <a:custGeom>
              <a:avLst/>
              <a:gdLst>
                <a:gd name="T0" fmla="*/ 14 w 14"/>
                <a:gd name="T1" fmla="*/ 16 h 20"/>
                <a:gd name="T2" fmla="*/ 14 w 14"/>
                <a:gd name="T3" fmla="*/ 20 h 20"/>
                <a:gd name="T4" fmla="*/ 14 w 14"/>
                <a:gd name="T5" fmla="*/ 20 h 20"/>
                <a:gd name="T6" fmla="*/ 14 w 14"/>
                <a:gd name="T7" fmla="*/ 20 h 20"/>
                <a:gd name="T8" fmla="*/ 14 w 14"/>
                <a:gd name="T9" fmla="*/ 20 h 20"/>
                <a:gd name="T10" fmla="*/ 14 w 14"/>
                <a:gd name="T11" fmla="*/ 20 h 20"/>
                <a:gd name="T12" fmla="*/ 10 w 14"/>
                <a:gd name="T13" fmla="*/ 20 h 20"/>
                <a:gd name="T14" fmla="*/ 6 w 14"/>
                <a:gd name="T15" fmla="*/ 16 h 20"/>
                <a:gd name="T16" fmla="*/ 2 w 14"/>
                <a:gd name="T17" fmla="*/ 16 h 20"/>
                <a:gd name="T18" fmla="*/ 2 w 14"/>
                <a:gd name="T19" fmla="*/ 12 h 20"/>
                <a:gd name="T20" fmla="*/ 2 w 14"/>
                <a:gd name="T21" fmla="*/ 12 h 20"/>
                <a:gd name="T22" fmla="*/ 0 w 14"/>
                <a:gd name="T23" fmla="*/ 12 h 20"/>
                <a:gd name="T24" fmla="*/ 0 w 14"/>
                <a:gd name="T25" fmla="*/ 12 h 20"/>
                <a:gd name="T26" fmla="*/ 0 w 14"/>
                <a:gd name="T27" fmla="*/ 12 h 20"/>
                <a:gd name="T28" fmla="*/ 0 w 14"/>
                <a:gd name="T29" fmla="*/ 8 h 20"/>
                <a:gd name="T30" fmla="*/ 0 w 14"/>
                <a:gd name="T31" fmla="*/ 8 h 20"/>
                <a:gd name="T32" fmla="*/ 0 w 14"/>
                <a:gd name="T33" fmla="*/ 4 h 20"/>
                <a:gd name="T34" fmla="*/ 0 w 14"/>
                <a:gd name="T35" fmla="*/ 4 h 20"/>
                <a:gd name="T36" fmla="*/ 0 w 14"/>
                <a:gd name="T37" fmla="*/ 4 h 20"/>
                <a:gd name="T38" fmla="*/ 0 w 14"/>
                <a:gd name="T39" fmla="*/ 4 h 20"/>
                <a:gd name="T40" fmla="*/ 0 w 14"/>
                <a:gd name="T41" fmla="*/ 4 h 20"/>
                <a:gd name="T42" fmla="*/ 0 w 14"/>
                <a:gd name="T43" fmla="*/ 0 h 20"/>
                <a:gd name="T44" fmla="*/ 0 w 14"/>
                <a:gd name="T45" fmla="*/ 0 h 20"/>
                <a:gd name="T46" fmla="*/ 0 w 14"/>
                <a:gd name="T47" fmla="*/ 0 h 20"/>
                <a:gd name="T48" fmla="*/ 0 w 14"/>
                <a:gd name="T49" fmla="*/ 0 h 20"/>
                <a:gd name="T50" fmla="*/ 0 w 14"/>
                <a:gd name="T51" fmla="*/ 0 h 20"/>
                <a:gd name="T52" fmla="*/ 2 w 14"/>
                <a:gd name="T53" fmla="*/ 0 h 20"/>
                <a:gd name="T54" fmla="*/ 2 w 14"/>
                <a:gd name="T55" fmla="*/ 0 h 20"/>
                <a:gd name="T56" fmla="*/ 2 w 14"/>
                <a:gd name="T57" fmla="*/ 0 h 20"/>
                <a:gd name="T58" fmla="*/ 6 w 14"/>
                <a:gd name="T59" fmla="*/ 4 h 20"/>
                <a:gd name="T60" fmla="*/ 6 w 14"/>
                <a:gd name="T61" fmla="*/ 4 h 20"/>
                <a:gd name="T62" fmla="*/ 6 w 14"/>
                <a:gd name="T63" fmla="*/ 4 h 20"/>
                <a:gd name="T64" fmla="*/ 10 w 14"/>
                <a:gd name="T65" fmla="*/ 8 h 20"/>
                <a:gd name="T66" fmla="*/ 10 w 14"/>
                <a:gd name="T67" fmla="*/ 8 h 20"/>
                <a:gd name="T68" fmla="*/ 10 w 14"/>
                <a:gd name="T69" fmla="*/ 8 h 20"/>
                <a:gd name="T70" fmla="*/ 14 w 14"/>
                <a:gd name="T71" fmla="*/ 12 h 20"/>
                <a:gd name="T72" fmla="*/ 14 w 14"/>
                <a:gd name="T73" fmla="*/ 16 h 20"/>
                <a:gd name="T74" fmla="*/ 14 w 14"/>
                <a:gd name="T75" fmla="*/ 16 h 20"/>
                <a:gd name="T76" fmla="*/ 14 w 14"/>
                <a:gd name="T77" fmla="*/ 16 h 20"/>
                <a:gd name="T78" fmla="*/ 14 w 14"/>
                <a:gd name="T79" fmla="*/ 16 h 20"/>
                <a:gd name="T80" fmla="*/ 14 w 14"/>
                <a:gd name="T81"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 h="20">
                  <a:moveTo>
                    <a:pt x="14" y="16"/>
                  </a:moveTo>
                  <a:lnTo>
                    <a:pt x="14" y="16"/>
                  </a:lnTo>
                  <a:lnTo>
                    <a:pt x="14" y="20"/>
                  </a:lnTo>
                  <a:lnTo>
                    <a:pt x="14" y="20"/>
                  </a:lnTo>
                  <a:lnTo>
                    <a:pt x="14" y="20"/>
                  </a:lnTo>
                  <a:lnTo>
                    <a:pt x="14" y="20"/>
                  </a:lnTo>
                  <a:lnTo>
                    <a:pt x="14" y="20"/>
                  </a:lnTo>
                  <a:lnTo>
                    <a:pt x="14" y="20"/>
                  </a:lnTo>
                  <a:lnTo>
                    <a:pt x="14" y="20"/>
                  </a:lnTo>
                  <a:lnTo>
                    <a:pt x="14" y="20"/>
                  </a:lnTo>
                  <a:lnTo>
                    <a:pt x="14" y="20"/>
                  </a:lnTo>
                  <a:lnTo>
                    <a:pt x="14" y="20"/>
                  </a:lnTo>
                  <a:lnTo>
                    <a:pt x="14" y="20"/>
                  </a:lnTo>
                  <a:lnTo>
                    <a:pt x="10" y="20"/>
                  </a:lnTo>
                  <a:lnTo>
                    <a:pt x="10" y="16"/>
                  </a:lnTo>
                  <a:lnTo>
                    <a:pt x="6" y="16"/>
                  </a:lnTo>
                  <a:lnTo>
                    <a:pt x="6" y="16"/>
                  </a:lnTo>
                  <a:lnTo>
                    <a:pt x="2" y="16"/>
                  </a:lnTo>
                  <a:lnTo>
                    <a:pt x="2" y="16"/>
                  </a:lnTo>
                  <a:lnTo>
                    <a:pt x="2" y="12"/>
                  </a:lnTo>
                  <a:lnTo>
                    <a:pt x="2" y="12"/>
                  </a:lnTo>
                  <a:lnTo>
                    <a:pt x="2" y="12"/>
                  </a:lnTo>
                  <a:lnTo>
                    <a:pt x="0" y="12"/>
                  </a:lnTo>
                  <a:lnTo>
                    <a:pt x="0" y="12"/>
                  </a:lnTo>
                  <a:lnTo>
                    <a:pt x="0" y="12"/>
                  </a:lnTo>
                  <a:lnTo>
                    <a:pt x="0" y="12"/>
                  </a:lnTo>
                  <a:lnTo>
                    <a:pt x="0" y="12"/>
                  </a:lnTo>
                  <a:lnTo>
                    <a:pt x="0" y="12"/>
                  </a:lnTo>
                  <a:lnTo>
                    <a:pt x="0" y="8"/>
                  </a:lnTo>
                  <a:lnTo>
                    <a:pt x="0" y="8"/>
                  </a:lnTo>
                  <a:lnTo>
                    <a:pt x="0" y="8"/>
                  </a:lnTo>
                  <a:lnTo>
                    <a:pt x="0" y="8"/>
                  </a:lnTo>
                  <a:lnTo>
                    <a:pt x="0" y="8"/>
                  </a:lnTo>
                  <a:lnTo>
                    <a:pt x="0" y="4"/>
                  </a:lnTo>
                  <a:lnTo>
                    <a:pt x="0" y="4"/>
                  </a:lnTo>
                  <a:lnTo>
                    <a:pt x="0" y="4"/>
                  </a:lnTo>
                  <a:lnTo>
                    <a:pt x="0" y="4"/>
                  </a:lnTo>
                  <a:lnTo>
                    <a:pt x="0" y="4"/>
                  </a:lnTo>
                  <a:lnTo>
                    <a:pt x="0" y="4"/>
                  </a:lnTo>
                  <a:lnTo>
                    <a:pt x="0" y="4"/>
                  </a:lnTo>
                  <a:lnTo>
                    <a:pt x="0" y="4"/>
                  </a:lnTo>
                  <a:lnTo>
                    <a:pt x="0" y="4"/>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6" y="4"/>
                  </a:lnTo>
                  <a:lnTo>
                    <a:pt x="6" y="4"/>
                  </a:lnTo>
                  <a:lnTo>
                    <a:pt x="6" y="4"/>
                  </a:lnTo>
                  <a:lnTo>
                    <a:pt x="6" y="4"/>
                  </a:lnTo>
                  <a:lnTo>
                    <a:pt x="6" y="4"/>
                  </a:lnTo>
                  <a:lnTo>
                    <a:pt x="10" y="8"/>
                  </a:lnTo>
                  <a:lnTo>
                    <a:pt x="10" y="8"/>
                  </a:lnTo>
                  <a:lnTo>
                    <a:pt x="10" y="8"/>
                  </a:lnTo>
                  <a:lnTo>
                    <a:pt x="10" y="8"/>
                  </a:lnTo>
                  <a:lnTo>
                    <a:pt x="10" y="8"/>
                  </a:lnTo>
                  <a:lnTo>
                    <a:pt x="10" y="8"/>
                  </a:lnTo>
                  <a:lnTo>
                    <a:pt x="10" y="12"/>
                  </a:lnTo>
                  <a:lnTo>
                    <a:pt x="14" y="12"/>
                  </a:lnTo>
                  <a:lnTo>
                    <a:pt x="14" y="12"/>
                  </a:lnTo>
                  <a:lnTo>
                    <a:pt x="14" y="16"/>
                  </a:lnTo>
                  <a:lnTo>
                    <a:pt x="14" y="16"/>
                  </a:lnTo>
                  <a:lnTo>
                    <a:pt x="14" y="16"/>
                  </a:lnTo>
                  <a:lnTo>
                    <a:pt x="14" y="16"/>
                  </a:lnTo>
                  <a:lnTo>
                    <a:pt x="14" y="16"/>
                  </a:lnTo>
                  <a:lnTo>
                    <a:pt x="14" y="16"/>
                  </a:lnTo>
                  <a:lnTo>
                    <a:pt x="14" y="16"/>
                  </a:lnTo>
                  <a:lnTo>
                    <a:pt x="14" y="16"/>
                  </a:lnTo>
                  <a:lnTo>
                    <a:pt x="14" y="16"/>
                  </a:lnTo>
                  <a:lnTo>
                    <a:pt x="14" y="1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06" name="Freeform 199"/>
            <p:cNvSpPr>
              <a:spLocks/>
            </p:cNvSpPr>
            <p:nvPr/>
          </p:nvSpPr>
          <p:spPr bwMode="auto">
            <a:xfrm>
              <a:off x="6303035" y="3659639"/>
              <a:ext cx="5024" cy="3923"/>
            </a:xfrm>
            <a:custGeom>
              <a:avLst/>
              <a:gdLst>
                <a:gd name="T0" fmla="*/ 4 w 8"/>
                <a:gd name="T1" fmla="*/ 4 h 6"/>
                <a:gd name="T2" fmla="*/ 4 w 8"/>
                <a:gd name="T3" fmla="*/ 4 h 6"/>
                <a:gd name="T4" fmla="*/ 8 w 8"/>
                <a:gd name="T5" fmla="*/ 4 h 6"/>
                <a:gd name="T6" fmla="*/ 8 w 8"/>
                <a:gd name="T7" fmla="*/ 4 h 6"/>
                <a:gd name="T8" fmla="*/ 8 w 8"/>
                <a:gd name="T9" fmla="*/ 4 h 6"/>
                <a:gd name="T10" fmla="*/ 8 w 8"/>
                <a:gd name="T11" fmla="*/ 4 h 6"/>
                <a:gd name="T12" fmla="*/ 8 w 8"/>
                <a:gd name="T13" fmla="*/ 4 h 6"/>
                <a:gd name="T14" fmla="*/ 8 w 8"/>
                <a:gd name="T15" fmla="*/ 4 h 6"/>
                <a:gd name="T16" fmla="*/ 8 w 8"/>
                <a:gd name="T17" fmla="*/ 6 h 6"/>
                <a:gd name="T18" fmla="*/ 8 w 8"/>
                <a:gd name="T19" fmla="*/ 6 h 6"/>
                <a:gd name="T20" fmla="*/ 8 w 8"/>
                <a:gd name="T21" fmla="*/ 6 h 6"/>
                <a:gd name="T22" fmla="*/ 8 w 8"/>
                <a:gd name="T23" fmla="*/ 6 h 6"/>
                <a:gd name="T24" fmla="*/ 8 w 8"/>
                <a:gd name="T25" fmla="*/ 6 h 6"/>
                <a:gd name="T26" fmla="*/ 8 w 8"/>
                <a:gd name="T27" fmla="*/ 6 h 6"/>
                <a:gd name="T28" fmla="*/ 4 w 8"/>
                <a:gd name="T29" fmla="*/ 6 h 6"/>
                <a:gd name="T30" fmla="*/ 4 w 8"/>
                <a:gd name="T31" fmla="*/ 6 h 6"/>
                <a:gd name="T32" fmla="*/ 4 w 8"/>
                <a:gd name="T33" fmla="*/ 6 h 6"/>
                <a:gd name="T34" fmla="*/ 4 w 8"/>
                <a:gd name="T35" fmla="*/ 6 h 6"/>
                <a:gd name="T36" fmla="*/ 0 w 8"/>
                <a:gd name="T37" fmla="*/ 6 h 6"/>
                <a:gd name="T38" fmla="*/ 0 w 8"/>
                <a:gd name="T39" fmla="*/ 6 h 6"/>
                <a:gd name="T40" fmla="*/ 0 w 8"/>
                <a:gd name="T41" fmla="*/ 6 h 6"/>
                <a:gd name="T42" fmla="*/ 0 w 8"/>
                <a:gd name="T43" fmla="*/ 6 h 6"/>
                <a:gd name="T44" fmla="*/ 0 w 8"/>
                <a:gd name="T45" fmla="*/ 6 h 6"/>
                <a:gd name="T46" fmla="*/ 0 w 8"/>
                <a:gd name="T47" fmla="*/ 6 h 6"/>
                <a:gd name="T48" fmla="*/ 0 w 8"/>
                <a:gd name="T49" fmla="*/ 6 h 6"/>
                <a:gd name="T50" fmla="*/ 0 w 8"/>
                <a:gd name="T51" fmla="*/ 6 h 6"/>
                <a:gd name="T52" fmla="*/ 0 w 8"/>
                <a:gd name="T53" fmla="*/ 6 h 6"/>
                <a:gd name="T54" fmla="*/ 0 w 8"/>
                <a:gd name="T55" fmla="*/ 6 h 6"/>
                <a:gd name="T56" fmla="*/ 0 w 8"/>
                <a:gd name="T57" fmla="*/ 6 h 6"/>
                <a:gd name="T58" fmla="*/ 0 w 8"/>
                <a:gd name="T59" fmla="*/ 6 h 6"/>
                <a:gd name="T60" fmla="*/ 4 w 8"/>
                <a:gd name="T61" fmla="*/ 6 h 6"/>
                <a:gd name="T62" fmla="*/ 4 w 8"/>
                <a:gd name="T63" fmla="*/ 6 h 6"/>
                <a:gd name="T64" fmla="*/ 4 w 8"/>
                <a:gd name="T65" fmla="*/ 6 h 6"/>
                <a:gd name="T66" fmla="*/ 0 w 8"/>
                <a:gd name="T67" fmla="*/ 4 h 6"/>
                <a:gd name="T68" fmla="*/ 0 w 8"/>
                <a:gd name="T69" fmla="*/ 4 h 6"/>
                <a:gd name="T70" fmla="*/ 0 w 8"/>
                <a:gd name="T71" fmla="*/ 4 h 6"/>
                <a:gd name="T72" fmla="*/ 4 w 8"/>
                <a:gd name="T73" fmla="*/ 4 h 6"/>
                <a:gd name="T74" fmla="*/ 4 w 8"/>
                <a:gd name="T75" fmla="*/ 4 h 6"/>
                <a:gd name="T76" fmla="*/ 4 w 8"/>
                <a:gd name="T77" fmla="*/ 4 h 6"/>
                <a:gd name="T78" fmla="*/ 4 w 8"/>
                <a:gd name="T79" fmla="*/ 0 h 6"/>
                <a:gd name="T80" fmla="*/ 4 w 8"/>
                <a:gd name="T81" fmla="*/ 0 h 6"/>
                <a:gd name="T82" fmla="*/ 4 w 8"/>
                <a:gd name="T83" fmla="*/ 0 h 6"/>
                <a:gd name="T84" fmla="*/ 4 w 8"/>
                <a:gd name="T85" fmla="*/ 0 h 6"/>
                <a:gd name="T86" fmla="*/ 4 w 8"/>
                <a:gd name="T87" fmla="*/ 0 h 6"/>
                <a:gd name="T88" fmla="*/ 4 w 8"/>
                <a:gd name="T89" fmla="*/ 4 h 6"/>
                <a:gd name="T90" fmla="*/ 4 w 8"/>
                <a:gd name="T91" fmla="*/ 4 h 6"/>
                <a:gd name="T92" fmla="*/ 4 w 8"/>
                <a:gd name="T93" fmla="*/ 4 h 6"/>
                <a:gd name="T94" fmla="*/ 4 w 8"/>
                <a:gd name="T95" fmla="*/ 4 h 6"/>
                <a:gd name="T96" fmla="*/ 4 w 8"/>
                <a:gd name="T97" fmla="*/ 4 h 6"/>
                <a:gd name="T98" fmla="*/ 4 w 8"/>
                <a:gd name="T99" fmla="*/ 4 h 6"/>
                <a:gd name="T100" fmla="*/ 4 w 8"/>
                <a:gd name="T10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 h="6">
                  <a:moveTo>
                    <a:pt x="4" y="4"/>
                  </a:moveTo>
                  <a:lnTo>
                    <a:pt x="4" y="4"/>
                  </a:lnTo>
                  <a:lnTo>
                    <a:pt x="8" y="4"/>
                  </a:lnTo>
                  <a:lnTo>
                    <a:pt x="8" y="4"/>
                  </a:lnTo>
                  <a:lnTo>
                    <a:pt x="8" y="4"/>
                  </a:lnTo>
                  <a:lnTo>
                    <a:pt x="8" y="4"/>
                  </a:lnTo>
                  <a:lnTo>
                    <a:pt x="8" y="4"/>
                  </a:lnTo>
                  <a:lnTo>
                    <a:pt x="8" y="4"/>
                  </a:lnTo>
                  <a:lnTo>
                    <a:pt x="8" y="6"/>
                  </a:lnTo>
                  <a:lnTo>
                    <a:pt x="8" y="6"/>
                  </a:lnTo>
                  <a:lnTo>
                    <a:pt x="8" y="6"/>
                  </a:lnTo>
                  <a:lnTo>
                    <a:pt x="8" y="6"/>
                  </a:lnTo>
                  <a:lnTo>
                    <a:pt x="8" y="6"/>
                  </a:lnTo>
                  <a:lnTo>
                    <a:pt x="8" y="6"/>
                  </a:lnTo>
                  <a:lnTo>
                    <a:pt x="4" y="6"/>
                  </a:lnTo>
                  <a:lnTo>
                    <a:pt x="4" y="6"/>
                  </a:lnTo>
                  <a:lnTo>
                    <a:pt x="4" y="6"/>
                  </a:lnTo>
                  <a:lnTo>
                    <a:pt x="4" y="6"/>
                  </a:lnTo>
                  <a:lnTo>
                    <a:pt x="0" y="6"/>
                  </a:lnTo>
                  <a:lnTo>
                    <a:pt x="0" y="6"/>
                  </a:lnTo>
                  <a:lnTo>
                    <a:pt x="0" y="6"/>
                  </a:lnTo>
                  <a:lnTo>
                    <a:pt x="0" y="6"/>
                  </a:lnTo>
                  <a:lnTo>
                    <a:pt x="0" y="6"/>
                  </a:lnTo>
                  <a:lnTo>
                    <a:pt x="0" y="6"/>
                  </a:lnTo>
                  <a:lnTo>
                    <a:pt x="0" y="6"/>
                  </a:lnTo>
                  <a:lnTo>
                    <a:pt x="0" y="6"/>
                  </a:lnTo>
                  <a:lnTo>
                    <a:pt x="0" y="6"/>
                  </a:lnTo>
                  <a:lnTo>
                    <a:pt x="0" y="6"/>
                  </a:lnTo>
                  <a:lnTo>
                    <a:pt x="0" y="6"/>
                  </a:lnTo>
                  <a:lnTo>
                    <a:pt x="0" y="6"/>
                  </a:lnTo>
                  <a:lnTo>
                    <a:pt x="4" y="6"/>
                  </a:lnTo>
                  <a:lnTo>
                    <a:pt x="4" y="6"/>
                  </a:lnTo>
                  <a:lnTo>
                    <a:pt x="4" y="6"/>
                  </a:lnTo>
                  <a:lnTo>
                    <a:pt x="0" y="4"/>
                  </a:lnTo>
                  <a:lnTo>
                    <a:pt x="0" y="4"/>
                  </a:lnTo>
                  <a:lnTo>
                    <a:pt x="0" y="4"/>
                  </a:lnTo>
                  <a:lnTo>
                    <a:pt x="4" y="4"/>
                  </a:lnTo>
                  <a:lnTo>
                    <a:pt x="4" y="4"/>
                  </a:lnTo>
                  <a:lnTo>
                    <a:pt x="4" y="4"/>
                  </a:lnTo>
                  <a:lnTo>
                    <a:pt x="4" y="0"/>
                  </a:lnTo>
                  <a:lnTo>
                    <a:pt x="4" y="0"/>
                  </a:lnTo>
                  <a:lnTo>
                    <a:pt x="4" y="0"/>
                  </a:lnTo>
                  <a:lnTo>
                    <a:pt x="4" y="0"/>
                  </a:lnTo>
                  <a:lnTo>
                    <a:pt x="4" y="0"/>
                  </a:lnTo>
                  <a:lnTo>
                    <a:pt x="4" y="4"/>
                  </a:lnTo>
                  <a:lnTo>
                    <a:pt x="4" y="4"/>
                  </a:lnTo>
                  <a:lnTo>
                    <a:pt x="4" y="4"/>
                  </a:lnTo>
                  <a:lnTo>
                    <a:pt x="4" y="4"/>
                  </a:lnTo>
                  <a:lnTo>
                    <a:pt x="4" y="4"/>
                  </a:lnTo>
                  <a:lnTo>
                    <a:pt x="4" y="4"/>
                  </a:lnTo>
                  <a:lnTo>
                    <a:pt x="4" y="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07" name="Freeform 200"/>
            <p:cNvSpPr>
              <a:spLocks/>
            </p:cNvSpPr>
            <p:nvPr/>
          </p:nvSpPr>
          <p:spPr bwMode="auto">
            <a:xfrm>
              <a:off x="8573814" y="4557949"/>
              <a:ext cx="54006" cy="91531"/>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08" name="Freeform 201"/>
            <p:cNvSpPr>
              <a:spLocks/>
            </p:cNvSpPr>
            <p:nvPr/>
          </p:nvSpPr>
          <p:spPr bwMode="auto">
            <a:xfrm>
              <a:off x="8573814" y="4557949"/>
              <a:ext cx="54006" cy="91531"/>
            </a:xfrm>
            <a:custGeom>
              <a:avLst/>
              <a:gdLst>
                <a:gd name="T0" fmla="*/ 52 w 86"/>
                <a:gd name="T1" fmla="*/ 124 h 140"/>
                <a:gd name="T2" fmla="*/ 44 w 86"/>
                <a:gd name="T3" fmla="*/ 136 h 140"/>
                <a:gd name="T4" fmla="*/ 38 w 86"/>
                <a:gd name="T5" fmla="*/ 136 h 140"/>
                <a:gd name="T6" fmla="*/ 30 w 86"/>
                <a:gd name="T7" fmla="*/ 136 h 140"/>
                <a:gd name="T8" fmla="*/ 34 w 86"/>
                <a:gd name="T9" fmla="*/ 124 h 140"/>
                <a:gd name="T10" fmla="*/ 38 w 86"/>
                <a:gd name="T11" fmla="*/ 112 h 140"/>
                <a:gd name="T12" fmla="*/ 30 w 86"/>
                <a:gd name="T13" fmla="*/ 106 h 140"/>
                <a:gd name="T14" fmla="*/ 22 w 86"/>
                <a:gd name="T15" fmla="*/ 98 h 140"/>
                <a:gd name="T16" fmla="*/ 18 w 86"/>
                <a:gd name="T17" fmla="*/ 90 h 140"/>
                <a:gd name="T18" fmla="*/ 30 w 86"/>
                <a:gd name="T19" fmla="*/ 86 h 140"/>
                <a:gd name="T20" fmla="*/ 30 w 86"/>
                <a:gd name="T21" fmla="*/ 72 h 140"/>
                <a:gd name="T22" fmla="*/ 30 w 86"/>
                <a:gd name="T23" fmla="*/ 64 h 140"/>
                <a:gd name="T24" fmla="*/ 30 w 86"/>
                <a:gd name="T25" fmla="*/ 56 h 140"/>
                <a:gd name="T26" fmla="*/ 26 w 86"/>
                <a:gd name="T27" fmla="*/ 54 h 140"/>
                <a:gd name="T28" fmla="*/ 34 w 86"/>
                <a:gd name="T29" fmla="*/ 54 h 140"/>
                <a:gd name="T30" fmla="*/ 26 w 86"/>
                <a:gd name="T31" fmla="*/ 46 h 140"/>
                <a:gd name="T32" fmla="*/ 26 w 86"/>
                <a:gd name="T33" fmla="*/ 42 h 140"/>
                <a:gd name="T34" fmla="*/ 26 w 86"/>
                <a:gd name="T35" fmla="*/ 34 h 140"/>
                <a:gd name="T36" fmla="*/ 22 w 86"/>
                <a:gd name="T37" fmla="*/ 34 h 140"/>
                <a:gd name="T38" fmla="*/ 18 w 86"/>
                <a:gd name="T39" fmla="*/ 30 h 140"/>
                <a:gd name="T40" fmla="*/ 18 w 86"/>
                <a:gd name="T41" fmla="*/ 38 h 140"/>
                <a:gd name="T42" fmla="*/ 14 w 86"/>
                <a:gd name="T43" fmla="*/ 26 h 140"/>
                <a:gd name="T44" fmla="*/ 14 w 86"/>
                <a:gd name="T45" fmla="*/ 16 h 140"/>
                <a:gd name="T46" fmla="*/ 12 w 86"/>
                <a:gd name="T47" fmla="*/ 20 h 140"/>
                <a:gd name="T48" fmla="*/ 4 w 86"/>
                <a:gd name="T49" fmla="*/ 8 h 140"/>
                <a:gd name="T50" fmla="*/ 8 w 86"/>
                <a:gd name="T51" fmla="*/ 0 h 140"/>
                <a:gd name="T52" fmla="*/ 4 w 86"/>
                <a:gd name="T53" fmla="*/ 4 h 140"/>
                <a:gd name="T54" fmla="*/ 8 w 86"/>
                <a:gd name="T55" fmla="*/ 12 h 140"/>
                <a:gd name="T56" fmla="*/ 14 w 86"/>
                <a:gd name="T57" fmla="*/ 12 h 140"/>
                <a:gd name="T58" fmla="*/ 22 w 86"/>
                <a:gd name="T59" fmla="*/ 16 h 140"/>
                <a:gd name="T60" fmla="*/ 26 w 86"/>
                <a:gd name="T61" fmla="*/ 20 h 140"/>
                <a:gd name="T62" fmla="*/ 26 w 86"/>
                <a:gd name="T63" fmla="*/ 26 h 140"/>
                <a:gd name="T64" fmla="*/ 30 w 86"/>
                <a:gd name="T65" fmla="*/ 30 h 140"/>
                <a:gd name="T66" fmla="*/ 30 w 86"/>
                <a:gd name="T67" fmla="*/ 46 h 140"/>
                <a:gd name="T68" fmla="*/ 34 w 86"/>
                <a:gd name="T69" fmla="*/ 50 h 140"/>
                <a:gd name="T70" fmla="*/ 40 w 86"/>
                <a:gd name="T71" fmla="*/ 50 h 140"/>
                <a:gd name="T72" fmla="*/ 38 w 86"/>
                <a:gd name="T73" fmla="*/ 38 h 140"/>
                <a:gd name="T74" fmla="*/ 44 w 86"/>
                <a:gd name="T75" fmla="*/ 50 h 140"/>
                <a:gd name="T76" fmla="*/ 48 w 86"/>
                <a:gd name="T77" fmla="*/ 54 h 140"/>
                <a:gd name="T78" fmla="*/ 48 w 86"/>
                <a:gd name="T79" fmla="*/ 60 h 140"/>
                <a:gd name="T80" fmla="*/ 52 w 86"/>
                <a:gd name="T81" fmla="*/ 64 h 140"/>
                <a:gd name="T82" fmla="*/ 64 w 86"/>
                <a:gd name="T83" fmla="*/ 68 h 140"/>
                <a:gd name="T84" fmla="*/ 74 w 86"/>
                <a:gd name="T85" fmla="*/ 64 h 140"/>
                <a:gd name="T86" fmla="*/ 86 w 86"/>
                <a:gd name="T87" fmla="*/ 64 h 140"/>
                <a:gd name="T88" fmla="*/ 82 w 86"/>
                <a:gd name="T89" fmla="*/ 76 h 140"/>
                <a:gd name="T90" fmla="*/ 74 w 86"/>
                <a:gd name="T91" fmla="*/ 86 h 140"/>
                <a:gd name="T92" fmla="*/ 70 w 86"/>
                <a:gd name="T93" fmla="*/ 90 h 140"/>
                <a:gd name="T94" fmla="*/ 60 w 86"/>
                <a:gd name="T95" fmla="*/ 98 h 140"/>
                <a:gd name="T96" fmla="*/ 60 w 86"/>
                <a:gd name="T97"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 h="140">
                  <a:moveTo>
                    <a:pt x="56" y="116"/>
                  </a:moveTo>
                  <a:lnTo>
                    <a:pt x="56" y="120"/>
                  </a:lnTo>
                  <a:lnTo>
                    <a:pt x="52" y="120"/>
                  </a:lnTo>
                  <a:lnTo>
                    <a:pt x="52" y="124"/>
                  </a:lnTo>
                  <a:lnTo>
                    <a:pt x="52" y="128"/>
                  </a:lnTo>
                  <a:lnTo>
                    <a:pt x="48" y="128"/>
                  </a:lnTo>
                  <a:lnTo>
                    <a:pt x="48" y="132"/>
                  </a:lnTo>
                  <a:lnTo>
                    <a:pt x="44" y="136"/>
                  </a:lnTo>
                  <a:lnTo>
                    <a:pt x="40" y="136"/>
                  </a:lnTo>
                  <a:lnTo>
                    <a:pt x="40" y="140"/>
                  </a:lnTo>
                  <a:lnTo>
                    <a:pt x="38" y="140"/>
                  </a:lnTo>
                  <a:lnTo>
                    <a:pt x="38" y="136"/>
                  </a:lnTo>
                  <a:lnTo>
                    <a:pt x="34" y="136"/>
                  </a:lnTo>
                  <a:lnTo>
                    <a:pt x="34" y="132"/>
                  </a:lnTo>
                  <a:lnTo>
                    <a:pt x="30" y="132"/>
                  </a:lnTo>
                  <a:lnTo>
                    <a:pt x="30" y="136"/>
                  </a:lnTo>
                  <a:lnTo>
                    <a:pt x="30" y="132"/>
                  </a:lnTo>
                  <a:lnTo>
                    <a:pt x="30" y="128"/>
                  </a:lnTo>
                  <a:lnTo>
                    <a:pt x="34" y="128"/>
                  </a:lnTo>
                  <a:lnTo>
                    <a:pt x="34" y="124"/>
                  </a:lnTo>
                  <a:lnTo>
                    <a:pt x="34" y="120"/>
                  </a:lnTo>
                  <a:lnTo>
                    <a:pt x="38" y="120"/>
                  </a:lnTo>
                  <a:lnTo>
                    <a:pt x="38" y="116"/>
                  </a:lnTo>
                  <a:lnTo>
                    <a:pt x="38" y="112"/>
                  </a:lnTo>
                  <a:lnTo>
                    <a:pt x="38" y="110"/>
                  </a:lnTo>
                  <a:lnTo>
                    <a:pt x="34" y="110"/>
                  </a:lnTo>
                  <a:lnTo>
                    <a:pt x="34" y="106"/>
                  </a:lnTo>
                  <a:lnTo>
                    <a:pt x="30" y="106"/>
                  </a:lnTo>
                  <a:lnTo>
                    <a:pt x="26" y="106"/>
                  </a:lnTo>
                  <a:lnTo>
                    <a:pt x="26" y="102"/>
                  </a:lnTo>
                  <a:lnTo>
                    <a:pt x="22" y="102"/>
                  </a:lnTo>
                  <a:lnTo>
                    <a:pt x="22" y="98"/>
                  </a:lnTo>
                  <a:lnTo>
                    <a:pt x="18" y="98"/>
                  </a:lnTo>
                  <a:lnTo>
                    <a:pt x="14" y="94"/>
                  </a:lnTo>
                  <a:lnTo>
                    <a:pt x="14" y="90"/>
                  </a:lnTo>
                  <a:lnTo>
                    <a:pt x="18" y="90"/>
                  </a:lnTo>
                  <a:lnTo>
                    <a:pt x="22" y="90"/>
                  </a:lnTo>
                  <a:lnTo>
                    <a:pt x="22" y="86"/>
                  </a:lnTo>
                  <a:lnTo>
                    <a:pt x="26" y="86"/>
                  </a:lnTo>
                  <a:lnTo>
                    <a:pt x="30" y="86"/>
                  </a:lnTo>
                  <a:lnTo>
                    <a:pt x="30" y="82"/>
                  </a:lnTo>
                  <a:lnTo>
                    <a:pt x="30" y="80"/>
                  </a:lnTo>
                  <a:lnTo>
                    <a:pt x="30" y="76"/>
                  </a:lnTo>
                  <a:lnTo>
                    <a:pt x="30" y="72"/>
                  </a:lnTo>
                  <a:lnTo>
                    <a:pt x="34" y="72"/>
                  </a:lnTo>
                  <a:lnTo>
                    <a:pt x="34" y="68"/>
                  </a:lnTo>
                  <a:lnTo>
                    <a:pt x="30" y="68"/>
                  </a:lnTo>
                  <a:lnTo>
                    <a:pt x="30" y="64"/>
                  </a:lnTo>
                  <a:lnTo>
                    <a:pt x="34" y="64"/>
                  </a:lnTo>
                  <a:lnTo>
                    <a:pt x="30" y="64"/>
                  </a:lnTo>
                  <a:lnTo>
                    <a:pt x="30" y="60"/>
                  </a:lnTo>
                  <a:lnTo>
                    <a:pt x="30" y="56"/>
                  </a:lnTo>
                  <a:lnTo>
                    <a:pt x="34" y="56"/>
                  </a:lnTo>
                  <a:lnTo>
                    <a:pt x="30" y="56"/>
                  </a:lnTo>
                  <a:lnTo>
                    <a:pt x="30" y="54"/>
                  </a:lnTo>
                  <a:lnTo>
                    <a:pt x="26" y="54"/>
                  </a:lnTo>
                  <a:lnTo>
                    <a:pt x="26" y="50"/>
                  </a:lnTo>
                  <a:lnTo>
                    <a:pt x="30" y="50"/>
                  </a:lnTo>
                  <a:lnTo>
                    <a:pt x="30" y="54"/>
                  </a:lnTo>
                  <a:lnTo>
                    <a:pt x="34" y="54"/>
                  </a:lnTo>
                  <a:lnTo>
                    <a:pt x="34" y="50"/>
                  </a:lnTo>
                  <a:lnTo>
                    <a:pt x="30" y="50"/>
                  </a:lnTo>
                  <a:lnTo>
                    <a:pt x="26" y="50"/>
                  </a:lnTo>
                  <a:lnTo>
                    <a:pt x="26" y="46"/>
                  </a:lnTo>
                  <a:lnTo>
                    <a:pt x="22" y="42"/>
                  </a:lnTo>
                  <a:lnTo>
                    <a:pt x="22" y="38"/>
                  </a:lnTo>
                  <a:lnTo>
                    <a:pt x="22" y="42"/>
                  </a:lnTo>
                  <a:lnTo>
                    <a:pt x="26" y="42"/>
                  </a:lnTo>
                  <a:lnTo>
                    <a:pt x="26" y="38"/>
                  </a:lnTo>
                  <a:lnTo>
                    <a:pt x="22" y="38"/>
                  </a:lnTo>
                  <a:lnTo>
                    <a:pt x="26" y="38"/>
                  </a:lnTo>
                  <a:lnTo>
                    <a:pt x="26" y="34"/>
                  </a:lnTo>
                  <a:lnTo>
                    <a:pt x="26" y="38"/>
                  </a:lnTo>
                  <a:lnTo>
                    <a:pt x="22" y="38"/>
                  </a:lnTo>
                  <a:lnTo>
                    <a:pt x="26" y="34"/>
                  </a:lnTo>
                  <a:lnTo>
                    <a:pt x="22" y="34"/>
                  </a:lnTo>
                  <a:lnTo>
                    <a:pt x="18" y="34"/>
                  </a:lnTo>
                  <a:lnTo>
                    <a:pt x="18" y="30"/>
                  </a:lnTo>
                  <a:lnTo>
                    <a:pt x="18" y="26"/>
                  </a:lnTo>
                  <a:lnTo>
                    <a:pt x="18" y="30"/>
                  </a:lnTo>
                  <a:lnTo>
                    <a:pt x="18" y="34"/>
                  </a:lnTo>
                  <a:lnTo>
                    <a:pt x="22" y="34"/>
                  </a:lnTo>
                  <a:lnTo>
                    <a:pt x="22" y="38"/>
                  </a:lnTo>
                  <a:lnTo>
                    <a:pt x="18" y="38"/>
                  </a:lnTo>
                  <a:lnTo>
                    <a:pt x="18" y="34"/>
                  </a:lnTo>
                  <a:lnTo>
                    <a:pt x="18" y="30"/>
                  </a:lnTo>
                  <a:lnTo>
                    <a:pt x="14" y="30"/>
                  </a:lnTo>
                  <a:lnTo>
                    <a:pt x="14" y="26"/>
                  </a:lnTo>
                  <a:lnTo>
                    <a:pt x="12" y="24"/>
                  </a:lnTo>
                  <a:lnTo>
                    <a:pt x="12" y="20"/>
                  </a:lnTo>
                  <a:lnTo>
                    <a:pt x="14" y="20"/>
                  </a:lnTo>
                  <a:lnTo>
                    <a:pt x="14" y="16"/>
                  </a:lnTo>
                  <a:lnTo>
                    <a:pt x="14" y="20"/>
                  </a:lnTo>
                  <a:lnTo>
                    <a:pt x="12" y="20"/>
                  </a:lnTo>
                  <a:lnTo>
                    <a:pt x="12" y="24"/>
                  </a:lnTo>
                  <a:lnTo>
                    <a:pt x="12" y="20"/>
                  </a:lnTo>
                  <a:lnTo>
                    <a:pt x="8" y="20"/>
                  </a:lnTo>
                  <a:lnTo>
                    <a:pt x="8" y="16"/>
                  </a:lnTo>
                  <a:lnTo>
                    <a:pt x="8" y="12"/>
                  </a:lnTo>
                  <a:lnTo>
                    <a:pt x="4" y="8"/>
                  </a:lnTo>
                  <a:lnTo>
                    <a:pt x="4" y="4"/>
                  </a:lnTo>
                  <a:lnTo>
                    <a:pt x="0" y="0"/>
                  </a:lnTo>
                  <a:lnTo>
                    <a:pt x="4" y="0"/>
                  </a:lnTo>
                  <a:lnTo>
                    <a:pt x="8" y="0"/>
                  </a:lnTo>
                  <a:lnTo>
                    <a:pt x="8" y="4"/>
                  </a:lnTo>
                  <a:lnTo>
                    <a:pt x="8" y="0"/>
                  </a:lnTo>
                  <a:lnTo>
                    <a:pt x="4" y="0"/>
                  </a:lnTo>
                  <a:lnTo>
                    <a:pt x="4" y="4"/>
                  </a:lnTo>
                  <a:lnTo>
                    <a:pt x="8" y="4"/>
                  </a:lnTo>
                  <a:lnTo>
                    <a:pt x="8" y="8"/>
                  </a:lnTo>
                  <a:lnTo>
                    <a:pt x="12" y="12"/>
                  </a:lnTo>
                  <a:lnTo>
                    <a:pt x="8" y="12"/>
                  </a:lnTo>
                  <a:lnTo>
                    <a:pt x="12" y="12"/>
                  </a:lnTo>
                  <a:lnTo>
                    <a:pt x="12" y="8"/>
                  </a:lnTo>
                  <a:lnTo>
                    <a:pt x="12" y="12"/>
                  </a:lnTo>
                  <a:lnTo>
                    <a:pt x="14" y="12"/>
                  </a:lnTo>
                  <a:lnTo>
                    <a:pt x="18" y="12"/>
                  </a:lnTo>
                  <a:lnTo>
                    <a:pt x="22" y="16"/>
                  </a:lnTo>
                  <a:lnTo>
                    <a:pt x="18" y="16"/>
                  </a:lnTo>
                  <a:lnTo>
                    <a:pt x="22" y="16"/>
                  </a:lnTo>
                  <a:lnTo>
                    <a:pt x="22" y="20"/>
                  </a:lnTo>
                  <a:lnTo>
                    <a:pt x="22" y="16"/>
                  </a:lnTo>
                  <a:lnTo>
                    <a:pt x="26" y="16"/>
                  </a:lnTo>
                  <a:lnTo>
                    <a:pt x="26" y="20"/>
                  </a:lnTo>
                  <a:lnTo>
                    <a:pt x="26" y="24"/>
                  </a:lnTo>
                  <a:lnTo>
                    <a:pt x="30" y="24"/>
                  </a:lnTo>
                  <a:lnTo>
                    <a:pt x="26" y="24"/>
                  </a:lnTo>
                  <a:lnTo>
                    <a:pt x="26" y="26"/>
                  </a:lnTo>
                  <a:lnTo>
                    <a:pt x="30" y="26"/>
                  </a:lnTo>
                  <a:lnTo>
                    <a:pt x="26" y="26"/>
                  </a:lnTo>
                  <a:lnTo>
                    <a:pt x="26" y="30"/>
                  </a:lnTo>
                  <a:lnTo>
                    <a:pt x="30" y="30"/>
                  </a:lnTo>
                  <a:lnTo>
                    <a:pt x="30" y="34"/>
                  </a:lnTo>
                  <a:lnTo>
                    <a:pt x="30" y="38"/>
                  </a:lnTo>
                  <a:lnTo>
                    <a:pt x="30" y="42"/>
                  </a:lnTo>
                  <a:lnTo>
                    <a:pt x="30" y="46"/>
                  </a:lnTo>
                  <a:lnTo>
                    <a:pt x="34" y="46"/>
                  </a:lnTo>
                  <a:lnTo>
                    <a:pt x="34" y="50"/>
                  </a:lnTo>
                  <a:lnTo>
                    <a:pt x="34" y="46"/>
                  </a:lnTo>
                  <a:lnTo>
                    <a:pt x="34" y="50"/>
                  </a:lnTo>
                  <a:lnTo>
                    <a:pt x="38" y="50"/>
                  </a:lnTo>
                  <a:lnTo>
                    <a:pt x="38" y="54"/>
                  </a:lnTo>
                  <a:lnTo>
                    <a:pt x="40" y="54"/>
                  </a:lnTo>
                  <a:lnTo>
                    <a:pt x="40" y="50"/>
                  </a:lnTo>
                  <a:lnTo>
                    <a:pt x="40" y="46"/>
                  </a:lnTo>
                  <a:lnTo>
                    <a:pt x="40" y="42"/>
                  </a:lnTo>
                  <a:lnTo>
                    <a:pt x="38" y="42"/>
                  </a:lnTo>
                  <a:lnTo>
                    <a:pt x="38" y="38"/>
                  </a:lnTo>
                  <a:lnTo>
                    <a:pt x="40" y="42"/>
                  </a:lnTo>
                  <a:lnTo>
                    <a:pt x="40" y="46"/>
                  </a:lnTo>
                  <a:lnTo>
                    <a:pt x="44" y="46"/>
                  </a:lnTo>
                  <a:lnTo>
                    <a:pt x="44" y="50"/>
                  </a:lnTo>
                  <a:lnTo>
                    <a:pt x="44" y="46"/>
                  </a:lnTo>
                  <a:lnTo>
                    <a:pt x="44" y="50"/>
                  </a:lnTo>
                  <a:lnTo>
                    <a:pt x="48" y="50"/>
                  </a:lnTo>
                  <a:lnTo>
                    <a:pt x="48" y="54"/>
                  </a:lnTo>
                  <a:lnTo>
                    <a:pt x="44" y="54"/>
                  </a:lnTo>
                  <a:lnTo>
                    <a:pt x="48" y="54"/>
                  </a:lnTo>
                  <a:lnTo>
                    <a:pt x="48" y="56"/>
                  </a:lnTo>
                  <a:lnTo>
                    <a:pt x="48" y="60"/>
                  </a:lnTo>
                  <a:lnTo>
                    <a:pt x="52" y="60"/>
                  </a:lnTo>
                  <a:lnTo>
                    <a:pt x="48" y="60"/>
                  </a:lnTo>
                  <a:lnTo>
                    <a:pt x="48" y="64"/>
                  </a:lnTo>
                  <a:lnTo>
                    <a:pt x="52" y="64"/>
                  </a:lnTo>
                  <a:lnTo>
                    <a:pt x="56" y="64"/>
                  </a:lnTo>
                  <a:lnTo>
                    <a:pt x="56" y="68"/>
                  </a:lnTo>
                  <a:lnTo>
                    <a:pt x="60" y="68"/>
                  </a:lnTo>
                  <a:lnTo>
                    <a:pt x="64" y="68"/>
                  </a:lnTo>
                  <a:lnTo>
                    <a:pt x="66" y="68"/>
                  </a:lnTo>
                  <a:lnTo>
                    <a:pt x="70" y="68"/>
                  </a:lnTo>
                  <a:lnTo>
                    <a:pt x="70" y="64"/>
                  </a:lnTo>
                  <a:lnTo>
                    <a:pt x="74" y="64"/>
                  </a:lnTo>
                  <a:lnTo>
                    <a:pt x="74" y="60"/>
                  </a:lnTo>
                  <a:lnTo>
                    <a:pt x="78" y="60"/>
                  </a:lnTo>
                  <a:lnTo>
                    <a:pt x="82" y="60"/>
                  </a:lnTo>
                  <a:lnTo>
                    <a:pt x="86" y="64"/>
                  </a:lnTo>
                  <a:lnTo>
                    <a:pt x="82" y="64"/>
                  </a:lnTo>
                  <a:lnTo>
                    <a:pt x="82" y="68"/>
                  </a:lnTo>
                  <a:lnTo>
                    <a:pt x="82" y="72"/>
                  </a:lnTo>
                  <a:lnTo>
                    <a:pt x="82" y="76"/>
                  </a:lnTo>
                  <a:lnTo>
                    <a:pt x="82" y="80"/>
                  </a:lnTo>
                  <a:lnTo>
                    <a:pt x="78" y="82"/>
                  </a:lnTo>
                  <a:lnTo>
                    <a:pt x="74" y="82"/>
                  </a:lnTo>
                  <a:lnTo>
                    <a:pt x="74" y="86"/>
                  </a:lnTo>
                  <a:lnTo>
                    <a:pt x="74" y="90"/>
                  </a:lnTo>
                  <a:lnTo>
                    <a:pt x="74" y="94"/>
                  </a:lnTo>
                  <a:lnTo>
                    <a:pt x="74" y="90"/>
                  </a:lnTo>
                  <a:lnTo>
                    <a:pt x="70" y="90"/>
                  </a:lnTo>
                  <a:lnTo>
                    <a:pt x="66" y="90"/>
                  </a:lnTo>
                  <a:lnTo>
                    <a:pt x="64" y="90"/>
                  </a:lnTo>
                  <a:lnTo>
                    <a:pt x="60" y="94"/>
                  </a:lnTo>
                  <a:lnTo>
                    <a:pt x="60" y="98"/>
                  </a:lnTo>
                  <a:lnTo>
                    <a:pt x="60" y="102"/>
                  </a:lnTo>
                  <a:lnTo>
                    <a:pt x="64" y="102"/>
                  </a:lnTo>
                  <a:lnTo>
                    <a:pt x="60" y="110"/>
                  </a:lnTo>
                  <a:lnTo>
                    <a:pt x="60" y="112"/>
                  </a:lnTo>
                  <a:lnTo>
                    <a:pt x="56" y="116"/>
                  </a:lnTo>
                </a:path>
              </a:pathLst>
            </a:custGeom>
            <a:solidFill>
              <a:schemeClr val="bg1">
                <a:lumMod val="85000"/>
              </a:schemeClr>
            </a:solidFill>
            <a:ln w="9525">
              <a:solidFill>
                <a:schemeClr val="bg1">
                  <a:lumMod val="85000"/>
                </a:schemeClr>
              </a:solidFill>
              <a:round/>
              <a:headEnd/>
              <a:tailEnd/>
            </a:ln>
            <a:extLst/>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09" name="Freeform 202"/>
            <p:cNvSpPr>
              <a:spLocks/>
            </p:cNvSpPr>
            <p:nvPr/>
          </p:nvSpPr>
          <p:spPr bwMode="auto">
            <a:xfrm>
              <a:off x="8519808" y="4633788"/>
              <a:ext cx="70334" cy="79763"/>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10" name="Freeform 203"/>
            <p:cNvSpPr>
              <a:spLocks/>
            </p:cNvSpPr>
            <p:nvPr/>
          </p:nvSpPr>
          <p:spPr bwMode="auto">
            <a:xfrm>
              <a:off x="8519808" y="4633788"/>
              <a:ext cx="70334" cy="79763"/>
            </a:xfrm>
            <a:custGeom>
              <a:avLst/>
              <a:gdLst>
                <a:gd name="T0" fmla="*/ 12 w 112"/>
                <a:gd name="T1" fmla="*/ 96 h 122"/>
                <a:gd name="T2" fmla="*/ 12 w 112"/>
                <a:gd name="T3" fmla="*/ 90 h 122"/>
                <a:gd name="T4" fmla="*/ 16 w 112"/>
                <a:gd name="T5" fmla="*/ 90 h 122"/>
                <a:gd name="T6" fmla="*/ 16 w 112"/>
                <a:gd name="T7" fmla="*/ 82 h 122"/>
                <a:gd name="T8" fmla="*/ 22 w 112"/>
                <a:gd name="T9" fmla="*/ 74 h 122"/>
                <a:gd name="T10" fmla="*/ 34 w 112"/>
                <a:gd name="T11" fmla="*/ 70 h 122"/>
                <a:gd name="T12" fmla="*/ 36 w 112"/>
                <a:gd name="T13" fmla="*/ 64 h 122"/>
                <a:gd name="T14" fmla="*/ 44 w 112"/>
                <a:gd name="T15" fmla="*/ 60 h 122"/>
                <a:gd name="T16" fmla="*/ 52 w 112"/>
                <a:gd name="T17" fmla="*/ 52 h 122"/>
                <a:gd name="T18" fmla="*/ 60 w 112"/>
                <a:gd name="T19" fmla="*/ 50 h 122"/>
                <a:gd name="T20" fmla="*/ 66 w 112"/>
                <a:gd name="T21" fmla="*/ 38 h 122"/>
                <a:gd name="T22" fmla="*/ 70 w 112"/>
                <a:gd name="T23" fmla="*/ 28 h 122"/>
                <a:gd name="T24" fmla="*/ 78 w 112"/>
                <a:gd name="T25" fmla="*/ 24 h 122"/>
                <a:gd name="T26" fmla="*/ 78 w 112"/>
                <a:gd name="T27" fmla="*/ 8 h 122"/>
                <a:gd name="T28" fmla="*/ 86 w 112"/>
                <a:gd name="T29" fmla="*/ 4 h 122"/>
                <a:gd name="T30" fmla="*/ 86 w 112"/>
                <a:gd name="T31" fmla="*/ 4 h 122"/>
                <a:gd name="T32" fmla="*/ 94 w 112"/>
                <a:gd name="T33" fmla="*/ 12 h 122"/>
                <a:gd name="T34" fmla="*/ 100 w 112"/>
                <a:gd name="T35" fmla="*/ 12 h 122"/>
                <a:gd name="T36" fmla="*/ 104 w 112"/>
                <a:gd name="T37" fmla="*/ 12 h 122"/>
                <a:gd name="T38" fmla="*/ 104 w 112"/>
                <a:gd name="T39" fmla="*/ 16 h 122"/>
                <a:gd name="T40" fmla="*/ 108 w 112"/>
                <a:gd name="T41" fmla="*/ 16 h 122"/>
                <a:gd name="T42" fmla="*/ 108 w 112"/>
                <a:gd name="T43" fmla="*/ 12 h 122"/>
                <a:gd name="T44" fmla="*/ 104 w 112"/>
                <a:gd name="T45" fmla="*/ 16 h 122"/>
                <a:gd name="T46" fmla="*/ 108 w 112"/>
                <a:gd name="T47" fmla="*/ 16 h 122"/>
                <a:gd name="T48" fmla="*/ 108 w 112"/>
                <a:gd name="T49" fmla="*/ 20 h 122"/>
                <a:gd name="T50" fmla="*/ 108 w 112"/>
                <a:gd name="T51" fmla="*/ 24 h 122"/>
                <a:gd name="T52" fmla="*/ 104 w 112"/>
                <a:gd name="T53" fmla="*/ 30 h 122"/>
                <a:gd name="T54" fmla="*/ 100 w 112"/>
                <a:gd name="T55" fmla="*/ 40 h 122"/>
                <a:gd name="T56" fmla="*/ 96 w 112"/>
                <a:gd name="T57" fmla="*/ 50 h 122"/>
                <a:gd name="T58" fmla="*/ 90 w 112"/>
                <a:gd name="T59" fmla="*/ 56 h 122"/>
                <a:gd name="T60" fmla="*/ 94 w 112"/>
                <a:gd name="T61" fmla="*/ 64 h 122"/>
                <a:gd name="T62" fmla="*/ 90 w 112"/>
                <a:gd name="T63" fmla="*/ 64 h 122"/>
                <a:gd name="T64" fmla="*/ 86 w 112"/>
                <a:gd name="T65" fmla="*/ 64 h 122"/>
                <a:gd name="T66" fmla="*/ 78 w 112"/>
                <a:gd name="T67" fmla="*/ 68 h 122"/>
                <a:gd name="T68" fmla="*/ 70 w 112"/>
                <a:gd name="T69" fmla="*/ 70 h 122"/>
                <a:gd name="T70" fmla="*/ 66 w 112"/>
                <a:gd name="T71" fmla="*/ 78 h 122"/>
                <a:gd name="T72" fmla="*/ 66 w 112"/>
                <a:gd name="T73" fmla="*/ 90 h 122"/>
                <a:gd name="T74" fmla="*/ 60 w 112"/>
                <a:gd name="T75" fmla="*/ 96 h 122"/>
                <a:gd name="T76" fmla="*/ 56 w 112"/>
                <a:gd name="T77" fmla="*/ 104 h 122"/>
                <a:gd name="T78" fmla="*/ 60 w 112"/>
                <a:gd name="T79" fmla="*/ 104 h 122"/>
                <a:gd name="T80" fmla="*/ 52 w 112"/>
                <a:gd name="T81" fmla="*/ 108 h 122"/>
                <a:gd name="T82" fmla="*/ 48 w 112"/>
                <a:gd name="T83" fmla="*/ 120 h 122"/>
                <a:gd name="T84" fmla="*/ 36 w 112"/>
                <a:gd name="T85" fmla="*/ 122 h 122"/>
                <a:gd name="T86" fmla="*/ 30 w 112"/>
                <a:gd name="T87" fmla="*/ 120 h 122"/>
                <a:gd name="T88" fmla="*/ 26 w 112"/>
                <a:gd name="T89" fmla="*/ 120 h 122"/>
                <a:gd name="T90" fmla="*/ 26 w 112"/>
                <a:gd name="T91" fmla="*/ 120 h 122"/>
                <a:gd name="T92" fmla="*/ 22 w 112"/>
                <a:gd name="T93" fmla="*/ 116 h 122"/>
                <a:gd name="T94" fmla="*/ 12 w 112"/>
                <a:gd name="T95" fmla="*/ 112 h 122"/>
                <a:gd name="T96" fmla="*/ 4 w 112"/>
                <a:gd name="T97" fmla="*/ 116 h 122"/>
                <a:gd name="T98" fmla="*/ 4 w 112"/>
                <a:gd name="T99" fmla="*/ 112 h 122"/>
                <a:gd name="T100" fmla="*/ 4 w 112"/>
                <a:gd name="T101" fmla="*/ 108 h 122"/>
                <a:gd name="T102" fmla="*/ 0 w 112"/>
                <a:gd name="T103" fmla="*/ 108 h 122"/>
                <a:gd name="T104" fmla="*/ 8 w 112"/>
                <a:gd name="T105" fmla="*/ 104 h 122"/>
                <a:gd name="T106" fmla="*/ 8 w 112"/>
                <a:gd name="T107" fmla="*/ 100 h 122"/>
                <a:gd name="T108" fmla="*/ 4 w 112"/>
                <a:gd name="T109"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122">
                  <a:moveTo>
                    <a:pt x="12" y="96"/>
                  </a:moveTo>
                  <a:lnTo>
                    <a:pt x="8" y="96"/>
                  </a:lnTo>
                  <a:lnTo>
                    <a:pt x="12" y="96"/>
                  </a:lnTo>
                  <a:lnTo>
                    <a:pt x="8" y="94"/>
                  </a:lnTo>
                  <a:lnTo>
                    <a:pt x="8" y="90"/>
                  </a:lnTo>
                  <a:lnTo>
                    <a:pt x="12" y="90"/>
                  </a:lnTo>
                  <a:lnTo>
                    <a:pt x="12" y="86"/>
                  </a:lnTo>
                  <a:lnTo>
                    <a:pt x="12" y="90"/>
                  </a:lnTo>
                  <a:lnTo>
                    <a:pt x="16" y="90"/>
                  </a:lnTo>
                  <a:lnTo>
                    <a:pt x="16" y="86"/>
                  </a:lnTo>
                  <a:lnTo>
                    <a:pt x="12" y="86"/>
                  </a:lnTo>
                  <a:lnTo>
                    <a:pt x="16" y="82"/>
                  </a:lnTo>
                  <a:lnTo>
                    <a:pt x="20" y="82"/>
                  </a:lnTo>
                  <a:lnTo>
                    <a:pt x="20" y="78"/>
                  </a:lnTo>
                  <a:lnTo>
                    <a:pt x="22" y="74"/>
                  </a:lnTo>
                  <a:lnTo>
                    <a:pt x="26" y="70"/>
                  </a:lnTo>
                  <a:lnTo>
                    <a:pt x="30" y="70"/>
                  </a:lnTo>
                  <a:lnTo>
                    <a:pt x="34" y="70"/>
                  </a:lnTo>
                  <a:lnTo>
                    <a:pt x="34" y="68"/>
                  </a:lnTo>
                  <a:lnTo>
                    <a:pt x="36" y="68"/>
                  </a:lnTo>
                  <a:lnTo>
                    <a:pt x="36" y="64"/>
                  </a:lnTo>
                  <a:lnTo>
                    <a:pt x="40" y="64"/>
                  </a:lnTo>
                  <a:lnTo>
                    <a:pt x="44" y="64"/>
                  </a:lnTo>
                  <a:lnTo>
                    <a:pt x="44" y="60"/>
                  </a:lnTo>
                  <a:lnTo>
                    <a:pt x="48" y="56"/>
                  </a:lnTo>
                  <a:lnTo>
                    <a:pt x="52" y="56"/>
                  </a:lnTo>
                  <a:lnTo>
                    <a:pt x="52" y="52"/>
                  </a:lnTo>
                  <a:lnTo>
                    <a:pt x="56" y="52"/>
                  </a:lnTo>
                  <a:lnTo>
                    <a:pt x="56" y="50"/>
                  </a:lnTo>
                  <a:lnTo>
                    <a:pt x="60" y="50"/>
                  </a:lnTo>
                  <a:lnTo>
                    <a:pt x="64" y="40"/>
                  </a:lnTo>
                  <a:lnTo>
                    <a:pt x="66" y="40"/>
                  </a:lnTo>
                  <a:lnTo>
                    <a:pt x="66" y="38"/>
                  </a:lnTo>
                  <a:lnTo>
                    <a:pt x="66" y="34"/>
                  </a:lnTo>
                  <a:lnTo>
                    <a:pt x="66" y="30"/>
                  </a:lnTo>
                  <a:lnTo>
                    <a:pt x="70" y="28"/>
                  </a:lnTo>
                  <a:lnTo>
                    <a:pt x="74" y="28"/>
                  </a:lnTo>
                  <a:lnTo>
                    <a:pt x="74" y="24"/>
                  </a:lnTo>
                  <a:lnTo>
                    <a:pt x="78" y="24"/>
                  </a:lnTo>
                  <a:lnTo>
                    <a:pt x="78" y="20"/>
                  </a:lnTo>
                  <a:lnTo>
                    <a:pt x="78" y="16"/>
                  </a:lnTo>
                  <a:lnTo>
                    <a:pt x="78" y="8"/>
                  </a:lnTo>
                  <a:lnTo>
                    <a:pt x="82" y="8"/>
                  </a:lnTo>
                  <a:lnTo>
                    <a:pt x="82" y="4"/>
                  </a:lnTo>
                  <a:lnTo>
                    <a:pt x="86" y="4"/>
                  </a:lnTo>
                  <a:lnTo>
                    <a:pt x="86" y="0"/>
                  </a:lnTo>
                  <a:lnTo>
                    <a:pt x="90" y="0"/>
                  </a:lnTo>
                  <a:lnTo>
                    <a:pt x="86" y="4"/>
                  </a:lnTo>
                  <a:lnTo>
                    <a:pt x="90" y="8"/>
                  </a:lnTo>
                  <a:lnTo>
                    <a:pt x="94" y="8"/>
                  </a:lnTo>
                  <a:lnTo>
                    <a:pt x="94" y="12"/>
                  </a:lnTo>
                  <a:lnTo>
                    <a:pt x="94" y="16"/>
                  </a:lnTo>
                  <a:lnTo>
                    <a:pt x="96" y="16"/>
                  </a:lnTo>
                  <a:lnTo>
                    <a:pt x="100" y="12"/>
                  </a:lnTo>
                  <a:lnTo>
                    <a:pt x="104" y="12"/>
                  </a:lnTo>
                  <a:lnTo>
                    <a:pt x="104" y="8"/>
                  </a:lnTo>
                  <a:lnTo>
                    <a:pt x="104" y="12"/>
                  </a:lnTo>
                  <a:lnTo>
                    <a:pt x="100" y="12"/>
                  </a:lnTo>
                  <a:lnTo>
                    <a:pt x="104" y="12"/>
                  </a:lnTo>
                  <a:lnTo>
                    <a:pt x="104" y="16"/>
                  </a:lnTo>
                  <a:lnTo>
                    <a:pt x="100" y="16"/>
                  </a:lnTo>
                  <a:lnTo>
                    <a:pt x="104" y="16"/>
                  </a:lnTo>
                  <a:lnTo>
                    <a:pt x="108" y="16"/>
                  </a:lnTo>
                  <a:lnTo>
                    <a:pt x="104" y="16"/>
                  </a:lnTo>
                  <a:lnTo>
                    <a:pt x="104" y="12"/>
                  </a:lnTo>
                  <a:lnTo>
                    <a:pt x="108" y="12"/>
                  </a:lnTo>
                  <a:lnTo>
                    <a:pt x="112" y="12"/>
                  </a:lnTo>
                  <a:lnTo>
                    <a:pt x="108" y="16"/>
                  </a:lnTo>
                  <a:lnTo>
                    <a:pt x="104" y="16"/>
                  </a:lnTo>
                  <a:lnTo>
                    <a:pt x="108" y="16"/>
                  </a:lnTo>
                  <a:lnTo>
                    <a:pt x="112" y="16"/>
                  </a:lnTo>
                  <a:lnTo>
                    <a:pt x="108" y="16"/>
                  </a:lnTo>
                  <a:lnTo>
                    <a:pt x="108" y="20"/>
                  </a:lnTo>
                  <a:lnTo>
                    <a:pt x="104" y="20"/>
                  </a:lnTo>
                  <a:lnTo>
                    <a:pt x="108" y="20"/>
                  </a:lnTo>
                  <a:lnTo>
                    <a:pt x="108" y="24"/>
                  </a:lnTo>
                  <a:lnTo>
                    <a:pt x="108" y="20"/>
                  </a:lnTo>
                  <a:lnTo>
                    <a:pt x="108" y="24"/>
                  </a:lnTo>
                  <a:lnTo>
                    <a:pt x="108" y="28"/>
                  </a:lnTo>
                  <a:lnTo>
                    <a:pt x="108" y="30"/>
                  </a:lnTo>
                  <a:lnTo>
                    <a:pt x="104" y="30"/>
                  </a:lnTo>
                  <a:lnTo>
                    <a:pt x="104" y="34"/>
                  </a:lnTo>
                  <a:lnTo>
                    <a:pt x="104" y="38"/>
                  </a:lnTo>
                  <a:lnTo>
                    <a:pt x="100" y="40"/>
                  </a:lnTo>
                  <a:lnTo>
                    <a:pt x="96" y="40"/>
                  </a:lnTo>
                  <a:lnTo>
                    <a:pt x="96" y="46"/>
                  </a:lnTo>
                  <a:lnTo>
                    <a:pt x="96" y="50"/>
                  </a:lnTo>
                  <a:lnTo>
                    <a:pt x="94" y="52"/>
                  </a:lnTo>
                  <a:lnTo>
                    <a:pt x="90" y="52"/>
                  </a:lnTo>
                  <a:lnTo>
                    <a:pt x="90" y="56"/>
                  </a:lnTo>
                  <a:lnTo>
                    <a:pt x="86" y="56"/>
                  </a:lnTo>
                  <a:lnTo>
                    <a:pt x="90" y="64"/>
                  </a:lnTo>
                  <a:lnTo>
                    <a:pt x="94" y="64"/>
                  </a:lnTo>
                  <a:lnTo>
                    <a:pt x="94" y="68"/>
                  </a:lnTo>
                  <a:lnTo>
                    <a:pt x="90" y="68"/>
                  </a:lnTo>
                  <a:lnTo>
                    <a:pt x="90" y="64"/>
                  </a:lnTo>
                  <a:lnTo>
                    <a:pt x="90" y="68"/>
                  </a:lnTo>
                  <a:lnTo>
                    <a:pt x="86" y="68"/>
                  </a:lnTo>
                  <a:lnTo>
                    <a:pt x="86" y="64"/>
                  </a:lnTo>
                  <a:lnTo>
                    <a:pt x="82" y="64"/>
                  </a:lnTo>
                  <a:lnTo>
                    <a:pt x="82" y="68"/>
                  </a:lnTo>
                  <a:lnTo>
                    <a:pt x="78" y="68"/>
                  </a:lnTo>
                  <a:lnTo>
                    <a:pt x="78" y="70"/>
                  </a:lnTo>
                  <a:lnTo>
                    <a:pt x="74" y="70"/>
                  </a:lnTo>
                  <a:lnTo>
                    <a:pt x="70" y="70"/>
                  </a:lnTo>
                  <a:lnTo>
                    <a:pt x="70" y="74"/>
                  </a:lnTo>
                  <a:lnTo>
                    <a:pt x="66" y="74"/>
                  </a:lnTo>
                  <a:lnTo>
                    <a:pt x="66" y="78"/>
                  </a:lnTo>
                  <a:lnTo>
                    <a:pt x="66" y="82"/>
                  </a:lnTo>
                  <a:lnTo>
                    <a:pt x="66" y="86"/>
                  </a:lnTo>
                  <a:lnTo>
                    <a:pt x="66" y="90"/>
                  </a:lnTo>
                  <a:lnTo>
                    <a:pt x="64" y="90"/>
                  </a:lnTo>
                  <a:lnTo>
                    <a:pt x="64" y="94"/>
                  </a:lnTo>
                  <a:lnTo>
                    <a:pt x="60" y="96"/>
                  </a:lnTo>
                  <a:lnTo>
                    <a:pt x="60" y="100"/>
                  </a:lnTo>
                  <a:lnTo>
                    <a:pt x="60" y="104"/>
                  </a:lnTo>
                  <a:lnTo>
                    <a:pt x="56" y="104"/>
                  </a:lnTo>
                  <a:lnTo>
                    <a:pt x="56" y="108"/>
                  </a:lnTo>
                  <a:lnTo>
                    <a:pt x="60" y="108"/>
                  </a:lnTo>
                  <a:lnTo>
                    <a:pt x="60" y="104"/>
                  </a:lnTo>
                  <a:lnTo>
                    <a:pt x="60" y="108"/>
                  </a:lnTo>
                  <a:lnTo>
                    <a:pt x="56" y="108"/>
                  </a:lnTo>
                  <a:lnTo>
                    <a:pt x="52" y="108"/>
                  </a:lnTo>
                  <a:lnTo>
                    <a:pt x="52" y="112"/>
                  </a:lnTo>
                  <a:lnTo>
                    <a:pt x="48" y="116"/>
                  </a:lnTo>
                  <a:lnTo>
                    <a:pt x="48" y="120"/>
                  </a:lnTo>
                  <a:lnTo>
                    <a:pt x="44" y="120"/>
                  </a:lnTo>
                  <a:lnTo>
                    <a:pt x="40" y="122"/>
                  </a:lnTo>
                  <a:lnTo>
                    <a:pt x="36" y="122"/>
                  </a:lnTo>
                  <a:lnTo>
                    <a:pt x="34" y="122"/>
                  </a:lnTo>
                  <a:lnTo>
                    <a:pt x="34" y="120"/>
                  </a:lnTo>
                  <a:lnTo>
                    <a:pt x="30" y="120"/>
                  </a:lnTo>
                  <a:lnTo>
                    <a:pt x="30" y="122"/>
                  </a:lnTo>
                  <a:lnTo>
                    <a:pt x="26" y="122"/>
                  </a:lnTo>
                  <a:lnTo>
                    <a:pt x="26" y="120"/>
                  </a:lnTo>
                  <a:lnTo>
                    <a:pt x="30" y="122"/>
                  </a:lnTo>
                  <a:lnTo>
                    <a:pt x="30" y="120"/>
                  </a:lnTo>
                  <a:lnTo>
                    <a:pt x="26" y="120"/>
                  </a:lnTo>
                  <a:lnTo>
                    <a:pt x="26" y="122"/>
                  </a:lnTo>
                  <a:lnTo>
                    <a:pt x="26" y="120"/>
                  </a:lnTo>
                  <a:lnTo>
                    <a:pt x="22" y="116"/>
                  </a:lnTo>
                  <a:lnTo>
                    <a:pt x="20" y="116"/>
                  </a:lnTo>
                  <a:lnTo>
                    <a:pt x="16" y="112"/>
                  </a:lnTo>
                  <a:lnTo>
                    <a:pt x="12" y="112"/>
                  </a:lnTo>
                  <a:lnTo>
                    <a:pt x="12" y="116"/>
                  </a:lnTo>
                  <a:lnTo>
                    <a:pt x="8" y="116"/>
                  </a:lnTo>
                  <a:lnTo>
                    <a:pt x="4" y="116"/>
                  </a:lnTo>
                  <a:lnTo>
                    <a:pt x="4" y="112"/>
                  </a:lnTo>
                  <a:lnTo>
                    <a:pt x="0" y="112"/>
                  </a:lnTo>
                  <a:lnTo>
                    <a:pt x="4" y="112"/>
                  </a:lnTo>
                  <a:lnTo>
                    <a:pt x="4" y="108"/>
                  </a:lnTo>
                  <a:lnTo>
                    <a:pt x="8" y="108"/>
                  </a:lnTo>
                  <a:lnTo>
                    <a:pt x="4" y="108"/>
                  </a:lnTo>
                  <a:lnTo>
                    <a:pt x="4" y="112"/>
                  </a:lnTo>
                  <a:lnTo>
                    <a:pt x="0" y="112"/>
                  </a:lnTo>
                  <a:lnTo>
                    <a:pt x="0" y="108"/>
                  </a:lnTo>
                  <a:lnTo>
                    <a:pt x="0" y="104"/>
                  </a:lnTo>
                  <a:lnTo>
                    <a:pt x="4" y="104"/>
                  </a:lnTo>
                  <a:lnTo>
                    <a:pt x="8" y="104"/>
                  </a:lnTo>
                  <a:lnTo>
                    <a:pt x="4" y="104"/>
                  </a:lnTo>
                  <a:lnTo>
                    <a:pt x="4" y="100"/>
                  </a:lnTo>
                  <a:lnTo>
                    <a:pt x="8" y="100"/>
                  </a:lnTo>
                  <a:lnTo>
                    <a:pt x="4" y="100"/>
                  </a:lnTo>
                  <a:lnTo>
                    <a:pt x="4" y="96"/>
                  </a:lnTo>
                  <a:lnTo>
                    <a:pt x="4" y="94"/>
                  </a:lnTo>
                  <a:lnTo>
                    <a:pt x="8" y="96"/>
                  </a:lnTo>
                  <a:lnTo>
                    <a:pt x="12" y="96"/>
                  </a:lnTo>
                </a:path>
              </a:pathLst>
            </a:custGeom>
            <a:solidFill>
              <a:schemeClr val="bg1">
                <a:lumMod val="85000"/>
              </a:schemeClr>
            </a:solidFill>
            <a:ln w="9525">
              <a:solidFill>
                <a:schemeClr val="bg1">
                  <a:lumMod val="85000"/>
                </a:schemeClr>
              </a:solidFill>
              <a:round/>
              <a:headEnd/>
              <a:tailEnd/>
            </a:ln>
            <a:extLst/>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11" name="Freeform 204"/>
            <p:cNvSpPr>
              <a:spLocks noEditPoints="1"/>
            </p:cNvSpPr>
            <p:nvPr/>
          </p:nvSpPr>
          <p:spPr bwMode="auto">
            <a:xfrm>
              <a:off x="8430634" y="4238898"/>
              <a:ext cx="85405" cy="48381"/>
            </a:xfrm>
            <a:custGeom>
              <a:avLst/>
              <a:gdLst>
                <a:gd name="T0" fmla="*/ 6 w 136"/>
                <a:gd name="T1" fmla="*/ 8 h 74"/>
                <a:gd name="T2" fmla="*/ 8 w 136"/>
                <a:gd name="T3" fmla="*/ 4 h 74"/>
                <a:gd name="T4" fmla="*/ 14 w 136"/>
                <a:gd name="T5" fmla="*/ 10 h 74"/>
                <a:gd name="T6" fmla="*/ 14 w 136"/>
                <a:gd name="T7" fmla="*/ 12 h 74"/>
                <a:gd name="T8" fmla="*/ 48 w 136"/>
                <a:gd name="T9" fmla="*/ 26 h 74"/>
                <a:gd name="T10" fmla="*/ 30 w 136"/>
                <a:gd name="T11" fmla="*/ 12 h 74"/>
                <a:gd name="T12" fmla="*/ 48 w 136"/>
                <a:gd name="T13" fmla="*/ 26 h 74"/>
                <a:gd name="T14" fmla="*/ 48 w 136"/>
                <a:gd name="T15" fmla="*/ 26 h 74"/>
                <a:gd name="T16" fmla="*/ 0 w 136"/>
                <a:gd name="T17" fmla="*/ 14 h 74"/>
                <a:gd name="T18" fmla="*/ 2 w 136"/>
                <a:gd name="T19" fmla="*/ 18 h 74"/>
                <a:gd name="T20" fmla="*/ 2 w 136"/>
                <a:gd name="T21" fmla="*/ 18 h 74"/>
                <a:gd name="T22" fmla="*/ 6 w 136"/>
                <a:gd name="T23" fmla="*/ 20 h 74"/>
                <a:gd name="T24" fmla="*/ 10 w 136"/>
                <a:gd name="T25" fmla="*/ 16 h 74"/>
                <a:gd name="T26" fmla="*/ 10 w 136"/>
                <a:gd name="T27" fmla="*/ 22 h 74"/>
                <a:gd name="T28" fmla="*/ 18 w 136"/>
                <a:gd name="T29" fmla="*/ 28 h 74"/>
                <a:gd name="T30" fmla="*/ 12 w 136"/>
                <a:gd name="T31" fmla="*/ 22 h 74"/>
                <a:gd name="T32" fmla="*/ 18 w 136"/>
                <a:gd name="T33" fmla="*/ 22 h 74"/>
                <a:gd name="T34" fmla="*/ 18 w 136"/>
                <a:gd name="T35" fmla="*/ 28 h 74"/>
                <a:gd name="T36" fmla="*/ 18 w 136"/>
                <a:gd name="T37" fmla="*/ 28 h 74"/>
                <a:gd name="T38" fmla="*/ 12 w 136"/>
                <a:gd name="T39" fmla="*/ 28 h 74"/>
                <a:gd name="T40" fmla="*/ 12 w 136"/>
                <a:gd name="T41" fmla="*/ 28 h 74"/>
                <a:gd name="T42" fmla="*/ 12 w 136"/>
                <a:gd name="T43" fmla="*/ 28 h 74"/>
                <a:gd name="T44" fmla="*/ 20 w 136"/>
                <a:gd name="T45" fmla="*/ 28 h 74"/>
                <a:gd name="T46" fmla="*/ 22 w 136"/>
                <a:gd name="T47" fmla="*/ 28 h 74"/>
                <a:gd name="T48" fmla="*/ 22 w 136"/>
                <a:gd name="T49" fmla="*/ 28 h 74"/>
                <a:gd name="T50" fmla="*/ 132 w 136"/>
                <a:gd name="T51" fmla="*/ 56 h 74"/>
                <a:gd name="T52" fmla="*/ 134 w 136"/>
                <a:gd name="T53" fmla="*/ 60 h 74"/>
                <a:gd name="T54" fmla="*/ 134 w 136"/>
                <a:gd name="T55" fmla="*/ 60 h 74"/>
                <a:gd name="T56" fmla="*/ 48 w 136"/>
                <a:gd name="T57" fmla="*/ 68 h 74"/>
                <a:gd name="T58" fmla="*/ 58 w 136"/>
                <a:gd name="T59" fmla="*/ 74 h 74"/>
                <a:gd name="T60" fmla="*/ 58 w 136"/>
                <a:gd name="T61" fmla="*/ 74 h 74"/>
                <a:gd name="T62" fmla="*/ 70 w 136"/>
                <a:gd name="T63" fmla="*/ 42 h 74"/>
                <a:gd name="T64" fmla="*/ 58 w 136"/>
                <a:gd name="T65" fmla="*/ 22 h 74"/>
                <a:gd name="T66" fmla="*/ 64 w 136"/>
                <a:gd name="T67" fmla="*/ 28 h 74"/>
                <a:gd name="T68" fmla="*/ 68 w 136"/>
                <a:gd name="T69" fmla="*/ 34 h 74"/>
                <a:gd name="T70" fmla="*/ 68 w 136"/>
                <a:gd name="T71" fmla="*/ 34 h 74"/>
                <a:gd name="T72" fmla="*/ 60 w 136"/>
                <a:gd name="T73" fmla="*/ 46 h 74"/>
                <a:gd name="T74" fmla="*/ 44 w 136"/>
                <a:gd name="T75" fmla="*/ 38 h 74"/>
                <a:gd name="T76" fmla="*/ 62 w 136"/>
                <a:gd name="T77" fmla="*/ 46 h 74"/>
                <a:gd name="T78" fmla="*/ 62 w 136"/>
                <a:gd name="T79" fmla="*/ 46 h 74"/>
                <a:gd name="T80" fmla="*/ 84 w 136"/>
                <a:gd name="T81" fmla="*/ 60 h 74"/>
                <a:gd name="T82" fmla="*/ 68 w 136"/>
                <a:gd name="T83" fmla="*/ 50 h 74"/>
                <a:gd name="T84" fmla="*/ 84 w 136"/>
                <a:gd name="T85" fmla="*/ 56 h 74"/>
                <a:gd name="T86" fmla="*/ 84 w 136"/>
                <a:gd name="T87"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6" h="74">
                  <a:moveTo>
                    <a:pt x="14" y="12"/>
                  </a:moveTo>
                  <a:lnTo>
                    <a:pt x="6" y="8"/>
                  </a:lnTo>
                  <a:lnTo>
                    <a:pt x="0" y="0"/>
                  </a:lnTo>
                  <a:lnTo>
                    <a:pt x="8" y="4"/>
                  </a:lnTo>
                  <a:lnTo>
                    <a:pt x="10" y="6"/>
                  </a:lnTo>
                  <a:lnTo>
                    <a:pt x="14" y="10"/>
                  </a:lnTo>
                  <a:lnTo>
                    <a:pt x="14" y="12"/>
                  </a:lnTo>
                  <a:lnTo>
                    <a:pt x="14" y="12"/>
                  </a:lnTo>
                  <a:lnTo>
                    <a:pt x="14" y="12"/>
                  </a:lnTo>
                  <a:close/>
                  <a:moveTo>
                    <a:pt x="48" y="26"/>
                  </a:moveTo>
                  <a:lnTo>
                    <a:pt x="34" y="18"/>
                  </a:lnTo>
                  <a:lnTo>
                    <a:pt x="30" y="12"/>
                  </a:lnTo>
                  <a:lnTo>
                    <a:pt x="48" y="22"/>
                  </a:lnTo>
                  <a:lnTo>
                    <a:pt x="48" y="26"/>
                  </a:lnTo>
                  <a:lnTo>
                    <a:pt x="48" y="26"/>
                  </a:lnTo>
                  <a:lnTo>
                    <a:pt x="48" y="26"/>
                  </a:lnTo>
                  <a:close/>
                  <a:moveTo>
                    <a:pt x="2" y="18"/>
                  </a:moveTo>
                  <a:lnTo>
                    <a:pt x="0" y="14"/>
                  </a:lnTo>
                  <a:lnTo>
                    <a:pt x="6" y="16"/>
                  </a:lnTo>
                  <a:lnTo>
                    <a:pt x="2" y="18"/>
                  </a:lnTo>
                  <a:lnTo>
                    <a:pt x="2" y="18"/>
                  </a:lnTo>
                  <a:lnTo>
                    <a:pt x="2" y="18"/>
                  </a:lnTo>
                  <a:close/>
                  <a:moveTo>
                    <a:pt x="10" y="22"/>
                  </a:moveTo>
                  <a:lnTo>
                    <a:pt x="6" y="20"/>
                  </a:lnTo>
                  <a:lnTo>
                    <a:pt x="8" y="16"/>
                  </a:lnTo>
                  <a:lnTo>
                    <a:pt x="10" y="16"/>
                  </a:lnTo>
                  <a:lnTo>
                    <a:pt x="10" y="22"/>
                  </a:lnTo>
                  <a:lnTo>
                    <a:pt x="10" y="22"/>
                  </a:lnTo>
                  <a:lnTo>
                    <a:pt x="10" y="22"/>
                  </a:lnTo>
                  <a:close/>
                  <a:moveTo>
                    <a:pt x="18" y="28"/>
                  </a:moveTo>
                  <a:lnTo>
                    <a:pt x="14" y="22"/>
                  </a:lnTo>
                  <a:lnTo>
                    <a:pt x="12" y="22"/>
                  </a:lnTo>
                  <a:lnTo>
                    <a:pt x="12" y="18"/>
                  </a:lnTo>
                  <a:lnTo>
                    <a:pt x="18" y="22"/>
                  </a:lnTo>
                  <a:lnTo>
                    <a:pt x="20" y="26"/>
                  </a:lnTo>
                  <a:lnTo>
                    <a:pt x="18" y="28"/>
                  </a:lnTo>
                  <a:lnTo>
                    <a:pt x="18" y="28"/>
                  </a:lnTo>
                  <a:lnTo>
                    <a:pt x="18" y="28"/>
                  </a:lnTo>
                  <a:close/>
                  <a:moveTo>
                    <a:pt x="12" y="28"/>
                  </a:moveTo>
                  <a:lnTo>
                    <a:pt x="12" y="28"/>
                  </a:lnTo>
                  <a:lnTo>
                    <a:pt x="12" y="24"/>
                  </a:lnTo>
                  <a:lnTo>
                    <a:pt x="12" y="28"/>
                  </a:lnTo>
                  <a:lnTo>
                    <a:pt x="12" y="28"/>
                  </a:lnTo>
                  <a:lnTo>
                    <a:pt x="12" y="28"/>
                  </a:lnTo>
                  <a:close/>
                  <a:moveTo>
                    <a:pt x="22" y="28"/>
                  </a:moveTo>
                  <a:lnTo>
                    <a:pt x="20" y="28"/>
                  </a:lnTo>
                  <a:lnTo>
                    <a:pt x="24" y="26"/>
                  </a:lnTo>
                  <a:lnTo>
                    <a:pt x="22" y="28"/>
                  </a:lnTo>
                  <a:lnTo>
                    <a:pt x="22" y="28"/>
                  </a:lnTo>
                  <a:lnTo>
                    <a:pt x="22" y="28"/>
                  </a:lnTo>
                  <a:close/>
                  <a:moveTo>
                    <a:pt x="134" y="60"/>
                  </a:moveTo>
                  <a:lnTo>
                    <a:pt x="132" y="56"/>
                  </a:lnTo>
                  <a:lnTo>
                    <a:pt x="136" y="56"/>
                  </a:lnTo>
                  <a:lnTo>
                    <a:pt x="134" y="60"/>
                  </a:lnTo>
                  <a:lnTo>
                    <a:pt x="134" y="60"/>
                  </a:lnTo>
                  <a:lnTo>
                    <a:pt x="134" y="60"/>
                  </a:lnTo>
                  <a:close/>
                  <a:moveTo>
                    <a:pt x="58" y="74"/>
                  </a:moveTo>
                  <a:lnTo>
                    <a:pt x="48" y="68"/>
                  </a:lnTo>
                  <a:lnTo>
                    <a:pt x="56" y="72"/>
                  </a:lnTo>
                  <a:lnTo>
                    <a:pt x="58" y="74"/>
                  </a:lnTo>
                  <a:lnTo>
                    <a:pt x="58" y="74"/>
                  </a:lnTo>
                  <a:lnTo>
                    <a:pt x="58" y="74"/>
                  </a:lnTo>
                  <a:close/>
                  <a:moveTo>
                    <a:pt x="68" y="34"/>
                  </a:moveTo>
                  <a:lnTo>
                    <a:pt x="70" y="42"/>
                  </a:lnTo>
                  <a:lnTo>
                    <a:pt x="62" y="34"/>
                  </a:lnTo>
                  <a:lnTo>
                    <a:pt x="58" y="22"/>
                  </a:lnTo>
                  <a:lnTo>
                    <a:pt x="62" y="24"/>
                  </a:lnTo>
                  <a:lnTo>
                    <a:pt x="64" y="28"/>
                  </a:lnTo>
                  <a:lnTo>
                    <a:pt x="64" y="30"/>
                  </a:lnTo>
                  <a:lnTo>
                    <a:pt x="68" y="34"/>
                  </a:lnTo>
                  <a:lnTo>
                    <a:pt x="68" y="34"/>
                  </a:lnTo>
                  <a:lnTo>
                    <a:pt x="68" y="34"/>
                  </a:lnTo>
                  <a:close/>
                  <a:moveTo>
                    <a:pt x="62" y="46"/>
                  </a:moveTo>
                  <a:lnTo>
                    <a:pt x="60" y="46"/>
                  </a:lnTo>
                  <a:lnTo>
                    <a:pt x="48" y="44"/>
                  </a:lnTo>
                  <a:lnTo>
                    <a:pt x="44" y="38"/>
                  </a:lnTo>
                  <a:lnTo>
                    <a:pt x="56" y="40"/>
                  </a:lnTo>
                  <a:lnTo>
                    <a:pt x="62" y="46"/>
                  </a:lnTo>
                  <a:lnTo>
                    <a:pt x="62" y="46"/>
                  </a:lnTo>
                  <a:lnTo>
                    <a:pt x="62" y="46"/>
                  </a:lnTo>
                  <a:close/>
                  <a:moveTo>
                    <a:pt x="84" y="56"/>
                  </a:moveTo>
                  <a:lnTo>
                    <a:pt x="84" y="60"/>
                  </a:lnTo>
                  <a:lnTo>
                    <a:pt x="76" y="56"/>
                  </a:lnTo>
                  <a:lnTo>
                    <a:pt x="68" y="50"/>
                  </a:lnTo>
                  <a:lnTo>
                    <a:pt x="80" y="54"/>
                  </a:lnTo>
                  <a:lnTo>
                    <a:pt x="84" y="56"/>
                  </a:lnTo>
                  <a:lnTo>
                    <a:pt x="84" y="56"/>
                  </a:lnTo>
                  <a:lnTo>
                    <a:pt x="84" y="5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12" name="Freeform 205"/>
            <p:cNvSpPr>
              <a:spLocks noEditPoints="1"/>
            </p:cNvSpPr>
            <p:nvPr/>
          </p:nvSpPr>
          <p:spPr bwMode="auto">
            <a:xfrm>
              <a:off x="8616517" y="4327814"/>
              <a:ext cx="23863" cy="28767"/>
            </a:xfrm>
            <a:custGeom>
              <a:avLst/>
              <a:gdLst>
                <a:gd name="T0" fmla="*/ 38 w 38"/>
                <a:gd name="T1" fmla="*/ 0 h 44"/>
                <a:gd name="T2" fmla="*/ 30 w 38"/>
                <a:gd name="T3" fmla="*/ 8 h 44"/>
                <a:gd name="T4" fmla="*/ 36 w 38"/>
                <a:gd name="T5" fmla="*/ 4 h 44"/>
                <a:gd name="T6" fmla="*/ 36 w 38"/>
                <a:gd name="T7" fmla="*/ 8 h 44"/>
                <a:gd name="T8" fmla="*/ 28 w 38"/>
                <a:gd name="T9" fmla="*/ 8 h 44"/>
                <a:gd name="T10" fmla="*/ 28 w 38"/>
                <a:gd name="T11" fmla="*/ 8 h 44"/>
                <a:gd name="T12" fmla="*/ 20 w 38"/>
                <a:gd name="T13" fmla="*/ 14 h 44"/>
                <a:gd name="T14" fmla="*/ 16 w 38"/>
                <a:gd name="T15" fmla="*/ 8 h 44"/>
                <a:gd name="T16" fmla="*/ 22 w 38"/>
                <a:gd name="T17" fmla="*/ 4 h 44"/>
                <a:gd name="T18" fmla="*/ 38 w 38"/>
                <a:gd name="T19" fmla="*/ 0 h 44"/>
                <a:gd name="T20" fmla="*/ 38 w 38"/>
                <a:gd name="T21" fmla="*/ 0 h 44"/>
                <a:gd name="T22" fmla="*/ 38 w 38"/>
                <a:gd name="T23" fmla="*/ 0 h 44"/>
                <a:gd name="T24" fmla="*/ 38 w 38"/>
                <a:gd name="T25" fmla="*/ 0 h 44"/>
                <a:gd name="T26" fmla="*/ 2 w 38"/>
                <a:gd name="T27" fmla="*/ 30 h 44"/>
                <a:gd name="T28" fmla="*/ 0 w 38"/>
                <a:gd name="T29" fmla="*/ 26 h 44"/>
                <a:gd name="T30" fmla="*/ 4 w 38"/>
                <a:gd name="T31" fmla="*/ 20 h 44"/>
                <a:gd name="T32" fmla="*/ 12 w 38"/>
                <a:gd name="T33" fmla="*/ 16 h 44"/>
                <a:gd name="T34" fmla="*/ 16 w 38"/>
                <a:gd name="T35" fmla="*/ 22 h 44"/>
                <a:gd name="T36" fmla="*/ 18 w 38"/>
                <a:gd name="T37" fmla="*/ 28 h 44"/>
                <a:gd name="T38" fmla="*/ 16 w 38"/>
                <a:gd name="T39" fmla="*/ 28 h 44"/>
                <a:gd name="T40" fmla="*/ 10 w 38"/>
                <a:gd name="T41" fmla="*/ 32 h 44"/>
                <a:gd name="T42" fmla="*/ 2 w 38"/>
                <a:gd name="T43" fmla="*/ 30 h 44"/>
                <a:gd name="T44" fmla="*/ 2 w 38"/>
                <a:gd name="T45" fmla="*/ 30 h 44"/>
                <a:gd name="T46" fmla="*/ 2 w 38"/>
                <a:gd name="T47" fmla="*/ 30 h 44"/>
                <a:gd name="T48" fmla="*/ 10 w 38"/>
                <a:gd name="T49" fmla="*/ 44 h 44"/>
                <a:gd name="T50" fmla="*/ 10 w 38"/>
                <a:gd name="T51" fmla="*/ 44 h 44"/>
                <a:gd name="T52" fmla="*/ 10 w 38"/>
                <a:gd name="T53" fmla="*/ 42 h 44"/>
                <a:gd name="T54" fmla="*/ 16 w 38"/>
                <a:gd name="T55" fmla="*/ 42 h 44"/>
                <a:gd name="T56" fmla="*/ 10 w 38"/>
                <a:gd name="T57" fmla="*/ 44 h 44"/>
                <a:gd name="T58" fmla="*/ 10 w 38"/>
                <a:gd name="T59" fmla="*/ 44 h 44"/>
                <a:gd name="T60" fmla="*/ 10 w 38"/>
                <a:gd name="T6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44">
                  <a:moveTo>
                    <a:pt x="38" y="0"/>
                  </a:moveTo>
                  <a:lnTo>
                    <a:pt x="30" y="8"/>
                  </a:lnTo>
                  <a:lnTo>
                    <a:pt x="36" y="4"/>
                  </a:lnTo>
                  <a:lnTo>
                    <a:pt x="36" y="8"/>
                  </a:lnTo>
                  <a:lnTo>
                    <a:pt x="28" y="8"/>
                  </a:lnTo>
                  <a:lnTo>
                    <a:pt x="28" y="8"/>
                  </a:lnTo>
                  <a:lnTo>
                    <a:pt x="20" y="14"/>
                  </a:lnTo>
                  <a:lnTo>
                    <a:pt x="16" y="8"/>
                  </a:lnTo>
                  <a:lnTo>
                    <a:pt x="22" y="4"/>
                  </a:lnTo>
                  <a:lnTo>
                    <a:pt x="38" y="0"/>
                  </a:lnTo>
                  <a:lnTo>
                    <a:pt x="38" y="0"/>
                  </a:lnTo>
                  <a:lnTo>
                    <a:pt x="38" y="0"/>
                  </a:lnTo>
                  <a:lnTo>
                    <a:pt x="38" y="0"/>
                  </a:lnTo>
                  <a:close/>
                  <a:moveTo>
                    <a:pt x="2" y="30"/>
                  </a:moveTo>
                  <a:lnTo>
                    <a:pt x="0" y="26"/>
                  </a:lnTo>
                  <a:lnTo>
                    <a:pt x="4" y="20"/>
                  </a:lnTo>
                  <a:lnTo>
                    <a:pt x="12" y="16"/>
                  </a:lnTo>
                  <a:lnTo>
                    <a:pt x="16" y="22"/>
                  </a:lnTo>
                  <a:lnTo>
                    <a:pt x="18" y="28"/>
                  </a:lnTo>
                  <a:lnTo>
                    <a:pt x="16" y="28"/>
                  </a:lnTo>
                  <a:lnTo>
                    <a:pt x="10" y="32"/>
                  </a:lnTo>
                  <a:lnTo>
                    <a:pt x="2" y="30"/>
                  </a:lnTo>
                  <a:lnTo>
                    <a:pt x="2" y="30"/>
                  </a:lnTo>
                  <a:lnTo>
                    <a:pt x="2" y="30"/>
                  </a:lnTo>
                  <a:close/>
                  <a:moveTo>
                    <a:pt x="10" y="44"/>
                  </a:moveTo>
                  <a:lnTo>
                    <a:pt x="10" y="44"/>
                  </a:lnTo>
                  <a:lnTo>
                    <a:pt x="10" y="42"/>
                  </a:lnTo>
                  <a:lnTo>
                    <a:pt x="16" y="42"/>
                  </a:lnTo>
                  <a:lnTo>
                    <a:pt x="10" y="44"/>
                  </a:lnTo>
                  <a:lnTo>
                    <a:pt x="10" y="44"/>
                  </a:lnTo>
                  <a:lnTo>
                    <a:pt x="10" y="4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13" name="Freeform 206"/>
            <p:cNvSpPr>
              <a:spLocks noEditPoints="1"/>
            </p:cNvSpPr>
            <p:nvPr/>
          </p:nvSpPr>
          <p:spPr bwMode="auto">
            <a:xfrm>
              <a:off x="8519808" y="4313431"/>
              <a:ext cx="26375" cy="48381"/>
            </a:xfrm>
            <a:custGeom>
              <a:avLst/>
              <a:gdLst>
                <a:gd name="T0" fmla="*/ 8 w 42"/>
                <a:gd name="T1" fmla="*/ 6 h 74"/>
                <a:gd name="T2" fmla="*/ 12 w 42"/>
                <a:gd name="T3" fmla="*/ 12 h 74"/>
                <a:gd name="T4" fmla="*/ 4 w 42"/>
                <a:gd name="T5" fmla="*/ 14 h 74"/>
                <a:gd name="T6" fmla="*/ 0 w 42"/>
                <a:gd name="T7" fmla="*/ 0 h 74"/>
                <a:gd name="T8" fmla="*/ 6 w 42"/>
                <a:gd name="T9" fmla="*/ 6 h 74"/>
                <a:gd name="T10" fmla="*/ 6 w 42"/>
                <a:gd name="T11" fmla="*/ 4 h 74"/>
                <a:gd name="T12" fmla="*/ 8 w 42"/>
                <a:gd name="T13" fmla="*/ 6 h 74"/>
                <a:gd name="T14" fmla="*/ 8 w 42"/>
                <a:gd name="T15" fmla="*/ 6 h 74"/>
                <a:gd name="T16" fmla="*/ 8 w 42"/>
                <a:gd name="T17" fmla="*/ 6 h 74"/>
                <a:gd name="T18" fmla="*/ 28 w 42"/>
                <a:gd name="T19" fmla="*/ 48 h 74"/>
                <a:gd name="T20" fmla="*/ 24 w 42"/>
                <a:gd name="T21" fmla="*/ 44 h 74"/>
                <a:gd name="T22" fmla="*/ 26 w 42"/>
                <a:gd name="T23" fmla="*/ 42 h 74"/>
                <a:gd name="T24" fmla="*/ 30 w 42"/>
                <a:gd name="T25" fmla="*/ 44 h 74"/>
                <a:gd name="T26" fmla="*/ 28 w 42"/>
                <a:gd name="T27" fmla="*/ 48 h 74"/>
                <a:gd name="T28" fmla="*/ 28 w 42"/>
                <a:gd name="T29" fmla="*/ 48 h 74"/>
                <a:gd name="T30" fmla="*/ 28 w 42"/>
                <a:gd name="T31" fmla="*/ 48 h 74"/>
                <a:gd name="T32" fmla="*/ 40 w 42"/>
                <a:gd name="T33" fmla="*/ 64 h 74"/>
                <a:gd name="T34" fmla="*/ 36 w 42"/>
                <a:gd name="T35" fmla="*/ 62 h 74"/>
                <a:gd name="T36" fmla="*/ 36 w 42"/>
                <a:gd name="T37" fmla="*/ 60 h 74"/>
                <a:gd name="T38" fmla="*/ 40 w 42"/>
                <a:gd name="T39" fmla="*/ 62 h 74"/>
                <a:gd name="T40" fmla="*/ 40 w 42"/>
                <a:gd name="T41" fmla="*/ 64 h 74"/>
                <a:gd name="T42" fmla="*/ 40 w 42"/>
                <a:gd name="T43" fmla="*/ 64 h 74"/>
                <a:gd name="T44" fmla="*/ 40 w 42"/>
                <a:gd name="T45" fmla="*/ 64 h 74"/>
                <a:gd name="T46" fmla="*/ 42 w 42"/>
                <a:gd name="T47" fmla="*/ 74 h 74"/>
                <a:gd name="T48" fmla="*/ 40 w 42"/>
                <a:gd name="T49" fmla="*/ 72 h 74"/>
                <a:gd name="T50" fmla="*/ 40 w 42"/>
                <a:gd name="T51" fmla="*/ 70 h 74"/>
                <a:gd name="T52" fmla="*/ 42 w 42"/>
                <a:gd name="T53" fmla="*/ 72 h 74"/>
                <a:gd name="T54" fmla="*/ 42 w 42"/>
                <a:gd name="T55" fmla="*/ 74 h 74"/>
                <a:gd name="T56" fmla="*/ 42 w 42"/>
                <a:gd name="T57" fmla="*/ 74 h 74"/>
                <a:gd name="T58" fmla="*/ 42 w 42"/>
                <a:gd name="T59" fmla="*/ 74 h 74"/>
                <a:gd name="T60" fmla="*/ 18 w 42"/>
                <a:gd name="T61" fmla="*/ 12 h 74"/>
                <a:gd name="T62" fmla="*/ 18 w 42"/>
                <a:gd name="T63" fmla="*/ 12 h 74"/>
                <a:gd name="T64" fmla="*/ 22 w 42"/>
                <a:gd name="T65" fmla="*/ 10 h 74"/>
                <a:gd name="T66" fmla="*/ 18 w 42"/>
                <a:gd name="T67" fmla="*/ 12 h 74"/>
                <a:gd name="T68" fmla="*/ 18 w 42"/>
                <a:gd name="T69" fmla="*/ 12 h 74"/>
                <a:gd name="T70" fmla="*/ 18 w 42"/>
                <a:gd name="T71" fmla="*/ 12 h 74"/>
                <a:gd name="T72" fmla="*/ 14 w 42"/>
                <a:gd name="T73" fmla="*/ 28 h 74"/>
                <a:gd name="T74" fmla="*/ 12 w 42"/>
                <a:gd name="T75" fmla="*/ 22 h 74"/>
                <a:gd name="T76" fmla="*/ 10 w 42"/>
                <a:gd name="T77" fmla="*/ 20 h 74"/>
                <a:gd name="T78" fmla="*/ 12 w 42"/>
                <a:gd name="T79" fmla="*/ 18 h 74"/>
                <a:gd name="T80" fmla="*/ 18 w 42"/>
                <a:gd name="T81" fmla="*/ 26 h 74"/>
                <a:gd name="T82" fmla="*/ 14 w 42"/>
                <a:gd name="T83" fmla="*/ 28 h 74"/>
                <a:gd name="T84" fmla="*/ 14 w 42"/>
                <a:gd name="T85" fmla="*/ 28 h 74"/>
                <a:gd name="T86" fmla="*/ 14 w 42"/>
                <a:gd name="T87" fmla="*/ 28 h 74"/>
                <a:gd name="T88" fmla="*/ 24 w 42"/>
                <a:gd name="T89" fmla="*/ 24 h 74"/>
                <a:gd name="T90" fmla="*/ 20 w 42"/>
                <a:gd name="T91" fmla="*/ 24 h 74"/>
                <a:gd name="T92" fmla="*/ 24 w 42"/>
                <a:gd name="T93" fmla="*/ 20 h 74"/>
                <a:gd name="T94" fmla="*/ 26 w 42"/>
                <a:gd name="T95" fmla="*/ 24 h 74"/>
                <a:gd name="T96" fmla="*/ 24 w 42"/>
                <a:gd name="T97" fmla="*/ 24 h 74"/>
                <a:gd name="T98" fmla="*/ 24 w 42"/>
                <a:gd name="T99" fmla="*/ 24 h 74"/>
                <a:gd name="T100" fmla="*/ 24 w 42"/>
                <a:gd name="T101" fmla="*/ 24 h 74"/>
                <a:gd name="T102" fmla="*/ 28 w 42"/>
                <a:gd name="T103" fmla="*/ 32 h 74"/>
                <a:gd name="T104" fmla="*/ 24 w 42"/>
                <a:gd name="T105" fmla="*/ 30 h 74"/>
                <a:gd name="T106" fmla="*/ 24 w 42"/>
                <a:gd name="T107" fmla="*/ 28 h 74"/>
                <a:gd name="T108" fmla="*/ 28 w 42"/>
                <a:gd name="T109" fmla="*/ 32 h 74"/>
                <a:gd name="T110" fmla="*/ 28 w 42"/>
                <a:gd name="T111" fmla="*/ 32 h 74"/>
                <a:gd name="T112" fmla="*/ 28 w 42"/>
                <a:gd name="T113"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 h="74">
                  <a:moveTo>
                    <a:pt x="8" y="6"/>
                  </a:moveTo>
                  <a:lnTo>
                    <a:pt x="12" y="12"/>
                  </a:lnTo>
                  <a:lnTo>
                    <a:pt x="4" y="14"/>
                  </a:lnTo>
                  <a:lnTo>
                    <a:pt x="0" y="0"/>
                  </a:lnTo>
                  <a:lnTo>
                    <a:pt x="6" y="6"/>
                  </a:lnTo>
                  <a:lnTo>
                    <a:pt x="6" y="4"/>
                  </a:lnTo>
                  <a:lnTo>
                    <a:pt x="8" y="6"/>
                  </a:lnTo>
                  <a:lnTo>
                    <a:pt x="8" y="6"/>
                  </a:lnTo>
                  <a:lnTo>
                    <a:pt x="8" y="6"/>
                  </a:lnTo>
                  <a:close/>
                  <a:moveTo>
                    <a:pt x="28" y="48"/>
                  </a:moveTo>
                  <a:lnTo>
                    <a:pt x="24" y="44"/>
                  </a:lnTo>
                  <a:lnTo>
                    <a:pt x="26" y="42"/>
                  </a:lnTo>
                  <a:lnTo>
                    <a:pt x="30" y="44"/>
                  </a:lnTo>
                  <a:lnTo>
                    <a:pt x="28" y="48"/>
                  </a:lnTo>
                  <a:lnTo>
                    <a:pt x="28" y="48"/>
                  </a:lnTo>
                  <a:lnTo>
                    <a:pt x="28" y="48"/>
                  </a:lnTo>
                  <a:close/>
                  <a:moveTo>
                    <a:pt x="40" y="64"/>
                  </a:moveTo>
                  <a:lnTo>
                    <a:pt x="36" y="62"/>
                  </a:lnTo>
                  <a:lnTo>
                    <a:pt x="36" y="60"/>
                  </a:lnTo>
                  <a:lnTo>
                    <a:pt x="40" y="62"/>
                  </a:lnTo>
                  <a:lnTo>
                    <a:pt x="40" y="64"/>
                  </a:lnTo>
                  <a:lnTo>
                    <a:pt x="40" y="64"/>
                  </a:lnTo>
                  <a:lnTo>
                    <a:pt x="40" y="64"/>
                  </a:lnTo>
                  <a:close/>
                  <a:moveTo>
                    <a:pt x="42" y="74"/>
                  </a:moveTo>
                  <a:lnTo>
                    <a:pt x="40" y="72"/>
                  </a:lnTo>
                  <a:lnTo>
                    <a:pt x="40" y="70"/>
                  </a:lnTo>
                  <a:lnTo>
                    <a:pt x="42" y="72"/>
                  </a:lnTo>
                  <a:lnTo>
                    <a:pt x="42" y="74"/>
                  </a:lnTo>
                  <a:lnTo>
                    <a:pt x="42" y="74"/>
                  </a:lnTo>
                  <a:lnTo>
                    <a:pt x="42" y="74"/>
                  </a:lnTo>
                  <a:close/>
                  <a:moveTo>
                    <a:pt x="18" y="12"/>
                  </a:moveTo>
                  <a:lnTo>
                    <a:pt x="18" y="12"/>
                  </a:lnTo>
                  <a:lnTo>
                    <a:pt x="22" y="10"/>
                  </a:lnTo>
                  <a:lnTo>
                    <a:pt x="18" y="12"/>
                  </a:lnTo>
                  <a:lnTo>
                    <a:pt x="18" y="12"/>
                  </a:lnTo>
                  <a:lnTo>
                    <a:pt x="18" y="12"/>
                  </a:lnTo>
                  <a:close/>
                  <a:moveTo>
                    <a:pt x="14" y="28"/>
                  </a:moveTo>
                  <a:lnTo>
                    <a:pt x="12" y="22"/>
                  </a:lnTo>
                  <a:lnTo>
                    <a:pt x="10" y="20"/>
                  </a:lnTo>
                  <a:lnTo>
                    <a:pt x="12" y="18"/>
                  </a:lnTo>
                  <a:lnTo>
                    <a:pt x="18" y="26"/>
                  </a:lnTo>
                  <a:lnTo>
                    <a:pt x="14" y="28"/>
                  </a:lnTo>
                  <a:lnTo>
                    <a:pt x="14" y="28"/>
                  </a:lnTo>
                  <a:lnTo>
                    <a:pt x="14" y="28"/>
                  </a:lnTo>
                  <a:close/>
                  <a:moveTo>
                    <a:pt x="24" y="24"/>
                  </a:moveTo>
                  <a:lnTo>
                    <a:pt x="20" y="24"/>
                  </a:lnTo>
                  <a:lnTo>
                    <a:pt x="24" y="20"/>
                  </a:lnTo>
                  <a:lnTo>
                    <a:pt x="26" y="24"/>
                  </a:lnTo>
                  <a:lnTo>
                    <a:pt x="24" y="24"/>
                  </a:lnTo>
                  <a:lnTo>
                    <a:pt x="24" y="24"/>
                  </a:lnTo>
                  <a:lnTo>
                    <a:pt x="24" y="24"/>
                  </a:lnTo>
                  <a:close/>
                  <a:moveTo>
                    <a:pt x="28" y="32"/>
                  </a:moveTo>
                  <a:lnTo>
                    <a:pt x="24" y="30"/>
                  </a:lnTo>
                  <a:lnTo>
                    <a:pt x="24" y="28"/>
                  </a:lnTo>
                  <a:lnTo>
                    <a:pt x="28" y="32"/>
                  </a:lnTo>
                  <a:lnTo>
                    <a:pt x="28" y="32"/>
                  </a:lnTo>
                  <a:lnTo>
                    <a:pt x="28" y="3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14" name="Freeform 207"/>
            <p:cNvSpPr>
              <a:spLocks noEditPoints="1"/>
            </p:cNvSpPr>
            <p:nvPr/>
          </p:nvSpPr>
          <p:spPr bwMode="auto">
            <a:xfrm>
              <a:off x="8497200" y="4365734"/>
              <a:ext cx="37679" cy="22229"/>
            </a:xfrm>
            <a:custGeom>
              <a:avLst/>
              <a:gdLst>
                <a:gd name="T0" fmla="*/ 22 w 60"/>
                <a:gd name="T1" fmla="*/ 14 h 34"/>
                <a:gd name="T2" fmla="*/ 42 w 60"/>
                <a:gd name="T3" fmla="*/ 30 h 34"/>
                <a:gd name="T4" fmla="*/ 42 w 60"/>
                <a:gd name="T5" fmla="*/ 34 h 34"/>
                <a:gd name="T6" fmla="*/ 36 w 60"/>
                <a:gd name="T7" fmla="*/ 34 h 34"/>
                <a:gd name="T8" fmla="*/ 30 w 60"/>
                <a:gd name="T9" fmla="*/ 28 h 34"/>
                <a:gd name="T10" fmla="*/ 18 w 60"/>
                <a:gd name="T11" fmla="*/ 22 h 34"/>
                <a:gd name="T12" fmla="*/ 6 w 60"/>
                <a:gd name="T13" fmla="*/ 10 h 34"/>
                <a:gd name="T14" fmla="*/ 0 w 60"/>
                <a:gd name="T15" fmla="*/ 0 h 34"/>
                <a:gd name="T16" fmla="*/ 18 w 60"/>
                <a:gd name="T17" fmla="*/ 10 h 34"/>
                <a:gd name="T18" fmla="*/ 22 w 60"/>
                <a:gd name="T19" fmla="*/ 14 h 34"/>
                <a:gd name="T20" fmla="*/ 22 w 60"/>
                <a:gd name="T21" fmla="*/ 14 h 34"/>
                <a:gd name="T22" fmla="*/ 22 w 60"/>
                <a:gd name="T23" fmla="*/ 14 h 34"/>
                <a:gd name="T24" fmla="*/ 48 w 60"/>
                <a:gd name="T25" fmla="*/ 16 h 34"/>
                <a:gd name="T26" fmla="*/ 44 w 60"/>
                <a:gd name="T27" fmla="*/ 12 h 34"/>
                <a:gd name="T28" fmla="*/ 46 w 60"/>
                <a:gd name="T29" fmla="*/ 12 h 34"/>
                <a:gd name="T30" fmla="*/ 44 w 60"/>
                <a:gd name="T31" fmla="*/ 8 h 34"/>
                <a:gd name="T32" fmla="*/ 48 w 60"/>
                <a:gd name="T33" fmla="*/ 8 h 34"/>
                <a:gd name="T34" fmla="*/ 48 w 60"/>
                <a:gd name="T35" fmla="*/ 12 h 34"/>
                <a:gd name="T36" fmla="*/ 50 w 60"/>
                <a:gd name="T37" fmla="*/ 14 h 34"/>
                <a:gd name="T38" fmla="*/ 48 w 60"/>
                <a:gd name="T39" fmla="*/ 16 h 34"/>
                <a:gd name="T40" fmla="*/ 48 w 60"/>
                <a:gd name="T41" fmla="*/ 16 h 34"/>
                <a:gd name="T42" fmla="*/ 48 w 60"/>
                <a:gd name="T43" fmla="*/ 16 h 34"/>
                <a:gd name="T44" fmla="*/ 58 w 60"/>
                <a:gd name="T45" fmla="*/ 24 h 34"/>
                <a:gd name="T46" fmla="*/ 54 w 60"/>
                <a:gd name="T47" fmla="*/ 18 h 34"/>
                <a:gd name="T48" fmla="*/ 60 w 60"/>
                <a:gd name="T49" fmla="*/ 20 h 34"/>
                <a:gd name="T50" fmla="*/ 60 w 60"/>
                <a:gd name="T51" fmla="*/ 24 h 34"/>
                <a:gd name="T52" fmla="*/ 58 w 60"/>
                <a:gd name="T53" fmla="*/ 24 h 34"/>
                <a:gd name="T54" fmla="*/ 58 w 60"/>
                <a:gd name="T55" fmla="*/ 24 h 34"/>
                <a:gd name="T56" fmla="*/ 58 w 60"/>
                <a:gd name="T57"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34">
                  <a:moveTo>
                    <a:pt x="22" y="14"/>
                  </a:moveTo>
                  <a:lnTo>
                    <a:pt x="42" y="30"/>
                  </a:lnTo>
                  <a:lnTo>
                    <a:pt x="42" y="34"/>
                  </a:lnTo>
                  <a:lnTo>
                    <a:pt x="36" y="34"/>
                  </a:lnTo>
                  <a:lnTo>
                    <a:pt x="30" y="28"/>
                  </a:lnTo>
                  <a:lnTo>
                    <a:pt x="18" y="22"/>
                  </a:lnTo>
                  <a:lnTo>
                    <a:pt x="6" y="10"/>
                  </a:lnTo>
                  <a:lnTo>
                    <a:pt x="0" y="0"/>
                  </a:lnTo>
                  <a:lnTo>
                    <a:pt x="18" y="10"/>
                  </a:lnTo>
                  <a:lnTo>
                    <a:pt x="22" y="14"/>
                  </a:lnTo>
                  <a:lnTo>
                    <a:pt x="22" y="14"/>
                  </a:lnTo>
                  <a:lnTo>
                    <a:pt x="22" y="14"/>
                  </a:lnTo>
                  <a:close/>
                  <a:moveTo>
                    <a:pt x="48" y="16"/>
                  </a:moveTo>
                  <a:lnTo>
                    <a:pt x="44" y="12"/>
                  </a:lnTo>
                  <a:lnTo>
                    <a:pt x="46" y="12"/>
                  </a:lnTo>
                  <a:lnTo>
                    <a:pt x="44" y="8"/>
                  </a:lnTo>
                  <a:lnTo>
                    <a:pt x="48" y="8"/>
                  </a:lnTo>
                  <a:lnTo>
                    <a:pt x="48" y="12"/>
                  </a:lnTo>
                  <a:lnTo>
                    <a:pt x="50" y="14"/>
                  </a:lnTo>
                  <a:lnTo>
                    <a:pt x="48" y="16"/>
                  </a:lnTo>
                  <a:lnTo>
                    <a:pt x="48" y="16"/>
                  </a:lnTo>
                  <a:lnTo>
                    <a:pt x="48" y="16"/>
                  </a:lnTo>
                  <a:close/>
                  <a:moveTo>
                    <a:pt x="58" y="24"/>
                  </a:moveTo>
                  <a:lnTo>
                    <a:pt x="54" y="18"/>
                  </a:lnTo>
                  <a:lnTo>
                    <a:pt x="60" y="20"/>
                  </a:lnTo>
                  <a:lnTo>
                    <a:pt x="60" y="24"/>
                  </a:lnTo>
                  <a:lnTo>
                    <a:pt x="58" y="24"/>
                  </a:lnTo>
                  <a:lnTo>
                    <a:pt x="58" y="24"/>
                  </a:lnTo>
                  <a:lnTo>
                    <a:pt x="58" y="2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15" name="Freeform 208"/>
            <p:cNvSpPr>
              <a:spLocks/>
            </p:cNvSpPr>
            <p:nvPr/>
          </p:nvSpPr>
          <p:spPr bwMode="auto">
            <a:xfrm>
              <a:off x="5477868" y="3845316"/>
              <a:ext cx="1256" cy="1308"/>
            </a:xfrm>
            <a:custGeom>
              <a:avLst/>
              <a:gdLst>
                <a:gd name="T0" fmla="*/ 0 w 2"/>
                <a:gd name="T1" fmla="*/ 0 h 2"/>
                <a:gd name="T2" fmla="*/ 2 w 2"/>
                <a:gd name="T3" fmla="*/ 0 h 2"/>
                <a:gd name="T4" fmla="*/ 2 w 2"/>
                <a:gd name="T5" fmla="*/ 2 h 2"/>
                <a:gd name="T6" fmla="*/ 0 w 2"/>
                <a:gd name="T7" fmla="*/ 2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0"/>
                  </a:lnTo>
                  <a:lnTo>
                    <a:pt x="2" y="2"/>
                  </a:lnTo>
                  <a:lnTo>
                    <a:pt x="0" y="2"/>
                  </a:lnTo>
                  <a:lnTo>
                    <a:pt x="0" y="0"/>
                  </a:lnTo>
                  <a:lnTo>
                    <a:pt x="0" y="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16" name="Freeform 209"/>
            <p:cNvSpPr>
              <a:spLocks/>
            </p:cNvSpPr>
            <p:nvPr/>
          </p:nvSpPr>
          <p:spPr bwMode="auto">
            <a:xfrm>
              <a:off x="7991048" y="4276818"/>
              <a:ext cx="1256" cy="1308"/>
            </a:xfrm>
            <a:custGeom>
              <a:avLst/>
              <a:gdLst>
                <a:gd name="T0" fmla="*/ 2 w 2"/>
                <a:gd name="T1" fmla="*/ 0 h 2"/>
                <a:gd name="T2" fmla="*/ 2 w 2"/>
                <a:gd name="T3" fmla="*/ 2 h 2"/>
                <a:gd name="T4" fmla="*/ 2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2"/>
                  </a:lnTo>
                  <a:lnTo>
                    <a:pt x="2" y="2"/>
                  </a:lnTo>
                  <a:lnTo>
                    <a:pt x="0" y="2"/>
                  </a:lnTo>
                  <a:lnTo>
                    <a:pt x="2" y="0"/>
                  </a:lnTo>
                  <a:lnTo>
                    <a:pt x="2" y="0"/>
                  </a:lnTo>
                  <a:lnTo>
                    <a:pt x="2" y="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17" name="Freeform 210"/>
            <p:cNvSpPr>
              <a:spLocks/>
            </p:cNvSpPr>
            <p:nvPr/>
          </p:nvSpPr>
          <p:spPr bwMode="auto">
            <a:xfrm>
              <a:off x="8345229" y="3991765"/>
              <a:ext cx="2512" cy="5230"/>
            </a:xfrm>
            <a:custGeom>
              <a:avLst/>
              <a:gdLst>
                <a:gd name="T0" fmla="*/ 0 w 4"/>
                <a:gd name="T1" fmla="*/ 8 h 8"/>
                <a:gd name="T2" fmla="*/ 0 w 4"/>
                <a:gd name="T3" fmla="*/ 6 h 8"/>
                <a:gd name="T4" fmla="*/ 4 w 4"/>
                <a:gd name="T5" fmla="*/ 0 h 8"/>
                <a:gd name="T6" fmla="*/ 0 w 4"/>
                <a:gd name="T7" fmla="*/ 8 h 8"/>
                <a:gd name="T8" fmla="*/ 0 w 4"/>
                <a:gd name="T9" fmla="*/ 8 h 8"/>
                <a:gd name="T10" fmla="*/ 0 w 4"/>
                <a:gd name="T11" fmla="*/ 8 h 8"/>
              </a:gdLst>
              <a:ahLst/>
              <a:cxnLst>
                <a:cxn ang="0">
                  <a:pos x="T0" y="T1"/>
                </a:cxn>
                <a:cxn ang="0">
                  <a:pos x="T2" y="T3"/>
                </a:cxn>
                <a:cxn ang="0">
                  <a:pos x="T4" y="T5"/>
                </a:cxn>
                <a:cxn ang="0">
                  <a:pos x="T6" y="T7"/>
                </a:cxn>
                <a:cxn ang="0">
                  <a:pos x="T8" y="T9"/>
                </a:cxn>
                <a:cxn ang="0">
                  <a:pos x="T10" y="T11"/>
                </a:cxn>
              </a:cxnLst>
              <a:rect l="0" t="0" r="r" b="b"/>
              <a:pathLst>
                <a:path w="4" h="8">
                  <a:moveTo>
                    <a:pt x="0" y="8"/>
                  </a:moveTo>
                  <a:lnTo>
                    <a:pt x="0" y="6"/>
                  </a:lnTo>
                  <a:lnTo>
                    <a:pt x="4" y="0"/>
                  </a:lnTo>
                  <a:lnTo>
                    <a:pt x="0" y="8"/>
                  </a:lnTo>
                  <a:lnTo>
                    <a:pt x="0" y="8"/>
                  </a:lnTo>
                  <a:lnTo>
                    <a:pt x="0" y="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18" name="Freeform 211"/>
            <p:cNvSpPr>
              <a:spLocks/>
            </p:cNvSpPr>
            <p:nvPr/>
          </p:nvSpPr>
          <p:spPr bwMode="auto">
            <a:xfrm>
              <a:off x="8354021" y="3977382"/>
              <a:ext cx="1256" cy="2615"/>
            </a:xfrm>
            <a:custGeom>
              <a:avLst/>
              <a:gdLst>
                <a:gd name="T0" fmla="*/ 2 w 2"/>
                <a:gd name="T1" fmla="*/ 0 h 4"/>
                <a:gd name="T2" fmla="*/ 2 w 2"/>
                <a:gd name="T3" fmla="*/ 4 h 4"/>
                <a:gd name="T4" fmla="*/ 0 w 2"/>
                <a:gd name="T5" fmla="*/ 2 h 4"/>
                <a:gd name="T6" fmla="*/ 2 w 2"/>
                <a:gd name="T7" fmla="*/ 0 h 4"/>
                <a:gd name="T8" fmla="*/ 2 w 2"/>
                <a:gd name="T9" fmla="*/ 0 h 4"/>
                <a:gd name="T10" fmla="*/ 2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2" y="0"/>
                  </a:moveTo>
                  <a:lnTo>
                    <a:pt x="2" y="4"/>
                  </a:lnTo>
                  <a:lnTo>
                    <a:pt x="0" y="2"/>
                  </a:lnTo>
                  <a:lnTo>
                    <a:pt x="2" y="0"/>
                  </a:lnTo>
                  <a:lnTo>
                    <a:pt x="2" y="0"/>
                  </a:lnTo>
                  <a:lnTo>
                    <a:pt x="2" y="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19" name="Freeform 212"/>
            <p:cNvSpPr>
              <a:spLocks/>
            </p:cNvSpPr>
            <p:nvPr/>
          </p:nvSpPr>
          <p:spPr bwMode="auto">
            <a:xfrm>
              <a:off x="8248520" y="4071528"/>
              <a:ext cx="1256" cy="1308"/>
            </a:xfrm>
            <a:custGeom>
              <a:avLst/>
              <a:gdLst>
                <a:gd name="T0" fmla="*/ 2 w 2"/>
                <a:gd name="T1" fmla="*/ 0 h 2"/>
                <a:gd name="T2" fmla="*/ 0 w 2"/>
                <a:gd name="T3" fmla="*/ 2 h 2"/>
                <a:gd name="T4" fmla="*/ 0 w 2"/>
                <a:gd name="T5" fmla="*/ 2 h 2"/>
                <a:gd name="T6" fmla="*/ 0 w 2"/>
                <a:gd name="T7" fmla="*/ 0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0" y="2"/>
                  </a:lnTo>
                  <a:lnTo>
                    <a:pt x="0" y="2"/>
                  </a:lnTo>
                  <a:lnTo>
                    <a:pt x="0" y="0"/>
                  </a:lnTo>
                  <a:lnTo>
                    <a:pt x="2" y="0"/>
                  </a:lnTo>
                  <a:lnTo>
                    <a:pt x="2" y="0"/>
                  </a:lnTo>
                  <a:lnTo>
                    <a:pt x="2" y="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20" name="Freeform 214"/>
            <p:cNvSpPr>
              <a:spLocks/>
            </p:cNvSpPr>
            <p:nvPr/>
          </p:nvSpPr>
          <p:spPr bwMode="auto">
            <a:xfrm>
              <a:off x="8448218" y="4063682"/>
              <a:ext cx="1256" cy="1308"/>
            </a:xfrm>
            <a:custGeom>
              <a:avLst/>
              <a:gdLst>
                <a:gd name="T0" fmla="*/ 0 w 2"/>
                <a:gd name="T1" fmla="*/ 2 h 2"/>
                <a:gd name="T2" fmla="*/ 0 w 2"/>
                <a:gd name="T3" fmla="*/ 0 h 2"/>
                <a:gd name="T4" fmla="*/ 2 w 2"/>
                <a:gd name="T5" fmla="*/ 0 h 2"/>
                <a:gd name="T6" fmla="*/ 0 w 2"/>
                <a:gd name="T7" fmla="*/ 2 h 2"/>
                <a:gd name="T8" fmla="*/ 0 w 2"/>
                <a:gd name="T9" fmla="*/ 2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0" y="0"/>
                  </a:lnTo>
                  <a:lnTo>
                    <a:pt x="2" y="0"/>
                  </a:lnTo>
                  <a:lnTo>
                    <a:pt x="0" y="2"/>
                  </a:lnTo>
                  <a:lnTo>
                    <a:pt x="0" y="2"/>
                  </a:lnTo>
                  <a:lnTo>
                    <a:pt x="0" y="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21" name="Freeform 215"/>
            <p:cNvSpPr>
              <a:spLocks noEditPoints="1"/>
            </p:cNvSpPr>
            <p:nvPr/>
          </p:nvSpPr>
          <p:spPr bwMode="auto">
            <a:xfrm>
              <a:off x="6491429" y="4780238"/>
              <a:ext cx="30143" cy="15691"/>
            </a:xfrm>
            <a:custGeom>
              <a:avLst/>
              <a:gdLst>
                <a:gd name="T0" fmla="*/ 30 w 48"/>
                <a:gd name="T1" fmla="*/ 12 h 24"/>
                <a:gd name="T2" fmla="*/ 26 w 48"/>
                <a:gd name="T3" fmla="*/ 6 h 24"/>
                <a:gd name="T4" fmla="*/ 30 w 48"/>
                <a:gd name="T5" fmla="*/ 0 h 24"/>
                <a:gd name="T6" fmla="*/ 38 w 48"/>
                <a:gd name="T7" fmla="*/ 0 h 24"/>
                <a:gd name="T8" fmla="*/ 38 w 48"/>
                <a:gd name="T9" fmla="*/ 2 h 24"/>
                <a:gd name="T10" fmla="*/ 36 w 48"/>
                <a:gd name="T11" fmla="*/ 2 h 24"/>
                <a:gd name="T12" fmla="*/ 40 w 48"/>
                <a:gd name="T13" fmla="*/ 8 h 24"/>
                <a:gd name="T14" fmla="*/ 40 w 48"/>
                <a:gd name="T15" fmla="*/ 2 h 24"/>
                <a:gd name="T16" fmla="*/ 44 w 48"/>
                <a:gd name="T17" fmla="*/ 2 h 24"/>
                <a:gd name="T18" fmla="*/ 46 w 48"/>
                <a:gd name="T19" fmla="*/ 6 h 24"/>
                <a:gd name="T20" fmla="*/ 42 w 48"/>
                <a:gd name="T21" fmla="*/ 6 h 24"/>
                <a:gd name="T22" fmla="*/ 48 w 48"/>
                <a:gd name="T23" fmla="*/ 8 h 24"/>
                <a:gd name="T24" fmla="*/ 38 w 48"/>
                <a:gd name="T25" fmla="*/ 14 h 24"/>
                <a:gd name="T26" fmla="*/ 30 w 48"/>
                <a:gd name="T27" fmla="*/ 12 h 24"/>
                <a:gd name="T28" fmla="*/ 34 w 48"/>
                <a:gd name="T29" fmla="*/ 18 h 24"/>
                <a:gd name="T30" fmla="*/ 26 w 48"/>
                <a:gd name="T31" fmla="*/ 16 h 24"/>
                <a:gd name="T32" fmla="*/ 28 w 48"/>
                <a:gd name="T33" fmla="*/ 20 h 24"/>
                <a:gd name="T34" fmla="*/ 24 w 48"/>
                <a:gd name="T35" fmla="*/ 20 h 24"/>
                <a:gd name="T36" fmla="*/ 24 w 48"/>
                <a:gd name="T37" fmla="*/ 24 h 24"/>
                <a:gd name="T38" fmla="*/ 20 w 48"/>
                <a:gd name="T39" fmla="*/ 18 h 24"/>
                <a:gd name="T40" fmla="*/ 26 w 48"/>
                <a:gd name="T41" fmla="*/ 8 h 24"/>
                <a:gd name="T42" fmla="*/ 30 w 48"/>
                <a:gd name="T43" fmla="*/ 12 h 24"/>
                <a:gd name="T44" fmla="*/ 30 w 48"/>
                <a:gd name="T45" fmla="*/ 12 h 24"/>
                <a:gd name="T46" fmla="*/ 30 w 48"/>
                <a:gd name="T47" fmla="*/ 12 h 24"/>
                <a:gd name="T48" fmla="*/ 10 w 48"/>
                <a:gd name="T49" fmla="*/ 12 h 24"/>
                <a:gd name="T50" fmla="*/ 14 w 48"/>
                <a:gd name="T51" fmla="*/ 8 h 24"/>
                <a:gd name="T52" fmla="*/ 6 w 48"/>
                <a:gd name="T53" fmla="*/ 8 h 24"/>
                <a:gd name="T54" fmla="*/ 14 w 48"/>
                <a:gd name="T55" fmla="*/ 8 h 24"/>
                <a:gd name="T56" fmla="*/ 6 w 48"/>
                <a:gd name="T57" fmla="*/ 2 h 24"/>
                <a:gd name="T58" fmla="*/ 14 w 48"/>
                <a:gd name="T59" fmla="*/ 4 h 24"/>
                <a:gd name="T60" fmla="*/ 14 w 48"/>
                <a:gd name="T61" fmla="*/ 2 h 24"/>
                <a:gd name="T62" fmla="*/ 26 w 48"/>
                <a:gd name="T63" fmla="*/ 2 h 24"/>
                <a:gd name="T64" fmla="*/ 10 w 48"/>
                <a:gd name="T65" fmla="*/ 20 h 24"/>
                <a:gd name="T66" fmla="*/ 6 w 48"/>
                <a:gd name="T67" fmla="*/ 22 h 24"/>
                <a:gd name="T68" fmla="*/ 2 w 48"/>
                <a:gd name="T69" fmla="*/ 18 h 24"/>
                <a:gd name="T70" fmla="*/ 8 w 48"/>
                <a:gd name="T71" fmla="*/ 14 h 24"/>
                <a:gd name="T72" fmla="*/ 8 w 48"/>
                <a:gd name="T73" fmla="*/ 10 h 24"/>
                <a:gd name="T74" fmla="*/ 10 w 48"/>
                <a:gd name="T75" fmla="*/ 12 h 24"/>
                <a:gd name="T76" fmla="*/ 10 w 48"/>
                <a:gd name="T77" fmla="*/ 12 h 24"/>
                <a:gd name="T78" fmla="*/ 10 w 48"/>
                <a:gd name="T79" fmla="*/ 12 h 24"/>
                <a:gd name="T80" fmla="*/ 2 w 48"/>
                <a:gd name="T81" fmla="*/ 14 h 24"/>
                <a:gd name="T82" fmla="*/ 0 w 48"/>
                <a:gd name="T83" fmla="*/ 12 h 24"/>
                <a:gd name="T84" fmla="*/ 4 w 48"/>
                <a:gd name="T85" fmla="*/ 12 h 24"/>
                <a:gd name="T86" fmla="*/ 2 w 48"/>
                <a:gd name="T87" fmla="*/ 14 h 24"/>
                <a:gd name="T88" fmla="*/ 2 w 48"/>
                <a:gd name="T89" fmla="*/ 14 h 24"/>
                <a:gd name="T90" fmla="*/ 2 w 48"/>
                <a:gd name="T91"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 h="24">
                  <a:moveTo>
                    <a:pt x="30" y="12"/>
                  </a:moveTo>
                  <a:lnTo>
                    <a:pt x="26" y="6"/>
                  </a:lnTo>
                  <a:lnTo>
                    <a:pt x="30" y="0"/>
                  </a:lnTo>
                  <a:lnTo>
                    <a:pt x="38" y="0"/>
                  </a:lnTo>
                  <a:lnTo>
                    <a:pt x="38" y="2"/>
                  </a:lnTo>
                  <a:lnTo>
                    <a:pt x="36" y="2"/>
                  </a:lnTo>
                  <a:lnTo>
                    <a:pt x="40" y="8"/>
                  </a:lnTo>
                  <a:lnTo>
                    <a:pt x="40" y="2"/>
                  </a:lnTo>
                  <a:lnTo>
                    <a:pt x="44" y="2"/>
                  </a:lnTo>
                  <a:lnTo>
                    <a:pt x="46" y="6"/>
                  </a:lnTo>
                  <a:lnTo>
                    <a:pt x="42" y="6"/>
                  </a:lnTo>
                  <a:lnTo>
                    <a:pt x="48" y="8"/>
                  </a:lnTo>
                  <a:lnTo>
                    <a:pt x="38" y="14"/>
                  </a:lnTo>
                  <a:lnTo>
                    <a:pt x="30" y="12"/>
                  </a:lnTo>
                  <a:lnTo>
                    <a:pt x="34" y="18"/>
                  </a:lnTo>
                  <a:lnTo>
                    <a:pt x="26" y="16"/>
                  </a:lnTo>
                  <a:lnTo>
                    <a:pt x="28" y="20"/>
                  </a:lnTo>
                  <a:lnTo>
                    <a:pt x="24" y="20"/>
                  </a:lnTo>
                  <a:lnTo>
                    <a:pt x="24" y="24"/>
                  </a:lnTo>
                  <a:lnTo>
                    <a:pt x="20" y="18"/>
                  </a:lnTo>
                  <a:lnTo>
                    <a:pt x="26" y="8"/>
                  </a:lnTo>
                  <a:lnTo>
                    <a:pt x="30" y="12"/>
                  </a:lnTo>
                  <a:lnTo>
                    <a:pt x="30" y="12"/>
                  </a:lnTo>
                  <a:lnTo>
                    <a:pt x="30" y="12"/>
                  </a:lnTo>
                  <a:close/>
                  <a:moveTo>
                    <a:pt x="10" y="12"/>
                  </a:moveTo>
                  <a:lnTo>
                    <a:pt x="14" y="8"/>
                  </a:lnTo>
                  <a:lnTo>
                    <a:pt x="6" y="8"/>
                  </a:lnTo>
                  <a:lnTo>
                    <a:pt x="14" y="8"/>
                  </a:lnTo>
                  <a:lnTo>
                    <a:pt x="6" y="2"/>
                  </a:lnTo>
                  <a:lnTo>
                    <a:pt x="14" y="4"/>
                  </a:lnTo>
                  <a:lnTo>
                    <a:pt x="14" y="2"/>
                  </a:lnTo>
                  <a:lnTo>
                    <a:pt x="26" y="2"/>
                  </a:lnTo>
                  <a:lnTo>
                    <a:pt x="10" y="20"/>
                  </a:lnTo>
                  <a:lnTo>
                    <a:pt x="6" y="22"/>
                  </a:lnTo>
                  <a:lnTo>
                    <a:pt x="2" y="18"/>
                  </a:lnTo>
                  <a:lnTo>
                    <a:pt x="8" y="14"/>
                  </a:lnTo>
                  <a:lnTo>
                    <a:pt x="8" y="10"/>
                  </a:lnTo>
                  <a:lnTo>
                    <a:pt x="10" y="12"/>
                  </a:lnTo>
                  <a:lnTo>
                    <a:pt x="10" y="12"/>
                  </a:lnTo>
                  <a:lnTo>
                    <a:pt x="10" y="12"/>
                  </a:lnTo>
                  <a:close/>
                  <a:moveTo>
                    <a:pt x="2" y="14"/>
                  </a:moveTo>
                  <a:lnTo>
                    <a:pt x="0" y="12"/>
                  </a:lnTo>
                  <a:lnTo>
                    <a:pt x="4" y="12"/>
                  </a:lnTo>
                  <a:lnTo>
                    <a:pt x="2" y="14"/>
                  </a:lnTo>
                  <a:lnTo>
                    <a:pt x="2" y="14"/>
                  </a:lnTo>
                  <a:lnTo>
                    <a:pt x="2" y="1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22" name="Freeform 216"/>
            <p:cNvSpPr>
              <a:spLocks/>
            </p:cNvSpPr>
            <p:nvPr/>
          </p:nvSpPr>
          <p:spPr bwMode="auto">
            <a:xfrm>
              <a:off x="6471334" y="3782552"/>
              <a:ext cx="1256" cy="2615"/>
            </a:xfrm>
            <a:custGeom>
              <a:avLst/>
              <a:gdLst>
                <a:gd name="T0" fmla="*/ 2 w 2"/>
                <a:gd name="T1" fmla="*/ 0 h 4"/>
                <a:gd name="T2" fmla="*/ 2 w 2"/>
                <a:gd name="T3" fmla="*/ 2 h 4"/>
                <a:gd name="T4" fmla="*/ 0 w 2"/>
                <a:gd name="T5" fmla="*/ 4 h 4"/>
                <a:gd name="T6" fmla="*/ 2 w 2"/>
                <a:gd name="T7" fmla="*/ 0 h 4"/>
                <a:gd name="T8" fmla="*/ 2 w 2"/>
                <a:gd name="T9" fmla="*/ 0 h 4"/>
                <a:gd name="T10" fmla="*/ 2 w 2"/>
                <a:gd name="T11" fmla="*/ 0 h 4"/>
                <a:gd name="T12" fmla="*/ 2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0"/>
                  </a:moveTo>
                  <a:lnTo>
                    <a:pt x="2" y="2"/>
                  </a:lnTo>
                  <a:lnTo>
                    <a:pt x="0" y="4"/>
                  </a:lnTo>
                  <a:lnTo>
                    <a:pt x="2" y="0"/>
                  </a:lnTo>
                  <a:lnTo>
                    <a:pt x="2" y="0"/>
                  </a:lnTo>
                  <a:lnTo>
                    <a:pt x="2" y="0"/>
                  </a:lnTo>
                  <a:lnTo>
                    <a:pt x="2" y="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23" name="Freeform 217"/>
            <p:cNvSpPr>
              <a:spLocks/>
            </p:cNvSpPr>
            <p:nvPr/>
          </p:nvSpPr>
          <p:spPr bwMode="auto">
            <a:xfrm>
              <a:off x="7154577" y="3998303"/>
              <a:ext cx="21351" cy="22229"/>
            </a:xfrm>
            <a:custGeom>
              <a:avLst/>
              <a:gdLst>
                <a:gd name="T0" fmla="*/ 4 w 34"/>
                <a:gd name="T1" fmla="*/ 8 h 34"/>
                <a:gd name="T2" fmla="*/ 4 w 34"/>
                <a:gd name="T3" fmla="*/ 8 h 34"/>
                <a:gd name="T4" fmla="*/ 0 w 34"/>
                <a:gd name="T5" fmla="*/ 8 h 34"/>
                <a:gd name="T6" fmla="*/ 4 w 34"/>
                <a:gd name="T7" fmla="*/ 4 h 34"/>
                <a:gd name="T8" fmla="*/ 8 w 34"/>
                <a:gd name="T9" fmla="*/ 0 h 34"/>
                <a:gd name="T10" fmla="*/ 12 w 34"/>
                <a:gd name="T11" fmla="*/ 0 h 34"/>
                <a:gd name="T12" fmla="*/ 12 w 34"/>
                <a:gd name="T13" fmla="*/ 4 h 34"/>
                <a:gd name="T14" fmla="*/ 16 w 34"/>
                <a:gd name="T15" fmla="*/ 4 h 34"/>
                <a:gd name="T16" fmla="*/ 18 w 34"/>
                <a:gd name="T17" fmla="*/ 8 h 34"/>
                <a:gd name="T18" fmla="*/ 18 w 34"/>
                <a:gd name="T19" fmla="*/ 8 h 34"/>
                <a:gd name="T20" fmla="*/ 18 w 34"/>
                <a:gd name="T21" fmla="*/ 8 h 34"/>
                <a:gd name="T22" fmla="*/ 18 w 34"/>
                <a:gd name="T23" fmla="*/ 12 h 34"/>
                <a:gd name="T24" fmla="*/ 18 w 34"/>
                <a:gd name="T25" fmla="*/ 16 h 34"/>
                <a:gd name="T26" fmla="*/ 18 w 34"/>
                <a:gd name="T27" fmla="*/ 16 h 34"/>
                <a:gd name="T28" fmla="*/ 22 w 34"/>
                <a:gd name="T29" fmla="*/ 16 h 34"/>
                <a:gd name="T30" fmla="*/ 22 w 34"/>
                <a:gd name="T31" fmla="*/ 16 h 34"/>
                <a:gd name="T32" fmla="*/ 26 w 34"/>
                <a:gd name="T33" fmla="*/ 16 h 34"/>
                <a:gd name="T34" fmla="*/ 30 w 34"/>
                <a:gd name="T35" fmla="*/ 20 h 34"/>
                <a:gd name="T36" fmla="*/ 34 w 34"/>
                <a:gd name="T37" fmla="*/ 20 h 34"/>
                <a:gd name="T38" fmla="*/ 34 w 34"/>
                <a:gd name="T39" fmla="*/ 20 h 34"/>
                <a:gd name="T40" fmla="*/ 34 w 34"/>
                <a:gd name="T41" fmla="*/ 20 h 34"/>
                <a:gd name="T42" fmla="*/ 34 w 34"/>
                <a:gd name="T43" fmla="*/ 22 h 34"/>
                <a:gd name="T44" fmla="*/ 34 w 34"/>
                <a:gd name="T45" fmla="*/ 22 h 34"/>
                <a:gd name="T46" fmla="*/ 34 w 34"/>
                <a:gd name="T47" fmla="*/ 22 h 34"/>
                <a:gd name="T48" fmla="*/ 34 w 34"/>
                <a:gd name="T49" fmla="*/ 22 h 34"/>
                <a:gd name="T50" fmla="*/ 30 w 34"/>
                <a:gd name="T51" fmla="*/ 26 h 34"/>
                <a:gd name="T52" fmla="*/ 30 w 34"/>
                <a:gd name="T53" fmla="*/ 26 h 34"/>
                <a:gd name="T54" fmla="*/ 26 w 34"/>
                <a:gd name="T55" fmla="*/ 26 h 34"/>
                <a:gd name="T56" fmla="*/ 22 w 34"/>
                <a:gd name="T57" fmla="*/ 26 h 34"/>
                <a:gd name="T58" fmla="*/ 22 w 34"/>
                <a:gd name="T59" fmla="*/ 26 h 34"/>
                <a:gd name="T60" fmla="*/ 22 w 34"/>
                <a:gd name="T61" fmla="*/ 26 h 34"/>
                <a:gd name="T62" fmla="*/ 22 w 34"/>
                <a:gd name="T63" fmla="*/ 26 h 34"/>
                <a:gd name="T64" fmla="*/ 22 w 34"/>
                <a:gd name="T65" fmla="*/ 30 h 34"/>
                <a:gd name="T66" fmla="*/ 22 w 34"/>
                <a:gd name="T67" fmla="*/ 30 h 34"/>
                <a:gd name="T68" fmla="*/ 18 w 34"/>
                <a:gd name="T69" fmla="*/ 30 h 34"/>
                <a:gd name="T70" fmla="*/ 18 w 34"/>
                <a:gd name="T71" fmla="*/ 30 h 34"/>
                <a:gd name="T72" fmla="*/ 18 w 34"/>
                <a:gd name="T73" fmla="*/ 30 h 34"/>
                <a:gd name="T74" fmla="*/ 18 w 34"/>
                <a:gd name="T75" fmla="*/ 34 h 34"/>
                <a:gd name="T76" fmla="*/ 18 w 34"/>
                <a:gd name="T77" fmla="*/ 34 h 34"/>
                <a:gd name="T78" fmla="*/ 18 w 34"/>
                <a:gd name="T79" fmla="*/ 34 h 34"/>
                <a:gd name="T80" fmla="*/ 18 w 34"/>
                <a:gd name="T81" fmla="*/ 34 h 34"/>
                <a:gd name="T82" fmla="*/ 18 w 34"/>
                <a:gd name="T83" fmla="*/ 34 h 34"/>
                <a:gd name="T84" fmla="*/ 16 w 34"/>
                <a:gd name="T85" fmla="*/ 34 h 34"/>
                <a:gd name="T86" fmla="*/ 16 w 34"/>
                <a:gd name="T87" fmla="*/ 34 h 34"/>
                <a:gd name="T88" fmla="*/ 16 w 34"/>
                <a:gd name="T89" fmla="*/ 30 h 34"/>
                <a:gd name="T90" fmla="*/ 12 w 34"/>
                <a:gd name="T91" fmla="*/ 22 h 34"/>
                <a:gd name="T92" fmla="*/ 8 w 34"/>
                <a:gd name="T93" fmla="*/ 20 h 34"/>
                <a:gd name="T94" fmla="*/ 8 w 34"/>
                <a:gd name="T95" fmla="*/ 20 h 34"/>
                <a:gd name="T96" fmla="*/ 8 w 34"/>
                <a:gd name="T97" fmla="*/ 20 h 34"/>
                <a:gd name="T98" fmla="*/ 8 w 34"/>
                <a:gd name="T9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34">
                  <a:moveTo>
                    <a:pt x="8" y="12"/>
                  </a:moveTo>
                  <a:lnTo>
                    <a:pt x="8" y="12"/>
                  </a:lnTo>
                  <a:lnTo>
                    <a:pt x="4" y="12"/>
                  </a:lnTo>
                  <a:lnTo>
                    <a:pt x="4" y="8"/>
                  </a:lnTo>
                  <a:lnTo>
                    <a:pt x="4" y="8"/>
                  </a:lnTo>
                  <a:lnTo>
                    <a:pt x="4" y="8"/>
                  </a:lnTo>
                  <a:lnTo>
                    <a:pt x="4" y="8"/>
                  </a:lnTo>
                  <a:lnTo>
                    <a:pt x="4" y="8"/>
                  </a:lnTo>
                  <a:lnTo>
                    <a:pt x="4" y="8"/>
                  </a:lnTo>
                  <a:lnTo>
                    <a:pt x="4" y="8"/>
                  </a:lnTo>
                  <a:lnTo>
                    <a:pt x="4" y="8"/>
                  </a:lnTo>
                  <a:lnTo>
                    <a:pt x="0" y="8"/>
                  </a:lnTo>
                  <a:lnTo>
                    <a:pt x="0" y="4"/>
                  </a:lnTo>
                  <a:lnTo>
                    <a:pt x="0" y="4"/>
                  </a:lnTo>
                  <a:lnTo>
                    <a:pt x="4" y="4"/>
                  </a:lnTo>
                  <a:lnTo>
                    <a:pt x="4" y="4"/>
                  </a:lnTo>
                  <a:lnTo>
                    <a:pt x="4" y="4"/>
                  </a:lnTo>
                  <a:lnTo>
                    <a:pt x="4" y="4"/>
                  </a:lnTo>
                  <a:lnTo>
                    <a:pt x="8" y="4"/>
                  </a:lnTo>
                  <a:lnTo>
                    <a:pt x="8" y="0"/>
                  </a:lnTo>
                  <a:lnTo>
                    <a:pt x="8" y="0"/>
                  </a:lnTo>
                  <a:lnTo>
                    <a:pt x="8" y="0"/>
                  </a:lnTo>
                  <a:lnTo>
                    <a:pt x="12" y="0"/>
                  </a:lnTo>
                  <a:lnTo>
                    <a:pt x="12" y="0"/>
                  </a:lnTo>
                  <a:lnTo>
                    <a:pt x="12" y="0"/>
                  </a:lnTo>
                  <a:lnTo>
                    <a:pt x="12" y="0"/>
                  </a:lnTo>
                  <a:lnTo>
                    <a:pt x="12" y="0"/>
                  </a:lnTo>
                  <a:lnTo>
                    <a:pt x="12" y="4"/>
                  </a:lnTo>
                  <a:lnTo>
                    <a:pt x="16" y="4"/>
                  </a:lnTo>
                  <a:lnTo>
                    <a:pt x="16" y="4"/>
                  </a:lnTo>
                  <a:lnTo>
                    <a:pt x="16" y="4"/>
                  </a:lnTo>
                  <a:lnTo>
                    <a:pt x="16" y="4"/>
                  </a:lnTo>
                  <a:lnTo>
                    <a:pt x="16" y="4"/>
                  </a:lnTo>
                  <a:lnTo>
                    <a:pt x="16" y="4"/>
                  </a:lnTo>
                  <a:lnTo>
                    <a:pt x="16" y="4"/>
                  </a:lnTo>
                  <a:lnTo>
                    <a:pt x="18" y="8"/>
                  </a:lnTo>
                  <a:lnTo>
                    <a:pt x="18" y="8"/>
                  </a:lnTo>
                  <a:lnTo>
                    <a:pt x="18" y="8"/>
                  </a:lnTo>
                  <a:lnTo>
                    <a:pt x="18" y="8"/>
                  </a:lnTo>
                  <a:lnTo>
                    <a:pt x="18" y="8"/>
                  </a:lnTo>
                  <a:lnTo>
                    <a:pt x="18" y="8"/>
                  </a:lnTo>
                  <a:lnTo>
                    <a:pt x="18" y="8"/>
                  </a:lnTo>
                  <a:lnTo>
                    <a:pt x="18" y="8"/>
                  </a:lnTo>
                  <a:lnTo>
                    <a:pt x="18" y="8"/>
                  </a:lnTo>
                  <a:lnTo>
                    <a:pt x="18" y="8"/>
                  </a:lnTo>
                  <a:lnTo>
                    <a:pt x="18" y="12"/>
                  </a:lnTo>
                  <a:lnTo>
                    <a:pt x="18" y="12"/>
                  </a:lnTo>
                  <a:lnTo>
                    <a:pt x="18" y="12"/>
                  </a:lnTo>
                  <a:lnTo>
                    <a:pt x="18" y="12"/>
                  </a:lnTo>
                  <a:lnTo>
                    <a:pt x="18" y="16"/>
                  </a:lnTo>
                  <a:lnTo>
                    <a:pt x="18" y="16"/>
                  </a:lnTo>
                  <a:lnTo>
                    <a:pt x="18" y="16"/>
                  </a:lnTo>
                  <a:lnTo>
                    <a:pt x="18" y="16"/>
                  </a:lnTo>
                  <a:lnTo>
                    <a:pt x="18" y="16"/>
                  </a:lnTo>
                  <a:lnTo>
                    <a:pt x="18" y="16"/>
                  </a:lnTo>
                  <a:lnTo>
                    <a:pt x="18" y="16"/>
                  </a:lnTo>
                  <a:lnTo>
                    <a:pt x="22" y="16"/>
                  </a:lnTo>
                  <a:lnTo>
                    <a:pt x="22" y="16"/>
                  </a:lnTo>
                  <a:lnTo>
                    <a:pt x="22" y="16"/>
                  </a:lnTo>
                  <a:lnTo>
                    <a:pt x="22" y="16"/>
                  </a:lnTo>
                  <a:lnTo>
                    <a:pt x="22" y="16"/>
                  </a:lnTo>
                  <a:lnTo>
                    <a:pt x="22" y="16"/>
                  </a:lnTo>
                  <a:lnTo>
                    <a:pt x="22" y="16"/>
                  </a:lnTo>
                  <a:lnTo>
                    <a:pt x="22" y="16"/>
                  </a:lnTo>
                  <a:lnTo>
                    <a:pt x="26" y="16"/>
                  </a:lnTo>
                  <a:lnTo>
                    <a:pt x="26" y="16"/>
                  </a:lnTo>
                  <a:lnTo>
                    <a:pt x="26" y="16"/>
                  </a:lnTo>
                  <a:lnTo>
                    <a:pt x="26" y="16"/>
                  </a:lnTo>
                  <a:lnTo>
                    <a:pt x="26" y="16"/>
                  </a:lnTo>
                  <a:lnTo>
                    <a:pt x="30" y="16"/>
                  </a:lnTo>
                  <a:lnTo>
                    <a:pt x="30" y="16"/>
                  </a:lnTo>
                  <a:lnTo>
                    <a:pt x="30" y="20"/>
                  </a:lnTo>
                  <a:lnTo>
                    <a:pt x="30" y="20"/>
                  </a:lnTo>
                  <a:lnTo>
                    <a:pt x="30" y="20"/>
                  </a:lnTo>
                  <a:lnTo>
                    <a:pt x="30" y="20"/>
                  </a:lnTo>
                  <a:lnTo>
                    <a:pt x="34" y="20"/>
                  </a:lnTo>
                  <a:lnTo>
                    <a:pt x="34" y="20"/>
                  </a:lnTo>
                  <a:lnTo>
                    <a:pt x="34" y="20"/>
                  </a:lnTo>
                  <a:lnTo>
                    <a:pt x="34" y="20"/>
                  </a:lnTo>
                  <a:lnTo>
                    <a:pt x="34" y="20"/>
                  </a:lnTo>
                  <a:lnTo>
                    <a:pt x="34" y="20"/>
                  </a:lnTo>
                  <a:lnTo>
                    <a:pt x="34" y="20"/>
                  </a:lnTo>
                  <a:lnTo>
                    <a:pt x="34" y="20"/>
                  </a:lnTo>
                  <a:lnTo>
                    <a:pt x="34" y="20"/>
                  </a:lnTo>
                  <a:lnTo>
                    <a:pt x="34" y="20"/>
                  </a:lnTo>
                  <a:lnTo>
                    <a:pt x="34" y="20"/>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2"/>
                  </a:lnTo>
                  <a:lnTo>
                    <a:pt x="34" y="26"/>
                  </a:lnTo>
                  <a:lnTo>
                    <a:pt x="30" y="26"/>
                  </a:lnTo>
                  <a:lnTo>
                    <a:pt x="30" y="26"/>
                  </a:lnTo>
                  <a:lnTo>
                    <a:pt x="30" y="26"/>
                  </a:lnTo>
                  <a:lnTo>
                    <a:pt x="30" y="26"/>
                  </a:lnTo>
                  <a:lnTo>
                    <a:pt x="30" y="26"/>
                  </a:lnTo>
                  <a:lnTo>
                    <a:pt x="30" y="26"/>
                  </a:lnTo>
                  <a:lnTo>
                    <a:pt x="30" y="26"/>
                  </a:lnTo>
                  <a:lnTo>
                    <a:pt x="30" y="26"/>
                  </a:lnTo>
                  <a:lnTo>
                    <a:pt x="26" y="26"/>
                  </a:lnTo>
                  <a:lnTo>
                    <a:pt x="26" y="26"/>
                  </a:lnTo>
                  <a:lnTo>
                    <a:pt x="26" y="26"/>
                  </a:lnTo>
                  <a:lnTo>
                    <a:pt x="26" y="26"/>
                  </a:lnTo>
                  <a:lnTo>
                    <a:pt x="26"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26"/>
                  </a:lnTo>
                  <a:lnTo>
                    <a:pt x="22" y="30"/>
                  </a:lnTo>
                  <a:lnTo>
                    <a:pt x="22" y="30"/>
                  </a:lnTo>
                  <a:lnTo>
                    <a:pt x="22" y="30"/>
                  </a:lnTo>
                  <a:lnTo>
                    <a:pt x="22" y="30"/>
                  </a:lnTo>
                  <a:lnTo>
                    <a:pt x="22" y="30"/>
                  </a:lnTo>
                  <a:lnTo>
                    <a:pt x="22" y="30"/>
                  </a:lnTo>
                  <a:lnTo>
                    <a:pt x="22" y="30"/>
                  </a:lnTo>
                  <a:lnTo>
                    <a:pt x="22" y="30"/>
                  </a:lnTo>
                  <a:lnTo>
                    <a:pt x="22" y="30"/>
                  </a:lnTo>
                  <a:lnTo>
                    <a:pt x="22" y="30"/>
                  </a:lnTo>
                  <a:lnTo>
                    <a:pt x="18" y="30"/>
                  </a:lnTo>
                  <a:lnTo>
                    <a:pt x="18" y="30"/>
                  </a:lnTo>
                  <a:lnTo>
                    <a:pt x="18" y="30"/>
                  </a:lnTo>
                  <a:lnTo>
                    <a:pt x="18" y="30"/>
                  </a:lnTo>
                  <a:lnTo>
                    <a:pt x="18" y="30"/>
                  </a:lnTo>
                  <a:lnTo>
                    <a:pt x="18" y="30"/>
                  </a:lnTo>
                  <a:lnTo>
                    <a:pt x="18" y="30"/>
                  </a:lnTo>
                  <a:lnTo>
                    <a:pt x="18" y="30"/>
                  </a:lnTo>
                  <a:lnTo>
                    <a:pt x="18" y="30"/>
                  </a:lnTo>
                  <a:lnTo>
                    <a:pt x="18" y="30"/>
                  </a:lnTo>
                  <a:lnTo>
                    <a:pt x="18" y="30"/>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6" y="34"/>
                  </a:lnTo>
                  <a:lnTo>
                    <a:pt x="16" y="34"/>
                  </a:lnTo>
                  <a:lnTo>
                    <a:pt x="16" y="34"/>
                  </a:lnTo>
                  <a:lnTo>
                    <a:pt x="16" y="34"/>
                  </a:lnTo>
                  <a:lnTo>
                    <a:pt x="16" y="34"/>
                  </a:lnTo>
                  <a:lnTo>
                    <a:pt x="16" y="34"/>
                  </a:lnTo>
                  <a:lnTo>
                    <a:pt x="16" y="30"/>
                  </a:lnTo>
                  <a:lnTo>
                    <a:pt x="16" y="30"/>
                  </a:lnTo>
                  <a:lnTo>
                    <a:pt x="16" y="30"/>
                  </a:lnTo>
                  <a:lnTo>
                    <a:pt x="16" y="30"/>
                  </a:lnTo>
                  <a:lnTo>
                    <a:pt x="16" y="26"/>
                  </a:lnTo>
                  <a:lnTo>
                    <a:pt x="12" y="26"/>
                  </a:lnTo>
                  <a:lnTo>
                    <a:pt x="12" y="22"/>
                  </a:lnTo>
                  <a:lnTo>
                    <a:pt x="12" y="22"/>
                  </a:lnTo>
                  <a:lnTo>
                    <a:pt x="12" y="22"/>
                  </a:lnTo>
                  <a:lnTo>
                    <a:pt x="12" y="22"/>
                  </a:lnTo>
                  <a:lnTo>
                    <a:pt x="8" y="22"/>
                  </a:lnTo>
                  <a:lnTo>
                    <a:pt x="8" y="20"/>
                  </a:lnTo>
                  <a:lnTo>
                    <a:pt x="8" y="20"/>
                  </a:lnTo>
                  <a:lnTo>
                    <a:pt x="8" y="20"/>
                  </a:lnTo>
                  <a:lnTo>
                    <a:pt x="8" y="20"/>
                  </a:lnTo>
                  <a:lnTo>
                    <a:pt x="8" y="20"/>
                  </a:lnTo>
                  <a:lnTo>
                    <a:pt x="8" y="20"/>
                  </a:lnTo>
                  <a:lnTo>
                    <a:pt x="8" y="20"/>
                  </a:lnTo>
                  <a:lnTo>
                    <a:pt x="8" y="20"/>
                  </a:lnTo>
                  <a:lnTo>
                    <a:pt x="8" y="20"/>
                  </a:lnTo>
                  <a:lnTo>
                    <a:pt x="8" y="16"/>
                  </a:lnTo>
                  <a:lnTo>
                    <a:pt x="8" y="12"/>
                  </a:lnTo>
                  <a:lnTo>
                    <a:pt x="8" y="12"/>
                  </a:lnTo>
                  <a:lnTo>
                    <a:pt x="8" y="12"/>
                  </a:lnTo>
                  <a:lnTo>
                    <a:pt x="8" y="1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24" name="Freeform 218"/>
            <p:cNvSpPr>
              <a:spLocks/>
            </p:cNvSpPr>
            <p:nvPr/>
          </p:nvSpPr>
          <p:spPr bwMode="auto">
            <a:xfrm>
              <a:off x="7321620" y="4157828"/>
              <a:ext cx="27631" cy="36612"/>
            </a:xfrm>
            <a:custGeom>
              <a:avLst/>
              <a:gdLst>
                <a:gd name="T0" fmla="*/ 24 w 44"/>
                <a:gd name="T1" fmla="*/ 0 h 56"/>
                <a:gd name="T2" fmla="*/ 28 w 44"/>
                <a:gd name="T3" fmla="*/ 0 h 56"/>
                <a:gd name="T4" fmla="*/ 32 w 44"/>
                <a:gd name="T5" fmla="*/ 4 h 56"/>
                <a:gd name="T6" fmla="*/ 32 w 44"/>
                <a:gd name="T7" fmla="*/ 4 h 56"/>
                <a:gd name="T8" fmla="*/ 36 w 44"/>
                <a:gd name="T9" fmla="*/ 6 h 56"/>
                <a:gd name="T10" fmla="*/ 36 w 44"/>
                <a:gd name="T11" fmla="*/ 6 h 56"/>
                <a:gd name="T12" fmla="*/ 40 w 44"/>
                <a:gd name="T13" fmla="*/ 10 h 56"/>
                <a:gd name="T14" fmla="*/ 36 w 44"/>
                <a:gd name="T15" fmla="*/ 6 h 56"/>
                <a:gd name="T16" fmla="*/ 44 w 44"/>
                <a:gd name="T17" fmla="*/ 6 h 56"/>
                <a:gd name="T18" fmla="*/ 40 w 44"/>
                <a:gd name="T19" fmla="*/ 10 h 56"/>
                <a:gd name="T20" fmla="*/ 36 w 44"/>
                <a:gd name="T21" fmla="*/ 14 h 56"/>
                <a:gd name="T22" fmla="*/ 32 w 44"/>
                <a:gd name="T23" fmla="*/ 14 h 56"/>
                <a:gd name="T24" fmla="*/ 36 w 44"/>
                <a:gd name="T25" fmla="*/ 22 h 56"/>
                <a:gd name="T26" fmla="*/ 32 w 44"/>
                <a:gd name="T27" fmla="*/ 26 h 56"/>
                <a:gd name="T28" fmla="*/ 32 w 44"/>
                <a:gd name="T29" fmla="*/ 30 h 56"/>
                <a:gd name="T30" fmla="*/ 28 w 44"/>
                <a:gd name="T31" fmla="*/ 30 h 56"/>
                <a:gd name="T32" fmla="*/ 28 w 44"/>
                <a:gd name="T33" fmla="*/ 36 h 56"/>
                <a:gd name="T34" fmla="*/ 22 w 44"/>
                <a:gd name="T35" fmla="*/ 36 h 56"/>
                <a:gd name="T36" fmla="*/ 24 w 44"/>
                <a:gd name="T37" fmla="*/ 40 h 56"/>
                <a:gd name="T38" fmla="*/ 24 w 44"/>
                <a:gd name="T39" fmla="*/ 40 h 56"/>
                <a:gd name="T40" fmla="*/ 28 w 44"/>
                <a:gd name="T41" fmla="*/ 40 h 56"/>
                <a:gd name="T42" fmla="*/ 24 w 44"/>
                <a:gd name="T43" fmla="*/ 44 h 56"/>
                <a:gd name="T44" fmla="*/ 22 w 44"/>
                <a:gd name="T45" fmla="*/ 48 h 56"/>
                <a:gd name="T46" fmla="*/ 18 w 44"/>
                <a:gd name="T47" fmla="*/ 44 h 56"/>
                <a:gd name="T48" fmla="*/ 18 w 44"/>
                <a:gd name="T49" fmla="*/ 52 h 56"/>
                <a:gd name="T50" fmla="*/ 14 w 44"/>
                <a:gd name="T51" fmla="*/ 56 h 56"/>
                <a:gd name="T52" fmla="*/ 18 w 44"/>
                <a:gd name="T53" fmla="*/ 52 h 56"/>
                <a:gd name="T54" fmla="*/ 14 w 44"/>
                <a:gd name="T55" fmla="*/ 48 h 56"/>
                <a:gd name="T56" fmla="*/ 14 w 44"/>
                <a:gd name="T57" fmla="*/ 48 h 56"/>
                <a:gd name="T58" fmla="*/ 10 w 44"/>
                <a:gd name="T59" fmla="*/ 44 h 56"/>
                <a:gd name="T60" fmla="*/ 6 w 44"/>
                <a:gd name="T61" fmla="*/ 48 h 56"/>
                <a:gd name="T62" fmla="*/ 2 w 44"/>
                <a:gd name="T63" fmla="*/ 52 h 56"/>
                <a:gd name="T64" fmla="*/ 2 w 44"/>
                <a:gd name="T65" fmla="*/ 48 h 56"/>
                <a:gd name="T66" fmla="*/ 0 w 44"/>
                <a:gd name="T67" fmla="*/ 44 h 56"/>
                <a:gd name="T68" fmla="*/ 0 w 44"/>
                <a:gd name="T69" fmla="*/ 36 h 56"/>
                <a:gd name="T70" fmla="*/ 0 w 44"/>
                <a:gd name="T71" fmla="*/ 30 h 56"/>
                <a:gd name="T72" fmla="*/ 2 w 44"/>
                <a:gd name="T73" fmla="*/ 26 h 56"/>
                <a:gd name="T74" fmla="*/ 0 w 44"/>
                <a:gd name="T75" fmla="*/ 18 h 56"/>
                <a:gd name="T76" fmla="*/ 2 w 44"/>
                <a:gd name="T77" fmla="*/ 10 h 56"/>
                <a:gd name="T78" fmla="*/ 6 w 44"/>
                <a:gd name="T79" fmla="*/ 6 h 56"/>
                <a:gd name="T80" fmla="*/ 10 w 44"/>
                <a:gd name="T81" fmla="*/ 4 h 56"/>
                <a:gd name="T82" fmla="*/ 14 w 44"/>
                <a:gd name="T83" fmla="*/ 0 h 56"/>
                <a:gd name="T84" fmla="*/ 18 w 44"/>
                <a:gd name="T85" fmla="*/ 4 h 56"/>
                <a:gd name="T86" fmla="*/ 22 w 44"/>
                <a:gd name="T87" fmla="*/ 0 h 56"/>
                <a:gd name="T88" fmla="*/ 22 w 44"/>
                <a:gd name="T8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56">
                  <a:moveTo>
                    <a:pt x="22" y="0"/>
                  </a:moveTo>
                  <a:lnTo>
                    <a:pt x="24" y="0"/>
                  </a:lnTo>
                  <a:lnTo>
                    <a:pt x="24" y="4"/>
                  </a:lnTo>
                  <a:lnTo>
                    <a:pt x="28" y="0"/>
                  </a:lnTo>
                  <a:lnTo>
                    <a:pt x="28" y="4"/>
                  </a:lnTo>
                  <a:lnTo>
                    <a:pt x="32" y="4"/>
                  </a:lnTo>
                  <a:lnTo>
                    <a:pt x="32" y="0"/>
                  </a:lnTo>
                  <a:lnTo>
                    <a:pt x="32" y="4"/>
                  </a:lnTo>
                  <a:lnTo>
                    <a:pt x="32" y="6"/>
                  </a:lnTo>
                  <a:lnTo>
                    <a:pt x="36" y="6"/>
                  </a:lnTo>
                  <a:lnTo>
                    <a:pt x="32" y="6"/>
                  </a:lnTo>
                  <a:lnTo>
                    <a:pt x="36" y="6"/>
                  </a:lnTo>
                  <a:lnTo>
                    <a:pt x="36" y="10"/>
                  </a:lnTo>
                  <a:lnTo>
                    <a:pt x="40" y="10"/>
                  </a:lnTo>
                  <a:lnTo>
                    <a:pt x="36" y="10"/>
                  </a:lnTo>
                  <a:lnTo>
                    <a:pt x="36" y="6"/>
                  </a:lnTo>
                  <a:lnTo>
                    <a:pt x="40" y="6"/>
                  </a:lnTo>
                  <a:lnTo>
                    <a:pt x="44" y="6"/>
                  </a:lnTo>
                  <a:lnTo>
                    <a:pt x="44" y="10"/>
                  </a:lnTo>
                  <a:lnTo>
                    <a:pt x="40" y="10"/>
                  </a:lnTo>
                  <a:lnTo>
                    <a:pt x="40" y="14"/>
                  </a:lnTo>
                  <a:lnTo>
                    <a:pt x="36" y="14"/>
                  </a:lnTo>
                  <a:lnTo>
                    <a:pt x="36" y="10"/>
                  </a:lnTo>
                  <a:lnTo>
                    <a:pt x="32" y="14"/>
                  </a:lnTo>
                  <a:lnTo>
                    <a:pt x="32" y="18"/>
                  </a:lnTo>
                  <a:lnTo>
                    <a:pt x="36" y="22"/>
                  </a:lnTo>
                  <a:lnTo>
                    <a:pt x="32" y="22"/>
                  </a:lnTo>
                  <a:lnTo>
                    <a:pt x="32" y="26"/>
                  </a:lnTo>
                  <a:lnTo>
                    <a:pt x="28" y="30"/>
                  </a:lnTo>
                  <a:lnTo>
                    <a:pt x="32" y="30"/>
                  </a:lnTo>
                  <a:lnTo>
                    <a:pt x="32" y="32"/>
                  </a:lnTo>
                  <a:lnTo>
                    <a:pt x="28" y="30"/>
                  </a:lnTo>
                  <a:lnTo>
                    <a:pt x="28" y="32"/>
                  </a:lnTo>
                  <a:lnTo>
                    <a:pt x="28" y="36"/>
                  </a:lnTo>
                  <a:lnTo>
                    <a:pt x="24" y="36"/>
                  </a:lnTo>
                  <a:lnTo>
                    <a:pt x="22" y="36"/>
                  </a:lnTo>
                  <a:lnTo>
                    <a:pt x="24" y="36"/>
                  </a:lnTo>
                  <a:lnTo>
                    <a:pt x="24" y="40"/>
                  </a:lnTo>
                  <a:lnTo>
                    <a:pt x="22" y="40"/>
                  </a:lnTo>
                  <a:lnTo>
                    <a:pt x="24" y="40"/>
                  </a:lnTo>
                  <a:lnTo>
                    <a:pt x="28" y="44"/>
                  </a:lnTo>
                  <a:lnTo>
                    <a:pt x="28" y="40"/>
                  </a:lnTo>
                  <a:lnTo>
                    <a:pt x="28" y="44"/>
                  </a:lnTo>
                  <a:lnTo>
                    <a:pt x="24" y="44"/>
                  </a:lnTo>
                  <a:lnTo>
                    <a:pt x="24" y="48"/>
                  </a:lnTo>
                  <a:lnTo>
                    <a:pt x="22" y="48"/>
                  </a:lnTo>
                  <a:lnTo>
                    <a:pt x="22" y="44"/>
                  </a:lnTo>
                  <a:lnTo>
                    <a:pt x="18" y="44"/>
                  </a:lnTo>
                  <a:lnTo>
                    <a:pt x="18" y="48"/>
                  </a:lnTo>
                  <a:lnTo>
                    <a:pt x="18" y="52"/>
                  </a:lnTo>
                  <a:lnTo>
                    <a:pt x="18" y="56"/>
                  </a:lnTo>
                  <a:lnTo>
                    <a:pt x="14" y="56"/>
                  </a:lnTo>
                  <a:lnTo>
                    <a:pt x="18" y="56"/>
                  </a:lnTo>
                  <a:lnTo>
                    <a:pt x="18" y="52"/>
                  </a:lnTo>
                  <a:lnTo>
                    <a:pt x="18" y="48"/>
                  </a:lnTo>
                  <a:lnTo>
                    <a:pt x="14" y="48"/>
                  </a:lnTo>
                  <a:lnTo>
                    <a:pt x="14" y="44"/>
                  </a:lnTo>
                  <a:lnTo>
                    <a:pt x="14" y="48"/>
                  </a:lnTo>
                  <a:lnTo>
                    <a:pt x="10" y="48"/>
                  </a:lnTo>
                  <a:lnTo>
                    <a:pt x="10" y="44"/>
                  </a:lnTo>
                  <a:lnTo>
                    <a:pt x="6" y="44"/>
                  </a:lnTo>
                  <a:lnTo>
                    <a:pt x="6" y="48"/>
                  </a:lnTo>
                  <a:lnTo>
                    <a:pt x="2" y="48"/>
                  </a:lnTo>
                  <a:lnTo>
                    <a:pt x="2" y="52"/>
                  </a:lnTo>
                  <a:lnTo>
                    <a:pt x="0" y="48"/>
                  </a:lnTo>
                  <a:lnTo>
                    <a:pt x="2" y="48"/>
                  </a:lnTo>
                  <a:lnTo>
                    <a:pt x="2" y="44"/>
                  </a:lnTo>
                  <a:lnTo>
                    <a:pt x="0" y="44"/>
                  </a:lnTo>
                  <a:lnTo>
                    <a:pt x="0" y="40"/>
                  </a:lnTo>
                  <a:lnTo>
                    <a:pt x="0" y="36"/>
                  </a:lnTo>
                  <a:lnTo>
                    <a:pt x="0" y="32"/>
                  </a:lnTo>
                  <a:lnTo>
                    <a:pt x="0" y="30"/>
                  </a:lnTo>
                  <a:lnTo>
                    <a:pt x="2" y="30"/>
                  </a:lnTo>
                  <a:lnTo>
                    <a:pt x="2" y="26"/>
                  </a:lnTo>
                  <a:lnTo>
                    <a:pt x="2" y="22"/>
                  </a:lnTo>
                  <a:lnTo>
                    <a:pt x="0" y="18"/>
                  </a:lnTo>
                  <a:lnTo>
                    <a:pt x="2" y="14"/>
                  </a:lnTo>
                  <a:lnTo>
                    <a:pt x="2" y="10"/>
                  </a:lnTo>
                  <a:lnTo>
                    <a:pt x="2" y="6"/>
                  </a:lnTo>
                  <a:lnTo>
                    <a:pt x="6" y="6"/>
                  </a:lnTo>
                  <a:lnTo>
                    <a:pt x="10" y="6"/>
                  </a:lnTo>
                  <a:lnTo>
                    <a:pt x="10" y="4"/>
                  </a:lnTo>
                  <a:lnTo>
                    <a:pt x="14" y="4"/>
                  </a:lnTo>
                  <a:lnTo>
                    <a:pt x="14" y="0"/>
                  </a:lnTo>
                  <a:lnTo>
                    <a:pt x="14" y="4"/>
                  </a:lnTo>
                  <a:lnTo>
                    <a:pt x="18" y="4"/>
                  </a:lnTo>
                  <a:lnTo>
                    <a:pt x="22" y="4"/>
                  </a:lnTo>
                  <a:lnTo>
                    <a:pt x="22" y="0"/>
                  </a:lnTo>
                  <a:lnTo>
                    <a:pt x="22" y="0"/>
                  </a:lnTo>
                  <a:lnTo>
                    <a:pt x="22" y="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25" name="Freeform 219"/>
            <p:cNvSpPr>
              <a:spLocks/>
            </p:cNvSpPr>
            <p:nvPr/>
          </p:nvSpPr>
          <p:spPr bwMode="auto">
            <a:xfrm>
              <a:off x="7304037" y="3394200"/>
              <a:ext cx="28887" cy="28767"/>
            </a:xfrm>
            <a:custGeom>
              <a:avLst/>
              <a:gdLst>
                <a:gd name="T0" fmla="*/ 18 w 46"/>
                <a:gd name="T1" fmla="*/ 40 h 44"/>
                <a:gd name="T2" fmla="*/ 18 w 46"/>
                <a:gd name="T3" fmla="*/ 40 h 44"/>
                <a:gd name="T4" fmla="*/ 18 w 46"/>
                <a:gd name="T5" fmla="*/ 36 h 44"/>
                <a:gd name="T6" fmla="*/ 16 w 46"/>
                <a:gd name="T7" fmla="*/ 32 h 44"/>
                <a:gd name="T8" fmla="*/ 16 w 46"/>
                <a:gd name="T9" fmla="*/ 32 h 44"/>
                <a:gd name="T10" fmla="*/ 12 w 46"/>
                <a:gd name="T11" fmla="*/ 30 h 44"/>
                <a:gd name="T12" fmla="*/ 12 w 46"/>
                <a:gd name="T13" fmla="*/ 26 h 44"/>
                <a:gd name="T14" fmla="*/ 12 w 46"/>
                <a:gd name="T15" fmla="*/ 26 h 44"/>
                <a:gd name="T16" fmla="*/ 8 w 46"/>
                <a:gd name="T17" fmla="*/ 18 h 44"/>
                <a:gd name="T18" fmla="*/ 4 w 46"/>
                <a:gd name="T19" fmla="*/ 14 h 44"/>
                <a:gd name="T20" fmla="*/ 0 w 46"/>
                <a:gd name="T21" fmla="*/ 14 h 44"/>
                <a:gd name="T22" fmla="*/ 4 w 46"/>
                <a:gd name="T23" fmla="*/ 14 h 44"/>
                <a:gd name="T24" fmla="*/ 4 w 46"/>
                <a:gd name="T25" fmla="*/ 14 h 44"/>
                <a:gd name="T26" fmla="*/ 0 w 46"/>
                <a:gd name="T27" fmla="*/ 14 h 44"/>
                <a:gd name="T28" fmla="*/ 4 w 46"/>
                <a:gd name="T29" fmla="*/ 10 h 44"/>
                <a:gd name="T30" fmla="*/ 8 w 46"/>
                <a:gd name="T31" fmla="*/ 10 h 44"/>
                <a:gd name="T32" fmla="*/ 8 w 46"/>
                <a:gd name="T33" fmla="*/ 10 h 44"/>
                <a:gd name="T34" fmla="*/ 8 w 46"/>
                <a:gd name="T35" fmla="*/ 6 h 44"/>
                <a:gd name="T36" fmla="*/ 12 w 46"/>
                <a:gd name="T37" fmla="*/ 6 h 44"/>
                <a:gd name="T38" fmla="*/ 16 w 46"/>
                <a:gd name="T39" fmla="*/ 2 h 44"/>
                <a:gd name="T40" fmla="*/ 16 w 46"/>
                <a:gd name="T41" fmla="*/ 2 h 44"/>
                <a:gd name="T42" fmla="*/ 18 w 46"/>
                <a:gd name="T43" fmla="*/ 2 h 44"/>
                <a:gd name="T44" fmla="*/ 18 w 46"/>
                <a:gd name="T45" fmla="*/ 2 h 44"/>
                <a:gd name="T46" fmla="*/ 18 w 46"/>
                <a:gd name="T47" fmla="*/ 2 h 44"/>
                <a:gd name="T48" fmla="*/ 18 w 46"/>
                <a:gd name="T49" fmla="*/ 6 h 44"/>
                <a:gd name="T50" fmla="*/ 18 w 46"/>
                <a:gd name="T51" fmla="*/ 2 h 44"/>
                <a:gd name="T52" fmla="*/ 22 w 46"/>
                <a:gd name="T53" fmla="*/ 2 h 44"/>
                <a:gd name="T54" fmla="*/ 26 w 46"/>
                <a:gd name="T55" fmla="*/ 6 h 44"/>
                <a:gd name="T56" fmla="*/ 26 w 46"/>
                <a:gd name="T57" fmla="*/ 10 h 44"/>
                <a:gd name="T58" fmla="*/ 26 w 46"/>
                <a:gd name="T59" fmla="*/ 10 h 44"/>
                <a:gd name="T60" fmla="*/ 30 w 46"/>
                <a:gd name="T61" fmla="*/ 14 h 44"/>
                <a:gd name="T62" fmla="*/ 38 w 46"/>
                <a:gd name="T63" fmla="*/ 14 h 44"/>
                <a:gd name="T64" fmla="*/ 42 w 46"/>
                <a:gd name="T65" fmla="*/ 18 h 44"/>
                <a:gd name="T66" fmla="*/ 42 w 46"/>
                <a:gd name="T67" fmla="*/ 18 h 44"/>
                <a:gd name="T68" fmla="*/ 42 w 46"/>
                <a:gd name="T69" fmla="*/ 22 h 44"/>
                <a:gd name="T70" fmla="*/ 46 w 46"/>
                <a:gd name="T71" fmla="*/ 22 h 44"/>
                <a:gd name="T72" fmla="*/ 42 w 46"/>
                <a:gd name="T73" fmla="*/ 26 h 44"/>
                <a:gd name="T74" fmla="*/ 46 w 46"/>
                <a:gd name="T75" fmla="*/ 26 h 44"/>
                <a:gd name="T76" fmla="*/ 46 w 46"/>
                <a:gd name="T77" fmla="*/ 30 h 44"/>
                <a:gd name="T78" fmla="*/ 46 w 46"/>
                <a:gd name="T79" fmla="*/ 30 h 44"/>
                <a:gd name="T80" fmla="*/ 42 w 46"/>
                <a:gd name="T81" fmla="*/ 30 h 44"/>
                <a:gd name="T82" fmla="*/ 42 w 46"/>
                <a:gd name="T83" fmla="*/ 30 h 44"/>
                <a:gd name="T84" fmla="*/ 42 w 46"/>
                <a:gd name="T85" fmla="*/ 32 h 44"/>
                <a:gd name="T86" fmla="*/ 42 w 46"/>
                <a:gd name="T87" fmla="*/ 32 h 44"/>
                <a:gd name="T88" fmla="*/ 42 w 46"/>
                <a:gd name="T89" fmla="*/ 36 h 44"/>
                <a:gd name="T90" fmla="*/ 38 w 46"/>
                <a:gd name="T91" fmla="*/ 40 h 44"/>
                <a:gd name="T92" fmla="*/ 34 w 46"/>
                <a:gd name="T93" fmla="*/ 36 h 44"/>
                <a:gd name="T94" fmla="*/ 34 w 46"/>
                <a:gd name="T95" fmla="*/ 36 h 44"/>
                <a:gd name="T96" fmla="*/ 26 w 46"/>
                <a:gd name="T97" fmla="*/ 36 h 44"/>
                <a:gd name="T98" fmla="*/ 26 w 46"/>
                <a:gd name="T99" fmla="*/ 40 h 44"/>
                <a:gd name="T100" fmla="*/ 26 w 46"/>
                <a:gd name="T101" fmla="*/ 40 h 44"/>
                <a:gd name="T102" fmla="*/ 26 w 46"/>
                <a:gd name="T103" fmla="*/ 44 h 44"/>
                <a:gd name="T104" fmla="*/ 22 w 46"/>
                <a:gd name="T105" fmla="*/ 44 h 44"/>
                <a:gd name="T106" fmla="*/ 18 w 46"/>
                <a:gd name="T107" fmla="*/ 44 h 44"/>
                <a:gd name="T108" fmla="*/ 18 w 46"/>
                <a:gd name="T10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44">
                  <a:moveTo>
                    <a:pt x="18" y="44"/>
                  </a:moveTo>
                  <a:lnTo>
                    <a:pt x="18" y="44"/>
                  </a:lnTo>
                  <a:lnTo>
                    <a:pt x="18" y="44"/>
                  </a:lnTo>
                  <a:lnTo>
                    <a:pt x="18" y="40"/>
                  </a:lnTo>
                  <a:lnTo>
                    <a:pt x="18" y="40"/>
                  </a:lnTo>
                  <a:lnTo>
                    <a:pt x="18" y="40"/>
                  </a:lnTo>
                  <a:lnTo>
                    <a:pt x="18" y="40"/>
                  </a:lnTo>
                  <a:lnTo>
                    <a:pt x="18" y="40"/>
                  </a:lnTo>
                  <a:lnTo>
                    <a:pt x="18" y="36"/>
                  </a:lnTo>
                  <a:lnTo>
                    <a:pt x="18" y="36"/>
                  </a:lnTo>
                  <a:lnTo>
                    <a:pt x="18" y="36"/>
                  </a:lnTo>
                  <a:lnTo>
                    <a:pt x="18" y="36"/>
                  </a:lnTo>
                  <a:lnTo>
                    <a:pt x="18" y="36"/>
                  </a:lnTo>
                  <a:lnTo>
                    <a:pt x="18" y="36"/>
                  </a:lnTo>
                  <a:lnTo>
                    <a:pt x="18" y="36"/>
                  </a:lnTo>
                  <a:lnTo>
                    <a:pt x="16" y="32"/>
                  </a:lnTo>
                  <a:lnTo>
                    <a:pt x="16" y="32"/>
                  </a:lnTo>
                  <a:lnTo>
                    <a:pt x="16" y="32"/>
                  </a:lnTo>
                  <a:lnTo>
                    <a:pt x="16" y="32"/>
                  </a:lnTo>
                  <a:lnTo>
                    <a:pt x="16" y="32"/>
                  </a:lnTo>
                  <a:lnTo>
                    <a:pt x="16" y="30"/>
                  </a:lnTo>
                  <a:lnTo>
                    <a:pt x="12" y="30"/>
                  </a:lnTo>
                  <a:lnTo>
                    <a:pt x="12" y="30"/>
                  </a:lnTo>
                  <a:lnTo>
                    <a:pt x="12" y="30"/>
                  </a:lnTo>
                  <a:lnTo>
                    <a:pt x="12" y="30"/>
                  </a:lnTo>
                  <a:lnTo>
                    <a:pt x="12" y="30"/>
                  </a:lnTo>
                  <a:lnTo>
                    <a:pt x="12" y="26"/>
                  </a:lnTo>
                  <a:lnTo>
                    <a:pt x="12" y="26"/>
                  </a:lnTo>
                  <a:lnTo>
                    <a:pt x="12" y="26"/>
                  </a:lnTo>
                  <a:lnTo>
                    <a:pt x="12" y="26"/>
                  </a:lnTo>
                  <a:lnTo>
                    <a:pt x="12" y="26"/>
                  </a:lnTo>
                  <a:lnTo>
                    <a:pt x="12" y="26"/>
                  </a:lnTo>
                  <a:lnTo>
                    <a:pt x="12" y="22"/>
                  </a:lnTo>
                  <a:lnTo>
                    <a:pt x="12" y="22"/>
                  </a:lnTo>
                  <a:lnTo>
                    <a:pt x="8" y="22"/>
                  </a:lnTo>
                  <a:lnTo>
                    <a:pt x="8" y="18"/>
                  </a:lnTo>
                  <a:lnTo>
                    <a:pt x="4" y="18"/>
                  </a:lnTo>
                  <a:lnTo>
                    <a:pt x="4" y="18"/>
                  </a:lnTo>
                  <a:lnTo>
                    <a:pt x="4" y="14"/>
                  </a:lnTo>
                  <a:lnTo>
                    <a:pt x="4" y="14"/>
                  </a:lnTo>
                  <a:lnTo>
                    <a:pt x="0" y="14"/>
                  </a:lnTo>
                  <a:lnTo>
                    <a:pt x="0" y="14"/>
                  </a:lnTo>
                  <a:lnTo>
                    <a:pt x="0" y="14"/>
                  </a:lnTo>
                  <a:lnTo>
                    <a:pt x="0" y="14"/>
                  </a:lnTo>
                  <a:lnTo>
                    <a:pt x="0" y="14"/>
                  </a:lnTo>
                  <a:lnTo>
                    <a:pt x="4" y="14"/>
                  </a:lnTo>
                  <a:lnTo>
                    <a:pt x="4" y="14"/>
                  </a:lnTo>
                  <a:lnTo>
                    <a:pt x="4" y="14"/>
                  </a:lnTo>
                  <a:lnTo>
                    <a:pt x="4" y="14"/>
                  </a:lnTo>
                  <a:lnTo>
                    <a:pt x="4" y="14"/>
                  </a:lnTo>
                  <a:lnTo>
                    <a:pt x="4" y="14"/>
                  </a:lnTo>
                  <a:lnTo>
                    <a:pt x="4" y="14"/>
                  </a:lnTo>
                  <a:lnTo>
                    <a:pt x="4" y="14"/>
                  </a:lnTo>
                  <a:lnTo>
                    <a:pt x="4" y="14"/>
                  </a:lnTo>
                  <a:lnTo>
                    <a:pt x="0" y="14"/>
                  </a:lnTo>
                  <a:lnTo>
                    <a:pt x="0" y="14"/>
                  </a:lnTo>
                  <a:lnTo>
                    <a:pt x="0" y="14"/>
                  </a:lnTo>
                  <a:lnTo>
                    <a:pt x="0" y="10"/>
                  </a:lnTo>
                  <a:lnTo>
                    <a:pt x="0" y="10"/>
                  </a:lnTo>
                  <a:lnTo>
                    <a:pt x="4" y="10"/>
                  </a:lnTo>
                  <a:lnTo>
                    <a:pt x="4" y="14"/>
                  </a:lnTo>
                  <a:lnTo>
                    <a:pt x="4" y="14"/>
                  </a:lnTo>
                  <a:lnTo>
                    <a:pt x="8" y="10"/>
                  </a:lnTo>
                  <a:lnTo>
                    <a:pt x="8" y="10"/>
                  </a:lnTo>
                  <a:lnTo>
                    <a:pt x="8" y="10"/>
                  </a:lnTo>
                  <a:lnTo>
                    <a:pt x="8" y="10"/>
                  </a:lnTo>
                  <a:lnTo>
                    <a:pt x="8" y="10"/>
                  </a:lnTo>
                  <a:lnTo>
                    <a:pt x="8" y="10"/>
                  </a:lnTo>
                  <a:lnTo>
                    <a:pt x="8" y="10"/>
                  </a:lnTo>
                  <a:lnTo>
                    <a:pt x="8" y="6"/>
                  </a:lnTo>
                  <a:lnTo>
                    <a:pt x="8" y="6"/>
                  </a:lnTo>
                  <a:lnTo>
                    <a:pt x="8" y="6"/>
                  </a:lnTo>
                  <a:lnTo>
                    <a:pt x="8" y="6"/>
                  </a:lnTo>
                  <a:lnTo>
                    <a:pt x="8" y="6"/>
                  </a:lnTo>
                  <a:lnTo>
                    <a:pt x="12" y="6"/>
                  </a:lnTo>
                  <a:lnTo>
                    <a:pt x="12" y="6"/>
                  </a:lnTo>
                  <a:lnTo>
                    <a:pt x="12" y="6"/>
                  </a:lnTo>
                  <a:lnTo>
                    <a:pt x="12" y="6"/>
                  </a:lnTo>
                  <a:lnTo>
                    <a:pt x="12" y="6"/>
                  </a:lnTo>
                  <a:lnTo>
                    <a:pt x="16" y="2"/>
                  </a:lnTo>
                  <a:lnTo>
                    <a:pt x="16" y="2"/>
                  </a:lnTo>
                  <a:lnTo>
                    <a:pt x="16" y="0"/>
                  </a:lnTo>
                  <a:lnTo>
                    <a:pt x="16" y="0"/>
                  </a:lnTo>
                  <a:lnTo>
                    <a:pt x="16" y="2"/>
                  </a:lnTo>
                  <a:lnTo>
                    <a:pt x="16" y="2"/>
                  </a:lnTo>
                  <a:lnTo>
                    <a:pt x="16" y="2"/>
                  </a:lnTo>
                  <a:lnTo>
                    <a:pt x="16" y="2"/>
                  </a:lnTo>
                  <a:lnTo>
                    <a:pt x="18" y="2"/>
                  </a:lnTo>
                  <a:lnTo>
                    <a:pt x="18" y="2"/>
                  </a:lnTo>
                  <a:lnTo>
                    <a:pt x="18" y="2"/>
                  </a:lnTo>
                  <a:lnTo>
                    <a:pt x="18" y="2"/>
                  </a:lnTo>
                  <a:lnTo>
                    <a:pt x="18" y="2"/>
                  </a:lnTo>
                  <a:lnTo>
                    <a:pt x="18" y="2"/>
                  </a:lnTo>
                  <a:lnTo>
                    <a:pt x="18" y="2"/>
                  </a:lnTo>
                  <a:lnTo>
                    <a:pt x="18" y="2"/>
                  </a:lnTo>
                  <a:lnTo>
                    <a:pt x="18" y="2"/>
                  </a:lnTo>
                  <a:lnTo>
                    <a:pt x="18" y="2"/>
                  </a:lnTo>
                  <a:lnTo>
                    <a:pt x="18" y="6"/>
                  </a:lnTo>
                  <a:lnTo>
                    <a:pt x="18" y="6"/>
                  </a:lnTo>
                  <a:lnTo>
                    <a:pt x="18" y="6"/>
                  </a:lnTo>
                  <a:lnTo>
                    <a:pt x="18" y="2"/>
                  </a:lnTo>
                  <a:lnTo>
                    <a:pt x="18" y="2"/>
                  </a:lnTo>
                  <a:lnTo>
                    <a:pt x="18" y="2"/>
                  </a:lnTo>
                  <a:lnTo>
                    <a:pt x="18" y="2"/>
                  </a:lnTo>
                  <a:lnTo>
                    <a:pt x="22" y="2"/>
                  </a:lnTo>
                  <a:lnTo>
                    <a:pt x="22" y="2"/>
                  </a:lnTo>
                  <a:lnTo>
                    <a:pt x="22" y="2"/>
                  </a:lnTo>
                  <a:lnTo>
                    <a:pt x="22" y="2"/>
                  </a:lnTo>
                  <a:lnTo>
                    <a:pt x="22" y="6"/>
                  </a:lnTo>
                  <a:lnTo>
                    <a:pt x="26" y="6"/>
                  </a:lnTo>
                  <a:lnTo>
                    <a:pt x="26" y="6"/>
                  </a:lnTo>
                  <a:lnTo>
                    <a:pt x="26" y="6"/>
                  </a:lnTo>
                  <a:lnTo>
                    <a:pt x="26" y="6"/>
                  </a:lnTo>
                  <a:lnTo>
                    <a:pt x="26" y="6"/>
                  </a:lnTo>
                  <a:lnTo>
                    <a:pt x="26" y="10"/>
                  </a:lnTo>
                  <a:lnTo>
                    <a:pt x="26" y="10"/>
                  </a:lnTo>
                  <a:lnTo>
                    <a:pt x="26" y="10"/>
                  </a:lnTo>
                  <a:lnTo>
                    <a:pt x="26" y="10"/>
                  </a:lnTo>
                  <a:lnTo>
                    <a:pt x="26" y="10"/>
                  </a:lnTo>
                  <a:lnTo>
                    <a:pt x="26" y="10"/>
                  </a:lnTo>
                  <a:lnTo>
                    <a:pt x="26" y="10"/>
                  </a:lnTo>
                  <a:lnTo>
                    <a:pt x="30" y="10"/>
                  </a:lnTo>
                  <a:lnTo>
                    <a:pt x="30" y="10"/>
                  </a:lnTo>
                  <a:lnTo>
                    <a:pt x="30" y="14"/>
                  </a:lnTo>
                  <a:lnTo>
                    <a:pt x="34" y="14"/>
                  </a:lnTo>
                  <a:lnTo>
                    <a:pt x="34" y="14"/>
                  </a:lnTo>
                  <a:lnTo>
                    <a:pt x="38" y="14"/>
                  </a:lnTo>
                  <a:lnTo>
                    <a:pt x="38" y="14"/>
                  </a:lnTo>
                  <a:lnTo>
                    <a:pt x="38" y="14"/>
                  </a:lnTo>
                  <a:lnTo>
                    <a:pt x="38" y="18"/>
                  </a:lnTo>
                  <a:lnTo>
                    <a:pt x="42" y="18"/>
                  </a:lnTo>
                  <a:lnTo>
                    <a:pt x="42" y="18"/>
                  </a:lnTo>
                  <a:lnTo>
                    <a:pt x="42" y="18"/>
                  </a:lnTo>
                  <a:lnTo>
                    <a:pt x="42" y="18"/>
                  </a:lnTo>
                  <a:lnTo>
                    <a:pt x="42" y="18"/>
                  </a:lnTo>
                  <a:lnTo>
                    <a:pt x="42" y="18"/>
                  </a:lnTo>
                  <a:lnTo>
                    <a:pt x="42" y="18"/>
                  </a:lnTo>
                  <a:lnTo>
                    <a:pt x="42" y="18"/>
                  </a:lnTo>
                  <a:lnTo>
                    <a:pt x="42" y="22"/>
                  </a:lnTo>
                  <a:lnTo>
                    <a:pt x="42" y="22"/>
                  </a:lnTo>
                  <a:lnTo>
                    <a:pt x="42" y="22"/>
                  </a:lnTo>
                  <a:lnTo>
                    <a:pt x="46" y="22"/>
                  </a:lnTo>
                  <a:lnTo>
                    <a:pt x="46" y="22"/>
                  </a:lnTo>
                  <a:lnTo>
                    <a:pt x="46" y="22"/>
                  </a:lnTo>
                  <a:lnTo>
                    <a:pt x="46" y="22"/>
                  </a:lnTo>
                  <a:lnTo>
                    <a:pt x="46" y="26"/>
                  </a:lnTo>
                  <a:lnTo>
                    <a:pt x="42" y="26"/>
                  </a:lnTo>
                  <a:lnTo>
                    <a:pt x="42" y="26"/>
                  </a:lnTo>
                  <a:lnTo>
                    <a:pt x="46" y="26"/>
                  </a:lnTo>
                  <a:lnTo>
                    <a:pt x="46" y="26"/>
                  </a:lnTo>
                  <a:lnTo>
                    <a:pt x="46" y="26"/>
                  </a:lnTo>
                  <a:lnTo>
                    <a:pt x="46" y="26"/>
                  </a:lnTo>
                  <a:lnTo>
                    <a:pt x="46" y="26"/>
                  </a:lnTo>
                  <a:lnTo>
                    <a:pt x="46" y="26"/>
                  </a:lnTo>
                  <a:lnTo>
                    <a:pt x="46" y="26"/>
                  </a:lnTo>
                  <a:lnTo>
                    <a:pt x="46" y="30"/>
                  </a:lnTo>
                  <a:lnTo>
                    <a:pt x="46" y="30"/>
                  </a:lnTo>
                  <a:lnTo>
                    <a:pt x="46" y="30"/>
                  </a:lnTo>
                  <a:lnTo>
                    <a:pt x="46" y="30"/>
                  </a:lnTo>
                  <a:lnTo>
                    <a:pt x="46" y="30"/>
                  </a:lnTo>
                  <a:lnTo>
                    <a:pt x="42" y="32"/>
                  </a:lnTo>
                  <a:lnTo>
                    <a:pt x="42" y="30"/>
                  </a:lnTo>
                  <a:lnTo>
                    <a:pt x="42" y="30"/>
                  </a:lnTo>
                  <a:lnTo>
                    <a:pt x="42" y="30"/>
                  </a:lnTo>
                  <a:lnTo>
                    <a:pt x="42" y="30"/>
                  </a:lnTo>
                  <a:lnTo>
                    <a:pt x="42" y="30"/>
                  </a:lnTo>
                  <a:lnTo>
                    <a:pt x="42" y="30"/>
                  </a:lnTo>
                  <a:lnTo>
                    <a:pt x="42" y="30"/>
                  </a:lnTo>
                  <a:lnTo>
                    <a:pt x="42" y="30"/>
                  </a:lnTo>
                  <a:lnTo>
                    <a:pt x="42" y="30"/>
                  </a:lnTo>
                  <a:lnTo>
                    <a:pt x="42" y="32"/>
                  </a:lnTo>
                  <a:lnTo>
                    <a:pt x="42" y="32"/>
                  </a:lnTo>
                  <a:lnTo>
                    <a:pt x="42" y="32"/>
                  </a:lnTo>
                  <a:lnTo>
                    <a:pt x="42" y="32"/>
                  </a:lnTo>
                  <a:lnTo>
                    <a:pt x="42" y="32"/>
                  </a:lnTo>
                  <a:lnTo>
                    <a:pt x="42" y="32"/>
                  </a:lnTo>
                  <a:lnTo>
                    <a:pt x="42" y="36"/>
                  </a:lnTo>
                  <a:lnTo>
                    <a:pt x="42" y="36"/>
                  </a:lnTo>
                  <a:lnTo>
                    <a:pt x="42" y="36"/>
                  </a:lnTo>
                  <a:lnTo>
                    <a:pt x="42" y="36"/>
                  </a:lnTo>
                  <a:lnTo>
                    <a:pt x="38" y="36"/>
                  </a:lnTo>
                  <a:lnTo>
                    <a:pt x="38" y="36"/>
                  </a:lnTo>
                  <a:lnTo>
                    <a:pt x="38" y="40"/>
                  </a:lnTo>
                  <a:lnTo>
                    <a:pt x="38" y="40"/>
                  </a:lnTo>
                  <a:lnTo>
                    <a:pt x="38" y="40"/>
                  </a:lnTo>
                  <a:lnTo>
                    <a:pt x="34" y="40"/>
                  </a:lnTo>
                  <a:lnTo>
                    <a:pt x="34" y="40"/>
                  </a:lnTo>
                  <a:lnTo>
                    <a:pt x="34" y="36"/>
                  </a:lnTo>
                  <a:lnTo>
                    <a:pt x="34" y="36"/>
                  </a:lnTo>
                  <a:lnTo>
                    <a:pt x="34" y="36"/>
                  </a:lnTo>
                  <a:lnTo>
                    <a:pt x="34" y="36"/>
                  </a:lnTo>
                  <a:lnTo>
                    <a:pt x="34" y="36"/>
                  </a:lnTo>
                  <a:lnTo>
                    <a:pt x="30" y="36"/>
                  </a:lnTo>
                  <a:lnTo>
                    <a:pt x="30" y="36"/>
                  </a:lnTo>
                  <a:lnTo>
                    <a:pt x="30" y="36"/>
                  </a:lnTo>
                  <a:lnTo>
                    <a:pt x="26" y="36"/>
                  </a:lnTo>
                  <a:lnTo>
                    <a:pt x="26" y="36"/>
                  </a:lnTo>
                  <a:lnTo>
                    <a:pt x="26" y="36"/>
                  </a:lnTo>
                  <a:lnTo>
                    <a:pt x="26" y="40"/>
                  </a:lnTo>
                  <a:lnTo>
                    <a:pt x="26" y="40"/>
                  </a:lnTo>
                  <a:lnTo>
                    <a:pt x="26" y="40"/>
                  </a:lnTo>
                  <a:lnTo>
                    <a:pt x="26" y="40"/>
                  </a:lnTo>
                  <a:lnTo>
                    <a:pt x="26" y="40"/>
                  </a:lnTo>
                  <a:lnTo>
                    <a:pt x="26" y="40"/>
                  </a:lnTo>
                  <a:lnTo>
                    <a:pt x="26" y="44"/>
                  </a:lnTo>
                  <a:lnTo>
                    <a:pt x="26" y="44"/>
                  </a:lnTo>
                  <a:lnTo>
                    <a:pt x="26" y="44"/>
                  </a:lnTo>
                  <a:lnTo>
                    <a:pt x="26" y="44"/>
                  </a:lnTo>
                  <a:lnTo>
                    <a:pt x="26" y="44"/>
                  </a:lnTo>
                  <a:lnTo>
                    <a:pt x="22" y="44"/>
                  </a:lnTo>
                  <a:lnTo>
                    <a:pt x="22" y="44"/>
                  </a:lnTo>
                  <a:lnTo>
                    <a:pt x="22" y="44"/>
                  </a:lnTo>
                  <a:lnTo>
                    <a:pt x="22" y="44"/>
                  </a:lnTo>
                  <a:lnTo>
                    <a:pt x="18" y="44"/>
                  </a:lnTo>
                  <a:lnTo>
                    <a:pt x="18" y="44"/>
                  </a:lnTo>
                  <a:lnTo>
                    <a:pt x="18" y="44"/>
                  </a:lnTo>
                  <a:lnTo>
                    <a:pt x="18" y="44"/>
                  </a:lnTo>
                  <a:lnTo>
                    <a:pt x="18" y="44"/>
                  </a:lnTo>
                  <a:lnTo>
                    <a:pt x="18" y="44"/>
                  </a:lnTo>
                  <a:lnTo>
                    <a:pt x="18" y="44"/>
                  </a:lnTo>
                  <a:lnTo>
                    <a:pt x="18" y="4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26" name="Freeform 220"/>
            <p:cNvSpPr>
              <a:spLocks/>
            </p:cNvSpPr>
            <p:nvPr/>
          </p:nvSpPr>
          <p:spPr bwMode="auto">
            <a:xfrm>
              <a:off x="7454752" y="3603413"/>
              <a:ext cx="71590" cy="134681"/>
            </a:xfrm>
            <a:custGeom>
              <a:avLst/>
              <a:gdLst>
                <a:gd name="T0" fmla="*/ 36 w 114"/>
                <a:gd name="T1" fmla="*/ 146 h 206"/>
                <a:gd name="T2" fmla="*/ 48 w 114"/>
                <a:gd name="T3" fmla="*/ 134 h 206"/>
                <a:gd name="T4" fmla="*/ 44 w 114"/>
                <a:gd name="T5" fmla="*/ 130 h 206"/>
                <a:gd name="T6" fmla="*/ 36 w 114"/>
                <a:gd name="T7" fmla="*/ 120 h 206"/>
                <a:gd name="T8" fmla="*/ 30 w 114"/>
                <a:gd name="T9" fmla="*/ 108 h 206"/>
                <a:gd name="T10" fmla="*/ 22 w 114"/>
                <a:gd name="T11" fmla="*/ 94 h 206"/>
                <a:gd name="T12" fmla="*/ 14 w 114"/>
                <a:gd name="T13" fmla="*/ 82 h 206"/>
                <a:gd name="T14" fmla="*/ 10 w 114"/>
                <a:gd name="T15" fmla="*/ 76 h 206"/>
                <a:gd name="T16" fmla="*/ 10 w 114"/>
                <a:gd name="T17" fmla="*/ 64 h 206"/>
                <a:gd name="T18" fmla="*/ 10 w 114"/>
                <a:gd name="T19" fmla="*/ 68 h 206"/>
                <a:gd name="T20" fmla="*/ 2 w 114"/>
                <a:gd name="T21" fmla="*/ 52 h 206"/>
                <a:gd name="T22" fmla="*/ 6 w 114"/>
                <a:gd name="T23" fmla="*/ 46 h 206"/>
                <a:gd name="T24" fmla="*/ 10 w 114"/>
                <a:gd name="T25" fmla="*/ 30 h 206"/>
                <a:gd name="T26" fmla="*/ 14 w 114"/>
                <a:gd name="T27" fmla="*/ 26 h 206"/>
                <a:gd name="T28" fmla="*/ 30 w 114"/>
                <a:gd name="T29" fmla="*/ 24 h 206"/>
                <a:gd name="T30" fmla="*/ 36 w 114"/>
                <a:gd name="T31" fmla="*/ 16 h 206"/>
                <a:gd name="T32" fmla="*/ 44 w 114"/>
                <a:gd name="T33" fmla="*/ 12 h 206"/>
                <a:gd name="T34" fmla="*/ 60 w 114"/>
                <a:gd name="T35" fmla="*/ 4 h 206"/>
                <a:gd name="T36" fmla="*/ 70 w 114"/>
                <a:gd name="T37" fmla="*/ 4 h 206"/>
                <a:gd name="T38" fmla="*/ 84 w 114"/>
                <a:gd name="T39" fmla="*/ 4 h 206"/>
                <a:gd name="T40" fmla="*/ 92 w 114"/>
                <a:gd name="T41" fmla="*/ 16 h 206"/>
                <a:gd name="T42" fmla="*/ 88 w 114"/>
                <a:gd name="T43" fmla="*/ 34 h 206"/>
                <a:gd name="T44" fmla="*/ 76 w 114"/>
                <a:gd name="T45" fmla="*/ 34 h 206"/>
                <a:gd name="T46" fmla="*/ 62 w 114"/>
                <a:gd name="T47" fmla="*/ 38 h 206"/>
                <a:gd name="T48" fmla="*/ 62 w 114"/>
                <a:gd name="T49" fmla="*/ 50 h 206"/>
                <a:gd name="T50" fmla="*/ 62 w 114"/>
                <a:gd name="T51" fmla="*/ 52 h 206"/>
                <a:gd name="T52" fmla="*/ 52 w 114"/>
                <a:gd name="T53" fmla="*/ 56 h 206"/>
                <a:gd name="T54" fmla="*/ 62 w 114"/>
                <a:gd name="T55" fmla="*/ 68 h 206"/>
                <a:gd name="T56" fmla="*/ 74 w 114"/>
                <a:gd name="T57" fmla="*/ 82 h 206"/>
                <a:gd name="T58" fmla="*/ 84 w 114"/>
                <a:gd name="T59" fmla="*/ 86 h 206"/>
                <a:gd name="T60" fmla="*/ 80 w 114"/>
                <a:gd name="T61" fmla="*/ 100 h 206"/>
                <a:gd name="T62" fmla="*/ 80 w 114"/>
                <a:gd name="T63" fmla="*/ 112 h 206"/>
                <a:gd name="T64" fmla="*/ 84 w 114"/>
                <a:gd name="T65" fmla="*/ 112 h 206"/>
                <a:gd name="T66" fmla="*/ 88 w 114"/>
                <a:gd name="T67" fmla="*/ 100 h 206"/>
                <a:gd name="T68" fmla="*/ 104 w 114"/>
                <a:gd name="T69" fmla="*/ 104 h 206"/>
                <a:gd name="T70" fmla="*/ 110 w 114"/>
                <a:gd name="T71" fmla="*/ 116 h 206"/>
                <a:gd name="T72" fmla="*/ 106 w 114"/>
                <a:gd name="T73" fmla="*/ 126 h 206"/>
                <a:gd name="T74" fmla="*/ 100 w 114"/>
                <a:gd name="T75" fmla="*/ 122 h 206"/>
                <a:gd name="T76" fmla="*/ 88 w 114"/>
                <a:gd name="T77" fmla="*/ 122 h 206"/>
                <a:gd name="T78" fmla="*/ 88 w 114"/>
                <a:gd name="T79" fmla="*/ 126 h 206"/>
                <a:gd name="T80" fmla="*/ 84 w 114"/>
                <a:gd name="T81" fmla="*/ 142 h 206"/>
                <a:gd name="T82" fmla="*/ 88 w 114"/>
                <a:gd name="T83" fmla="*/ 142 h 206"/>
                <a:gd name="T84" fmla="*/ 100 w 114"/>
                <a:gd name="T85" fmla="*/ 146 h 206"/>
                <a:gd name="T86" fmla="*/ 92 w 114"/>
                <a:gd name="T87" fmla="*/ 150 h 206"/>
                <a:gd name="T88" fmla="*/ 100 w 114"/>
                <a:gd name="T89" fmla="*/ 156 h 206"/>
                <a:gd name="T90" fmla="*/ 100 w 114"/>
                <a:gd name="T91" fmla="*/ 172 h 206"/>
                <a:gd name="T92" fmla="*/ 104 w 114"/>
                <a:gd name="T93" fmla="*/ 190 h 206"/>
                <a:gd name="T94" fmla="*/ 96 w 114"/>
                <a:gd name="T95" fmla="*/ 202 h 206"/>
                <a:gd name="T96" fmla="*/ 100 w 114"/>
                <a:gd name="T97" fmla="*/ 198 h 206"/>
                <a:gd name="T98" fmla="*/ 80 w 114"/>
                <a:gd name="T99" fmla="*/ 202 h 206"/>
                <a:gd name="T100" fmla="*/ 66 w 114"/>
                <a:gd name="T101" fmla="*/ 202 h 206"/>
                <a:gd name="T102" fmla="*/ 52 w 114"/>
                <a:gd name="T103" fmla="*/ 190 h 206"/>
                <a:gd name="T104" fmla="*/ 32 w 114"/>
                <a:gd name="T105" fmla="*/ 186 h 206"/>
                <a:gd name="T106" fmla="*/ 30 w 114"/>
                <a:gd name="T107" fmla="*/ 164 h 206"/>
                <a:gd name="T108" fmla="*/ 32 w 114"/>
                <a:gd name="T109" fmla="*/ 16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 h="206">
                  <a:moveTo>
                    <a:pt x="36" y="156"/>
                  </a:moveTo>
                  <a:lnTo>
                    <a:pt x="36" y="152"/>
                  </a:lnTo>
                  <a:lnTo>
                    <a:pt x="40" y="152"/>
                  </a:lnTo>
                  <a:lnTo>
                    <a:pt x="36" y="150"/>
                  </a:lnTo>
                  <a:lnTo>
                    <a:pt x="36" y="146"/>
                  </a:lnTo>
                  <a:lnTo>
                    <a:pt x="40" y="142"/>
                  </a:lnTo>
                  <a:lnTo>
                    <a:pt x="40" y="138"/>
                  </a:lnTo>
                  <a:lnTo>
                    <a:pt x="40" y="134"/>
                  </a:lnTo>
                  <a:lnTo>
                    <a:pt x="44" y="134"/>
                  </a:lnTo>
                  <a:lnTo>
                    <a:pt x="48" y="134"/>
                  </a:lnTo>
                  <a:lnTo>
                    <a:pt x="52" y="134"/>
                  </a:lnTo>
                  <a:lnTo>
                    <a:pt x="52" y="130"/>
                  </a:lnTo>
                  <a:lnTo>
                    <a:pt x="48" y="126"/>
                  </a:lnTo>
                  <a:lnTo>
                    <a:pt x="44" y="126"/>
                  </a:lnTo>
                  <a:lnTo>
                    <a:pt x="44" y="130"/>
                  </a:lnTo>
                  <a:lnTo>
                    <a:pt x="44" y="126"/>
                  </a:lnTo>
                  <a:lnTo>
                    <a:pt x="40" y="126"/>
                  </a:lnTo>
                  <a:lnTo>
                    <a:pt x="40" y="122"/>
                  </a:lnTo>
                  <a:lnTo>
                    <a:pt x="36" y="122"/>
                  </a:lnTo>
                  <a:lnTo>
                    <a:pt x="36" y="120"/>
                  </a:lnTo>
                  <a:lnTo>
                    <a:pt x="36" y="116"/>
                  </a:lnTo>
                  <a:lnTo>
                    <a:pt x="32" y="116"/>
                  </a:lnTo>
                  <a:lnTo>
                    <a:pt x="32" y="112"/>
                  </a:lnTo>
                  <a:lnTo>
                    <a:pt x="32" y="108"/>
                  </a:lnTo>
                  <a:lnTo>
                    <a:pt x="30" y="108"/>
                  </a:lnTo>
                  <a:lnTo>
                    <a:pt x="30" y="104"/>
                  </a:lnTo>
                  <a:lnTo>
                    <a:pt x="26" y="104"/>
                  </a:lnTo>
                  <a:lnTo>
                    <a:pt x="26" y="100"/>
                  </a:lnTo>
                  <a:lnTo>
                    <a:pt x="22" y="100"/>
                  </a:lnTo>
                  <a:lnTo>
                    <a:pt x="22" y="94"/>
                  </a:lnTo>
                  <a:lnTo>
                    <a:pt x="18" y="94"/>
                  </a:lnTo>
                  <a:lnTo>
                    <a:pt x="18" y="90"/>
                  </a:lnTo>
                  <a:lnTo>
                    <a:pt x="14" y="90"/>
                  </a:lnTo>
                  <a:lnTo>
                    <a:pt x="14" y="86"/>
                  </a:lnTo>
                  <a:lnTo>
                    <a:pt x="14" y="82"/>
                  </a:lnTo>
                  <a:lnTo>
                    <a:pt x="10" y="82"/>
                  </a:lnTo>
                  <a:lnTo>
                    <a:pt x="10" y="80"/>
                  </a:lnTo>
                  <a:lnTo>
                    <a:pt x="10" y="76"/>
                  </a:lnTo>
                  <a:lnTo>
                    <a:pt x="14" y="76"/>
                  </a:lnTo>
                  <a:lnTo>
                    <a:pt x="10" y="76"/>
                  </a:lnTo>
                  <a:lnTo>
                    <a:pt x="10" y="72"/>
                  </a:lnTo>
                  <a:lnTo>
                    <a:pt x="10" y="68"/>
                  </a:lnTo>
                  <a:lnTo>
                    <a:pt x="14" y="68"/>
                  </a:lnTo>
                  <a:lnTo>
                    <a:pt x="14" y="64"/>
                  </a:lnTo>
                  <a:lnTo>
                    <a:pt x="10" y="64"/>
                  </a:lnTo>
                  <a:lnTo>
                    <a:pt x="10" y="68"/>
                  </a:lnTo>
                  <a:lnTo>
                    <a:pt x="10" y="72"/>
                  </a:lnTo>
                  <a:lnTo>
                    <a:pt x="10" y="68"/>
                  </a:lnTo>
                  <a:lnTo>
                    <a:pt x="10" y="72"/>
                  </a:lnTo>
                  <a:lnTo>
                    <a:pt x="10" y="68"/>
                  </a:lnTo>
                  <a:lnTo>
                    <a:pt x="10" y="64"/>
                  </a:lnTo>
                  <a:lnTo>
                    <a:pt x="10" y="60"/>
                  </a:lnTo>
                  <a:lnTo>
                    <a:pt x="6" y="60"/>
                  </a:lnTo>
                  <a:lnTo>
                    <a:pt x="6" y="56"/>
                  </a:lnTo>
                  <a:lnTo>
                    <a:pt x="2" y="52"/>
                  </a:lnTo>
                  <a:lnTo>
                    <a:pt x="0" y="52"/>
                  </a:lnTo>
                  <a:lnTo>
                    <a:pt x="0" y="50"/>
                  </a:lnTo>
                  <a:lnTo>
                    <a:pt x="2" y="50"/>
                  </a:lnTo>
                  <a:lnTo>
                    <a:pt x="2" y="46"/>
                  </a:lnTo>
                  <a:lnTo>
                    <a:pt x="6" y="46"/>
                  </a:lnTo>
                  <a:lnTo>
                    <a:pt x="6" y="42"/>
                  </a:lnTo>
                  <a:lnTo>
                    <a:pt x="10" y="38"/>
                  </a:lnTo>
                  <a:lnTo>
                    <a:pt x="10" y="34"/>
                  </a:lnTo>
                  <a:lnTo>
                    <a:pt x="14" y="30"/>
                  </a:lnTo>
                  <a:lnTo>
                    <a:pt x="10" y="30"/>
                  </a:lnTo>
                  <a:lnTo>
                    <a:pt x="10" y="26"/>
                  </a:lnTo>
                  <a:lnTo>
                    <a:pt x="14" y="30"/>
                  </a:lnTo>
                  <a:lnTo>
                    <a:pt x="14" y="26"/>
                  </a:lnTo>
                  <a:lnTo>
                    <a:pt x="10" y="26"/>
                  </a:lnTo>
                  <a:lnTo>
                    <a:pt x="14" y="26"/>
                  </a:lnTo>
                  <a:lnTo>
                    <a:pt x="18" y="30"/>
                  </a:lnTo>
                  <a:lnTo>
                    <a:pt x="18" y="26"/>
                  </a:lnTo>
                  <a:lnTo>
                    <a:pt x="22" y="26"/>
                  </a:lnTo>
                  <a:lnTo>
                    <a:pt x="26" y="24"/>
                  </a:lnTo>
                  <a:lnTo>
                    <a:pt x="30" y="24"/>
                  </a:lnTo>
                  <a:lnTo>
                    <a:pt x="30" y="26"/>
                  </a:lnTo>
                  <a:lnTo>
                    <a:pt x="30" y="24"/>
                  </a:lnTo>
                  <a:lnTo>
                    <a:pt x="30" y="20"/>
                  </a:lnTo>
                  <a:lnTo>
                    <a:pt x="32" y="20"/>
                  </a:lnTo>
                  <a:lnTo>
                    <a:pt x="36" y="16"/>
                  </a:lnTo>
                  <a:lnTo>
                    <a:pt x="36" y="12"/>
                  </a:lnTo>
                  <a:lnTo>
                    <a:pt x="36" y="16"/>
                  </a:lnTo>
                  <a:lnTo>
                    <a:pt x="36" y="12"/>
                  </a:lnTo>
                  <a:lnTo>
                    <a:pt x="40" y="12"/>
                  </a:lnTo>
                  <a:lnTo>
                    <a:pt x="44" y="12"/>
                  </a:lnTo>
                  <a:lnTo>
                    <a:pt x="48" y="8"/>
                  </a:lnTo>
                  <a:lnTo>
                    <a:pt x="52" y="8"/>
                  </a:lnTo>
                  <a:lnTo>
                    <a:pt x="52" y="4"/>
                  </a:lnTo>
                  <a:lnTo>
                    <a:pt x="56" y="4"/>
                  </a:lnTo>
                  <a:lnTo>
                    <a:pt x="60" y="4"/>
                  </a:lnTo>
                  <a:lnTo>
                    <a:pt x="60" y="0"/>
                  </a:lnTo>
                  <a:lnTo>
                    <a:pt x="62" y="0"/>
                  </a:lnTo>
                  <a:lnTo>
                    <a:pt x="66" y="0"/>
                  </a:lnTo>
                  <a:lnTo>
                    <a:pt x="70" y="0"/>
                  </a:lnTo>
                  <a:lnTo>
                    <a:pt x="70" y="4"/>
                  </a:lnTo>
                  <a:lnTo>
                    <a:pt x="74" y="4"/>
                  </a:lnTo>
                  <a:lnTo>
                    <a:pt x="76" y="4"/>
                  </a:lnTo>
                  <a:lnTo>
                    <a:pt x="80" y="4"/>
                  </a:lnTo>
                  <a:lnTo>
                    <a:pt x="80" y="0"/>
                  </a:lnTo>
                  <a:lnTo>
                    <a:pt x="84" y="4"/>
                  </a:lnTo>
                  <a:lnTo>
                    <a:pt x="88" y="4"/>
                  </a:lnTo>
                  <a:lnTo>
                    <a:pt x="92" y="4"/>
                  </a:lnTo>
                  <a:lnTo>
                    <a:pt x="92" y="8"/>
                  </a:lnTo>
                  <a:lnTo>
                    <a:pt x="88" y="12"/>
                  </a:lnTo>
                  <a:lnTo>
                    <a:pt x="92" y="16"/>
                  </a:lnTo>
                  <a:lnTo>
                    <a:pt x="92" y="20"/>
                  </a:lnTo>
                  <a:lnTo>
                    <a:pt x="88" y="24"/>
                  </a:lnTo>
                  <a:lnTo>
                    <a:pt x="88" y="26"/>
                  </a:lnTo>
                  <a:lnTo>
                    <a:pt x="84" y="30"/>
                  </a:lnTo>
                  <a:lnTo>
                    <a:pt x="88" y="34"/>
                  </a:lnTo>
                  <a:lnTo>
                    <a:pt x="92" y="34"/>
                  </a:lnTo>
                  <a:lnTo>
                    <a:pt x="88" y="34"/>
                  </a:lnTo>
                  <a:lnTo>
                    <a:pt x="84" y="34"/>
                  </a:lnTo>
                  <a:lnTo>
                    <a:pt x="80" y="34"/>
                  </a:lnTo>
                  <a:lnTo>
                    <a:pt x="76" y="34"/>
                  </a:lnTo>
                  <a:lnTo>
                    <a:pt x="74" y="34"/>
                  </a:lnTo>
                  <a:lnTo>
                    <a:pt x="70" y="34"/>
                  </a:lnTo>
                  <a:lnTo>
                    <a:pt x="66" y="34"/>
                  </a:lnTo>
                  <a:lnTo>
                    <a:pt x="66" y="38"/>
                  </a:lnTo>
                  <a:lnTo>
                    <a:pt x="62" y="38"/>
                  </a:lnTo>
                  <a:lnTo>
                    <a:pt x="62" y="42"/>
                  </a:lnTo>
                  <a:lnTo>
                    <a:pt x="60" y="42"/>
                  </a:lnTo>
                  <a:lnTo>
                    <a:pt x="60" y="46"/>
                  </a:lnTo>
                  <a:lnTo>
                    <a:pt x="62" y="46"/>
                  </a:lnTo>
                  <a:lnTo>
                    <a:pt x="62" y="50"/>
                  </a:lnTo>
                  <a:lnTo>
                    <a:pt x="66" y="50"/>
                  </a:lnTo>
                  <a:lnTo>
                    <a:pt x="70" y="50"/>
                  </a:lnTo>
                  <a:lnTo>
                    <a:pt x="70" y="52"/>
                  </a:lnTo>
                  <a:lnTo>
                    <a:pt x="66" y="52"/>
                  </a:lnTo>
                  <a:lnTo>
                    <a:pt x="62" y="52"/>
                  </a:lnTo>
                  <a:lnTo>
                    <a:pt x="60" y="50"/>
                  </a:lnTo>
                  <a:lnTo>
                    <a:pt x="56" y="50"/>
                  </a:lnTo>
                  <a:lnTo>
                    <a:pt x="52" y="50"/>
                  </a:lnTo>
                  <a:lnTo>
                    <a:pt x="52" y="52"/>
                  </a:lnTo>
                  <a:lnTo>
                    <a:pt x="52" y="56"/>
                  </a:lnTo>
                  <a:lnTo>
                    <a:pt x="56" y="56"/>
                  </a:lnTo>
                  <a:lnTo>
                    <a:pt x="60" y="56"/>
                  </a:lnTo>
                  <a:lnTo>
                    <a:pt x="60" y="60"/>
                  </a:lnTo>
                  <a:lnTo>
                    <a:pt x="62" y="64"/>
                  </a:lnTo>
                  <a:lnTo>
                    <a:pt x="62" y="68"/>
                  </a:lnTo>
                  <a:lnTo>
                    <a:pt x="66" y="72"/>
                  </a:lnTo>
                  <a:lnTo>
                    <a:pt x="66" y="76"/>
                  </a:lnTo>
                  <a:lnTo>
                    <a:pt x="66" y="80"/>
                  </a:lnTo>
                  <a:lnTo>
                    <a:pt x="70" y="80"/>
                  </a:lnTo>
                  <a:lnTo>
                    <a:pt x="74" y="82"/>
                  </a:lnTo>
                  <a:lnTo>
                    <a:pt x="74" y="86"/>
                  </a:lnTo>
                  <a:lnTo>
                    <a:pt x="74" y="82"/>
                  </a:lnTo>
                  <a:lnTo>
                    <a:pt x="76" y="82"/>
                  </a:lnTo>
                  <a:lnTo>
                    <a:pt x="80" y="86"/>
                  </a:lnTo>
                  <a:lnTo>
                    <a:pt x="84" y="86"/>
                  </a:lnTo>
                  <a:lnTo>
                    <a:pt x="84" y="90"/>
                  </a:lnTo>
                  <a:lnTo>
                    <a:pt x="84" y="94"/>
                  </a:lnTo>
                  <a:lnTo>
                    <a:pt x="80" y="94"/>
                  </a:lnTo>
                  <a:lnTo>
                    <a:pt x="80" y="96"/>
                  </a:lnTo>
                  <a:lnTo>
                    <a:pt x="80" y="100"/>
                  </a:lnTo>
                  <a:lnTo>
                    <a:pt x="80" y="104"/>
                  </a:lnTo>
                  <a:lnTo>
                    <a:pt x="80" y="108"/>
                  </a:lnTo>
                  <a:lnTo>
                    <a:pt x="84" y="108"/>
                  </a:lnTo>
                  <a:lnTo>
                    <a:pt x="80" y="108"/>
                  </a:lnTo>
                  <a:lnTo>
                    <a:pt x="80" y="112"/>
                  </a:lnTo>
                  <a:lnTo>
                    <a:pt x="84" y="112"/>
                  </a:lnTo>
                  <a:lnTo>
                    <a:pt x="84" y="116"/>
                  </a:lnTo>
                  <a:lnTo>
                    <a:pt x="88" y="120"/>
                  </a:lnTo>
                  <a:lnTo>
                    <a:pt x="88" y="116"/>
                  </a:lnTo>
                  <a:lnTo>
                    <a:pt x="84" y="112"/>
                  </a:lnTo>
                  <a:lnTo>
                    <a:pt x="88" y="112"/>
                  </a:lnTo>
                  <a:lnTo>
                    <a:pt x="88" y="108"/>
                  </a:lnTo>
                  <a:lnTo>
                    <a:pt x="84" y="108"/>
                  </a:lnTo>
                  <a:lnTo>
                    <a:pt x="88" y="104"/>
                  </a:lnTo>
                  <a:lnTo>
                    <a:pt x="88" y="100"/>
                  </a:lnTo>
                  <a:lnTo>
                    <a:pt x="92" y="100"/>
                  </a:lnTo>
                  <a:lnTo>
                    <a:pt x="96" y="96"/>
                  </a:lnTo>
                  <a:lnTo>
                    <a:pt x="100" y="96"/>
                  </a:lnTo>
                  <a:lnTo>
                    <a:pt x="104" y="100"/>
                  </a:lnTo>
                  <a:lnTo>
                    <a:pt x="104" y="104"/>
                  </a:lnTo>
                  <a:lnTo>
                    <a:pt x="104" y="108"/>
                  </a:lnTo>
                  <a:lnTo>
                    <a:pt x="104" y="112"/>
                  </a:lnTo>
                  <a:lnTo>
                    <a:pt x="106" y="112"/>
                  </a:lnTo>
                  <a:lnTo>
                    <a:pt x="106" y="116"/>
                  </a:lnTo>
                  <a:lnTo>
                    <a:pt x="110" y="116"/>
                  </a:lnTo>
                  <a:lnTo>
                    <a:pt x="114" y="120"/>
                  </a:lnTo>
                  <a:lnTo>
                    <a:pt x="114" y="122"/>
                  </a:lnTo>
                  <a:lnTo>
                    <a:pt x="110" y="122"/>
                  </a:lnTo>
                  <a:lnTo>
                    <a:pt x="106" y="122"/>
                  </a:lnTo>
                  <a:lnTo>
                    <a:pt x="106" y="126"/>
                  </a:lnTo>
                  <a:lnTo>
                    <a:pt x="110" y="126"/>
                  </a:lnTo>
                  <a:lnTo>
                    <a:pt x="106" y="126"/>
                  </a:lnTo>
                  <a:lnTo>
                    <a:pt x="104" y="126"/>
                  </a:lnTo>
                  <a:lnTo>
                    <a:pt x="100" y="126"/>
                  </a:lnTo>
                  <a:lnTo>
                    <a:pt x="100" y="122"/>
                  </a:lnTo>
                  <a:lnTo>
                    <a:pt x="96" y="122"/>
                  </a:lnTo>
                  <a:lnTo>
                    <a:pt x="96" y="126"/>
                  </a:lnTo>
                  <a:lnTo>
                    <a:pt x="96" y="122"/>
                  </a:lnTo>
                  <a:lnTo>
                    <a:pt x="92" y="122"/>
                  </a:lnTo>
                  <a:lnTo>
                    <a:pt x="88" y="122"/>
                  </a:lnTo>
                  <a:lnTo>
                    <a:pt x="88" y="120"/>
                  </a:lnTo>
                  <a:lnTo>
                    <a:pt x="88" y="122"/>
                  </a:lnTo>
                  <a:lnTo>
                    <a:pt x="88" y="126"/>
                  </a:lnTo>
                  <a:lnTo>
                    <a:pt x="84" y="126"/>
                  </a:lnTo>
                  <a:lnTo>
                    <a:pt x="88" y="126"/>
                  </a:lnTo>
                  <a:lnTo>
                    <a:pt x="84" y="126"/>
                  </a:lnTo>
                  <a:lnTo>
                    <a:pt x="84" y="130"/>
                  </a:lnTo>
                  <a:lnTo>
                    <a:pt x="84" y="134"/>
                  </a:lnTo>
                  <a:lnTo>
                    <a:pt x="84" y="138"/>
                  </a:lnTo>
                  <a:lnTo>
                    <a:pt x="84" y="142"/>
                  </a:lnTo>
                  <a:lnTo>
                    <a:pt x="88" y="142"/>
                  </a:lnTo>
                  <a:lnTo>
                    <a:pt x="88" y="146"/>
                  </a:lnTo>
                  <a:lnTo>
                    <a:pt x="88" y="142"/>
                  </a:lnTo>
                  <a:lnTo>
                    <a:pt x="88" y="138"/>
                  </a:lnTo>
                  <a:lnTo>
                    <a:pt x="88" y="142"/>
                  </a:lnTo>
                  <a:lnTo>
                    <a:pt x="92" y="142"/>
                  </a:lnTo>
                  <a:lnTo>
                    <a:pt x="96" y="138"/>
                  </a:lnTo>
                  <a:lnTo>
                    <a:pt x="96" y="142"/>
                  </a:lnTo>
                  <a:lnTo>
                    <a:pt x="96" y="146"/>
                  </a:lnTo>
                  <a:lnTo>
                    <a:pt x="100" y="146"/>
                  </a:lnTo>
                  <a:lnTo>
                    <a:pt x="100" y="150"/>
                  </a:lnTo>
                  <a:lnTo>
                    <a:pt x="96" y="150"/>
                  </a:lnTo>
                  <a:lnTo>
                    <a:pt x="92" y="150"/>
                  </a:lnTo>
                  <a:lnTo>
                    <a:pt x="92" y="146"/>
                  </a:lnTo>
                  <a:lnTo>
                    <a:pt x="92" y="150"/>
                  </a:lnTo>
                  <a:lnTo>
                    <a:pt x="92" y="152"/>
                  </a:lnTo>
                  <a:lnTo>
                    <a:pt x="92" y="156"/>
                  </a:lnTo>
                  <a:lnTo>
                    <a:pt x="92" y="152"/>
                  </a:lnTo>
                  <a:lnTo>
                    <a:pt x="96" y="152"/>
                  </a:lnTo>
                  <a:lnTo>
                    <a:pt x="100" y="156"/>
                  </a:lnTo>
                  <a:lnTo>
                    <a:pt x="104" y="160"/>
                  </a:lnTo>
                  <a:lnTo>
                    <a:pt x="104" y="164"/>
                  </a:lnTo>
                  <a:lnTo>
                    <a:pt x="100" y="164"/>
                  </a:lnTo>
                  <a:lnTo>
                    <a:pt x="100" y="168"/>
                  </a:lnTo>
                  <a:lnTo>
                    <a:pt x="100" y="172"/>
                  </a:lnTo>
                  <a:lnTo>
                    <a:pt x="100" y="176"/>
                  </a:lnTo>
                  <a:lnTo>
                    <a:pt x="100" y="178"/>
                  </a:lnTo>
                  <a:lnTo>
                    <a:pt x="100" y="182"/>
                  </a:lnTo>
                  <a:lnTo>
                    <a:pt x="100" y="186"/>
                  </a:lnTo>
                  <a:lnTo>
                    <a:pt x="104" y="190"/>
                  </a:lnTo>
                  <a:lnTo>
                    <a:pt x="104" y="194"/>
                  </a:lnTo>
                  <a:lnTo>
                    <a:pt x="104" y="198"/>
                  </a:lnTo>
                  <a:lnTo>
                    <a:pt x="104" y="202"/>
                  </a:lnTo>
                  <a:lnTo>
                    <a:pt x="100" y="202"/>
                  </a:lnTo>
                  <a:lnTo>
                    <a:pt x="96" y="202"/>
                  </a:lnTo>
                  <a:lnTo>
                    <a:pt x="100" y="198"/>
                  </a:lnTo>
                  <a:lnTo>
                    <a:pt x="100" y="202"/>
                  </a:lnTo>
                  <a:lnTo>
                    <a:pt x="100" y="198"/>
                  </a:lnTo>
                  <a:lnTo>
                    <a:pt x="104" y="198"/>
                  </a:lnTo>
                  <a:lnTo>
                    <a:pt x="100" y="198"/>
                  </a:lnTo>
                  <a:lnTo>
                    <a:pt x="96" y="198"/>
                  </a:lnTo>
                  <a:lnTo>
                    <a:pt x="92" y="202"/>
                  </a:lnTo>
                  <a:lnTo>
                    <a:pt x="88" y="202"/>
                  </a:lnTo>
                  <a:lnTo>
                    <a:pt x="84" y="202"/>
                  </a:lnTo>
                  <a:lnTo>
                    <a:pt x="80" y="202"/>
                  </a:lnTo>
                  <a:lnTo>
                    <a:pt x="76" y="206"/>
                  </a:lnTo>
                  <a:lnTo>
                    <a:pt x="74" y="206"/>
                  </a:lnTo>
                  <a:lnTo>
                    <a:pt x="70" y="206"/>
                  </a:lnTo>
                  <a:lnTo>
                    <a:pt x="66" y="206"/>
                  </a:lnTo>
                  <a:lnTo>
                    <a:pt x="66" y="202"/>
                  </a:lnTo>
                  <a:lnTo>
                    <a:pt x="62" y="202"/>
                  </a:lnTo>
                  <a:lnTo>
                    <a:pt x="60" y="202"/>
                  </a:lnTo>
                  <a:lnTo>
                    <a:pt x="56" y="198"/>
                  </a:lnTo>
                  <a:lnTo>
                    <a:pt x="52" y="194"/>
                  </a:lnTo>
                  <a:lnTo>
                    <a:pt x="52" y="190"/>
                  </a:lnTo>
                  <a:lnTo>
                    <a:pt x="48" y="190"/>
                  </a:lnTo>
                  <a:lnTo>
                    <a:pt x="44" y="190"/>
                  </a:lnTo>
                  <a:lnTo>
                    <a:pt x="40" y="186"/>
                  </a:lnTo>
                  <a:lnTo>
                    <a:pt x="36" y="186"/>
                  </a:lnTo>
                  <a:lnTo>
                    <a:pt x="32" y="186"/>
                  </a:lnTo>
                  <a:lnTo>
                    <a:pt x="32" y="182"/>
                  </a:lnTo>
                  <a:lnTo>
                    <a:pt x="32" y="178"/>
                  </a:lnTo>
                  <a:lnTo>
                    <a:pt x="30" y="172"/>
                  </a:lnTo>
                  <a:lnTo>
                    <a:pt x="30" y="168"/>
                  </a:lnTo>
                  <a:lnTo>
                    <a:pt x="30" y="164"/>
                  </a:lnTo>
                  <a:lnTo>
                    <a:pt x="32" y="160"/>
                  </a:lnTo>
                  <a:lnTo>
                    <a:pt x="32" y="156"/>
                  </a:lnTo>
                  <a:lnTo>
                    <a:pt x="36" y="156"/>
                  </a:lnTo>
                  <a:lnTo>
                    <a:pt x="32" y="156"/>
                  </a:lnTo>
                  <a:lnTo>
                    <a:pt x="32" y="160"/>
                  </a:lnTo>
                  <a:lnTo>
                    <a:pt x="36" y="160"/>
                  </a:lnTo>
                  <a:lnTo>
                    <a:pt x="36" y="156"/>
                  </a:lnTo>
                  <a:lnTo>
                    <a:pt x="36" y="156"/>
                  </a:lnTo>
                  <a:lnTo>
                    <a:pt x="36" y="15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27" name="Freeform 221"/>
            <p:cNvSpPr>
              <a:spLocks/>
            </p:cNvSpPr>
            <p:nvPr/>
          </p:nvSpPr>
          <p:spPr bwMode="auto">
            <a:xfrm>
              <a:off x="7557741" y="3606028"/>
              <a:ext cx="32655" cy="47073"/>
            </a:xfrm>
            <a:custGeom>
              <a:avLst/>
              <a:gdLst>
                <a:gd name="T0" fmla="*/ 40 w 52"/>
                <a:gd name="T1" fmla="*/ 20 h 72"/>
                <a:gd name="T2" fmla="*/ 36 w 52"/>
                <a:gd name="T3" fmla="*/ 22 h 72"/>
                <a:gd name="T4" fmla="*/ 40 w 52"/>
                <a:gd name="T5" fmla="*/ 26 h 72"/>
                <a:gd name="T6" fmla="*/ 44 w 52"/>
                <a:gd name="T7" fmla="*/ 22 h 72"/>
                <a:gd name="T8" fmla="*/ 40 w 52"/>
                <a:gd name="T9" fmla="*/ 26 h 72"/>
                <a:gd name="T10" fmla="*/ 44 w 52"/>
                <a:gd name="T11" fmla="*/ 34 h 72"/>
                <a:gd name="T12" fmla="*/ 52 w 52"/>
                <a:gd name="T13" fmla="*/ 34 h 72"/>
                <a:gd name="T14" fmla="*/ 48 w 52"/>
                <a:gd name="T15" fmla="*/ 38 h 72"/>
                <a:gd name="T16" fmla="*/ 48 w 52"/>
                <a:gd name="T17" fmla="*/ 42 h 72"/>
                <a:gd name="T18" fmla="*/ 44 w 52"/>
                <a:gd name="T19" fmla="*/ 46 h 72"/>
                <a:gd name="T20" fmla="*/ 40 w 52"/>
                <a:gd name="T21" fmla="*/ 50 h 72"/>
                <a:gd name="T22" fmla="*/ 40 w 52"/>
                <a:gd name="T23" fmla="*/ 50 h 72"/>
                <a:gd name="T24" fmla="*/ 40 w 52"/>
                <a:gd name="T25" fmla="*/ 56 h 72"/>
                <a:gd name="T26" fmla="*/ 36 w 52"/>
                <a:gd name="T27" fmla="*/ 52 h 72"/>
                <a:gd name="T28" fmla="*/ 32 w 52"/>
                <a:gd name="T29" fmla="*/ 56 h 72"/>
                <a:gd name="T30" fmla="*/ 36 w 52"/>
                <a:gd name="T31" fmla="*/ 60 h 72"/>
                <a:gd name="T32" fmla="*/ 40 w 52"/>
                <a:gd name="T33" fmla="*/ 64 h 72"/>
                <a:gd name="T34" fmla="*/ 32 w 52"/>
                <a:gd name="T35" fmla="*/ 68 h 72"/>
                <a:gd name="T36" fmla="*/ 28 w 52"/>
                <a:gd name="T37" fmla="*/ 64 h 72"/>
                <a:gd name="T38" fmla="*/ 26 w 52"/>
                <a:gd name="T39" fmla="*/ 68 h 72"/>
                <a:gd name="T40" fmla="*/ 22 w 52"/>
                <a:gd name="T41" fmla="*/ 72 h 72"/>
                <a:gd name="T42" fmla="*/ 18 w 52"/>
                <a:gd name="T43" fmla="*/ 68 h 72"/>
                <a:gd name="T44" fmla="*/ 18 w 52"/>
                <a:gd name="T45" fmla="*/ 64 h 72"/>
                <a:gd name="T46" fmla="*/ 14 w 52"/>
                <a:gd name="T47" fmla="*/ 60 h 72"/>
                <a:gd name="T48" fmla="*/ 10 w 52"/>
                <a:gd name="T49" fmla="*/ 64 h 72"/>
                <a:gd name="T50" fmla="*/ 6 w 52"/>
                <a:gd name="T51" fmla="*/ 60 h 72"/>
                <a:gd name="T52" fmla="*/ 6 w 52"/>
                <a:gd name="T53" fmla="*/ 60 h 72"/>
                <a:gd name="T54" fmla="*/ 10 w 52"/>
                <a:gd name="T55" fmla="*/ 64 h 72"/>
                <a:gd name="T56" fmla="*/ 4 w 52"/>
                <a:gd name="T57" fmla="*/ 64 h 72"/>
                <a:gd name="T58" fmla="*/ 0 w 52"/>
                <a:gd name="T59" fmla="*/ 60 h 72"/>
                <a:gd name="T60" fmla="*/ 0 w 52"/>
                <a:gd name="T61" fmla="*/ 52 h 72"/>
                <a:gd name="T62" fmla="*/ 0 w 52"/>
                <a:gd name="T63" fmla="*/ 46 h 72"/>
                <a:gd name="T64" fmla="*/ 0 w 52"/>
                <a:gd name="T65" fmla="*/ 38 h 72"/>
                <a:gd name="T66" fmla="*/ 4 w 52"/>
                <a:gd name="T67" fmla="*/ 30 h 72"/>
                <a:gd name="T68" fmla="*/ 4 w 52"/>
                <a:gd name="T69" fmla="*/ 22 h 72"/>
                <a:gd name="T70" fmla="*/ 6 w 52"/>
                <a:gd name="T71" fmla="*/ 20 h 72"/>
                <a:gd name="T72" fmla="*/ 14 w 52"/>
                <a:gd name="T73" fmla="*/ 20 h 72"/>
                <a:gd name="T74" fmla="*/ 14 w 52"/>
                <a:gd name="T75" fmla="*/ 20 h 72"/>
                <a:gd name="T76" fmla="*/ 14 w 52"/>
                <a:gd name="T77" fmla="*/ 20 h 72"/>
                <a:gd name="T78" fmla="*/ 18 w 52"/>
                <a:gd name="T79" fmla="*/ 22 h 72"/>
                <a:gd name="T80" fmla="*/ 18 w 52"/>
                <a:gd name="T81" fmla="*/ 16 h 72"/>
                <a:gd name="T82" fmla="*/ 22 w 52"/>
                <a:gd name="T83" fmla="*/ 12 h 72"/>
                <a:gd name="T84" fmla="*/ 26 w 52"/>
                <a:gd name="T85" fmla="*/ 16 h 72"/>
                <a:gd name="T86" fmla="*/ 22 w 52"/>
                <a:gd name="T87" fmla="*/ 12 h 72"/>
                <a:gd name="T88" fmla="*/ 22 w 52"/>
                <a:gd name="T89" fmla="*/ 4 h 72"/>
                <a:gd name="T90" fmla="*/ 28 w 52"/>
                <a:gd name="T91" fmla="*/ 4 h 72"/>
                <a:gd name="T92" fmla="*/ 32 w 52"/>
                <a:gd name="T93" fmla="*/ 4 h 72"/>
                <a:gd name="T94" fmla="*/ 32 w 52"/>
                <a:gd name="T95" fmla="*/ 0 h 72"/>
                <a:gd name="T96" fmla="*/ 36 w 52"/>
                <a:gd name="T97" fmla="*/ 4 h 72"/>
                <a:gd name="T98" fmla="*/ 40 w 52"/>
                <a:gd name="T99" fmla="*/ 8 h 72"/>
                <a:gd name="T100" fmla="*/ 44 w 52"/>
                <a:gd name="T101" fmla="*/ 4 h 72"/>
                <a:gd name="T102" fmla="*/ 48 w 52"/>
                <a:gd name="T103" fmla="*/ 0 h 72"/>
                <a:gd name="T104" fmla="*/ 48 w 52"/>
                <a:gd name="T105" fmla="*/ 8 h 72"/>
                <a:gd name="T106" fmla="*/ 40 w 52"/>
                <a:gd name="T107" fmla="*/ 12 h 72"/>
                <a:gd name="T108" fmla="*/ 36 w 52"/>
                <a:gd name="T109" fmla="*/ 16 h 72"/>
                <a:gd name="T110" fmla="*/ 36 w 52"/>
                <a:gd name="T111" fmla="*/ 1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 h="72">
                  <a:moveTo>
                    <a:pt x="36" y="16"/>
                  </a:moveTo>
                  <a:lnTo>
                    <a:pt x="40" y="20"/>
                  </a:lnTo>
                  <a:lnTo>
                    <a:pt x="40" y="22"/>
                  </a:lnTo>
                  <a:lnTo>
                    <a:pt x="36" y="22"/>
                  </a:lnTo>
                  <a:lnTo>
                    <a:pt x="36" y="26"/>
                  </a:lnTo>
                  <a:lnTo>
                    <a:pt x="40" y="26"/>
                  </a:lnTo>
                  <a:lnTo>
                    <a:pt x="40" y="22"/>
                  </a:lnTo>
                  <a:lnTo>
                    <a:pt x="44" y="22"/>
                  </a:lnTo>
                  <a:lnTo>
                    <a:pt x="44" y="26"/>
                  </a:lnTo>
                  <a:lnTo>
                    <a:pt x="40" y="26"/>
                  </a:lnTo>
                  <a:lnTo>
                    <a:pt x="44" y="30"/>
                  </a:lnTo>
                  <a:lnTo>
                    <a:pt x="44" y="34"/>
                  </a:lnTo>
                  <a:lnTo>
                    <a:pt x="48" y="34"/>
                  </a:lnTo>
                  <a:lnTo>
                    <a:pt x="52" y="34"/>
                  </a:lnTo>
                  <a:lnTo>
                    <a:pt x="48" y="34"/>
                  </a:lnTo>
                  <a:lnTo>
                    <a:pt x="48" y="38"/>
                  </a:lnTo>
                  <a:lnTo>
                    <a:pt x="52" y="38"/>
                  </a:lnTo>
                  <a:lnTo>
                    <a:pt x="48" y="42"/>
                  </a:lnTo>
                  <a:lnTo>
                    <a:pt x="44" y="42"/>
                  </a:lnTo>
                  <a:lnTo>
                    <a:pt x="44" y="46"/>
                  </a:lnTo>
                  <a:lnTo>
                    <a:pt x="40" y="46"/>
                  </a:lnTo>
                  <a:lnTo>
                    <a:pt x="40" y="50"/>
                  </a:lnTo>
                  <a:lnTo>
                    <a:pt x="40" y="52"/>
                  </a:lnTo>
                  <a:lnTo>
                    <a:pt x="40" y="50"/>
                  </a:lnTo>
                  <a:lnTo>
                    <a:pt x="40" y="52"/>
                  </a:lnTo>
                  <a:lnTo>
                    <a:pt x="40" y="56"/>
                  </a:lnTo>
                  <a:lnTo>
                    <a:pt x="40" y="52"/>
                  </a:lnTo>
                  <a:lnTo>
                    <a:pt x="36" y="52"/>
                  </a:lnTo>
                  <a:lnTo>
                    <a:pt x="36" y="56"/>
                  </a:lnTo>
                  <a:lnTo>
                    <a:pt x="32" y="56"/>
                  </a:lnTo>
                  <a:lnTo>
                    <a:pt x="32" y="60"/>
                  </a:lnTo>
                  <a:lnTo>
                    <a:pt x="36" y="60"/>
                  </a:lnTo>
                  <a:lnTo>
                    <a:pt x="40" y="60"/>
                  </a:lnTo>
                  <a:lnTo>
                    <a:pt x="40" y="64"/>
                  </a:lnTo>
                  <a:lnTo>
                    <a:pt x="36" y="64"/>
                  </a:lnTo>
                  <a:lnTo>
                    <a:pt x="32" y="68"/>
                  </a:lnTo>
                  <a:lnTo>
                    <a:pt x="32" y="64"/>
                  </a:lnTo>
                  <a:lnTo>
                    <a:pt x="28" y="64"/>
                  </a:lnTo>
                  <a:lnTo>
                    <a:pt x="28" y="68"/>
                  </a:lnTo>
                  <a:lnTo>
                    <a:pt x="26" y="68"/>
                  </a:lnTo>
                  <a:lnTo>
                    <a:pt x="22" y="68"/>
                  </a:lnTo>
                  <a:lnTo>
                    <a:pt x="22" y="72"/>
                  </a:lnTo>
                  <a:lnTo>
                    <a:pt x="22" y="68"/>
                  </a:lnTo>
                  <a:lnTo>
                    <a:pt x="18" y="68"/>
                  </a:lnTo>
                  <a:lnTo>
                    <a:pt x="22" y="64"/>
                  </a:lnTo>
                  <a:lnTo>
                    <a:pt x="18" y="64"/>
                  </a:lnTo>
                  <a:lnTo>
                    <a:pt x="14" y="64"/>
                  </a:lnTo>
                  <a:lnTo>
                    <a:pt x="14" y="60"/>
                  </a:lnTo>
                  <a:lnTo>
                    <a:pt x="14" y="64"/>
                  </a:lnTo>
                  <a:lnTo>
                    <a:pt x="10" y="64"/>
                  </a:lnTo>
                  <a:lnTo>
                    <a:pt x="10" y="60"/>
                  </a:lnTo>
                  <a:lnTo>
                    <a:pt x="6" y="60"/>
                  </a:lnTo>
                  <a:lnTo>
                    <a:pt x="10" y="60"/>
                  </a:lnTo>
                  <a:lnTo>
                    <a:pt x="6" y="60"/>
                  </a:lnTo>
                  <a:lnTo>
                    <a:pt x="10" y="60"/>
                  </a:lnTo>
                  <a:lnTo>
                    <a:pt x="10" y="64"/>
                  </a:lnTo>
                  <a:lnTo>
                    <a:pt x="6" y="64"/>
                  </a:lnTo>
                  <a:lnTo>
                    <a:pt x="4" y="64"/>
                  </a:lnTo>
                  <a:lnTo>
                    <a:pt x="0" y="64"/>
                  </a:lnTo>
                  <a:lnTo>
                    <a:pt x="0" y="60"/>
                  </a:lnTo>
                  <a:lnTo>
                    <a:pt x="4" y="56"/>
                  </a:lnTo>
                  <a:lnTo>
                    <a:pt x="0" y="52"/>
                  </a:lnTo>
                  <a:lnTo>
                    <a:pt x="0" y="50"/>
                  </a:lnTo>
                  <a:lnTo>
                    <a:pt x="0" y="46"/>
                  </a:lnTo>
                  <a:lnTo>
                    <a:pt x="0" y="42"/>
                  </a:lnTo>
                  <a:lnTo>
                    <a:pt x="0" y="38"/>
                  </a:lnTo>
                  <a:lnTo>
                    <a:pt x="0" y="34"/>
                  </a:lnTo>
                  <a:lnTo>
                    <a:pt x="4" y="30"/>
                  </a:lnTo>
                  <a:lnTo>
                    <a:pt x="4" y="26"/>
                  </a:lnTo>
                  <a:lnTo>
                    <a:pt x="4" y="22"/>
                  </a:lnTo>
                  <a:lnTo>
                    <a:pt x="6" y="22"/>
                  </a:lnTo>
                  <a:lnTo>
                    <a:pt x="6" y="20"/>
                  </a:lnTo>
                  <a:lnTo>
                    <a:pt x="10" y="20"/>
                  </a:lnTo>
                  <a:lnTo>
                    <a:pt x="14" y="20"/>
                  </a:lnTo>
                  <a:lnTo>
                    <a:pt x="14" y="16"/>
                  </a:lnTo>
                  <a:lnTo>
                    <a:pt x="14" y="20"/>
                  </a:lnTo>
                  <a:lnTo>
                    <a:pt x="18" y="20"/>
                  </a:lnTo>
                  <a:lnTo>
                    <a:pt x="14" y="20"/>
                  </a:lnTo>
                  <a:lnTo>
                    <a:pt x="14" y="22"/>
                  </a:lnTo>
                  <a:lnTo>
                    <a:pt x="18" y="22"/>
                  </a:lnTo>
                  <a:lnTo>
                    <a:pt x="18" y="20"/>
                  </a:lnTo>
                  <a:lnTo>
                    <a:pt x="18" y="16"/>
                  </a:lnTo>
                  <a:lnTo>
                    <a:pt x="18" y="12"/>
                  </a:lnTo>
                  <a:lnTo>
                    <a:pt x="22" y="12"/>
                  </a:lnTo>
                  <a:lnTo>
                    <a:pt x="22" y="16"/>
                  </a:lnTo>
                  <a:lnTo>
                    <a:pt x="26" y="16"/>
                  </a:lnTo>
                  <a:lnTo>
                    <a:pt x="26" y="12"/>
                  </a:lnTo>
                  <a:lnTo>
                    <a:pt x="22" y="12"/>
                  </a:lnTo>
                  <a:lnTo>
                    <a:pt x="22" y="8"/>
                  </a:lnTo>
                  <a:lnTo>
                    <a:pt x="22" y="4"/>
                  </a:lnTo>
                  <a:lnTo>
                    <a:pt x="26" y="4"/>
                  </a:lnTo>
                  <a:lnTo>
                    <a:pt x="28" y="4"/>
                  </a:lnTo>
                  <a:lnTo>
                    <a:pt x="32" y="8"/>
                  </a:lnTo>
                  <a:lnTo>
                    <a:pt x="32" y="4"/>
                  </a:lnTo>
                  <a:lnTo>
                    <a:pt x="28" y="4"/>
                  </a:lnTo>
                  <a:lnTo>
                    <a:pt x="32" y="0"/>
                  </a:lnTo>
                  <a:lnTo>
                    <a:pt x="36" y="0"/>
                  </a:lnTo>
                  <a:lnTo>
                    <a:pt x="36" y="4"/>
                  </a:lnTo>
                  <a:lnTo>
                    <a:pt x="36" y="8"/>
                  </a:lnTo>
                  <a:lnTo>
                    <a:pt x="40" y="8"/>
                  </a:lnTo>
                  <a:lnTo>
                    <a:pt x="40" y="4"/>
                  </a:lnTo>
                  <a:lnTo>
                    <a:pt x="44" y="4"/>
                  </a:lnTo>
                  <a:lnTo>
                    <a:pt x="44" y="0"/>
                  </a:lnTo>
                  <a:lnTo>
                    <a:pt x="48" y="0"/>
                  </a:lnTo>
                  <a:lnTo>
                    <a:pt x="48" y="4"/>
                  </a:lnTo>
                  <a:lnTo>
                    <a:pt x="48" y="8"/>
                  </a:lnTo>
                  <a:lnTo>
                    <a:pt x="44" y="12"/>
                  </a:lnTo>
                  <a:lnTo>
                    <a:pt x="40" y="12"/>
                  </a:lnTo>
                  <a:lnTo>
                    <a:pt x="40" y="16"/>
                  </a:lnTo>
                  <a:lnTo>
                    <a:pt x="36" y="16"/>
                  </a:lnTo>
                  <a:lnTo>
                    <a:pt x="36" y="16"/>
                  </a:lnTo>
                  <a:lnTo>
                    <a:pt x="36" y="16"/>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28" name="Freeform 222"/>
            <p:cNvSpPr>
              <a:spLocks noEditPoints="1"/>
            </p:cNvSpPr>
            <p:nvPr/>
          </p:nvSpPr>
          <p:spPr bwMode="auto">
            <a:xfrm>
              <a:off x="6221398" y="3577261"/>
              <a:ext cx="70334" cy="33997"/>
            </a:xfrm>
            <a:custGeom>
              <a:avLst/>
              <a:gdLst>
                <a:gd name="T0" fmla="*/ 100 w 112"/>
                <a:gd name="T1" fmla="*/ 52 h 52"/>
                <a:gd name="T2" fmla="*/ 96 w 112"/>
                <a:gd name="T3" fmla="*/ 48 h 52"/>
                <a:gd name="T4" fmla="*/ 86 w 112"/>
                <a:gd name="T5" fmla="*/ 48 h 52"/>
                <a:gd name="T6" fmla="*/ 74 w 112"/>
                <a:gd name="T7" fmla="*/ 52 h 52"/>
                <a:gd name="T8" fmla="*/ 66 w 112"/>
                <a:gd name="T9" fmla="*/ 48 h 52"/>
                <a:gd name="T10" fmla="*/ 58 w 112"/>
                <a:gd name="T11" fmla="*/ 44 h 52"/>
                <a:gd name="T12" fmla="*/ 56 w 112"/>
                <a:gd name="T13" fmla="*/ 40 h 52"/>
                <a:gd name="T14" fmla="*/ 52 w 112"/>
                <a:gd name="T15" fmla="*/ 48 h 52"/>
                <a:gd name="T16" fmla="*/ 52 w 112"/>
                <a:gd name="T17" fmla="*/ 38 h 52"/>
                <a:gd name="T18" fmla="*/ 44 w 112"/>
                <a:gd name="T19" fmla="*/ 40 h 52"/>
                <a:gd name="T20" fmla="*/ 34 w 112"/>
                <a:gd name="T21" fmla="*/ 44 h 52"/>
                <a:gd name="T22" fmla="*/ 26 w 112"/>
                <a:gd name="T23" fmla="*/ 52 h 52"/>
                <a:gd name="T24" fmla="*/ 18 w 112"/>
                <a:gd name="T25" fmla="*/ 44 h 52"/>
                <a:gd name="T26" fmla="*/ 18 w 112"/>
                <a:gd name="T27" fmla="*/ 40 h 52"/>
                <a:gd name="T28" fmla="*/ 12 w 112"/>
                <a:gd name="T29" fmla="*/ 44 h 52"/>
                <a:gd name="T30" fmla="*/ 4 w 112"/>
                <a:gd name="T31" fmla="*/ 48 h 52"/>
                <a:gd name="T32" fmla="*/ 4 w 112"/>
                <a:gd name="T33" fmla="*/ 44 h 52"/>
                <a:gd name="T34" fmla="*/ 12 w 112"/>
                <a:gd name="T35" fmla="*/ 38 h 52"/>
                <a:gd name="T36" fmla="*/ 18 w 112"/>
                <a:gd name="T37" fmla="*/ 30 h 52"/>
                <a:gd name="T38" fmla="*/ 30 w 112"/>
                <a:gd name="T39" fmla="*/ 26 h 52"/>
                <a:gd name="T40" fmla="*/ 42 w 112"/>
                <a:gd name="T41" fmla="*/ 18 h 52"/>
                <a:gd name="T42" fmla="*/ 44 w 112"/>
                <a:gd name="T43" fmla="*/ 10 h 52"/>
                <a:gd name="T44" fmla="*/ 44 w 112"/>
                <a:gd name="T45" fmla="*/ 14 h 52"/>
                <a:gd name="T46" fmla="*/ 52 w 112"/>
                <a:gd name="T47" fmla="*/ 10 h 52"/>
                <a:gd name="T48" fmla="*/ 56 w 112"/>
                <a:gd name="T49" fmla="*/ 4 h 52"/>
                <a:gd name="T50" fmla="*/ 52 w 112"/>
                <a:gd name="T51" fmla="*/ 10 h 52"/>
                <a:gd name="T52" fmla="*/ 56 w 112"/>
                <a:gd name="T53" fmla="*/ 6 h 52"/>
                <a:gd name="T54" fmla="*/ 56 w 112"/>
                <a:gd name="T55" fmla="*/ 4 h 52"/>
                <a:gd name="T56" fmla="*/ 58 w 112"/>
                <a:gd name="T57" fmla="*/ 4 h 52"/>
                <a:gd name="T58" fmla="*/ 70 w 112"/>
                <a:gd name="T59" fmla="*/ 6 h 52"/>
                <a:gd name="T60" fmla="*/ 78 w 112"/>
                <a:gd name="T61" fmla="*/ 6 h 52"/>
                <a:gd name="T62" fmla="*/ 86 w 112"/>
                <a:gd name="T63" fmla="*/ 10 h 52"/>
                <a:gd name="T64" fmla="*/ 88 w 112"/>
                <a:gd name="T65" fmla="*/ 18 h 52"/>
                <a:gd name="T66" fmla="*/ 96 w 112"/>
                <a:gd name="T67" fmla="*/ 22 h 52"/>
                <a:gd name="T68" fmla="*/ 104 w 112"/>
                <a:gd name="T69" fmla="*/ 26 h 52"/>
                <a:gd name="T70" fmla="*/ 104 w 112"/>
                <a:gd name="T71" fmla="*/ 34 h 52"/>
                <a:gd name="T72" fmla="*/ 104 w 112"/>
                <a:gd name="T73" fmla="*/ 38 h 52"/>
                <a:gd name="T74" fmla="*/ 112 w 112"/>
                <a:gd name="T75" fmla="*/ 44 h 52"/>
                <a:gd name="T76" fmla="*/ 112 w 112"/>
                <a:gd name="T77" fmla="*/ 48 h 52"/>
                <a:gd name="T78" fmla="*/ 108 w 112"/>
                <a:gd name="T79" fmla="*/ 52 h 52"/>
                <a:gd name="T80" fmla="*/ 48 w 112"/>
                <a:gd name="T81" fmla="*/ 18 h 52"/>
                <a:gd name="T82" fmla="*/ 42 w 112"/>
                <a:gd name="T83" fmla="*/ 26 h 52"/>
                <a:gd name="T84" fmla="*/ 48 w 112"/>
                <a:gd name="T85" fmla="*/ 22 h 52"/>
                <a:gd name="T86" fmla="*/ 52 w 112"/>
                <a:gd name="T87" fmla="*/ 18 h 52"/>
                <a:gd name="T88" fmla="*/ 52 w 112"/>
                <a:gd name="T89" fmla="*/ 40 h 52"/>
                <a:gd name="T90" fmla="*/ 52 w 112"/>
                <a:gd name="T91" fmla="*/ 40 h 52"/>
                <a:gd name="T92" fmla="*/ 58 w 112"/>
                <a:gd name="T93" fmla="*/ 38 h 52"/>
                <a:gd name="T94" fmla="*/ 58 w 112"/>
                <a:gd name="T95" fmla="*/ 34 h 52"/>
                <a:gd name="T96" fmla="*/ 52 w 112"/>
                <a:gd name="T97" fmla="*/ 3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2" h="52">
                  <a:moveTo>
                    <a:pt x="108" y="52"/>
                  </a:moveTo>
                  <a:lnTo>
                    <a:pt x="104" y="52"/>
                  </a:lnTo>
                  <a:lnTo>
                    <a:pt x="100" y="52"/>
                  </a:lnTo>
                  <a:lnTo>
                    <a:pt x="100" y="48"/>
                  </a:lnTo>
                  <a:lnTo>
                    <a:pt x="100" y="44"/>
                  </a:lnTo>
                  <a:lnTo>
                    <a:pt x="96" y="48"/>
                  </a:lnTo>
                  <a:lnTo>
                    <a:pt x="92" y="48"/>
                  </a:lnTo>
                  <a:lnTo>
                    <a:pt x="88" y="48"/>
                  </a:lnTo>
                  <a:lnTo>
                    <a:pt x="86" y="48"/>
                  </a:lnTo>
                  <a:lnTo>
                    <a:pt x="82" y="52"/>
                  </a:lnTo>
                  <a:lnTo>
                    <a:pt x="78" y="52"/>
                  </a:lnTo>
                  <a:lnTo>
                    <a:pt x="74" y="52"/>
                  </a:lnTo>
                  <a:lnTo>
                    <a:pt x="70" y="52"/>
                  </a:lnTo>
                  <a:lnTo>
                    <a:pt x="66" y="52"/>
                  </a:lnTo>
                  <a:lnTo>
                    <a:pt x="66" y="48"/>
                  </a:lnTo>
                  <a:lnTo>
                    <a:pt x="66" y="44"/>
                  </a:lnTo>
                  <a:lnTo>
                    <a:pt x="62" y="44"/>
                  </a:lnTo>
                  <a:lnTo>
                    <a:pt x="58" y="44"/>
                  </a:lnTo>
                  <a:lnTo>
                    <a:pt x="56" y="44"/>
                  </a:lnTo>
                  <a:lnTo>
                    <a:pt x="58" y="40"/>
                  </a:lnTo>
                  <a:lnTo>
                    <a:pt x="56" y="40"/>
                  </a:lnTo>
                  <a:lnTo>
                    <a:pt x="56" y="44"/>
                  </a:lnTo>
                  <a:lnTo>
                    <a:pt x="52" y="44"/>
                  </a:lnTo>
                  <a:lnTo>
                    <a:pt x="52" y="48"/>
                  </a:lnTo>
                  <a:lnTo>
                    <a:pt x="52" y="44"/>
                  </a:lnTo>
                  <a:lnTo>
                    <a:pt x="52" y="40"/>
                  </a:lnTo>
                  <a:lnTo>
                    <a:pt x="52" y="38"/>
                  </a:lnTo>
                  <a:lnTo>
                    <a:pt x="48" y="38"/>
                  </a:lnTo>
                  <a:lnTo>
                    <a:pt x="48" y="40"/>
                  </a:lnTo>
                  <a:lnTo>
                    <a:pt x="44" y="40"/>
                  </a:lnTo>
                  <a:lnTo>
                    <a:pt x="42" y="44"/>
                  </a:lnTo>
                  <a:lnTo>
                    <a:pt x="38" y="44"/>
                  </a:lnTo>
                  <a:lnTo>
                    <a:pt x="34" y="44"/>
                  </a:lnTo>
                  <a:lnTo>
                    <a:pt x="34" y="48"/>
                  </a:lnTo>
                  <a:lnTo>
                    <a:pt x="30" y="48"/>
                  </a:lnTo>
                  <a:lnTo>
                    <a:pt x="26" y="52"/>
                  </a:lnTo>
                  <a:lnTo>
                    <a:pt x="22" y="48"/>
                  </a:lnTo>
                  <a:lnTo>
                    <a:pt x="18" y="48"/>
                  </a:lnTo>
                  <a:lnTo>
                    <a:pt x="18" y="44"/>
                  </a:lnTo>
                  <a:lnTo>
                    <a:pt x="22" y="44"/>
                  </a:lnTo>
                  <a:lnTo>
                    <a:pt x="18" y="44"/>
                  </a:lnTo>
                  <a:lnTo>
                    <a:pt x="18" y="40"/>
                  </a:lnTo>
                  <a:lnTo>
                    <a:pt x="18" y="44"/>
                  </a:lnTo>
                  <a:lnTo>
                    <a:pt x="14" y="44"/>
                  </a:lnTo>
                  <a:lnTo>
                    <a:pt x="12" y="44"/>
                  </a:lnTo>
                  <a:lnTo>
                    <a:pt x="12" y="48"/>
                  </a:lnTo>
                  <a:lnTo>
                    <a:pt x="8" y="48"/>
                  </a:lnTo>
                  <a:lnTo>
                    <a:pt x="4" y="48"/>
                  </a:lnTo>
                  <a:lnTo>
                    <a:pt x="0" y="48"/>
                  </a:lnTo>
                  <a:lnTo>
                    <a:pt x="0" y="44"/>
                  </a:lnTo>
                  <a:lnTo>
                    <a:pt x="4" y="44"/>
                  </a:lnTo>
                  <a:lnTo>
                    <a:pt x="8" y="44"/>
                  </a:lnTo>
                  <a:lnTo>
                    <a:pt x="8" y="40"/>
                  </a:lnTo>
                  <a:lnTo>
                    <a:pt x="12" y="38"/>
                  </a:lnTo>
                  <a:lnTo>
                    <a:pt x="14" y="38"/>
                  </a:lnTo>
                  <a:lnTo>
                    <a:pt x="14" y="34"/>
                  </a:lnTo>
                  <a:lnTo>
                    <a:pt x="18" y="30"/>
                  </a:lnTo>
                  <a:lnTo>
                    <a:pt x="22" y="30"/>
                  </a:lnTo>
                  <a:lnTo>
                    <a:pt x="26" y="26"/>
                  </a:lnTo>
                  <a:lnTo>
                    <a:pt x="30" y="26"/>
                  </a:lnTo>
                  <a:lnTo>
                    <a:pt x="34" y="22"/>
                  </a:lnTo>
                  <a:lnTo>
                    <a:pt x="38" y="22"/>
                  </a:lnTo>
                  <a:lnTo>
                    <a:pt x="42" y="18"/>
                  </a:lnTo>
                  <a:lnTo>
                    <a:pt x="42" y="14"/>
                  </a:lnTo>
                  <a:lnTo>
                    <a:pt x="42" y="10"/>
                  </a:lnTo>
                  <a:lnTo>
                    <a:pt x="44" y="10"/>
                  </a:lnTo>
                  <a:lnTo>
                    <a:pt x="48" y="10"/>
                  </a:lnTo>
                  <a:lnTo>
                    <a:pt x="48" y="14"/>
                  </a:lnTo>
                  <a:lnTo>
                    <a:pt x="44" y="14"/>
                  </a:lnTo>
                  <a:lnTo>
                    <a:pt x="48" y="14"/>
                  </a:lnTo>
                  <a:lnTo>
                    <a:pt x="48" y="10"/>
                  </a:lnTo>
                  <a:lnTo>
                    <a:pt x="52" y="10"/>
                  </a:lnTo>
                  <a:lnTo>
                    <a:pt x="52" y="6"/>
                  </a:lnTo>
                  <a:lnTo>
                    <a:pt x="52" y="4"/>
                  </a:lnTo>
                  <a:lnTo>
                    <a:pt x="56" y="4"/>
                  </a:lnTo>
                  <a:lnTo>
                    <a:pt x="56" y="6"/>
                  </a:lnTo>
                  <a:lnTo>
                    <a:pt x="52" y="6"/>
                  </a:lnTo>
                  <a:lnTo>
                    <a:pt x="52" y="10"/>
                  </a:lnTo>
                  <a:lnTo>
                    <a:pt x="56" y="6"/>
                  </a:lnTo>
                  <a:lnTo>
                    <a:pt x="56" y="10"/>
                  </a:lnTo>
                  <a:lnTo>
                    <a:pt x="56" y="6"/>
                  </a:lnTo>
                  <a:lnTo>
                    <a:pt x="58" y="6"/>
                  </a:lnTo>
                  <a:lnTo>
                    <a:pt x="58" y="4"/>
                  </a:lnTo>
                  <a:lnTo>
                    <a:pt x="56" y="4"/>
                  </a:lnTo>
                  <a:lnTo>
                    <a:pt x="56" y="0"/>
                  </a:lnTo>
                  <a:lnTo>
                    <a:pt x="58" y="0"/>
                  </a:lnTo>
                  <a:lnTo>
                    <a:pt x="58" y="4"/>
                  </a:lnTo>
                  <a:lnTo>
                    <a:pt x="62" y="4"/>
                  </a:lnTo>
                  <a:lnTo>
                    <a:pt x="66" y="4"/>
                  </a:lnTo>
                  <a:lnTo>
                    <a:pt x="70" y="6"/>
                  </a:lnTo>
                  <a:lnTo>
                    <a:pt x="74" y="4"/>
                  </a:lnTo>
                  <a:lnTo>
                    <a:pt x="74" y="6"/>
                  </a:lnTo>
                  <a:lnTo>
                    <a:pt x="78" y="6"/>
                  </a:lnTo>
                  <a:lnTo>
                    <a:pt x="78" y="4"/>
                  </a:lnTo>
                  <a:lnTo>
                    <a:pt x="82" y="6"/>
                  </a:lnTo>
                  <a:lnTo>
                    <a:pt x="86" y="10"/>
                  </a:lnTo>
                  <a:lnTo>
                    <a:pt x="86" y="14"/>
                  </a:lnTo>
                  <a:lnTo>
                    <a:pt x="86" y="18"/>
                  </a:lnTo>
                  <a:lnTo>
                    <a:pt x="88" y="18"/>
                  </a:lnTo>
                  <a:lnTo>
                    <a:pt x="88" y="22"/>
                  </a:lnTo>
                  <a:lnTo>
                    <a:pt x="92" y="22"/>
                  </a:lnTo>
                  <a:lnTo>
                    <a:pt x="96" y="22"/>
                  </a:lnTo>
                  <a:lnTo>
                    <a:pt x="100" y="22"/>
                  </a:lnTo>
                  <a:lnTo>
                    <a:pt x="104" y="22"/>
                  </a:lnTo>
                  <a:lnTo>
                    <a:pt x="104" y="26"/>
                  </a:lnTo>
                  <a:lnTo>
                    <a:pt x="100" y="30"/>
                  </a:lnTo>
                  <a:lnTo>
                    <a:pt x="104" y="30"/>
                  </a:lnTo>
                  <a:lnTo>
                    <a:pt x="104" y="34"/>
                  </a:lnTo>
                  <a:lnTo>
                    <a:pt x="108" y="34"/>
                  </a:lnTo>
                  <a:lnTo>
                    <a:pt x="108" y="38"/>
                  </a:lnTo>
                  <a:lnTo>
                    <a:pt x="104" y="38"/>
                  </a:lnTo>
                  <a:lnTo>
                    <a:pt x="104" y="40"/>
                  </a:lnTo>
                  <a:lnTo>
                    <a:pt x="108" y="44"/>
                  </a:lnTo>
                  <a:lnTo>
                    <a:pt x="112" y="44"/>
                  </a:lnTo>
                  <a:lnTo>
                    <a:pt x="108" y="44"/>
                  </a:lnTo>
                  <a:lnTo>
                    <a:pt x="108" y="48"/>
                  </a:lnTo>
                  <a:lnTo>
                    <a:pt x="112" y="48"/>
                  </a:lnTo>
                  <a:lnTo>
                    <a:pt x="108" y="48"/>
                  </a:lnTo>
                  <a:lnTo>
                    <a:pt x="108" y="52"/>
                  </a:lnTo>
                  <a:lnTo>
                    <a:pt x="108" y="52"/>
                  </a:lnTo>
                  <a:lnTo>
                    <a:pt x="108" y="52"/>
                  </a:lnTo>
                  <a:close/>
                  <a:moveTo>
                    <a:pt x="52" y="18"/>
                  </a:moveTo>
                  <a:lnTo>
                    <a:pt x="48" y="18"/>
                  </a:lnTo>
                  <a:lnTo>
                    <a:pt x="44" y="22"/>
                  </a:lnTo>
                  <a:lnTo>
                    <a:pt x="42" y="22"/>
                  </a:lnTo>
                  <a:lnTo>
                    <a:pt x="42" y="26"/>
                  </a:lnTo>
                  <a:lnTo>
                    <a:pt x="44" y="26"/>
                  </a:lnTo>
                  <a:lnTo>
                    <a:pt x="44" y="22"/>
                  </a:lnTo>
                  <a:lnTo>
                    <a:pt x="48" y="22"/>
                  </a:lnTo>
                  <a:lnTo>
                    <a:pt x="52" y="22"/>
                  </a:lnTo>
                  <a:lnTo>
                    <a:pt x="52" y="18"/>
                  </a:lnTo>
                  <a:lnTo>
                    <a:pt x="52" y="18"/>
                  </a:lnTo>
                  <a:lnTo>
                    <a:pt x="52" y="18"/>
                  </a:lnTo>
                  <a:close/>
                  <a:moveTo>
                    <a:pt x="52" y="38"/>
                  </a:moveTo>
                  <a:lnTo>
                    <a:pt x="52" y="40"/>
                  </a:lnTo>
                  <a:lnTo>
                    <a:pt x="52" y="38"/>
                  </a:lnTo>
                  <a:lnTo>
                    <a:pt x="56" y="38"/>
                  </a:lnTo>
                  <a:lnTo>
                    <a:pt x="52" y="40"/>
                  </a:lnTo>
                  <a:lnTo>
                    <a:pt x="56" y="40"/>
                  </a:lnTo>
                  <a:lnTo>
                    <a:pt x="56" y="38"/>
                  </a:lnTo>
                  <a:lnTo>
                    <a:pt x="58" y="38"/>
                  </a:lnTo>
                  <a:lnTo>
                    <a:pt x="58" y="34"/>
                  </a:lnTo>
                  <a:lnTo>
                    <a:pt x="62" y="34"/>
                  </a:lnTo>
                  <a:lnTo>
                    <a:pt x="58" y="34"/>
                  </a:lnTo>
                  <a:lnTo>
                    <a:pt x="56" y="34"/>
                  </a:lnTo>
                  <a:lnTo>
                    <a:pt x="52" y="34"/>
                  </a:lnTo>
                  <a:lnTo>
                    <a:pt x="52" y="38"/>
                  </a:lnTo>
                  <a:lnTo>
                    <a:pt x="52" y="38"/>
                  </a:lnTo>
                  <a:lnTo>
                    <a:pt x="52" y="3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29" name="Freeform 223"/>
            <p:cNvSpPr>
              <a:spLocks noEditPoints="1"/>
            </p:cNvSpPr>
            <p:nvPr/>
          </p:nvSpPr>
          <p:spPr bwMode="auto">
            <a:xfrm>
              <a:off x="6257821" y="3615181"/>
              <a:ext cx="28887" cy="58841"/>
            </a:xfrm>
            <a:custGeom>
              <a:avLst/>
              <a:gdLst>
                <a:gd name="T0" fmla="*/ 46 w 46"/>
                <a:gd name="T1" fmla="*/ 8 h 90"/>
                <a:gd name="T2" fmla="*/ 46 w 46"/>
                <a:gd name="T3" fmla="*/ 8 h 90"/>
                <a:gd name="T4" fmla="*/ 42 w 46"/>
                <a:gd name="T5" fmla="*/ 12 h 90"/>
                <a:gd name="T6" fmla="*/ 42 w 46"/>
                <a:gd name="T7" fmla="*/ 16 h 90"/>
                <a:gd name="T8" fmla="*/ 46 w 46"/>
                <a:gd name="T9" fmla="*/ 16 h 90"/>
                <a:gd name="T10" fmla="*/ 42 w 46"/>
                <a:gd name="T11" fmla="*/ 16 h 90"/>
                <a:gd name="T12" fmla="*/ 38 w 46"/>
                <a:gd name="T13" fmla="*/ 20 h 90"/>
                <a:gd name="T14" fmla="*/ 34 w 46"/>
                <a:gd name="T15" fmla="*/ 28 h 90"/>
                <a:gd name="T16" fmla="*/ 34 w 46"/>
                <a:gd name="T17" fmla="*/ 28 h 90"/>
                <a:gd name="T18" fmla="*/ 38 w 46"/>
                <a:gd name="T19" fmla="*/ 24 h 90"/>
                <a:gd name="T20" fmla="*/ 34 w 46"/>
                <a:gd name="T21" fmla="*/ 28 h 90"/>
                <a:gd name="T22" fmla="*/ 34 w 46"/>
                <a:gd name="T23" fmla="*/ 24 h 90"/>
                <a:gd name="T24" fmla="*/ 34 w 46"/>
                <a:gd name="T25" fmla="*/ 20 h 90"/>
                <a:gd name="T26" fmla="*/ 34 w 46"/>
                <a:gd name="T27" fmla="*/ 24 h 90"/>
                <a:gd name="T28" fmla="*/ 30 w 46"/>
                <a:gd name="T29" fmla="*/ 24 h 90"/>
                <a:gd name="T30" fmla="*/ 26 w 46"/>
                <a:gd name="T31" fmla="*/ 28 h 90"/>
                <a:gd name="T32" fmla="*/ 26 w 46"/>
                <a:gd name="T33" fmla="*/ 30 h 90"/>
                <a:gd name="T34" fmla="*/ 24 w 46"/>
                <a:gd name="T35" fmla="*/ 42 h 90"/>
                <a:gd name="T36" fmla="*/ 24 w 46"/>
                <a:gd name="T37" fmla="*/ 50 h 90"/>
                <a:gd name="T38" fmla="*/ 24 w 46"/>
                <a:gd name="T39" fmla="*/ 50 h 90"/>
                <a:gd name="T40" fmla="*/ 26 w 46"/>
                <a:gd name="T41" fmla="*/ 64 h 90"/>
                <a:gd name="T42" fmla="*/ 26 w 46"/>
                <a:gd name="T43" fmla="*/ 76 h 90"/>
                <a:gd name="T44" fmla="*/ 20 w 46"/>
                <a:gd name="T45" fmla="*/ 82 h 90"/>
                <a:gd name="T46" fmla="*/ 12 w 46"/>
                <a:gd name="T47" fmla="*/ 90 h 90"/>
                <a:gd name="T48" fmla="*/ 8 w 46"/>
                <a:gd name="T49" fmla="*/ 90 h 90"/>
                <a:gd name="T50" fmla="*/ 4 w 46"/>
                <a:gd name="T51" fmla="*/ 82 h 90"/>
                <a:gd name="T52" fmla="*/ 4 w 46"/>
                <a:gd name="T53" fmla="*/ 76 h 90"/>
                <a:gd name="T54" fmla="*/ 4 w 46"/>
                <a:gd name="T55" fmla="*/ 68 h 90"/>
                <a:gd name="T56" fmla="*/ 4 w 46"/>
                <a:gd name="T57" fmla="*/ 62 h 90"/>
                <a:gd name="T58" fmla="*/ 4 w 46"/>
                <a:gd name="T59" fmla="*/ 58 h 90"/>
                <a:gd name="T60" fmla="*/ 4 w 46"/>
                <a:gd name="T61" fmla="*/ 54 h 90"/>
                <a:gd name="T62" fmla="*/ 4 w 46"/>
                <a:gd name="T63" fmla="*/ 46 h 90"/>
                <a:gd name="T64" fmla="*/ 8 w 46"/>
                <a:gd name="T65" fmla="*/ 42 h 90"/>
                <a:gd name="T66" fmla="*/ 8 w 46"/>
                <a:gd name="T67" fmla="*/ 38 h 90"/>
                <a:gd name="T68" fmla="*/ 8 w 46"/>
                <a:gd name="T69" fmla="*/ 34 h 90"/>
                <a:gd name="T70" fmla="*/ 8 w 46"/>
                <a:gd name="T71" fmla="*/ 30 h 90"/>
                <a:gd name="T72" fmla="*/ 4 w 46"/>
                <a:gd name="T73" fmla="*/ 28 h 90"/>
                <a:gd name="T74" fmla="*/ 0 w 46"/>
                <a:gd name="T75" fmla="*/ 34 h 90"/>
                <a:gd name="T76" fmla="*/ 4 w 46"/>
                <a:gd name="T77" fmla="*/ 24 h 90"/>
                <a:gd name="T78" fmla="*/ 4 w 46"/>
                <a:gd name="T79" fmla="*/ 24 h 90"/>
                <a:gd name="T80" fmla="*/ 12 w 46"/>
                <a:gd name="T81" fmla="*/ 16 h 90"/>
                <a:gd name="T82" fmla="*/ 16 w 46"/>
                <a:gd name="T83" fmla="*/ 4 h 90"/>
                <a:gd name="T84" fmla="*/ 16 w 46"/>
                <a:gd name="T85" fmla="*/ 8 h 90"/>
                <a:gd name="T86" fmla="*/ 24 w 46"/>
                <a:gd name="T87" fmla="*/ 4 h 90"/>
                <a:gd name="T88" fmla="*/ 20 w 46"/>
                <a:gd name="T89" fmla="*/ 8 h 90"/>
                <a:gd name="T90" fmla="*/ 20 w 46"/>
                <a:gd name="T91" fmla="*/ 12 h 90"/>
                <a:gd name="T92" fmla="*/ 20 w 46"/>
                <a:gd name="T93" fmla="*/ 8 h 90"/>
                <a:gd name="T94" fmla="*/ 24 w 46"/>
                <a:gd name="T95" fmla="*/ 4 h 90"/>
                <a:gd name="T96" fmla="*/ 34 w 46"/>
                <a:gd name="T97" fmla="*/ 4 h 90"/>
                <a:gd name="T98" fmla="*/ 34 w 46"/>
                <a:gd name="T99" fmla="*/ 0 h 90"/>
                <a:gd name="T100" fmla="*/ 42 w 46"/>
                <a:gd name="T101" fmla="*/ 4 h 90"/>
                <a:gd name="T102" fmla="*/ 46 w 46"/>
                <a:gd name="T103" fmla="*/ 8 h 90"/>
                <a:gd name="T104" fmla="*/ 12 w 46"/>
                <a:gd name="T105" fmla="*/ 20 h 90"/>
                <a:gd name="T106" fmla="*/ 8 w 46"/>
                <a:gd name="T107" fmla="*/ 24 h 90"/>
                <a:gd name="T108" fmla="*/ 12 w 46"/>
                <a:gd name="T109" fmla="*/ 28 h 90"/>
                <a:gd name="T110" fmla="*/ 12 w 46"/>
                <a:gd name="T111" fmla="*/ 24 h 90"/>
                <a:gd name="T112" fmla="*/ 16 w 46"/>
                <a:gd name="T113" fmla="*/ 2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90">
                  <a:moveTo>
                    <a:pt x="46" y="8"/>
                  </a:moveTo>
                  <a:lnTo>
                    <a:pt x="46" y="8"/>
                  </a:lnTo>
                  <a:lnTo>
                    <a:pt x="46" y="8"/>
                  </a:lnTo>
                  <a:lnTo>
                    <a:pt x="46" y="8"/>
                  </a:lnTo>
                  <a:lnTo>
                    <a:pt x="46" y="8"/>
                  </a:lnTo>
                  <a:lnTo>
                    <a:pt x="46" y="8"/>
                  </a:lnTo>
                  <a:lnTo>
                    <a:pt x="46" y="8"/>
                  </a:lnTo>
                  <a:lnTo>
                    <a:pt x="46" y="8"/>
                  </a:lnTo>
                  <a:lnTo>
                    <a:pt x="42" y="8"/>
                  </a:lnTo>
                  <a:lnTo>
                    <a:pt x="42" y="8"/>
                  </a:lnTo>
                  <a:lnTo>
                    <a:pt x="46" y="8"/>
                  </a:lnTo>
                  <a:lnTo>
                    <a:pt x="46" y="8"/>
                  </a:lnTo>
                  <a:lnTo>
                    <a:pt x="46" y="8"/>
                  </a:lnTo>
                  <a:lnTo>
                    <a:pt x="46" y="8"/>
                  </a:lnTo>
                  <a:lnTo>
                    <a:pt x="46" y="8"/>
                  </a:lnTo>
                  <a:lnTo>
                    <a:pt x="46" y="8"/>
                  </a:lnTo>
                  <a:lnTo>
                    <a:pt x="46" y="8"/>
                  </a:lnTo>
                  <a:lnTo>
                    <a:pt x="42" y="8"/>
                  </a:lnTo>
                  <a:lnTo>
                    <a:pt x="42" y="8"/>
                  </a:lnTo>
                  <a:lnTo>
                    <a:pt x="42" y="12"/>
                  </a:lnTo>
                  <a:lnTo>
                    <a:pt x="42" y="12"/>
                  </a:lnTo>
                  <a:lnTo>
                    <a:pt x="42" y="12"/>
                  </a:lnTo>
                  <a:lnTo>
                    <a:pt x="42" y="12"/>
                  </a:lnTo>
                  <a:lnTo>
                    <a:pt x="42" y="12"/>
                  </a:lnTo>
                  <a:lnTo>
                    <a:pt x="42" y="12"/>
                  </a:lnTo>
                  <a:lnTo>
                    <a:pt x="42" y="12"/>
                  </a:lnTo>
                  <a:lnTo>
                    <a:pt x="42" y="12"/>
                  </a:lnTo>
                  <a:lnTo>
                    <a:pt x="42" y="12"/>
                  </a:lnTo>
                  <a:lnTo>
                    <a:pt x="42" y="16"/>
                  </a:lnTo>
                  <a:lnTo>
                    <a:pt x="42" y="16"/>
                  </a:lnTo>
                  <a:lnTo>
                    <a:pt x="42" y="16"/>
                  </a:lnTo>
                  <a:lnTo>
                    <a:pt x="42" y="16"/>
                  </a:lnTo>
                  <a:lnTo>
                    <a:pt x="42" y="16"/>
                  </a:lnTo>
                  <a:lnTo>
                    <a:pt x="46" y="16"/>
                  </a:lnTo>
                  <a:lnTo>
                    <a:pt x="46" y="16"/>
                  </a:lnTo>
                  <a:lnTo>
                    <a:pt x="46" y="16"/>
                  </a:lnTo>
                  <a:lnTo>
                    <a:pt x="46" y="16"/>
                  </a:lnTo>
                  <a:lnTo>
                    <a:pt x="46" y="16"/>
                  </a:lnTo>
                  <a:lnTo>
                    <a:pt x="46" y="16"/>
                  </a:lnTo>
                  <a:lnTo>
                    <a:pt x="46" y="16"/>
                  </a:lnTo>
                  <a:lnTo>
                    <a:pt x="42" y="16"/>
                  </a:lnTo>
                  <a:lnTo>
                    <a:pt x="42" y="16"/>
                  </a:lnTo>
                  <a:lnTo>
                    <a:pt x="42" y="16"/>
                  </a:lnTo>
                  <a:lnTo>
                    <a:pt x="42" y="16"/>
                  </a:lnTo>
                  <a:lnTo>
                    <a:pt x="42" y="16"/>
                  </a:lnTo>
                  <a:lnTo>
                    <a:pt x="42" y="16"/>
                  </a:lnTo>
                  <a:lnTo>
                    <a:pt x="42" y="16"/>
                  </a:lnTo>
                  <a:lnTo>
                    <a:pt x="42" y="16"/>
                  </a:lnTo>
                  <a:lnTo>
                    <a:pt x="38" y="16"/>
                  </a:lnTo>
                  <a:lnTo>
                    <a:pt x="38" y="16"/>
                  </a:lnTo>
                  <a:lnTo>
                    <a:pt x="38" y="20"/>
                  </a:lnTo>
                  <a:lnTo>
                    <a:pt x="38" y="20"/>
                  </a:lnTo>
                  <a:lnTo>
                    <a:pt x="38" y="20"/>
                  </a:lnTo>
                  <a:lnTo>
                    <a:pt x="38" y="20"/>
                  </a:lnTo>
                  <a:lnTo>
                    <a:pt x="38" y="20"/>
                  </a:lnTo>
                  <a:lnTo>
                    <a:pt x="38" y="20"/>
                  </a:lnTo>
                  <a:lnTo>
                    <a:pt x="38" y="20"/>
                  </a:lnTo>
                  <a:lnTo>
                    <a:pt x="38" y="24"/>
                  </a:lnTo>
                  <a:lnTo>
                    <a:pt x="38" y="24"/>
                  </a:lnTo>
                  <a:lnTo>
                    <a:pt x="38" y="24"/>
                  </a:lnTo>
                  <a:lnTo>
                    <a:pt x="38" y="24"/>
                  </a:lnTo>
                  <a:lnTo>
                    <a:pt x="38" y="24"/>
                  </a:lnTo>
                  <a:lnTo>
                    <a:pt x="38" y="24"/>
                  </a:lnTo>
                  <a:lnTo>
                    <a:pt x="34" y="28"/>
                  </a:lnTo>
                  <a:lnTo>
                    <a:pt x="34" y="28"/>
                  </a:lnTo>
                  <a:lnTo>
                    <a:pt x="34" y="28"/>
                  </a:lnTo>
                  <a:lnTo>
                    <a:pt x="34" y="28"/>
                  </a:lnTo>
                  <a:lnTo>
                    <a:pt x="34" y="28"/>
                  </a:lnTo>
                  <a:lnTo>
                    <a:pt x="34" y="28"/>
                  </a:lnTo>
                  <a:lnTo>
                    <a:pt x="34" y="28"/>
                  </a:lnTo>
                  <a:lnTo>
                    <a:pt x="34" y="28"/>
                  </a:lnTo>
                  <a:lnTo>
                    <a:pt x="34" y="28"/>
                  </a:lnTo>
                  <a:lnTo>
                    <a:pt x="34" y="28"/>
                  </a:lnTo>
                  <a:lnTo>
                    <a:pt x="38" y="28"/>
                  </a:lnTo>
                  <a:lnTo>
                    <a:pt x="38" y="24"/>
                  </a:lnTo>
                  <a:lnTo>
                    <a:pt x="38" y="24"/>
                  </a:lnTo>
                  <a:lnTo>
                    <a:pt x="38" y="24"/>
                  </a:lnTo>
                  <a:lnTo>
                    <a:pt x="38" y="24"/>
                  </a:lnTo>
                  <a:lnTo>
                    <a:pt x="38" y="24"/>
                  </a:lnTo>
                  <a:lnTo>
                    <a:pt x="38" y="24"/>
                  </a:lnTo>
                  <a:lnTo>
                    <a:pt x="34" y="24"/>
                  </a:lnTo>
                  <a:lnTo>
                    <a:pt x="34" y="24"/>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8"/>
                  </a:lnTo>
                  <a:lnTo>
                    <a:pt x="34" y="24"/>
                  </a:lnTo>
                  <a:lnTo>
                    <a:pt x="34" y="24"/>
                  </a:lnTo>
                  <a:lnTo>
                    <a:pt x="34" y="24"/>
                  </a:lnTo>
                  <a:lnTo>
                    <a:pt x="34" y="24"/>
                  </a:lnTo>
                  <a:lnTo>
                    <a:pt x="34" y="24"/>
                  </a:lnTo>
                  <a:lnTo>
                    <a:pt x="34" y="20"/>
                  </a:lnTo>
                  <a:lnTo>
                    <a:pt x="34" y="20"/>
                  </a:lnTo>
                  <a:lnTo>
                    <a:pt x="34" y="20"/>
                  </a:lnTo>
                  <a:lnTo>
                    <a:pt x="34" y="20"/>
                  </a:lnTo>
                  <a:lnTo>
                    <a:pt x="34" y="20"/>
                  </a:lnTo>
                  <a:lnTo>
                    <a:pt x="34" y="20"/>
                  </a:lnTo>
                  <a:lnTo>
                    <a:pt x="34" y="20"/>
                  </a:lnTo>
                  <a:lnTo>
                    <a:pt x="34" y="20"/>
                  </a:lnTo>
                  <a:lnTo>
                    <a:pt x="34" y="20"/>
                  </a:lnTo>
                  <a:lnTo>
                    <a:pt x="34" y="20"/>
                  </a:lnTo>
                  <a:lnTo>
                    <a:pt x="34" y="24"/>
                  </a:lnTo>
                  <a:lnTo>
                    <a:pt x="34" y="24"/>
                  </a:lnTo>
                  <a:lnTo>
                    <a:pt x="34" y="24"/>
                  </a:lnTo>
                  <a:lnTo>
                    <a:pt x="30" y="24"/>
                  </a:lnTo>
                  <a:lnTo>
                    <a:pt x="30" y="24"/>
                  </a:lnTo>
                  <a:lnTo>
                    <a:pt x="30" y="24"/>
                  </a:lnTo>
                  <a:lnTo>
                    <a:pt x="30" y="24"/>
                  </a:lnTo>
                  <a:lnTo>
                    <a:pt x="30" y="24"/>
                  </a:lnTo>
                  <a:lnTo>
                    <a:pt x="30" y="24"/>
                  </a:lnTo>
                  <a:lnTo>
                    <a:pt x="30" y="24"/>
                  </a:lnTo>
                  <a:lnTo>
                    <a:pt x="30" y="24"/>
                  </a:lnTo>
                  <a:lnTo>
                    <a:pt x="30" y="24"/>
                  </a:lnTo>
                  <a:lnTo>
                    <a:pt x="26" y="24"/>
                  </a:lnTo>
                  <a:lnTo>
                    <a:pt x="26" y="28"/>
                  </a:lnTo>
                  <a:lnTo>
                    <a:pt x="26" y="28"/>
                  </a:lnTo>
                  <a:lnTo>
                    <a:pt x="26" y="28"/>
                  </a:lnTo>
                  <a:lnTo>
                    <a:pt x="26" y="28"/>
                  </a:lnTo>
                  <a:lnTo>
                    <a:pt x="26" y="28"/>
                  </a:lnTo>
                  <a:lnTo>
                    <a:pt x="26" y="28"/>
                  </a:lnTo>
                  <a:lnTo>
                    <a:pt x="26" y="28"/>
                  </a:lnTo>
                  <a:lnTo>
                    <a:pt x="26" y="28"/>
                  </a:lnTo>
                  <a:lnTo>
                    <a:pt x="26" y="28"/>
                  </a:lnTo>
                  <a:lnTo>
                    <a:pt x="26" y="30"/>
                  </a:lnTo>
                  <a:lnTo>
                    <a:pt x="26" y="30"/>
                  </a:lnTo>
                  <a:lnTo>
                    <a:pt x="26" y="30"/>
                  </a:lnTo>
                  <a:lnTo>
                    <a:pt x="26" y="30"/>
                  </a:lnTo>
                  <a:lnTo>
                    <a:pt x="26" y="30"/>
                  </a:lnTo>
                  <a:lnTo>
                    <a:pt x="26" y="30"/>
                  </a:lnTo>
                  <a:lnTo>
                    <a:pt x="26" y="34"/>
                  </a:lnTo>
                  <a:lnTo>
                    <a:pt x="26" y="34"/>
                  </a:lnTo>
                  <a:lnTo>
                    <a:pt x="26" y="34"/>
                  </a:lnTo>
                  <a:lnTo>
                    <a:pt x="26" y="38"/>
                  </a:lnTo>
                  <a:lnTo>
                    <a:pt x="24" y="38"/>
                  </a:lnTo>
                  <a:lnTo>
                    <a:pt x="24" y="42"/>
                  </a:lnTo>
                  <a:lnTo>
                    <a:pt x="24" y="42"/>
                  </a:lnTo>
                  <a:lnTo>
                    <a:pt x="24" y="42"/>
                  </a:lnTo>
                  <a:lnTo>
                    <a:pt x="24" y="42"/>
                  </a:lnTo>
                  <a:lnTo>
                    <a:pt x="24" y="42"/>
                  </a:lnTo>
                  <a:lnTo>
                    <a:pt x="24" y="42"/>
                  </a:lnTo>
                  <a:lnTo>
                    <a:pt x="24" y="42"/>
                  </a:lnTo>
                  <a:lnTo>
                    <a:pt x="24" y="46"/>
                  </a:lnTo>
                  <a:lnTo>
                    <a:pt x="24" y="46"/>
                  </a:lnTo>
                  <a:lnTo>
                    <a:pt x="24" y="50"/>
                  </a:lnTo>
                  <a:lnTo>
                    <a:pt x="24" y="50"/>
                  </a:lnTo>
                  <a:lnTo>
                    <a:pt x="24" y="50"/>
                  </a:lnTo>
                  <a:lnTo>
                    <a:pt x="24" y="50"/>
                  </a:lnTo>
                  <a:lnTo>
                    <a:pt x="24" y="50"/>
                  </a:lnTo>
                  <a:lnTo>
                    <a:pt x="24" y="50"/>
                  </a:lnTo>
                  <a:lnTo>
                    <a:pt x="24" y="50"/>
                  </a:lnTo>
                  <a:lnTo>
                    <a:pt x="24" y="50"/>
                  </a:lnTo>
                  <a:lnTo>
                    <a:pt x="24" y="50"/>
                  </a:lnTo>
                  <a:lnTo>
                    <a:pt x="24" y="50"/>
                  </a:lnTo>
                  <a:lnTo>
                    <a:pt x="24" y="54"/>
                  </a:lnTo>
                  <a:lnTo>
                    <a:pt x="24" y="58"/>
                  </a:lnTo>
                  <a:lnTo>
                    <a:pt x="24" y="58"/>
                  </a:lnTo>
                  <a:lnTo>
                    <a:pt x="24" y="58"/>
                  </a:lnTo>
                  <a:lnTo>
                    <a:pt x="24" y="62"/>
                  </a:lnTo>
                  <a:lnTo>
                    <a:pt x="26" y="64"/>
                  </a:lnTo>
                  <a:lnTo>
                    <a:pt x="26" y="64"/>
                  </a:lnTo>
                  <a:lnTo>
                    <a:pt x="26" y="68"/>
                  </a:lnTo>
                  <a:lnTo>
                    <a:pt x="26" y="68"/>
                  </a:lnTo>
                  <a:lnTo>
                    <a:pt x="26" y="68"/>
                  </a:lnTo>
                  <a:lnTo>
                    <a:pt x="26" y="72"/>
                  </a:lnTo>
                  <a:lnTo>
                    <a:pt x="26" y="72"/>
                  </a:lnTo>
                  <a:lnTo>
                    <a:pt x="26" y="72"/>
                  </a:lnTo>
                  <a:lnTo>
                    <a:pt x="26" y="76"/>
                  </a:lnTo>
                  <a:lnTo>
                    <a:pt x="26" y="76"/>
                  </a:lnTo>
                  <a:lnTo>
                    <a:pt x="24" y="76"/>
                  </a:lnTo>
                  <a:lnTo>
                    <a:pt x="24" y="76"/>
                  </a:lnTo>
                  <a:lnTo>
                    <a:pt x="24" y="78"/>
                  </a:lnTo>
                  <a:lnTo>
                    <a:pt x="24" y="78"/>
                  </a:lnTo>
                  <a:lnTo>
                    <a:pt x="24" y="82"/>
                  </a:lnTo>
                  <a:lnTo>
                    <a:pt x="24" y="82"/>
                  </a:lnTo>
                  <a:lnTo>
                    <a:pt x="20" y="82"/>
                  </a:lnTo>
                  <a:lnTo>
                    <a:pt x="20" y="82"/>
                  </a:lnTo>
                  <a:lnTo>
                    <a:pt x="20" y="82"/>
                  </a:lnTo>
                  <a:lnTo>
                    <a:pt x="20" y="86"/>
                  </a:lnTo>
                  <a:lnTo>
                    <a:pt x="20" y="86"/>
                  </a:lnTo>
                  <a:lnTo>
                    <a:pt x="20" y="86"/>
                  </a:lnTo>
                  <a:lnTo>
                    <a:pt x="20" y="86"/>
                  </a:lnTo>
                  <a:lnTo>
                    <a:pt x="16" y="90"/>
                  </a:lnTo>
                  <a:lnTo>
                    <a:pt x="16" y="90"/>
                  </a:lnTo>
                  <a:lnTo>
                    <a:pt x="12" y="90"/>
                  </a:lnTo>
                  <a:lnTo>
                    <a:pt x="12" y="90"/>
                  </a:lnTo>
                  <a:lnTo>
                    <a:pt x="12" y="90"/>
                  </a:lnTo>
                  <a:lnTo>
                    <a:pt x="12" y="90"/>
                  </a:lnTo>
                  <a:lnTo>
                    <a:pt x="12" y="90"/>
                  </a:lnTo>
                  <a:lnTo>
                    <a:pt x="8" y="90"/>
                  </a:lnTo>
                  <a:lnTo>
                    <a:pt x="8" y="90"/>
                  </a:lnTo>
                  <a:lnTo>
                    <a:pt x="8" y="90"/>
                  </a:lnTo>
                  <a:lnTo>
                    <a:pt x="8" y="90"/>
                  </a:lnTo>
                  <a:lnTo>
                    <a:pt x="8" y="86"/>
                  </a:lnTo>
                  <a:lnTo>
                    <a:pt x="8" y="86"/>
                  </a:lnTo>
                  <a:lnTo>
                    <a:pt x="8" y="86"/>
                  </a:lnTo>
                  <a:lnTo>
                    <a:pt x="4" y="82"/>
                  </a:lnTo>
                  <a:lnTo>
                    <a:pt x="4" y="82"/>
                  </a:lnTo>
                  <a:lnTo>
                    <a:pt x="4" y="82"/>
                  </a:lnTo>
                  <a:lnTo>
                    <a:pt x="4" y="82"/>
                  </a:lnTo>
                  <a:lnTo>
                    <a:pt x="4" y="82"/>
                  </a:lnTo>
                  <a:lnTo>
                    <a:pt x="4" y="82"/>
                  </a:lnTo>
                  <a:lnTo>
                    <a:pt x="4" y="78"/>
                  </a:lnTo>
                  <a:lnTo>
                    <a:pt x="4" y="78"/>
                  </a:lnTo>
                  <a:lnTo>
                    <a:pt x="4" y="78"/>
                  </a:lnTo>
                  <a:lnTo>
                    <a:pt x="4" y="76"/>
                  </a:lnTo>
                  <a:lnTo>
                    <a:pt x="4" y="76"/>
                  </a:lnTo>
                  <a:lnTo>
                    <a:pt x="4" y="76"/>
                  </a:lnTo>
                  <a:lnTo>
                    <a:pt x="4" y="76"/>
                  </a:lnTo>
                  <a:lnTo>
                    <a:pt x="4" y="76"/>
                  </a:lnTo>
                  <a:lnTo>
                    <a:pt x="4" y="76"/>
                  </a:lnTo>
                  <a:lnTo>
                    <a:pt x="4" y="72"/>
                  </a:lnTo>
                  <a:lnTo>
                    <a:pt x="4" y="72"/>
                  </a:lnTo>
                  <a:lnTo>
                    <a:pt x="4" y="72"/>
                  </a:lnTo>
                  <a:lnTo>
                    <a:pt x="4" y="72"/>
                  </a:lnTo>
                  <a:lnTo>
                    <a:pt x="4" y="72"/>
                  </a:lnTo>
                  <a:lnTo>
                    <a:pt x="4" y="68"/>
                  </a:lnTo>
                  <a:lnTo>
                    <a:pt x="4" y="68"/>
                  </a:lnTo>
                  <a:lnTo>
                    <a:pt x="4" y="68"/>
                  </a:lnTo>
                  <a:lnTo>
                    <a:pt x="4" y="68"/>
                  </a:lnTo>
                  <a:lnTo>
                    <a:pt x="4" y="68"/>
                  </a:lnTo>
                  <a:lnTo>
                    <a:pt x="4" y="68"/>
                  </a:lnTo>
                  <a:lnTo>
                    <a:pt x="4" y="64"/>
                  </a:lnTo>
                  <a:lnTo>
                    <a:pt x="4" y="62"/>
                  </a:lnTo>
                  <a:lnTo>
                    <a:pt x="4" y="62"/>
                  </a:lnTo>
                  <a:lnTo>
                    <a:pt x="4" y="62"/>
                  </a:lnTo>
                  <a:lnTo>
                    <a:pt x="0" y="62"/>
                  </a:lnTo>
                  <a:lnTo>
                    <a:pt x="0" y="62"/>
                  </a:lnTo>
                  <a:lnTo>
                    <a:pt x="0" y="62"/>
                  </a:lnTo>
                  <a:lnTo>
                    <a:pt x="0" y="58"/>
                  </a:lnTo>
                  <a:lnTo>
                    <a:pt x="0" y="58"/>
                  </a:lnTo>
                  <a:lnTo>
                    <a:pt x="4" y="58"/>
                  </a:lnTo>
                  <a:lnTo>
                    <a:pt x="4" y="58"/>
                  </a:lnTo>
                  <a:lnTo>
                    <a:pt x="4" y="58"/>
                  </a:lnTo>
                  <a:lnTo>
                    <a:pt x="4" y="58"/>
                  </a:lnTo>
                  <a:lnTo>
                    <a:pt x="4" y="54"/>
                  </a:lnTo>
                  <a:lnTo>
                    <a:pt x="4" y="54"/>
                  </a:lnTo>
                  <a:lnTo>
                    <a:pt x="4" y="54"/>
                  </a:lnTo>
                  <a:lnTo>
                    <a:pt x="4" y="54"/>
                  </a:lnTo>
                  <a:lnTo>
                    <a:pt x="4" y="54"/>
                  </a:lnTo>
                  <a:lnTo>
                    <a:pt x="4" y="54"/>
                  </a:lnTo>
                  <a:lnTo>
                    <a:pt x="4" y="54"/>
                  </a:lnTo>
                  <a:lnTo>
                    <a:pt x="4" y="54"/>
                  </a:lnTo>
                  <a:lnTo>
                    <a:pt x="4" y="50"/>
                  </a:lnTo>
                  <a:lnTo>
                    <a:pt x="4" y="50"/>
                  </a:lnTo>
                  <a:lnTo>
                    <a:pt x="4" y="50"/>
                  </a:lnTo>
                  <a:lnTo>
                    <a:pt x="4" y="50"/>
                  </a:lnTo>
                  <a:lnTo>
                    <a:pt x="4" y="46"/>
                  </a:lnTo>
                  <a:lnTo>
                    <a:pt x="4" y="46"/>
                  </a:lnTo>
                  <a:lnTo>
                    <a:pt x="4" y="46"/>
                  </a:lnTo>
                  <a:lnTo>
                    <a:pt x="4" y="46"/>
                  </a:lnTo>
                  <a:lnTo>
                    <a:pt x="4" y="42"/>
                  </a:lnTo>
                  <a:lnTo>
                    <a:pt x="4" y="42"/>
                  </a:lnTo>
                  <a:lnTo>
                    <a:pt x="4" y="42"/>
                  </a:lnTo>
                  <a:lnTo>
                    <a:pt x="4" y="42"/>
                  </a:lnTo>
                  <a:lnTo>
                    <a:pt x="8" y="42"/>
                  </a:lnTo>
                  <a:lnTo>
                    <a:pt x="8" y="42"/>
                  </a:lnTo>
                  <a:lnTo>
                    <a:pt x="8" y="42"/>
                  </a:lnTo>
                  <a:lnTo>
                    <a:pt x="8" y="42"/>
                  </a:lnTo>
                  <a:lnTo>
                    <a:pt x="8" y="38"/>
                  </a:lnTo>
                  <a:lnTo>
                    <a:pt x="8" y="38"/>
                  </a:lnTo>
                  <a:lnTo>
                    <a:pt x="8" y="38"/>
                  </a:lnTo>
                  <a:lnTo>
                    <a:pt x="8" y="38"/>
                  </a:lnTo>
                  <a:lnTo>
                    <a:pt x="8" y="38"/>
                  </a:lnTo>
                  <a:lnTo>
                    <a:pt x="8" y="38"/>
                  </a:lnTo>
                  <a:lnTo>
                    <a:pt x="8" y="38"/>
                  </a:lnTo>
                  <a:lnTo>
                    <a:pt x="8" y="38"/>
                  </a:lnTo>
                  <a:lnTo>
                    <a:pt x="8" y="38"/>
                  </a:lnTo>
                  <a:lnTo>
                    <a:pt x="8" y="38"/>
                  </a:lnTo>
                  <a:lnTo>
                    <a:pt x="8" y="38"/>
                  </a:lnTo>
                  <a:lnTo>
                    <a:pt x="8" y="34"/>
                  </a:lnTo>
                  <a:lnTo>
                    <a:pt x="8" y="34"/>
                  </a:lnTo>
                  <a:lnTo>
                    <a:pt x="8" y="34"/>
                  </a:lnTo>
                  <a:lnTo>
                    <a:pt x="8" y="34"/>
                  </a:lnTo>
                  <a:lnTo>
                    <a:pt x="8" y="34"/>
                  </a:lnTo>
                  <a:lnTo>
                    <a:pt x="8" y="30"/>
                  </a:lnTo>
                  <a:lnTo>
                    <a:pt x="8" y="30"/>
                  </a:lnTo>
                  <a:lnTo>
                    <a:pt x="8" y="30"/>
                  </a:lnTo>
                  <a:lnTo>
                    <a:pt x="8" y="30"/>
                  </a:lnTo>
                  <a:lnTo>
                    <a:pt x="8" y="30"/>
                  </a:lnTo>
                  <a:lnTo>
                    <a:pt x="8" y="30"/>
                  </a:lnTo>
                  <a:lnTo>
                    <a:pt x="12" y="28"/>
                  </a:lnTo>
                  <a:lnTo>
                    <a:pt x="12" y="28"/>
                  </a:lnTo>
                  <a:lnTo>
                    <a:pt x="12" y="28"/>
                  </a:lnTo>
                  <a:lnTo>
                    <a:pt x="8" y="28"/>
                  </a:lnTo>
                  <a:lnTo>
                    <a:pt x="8" y="28"/>
                  </a:lnTo>
                  <a:lnTo>
                    <a:pt x="8" y="28"/>
                  </a:lnTo>
                  <a:lnTo>
                    <a:pt x="4" y="28"/>
                  </a:lnTo>
                  <a:lnTo>
                    <a:pt x="4" y="28"/>
                  </a:lnTo>
                  <a:lnTo>
                    <a:pt x="4" y="28"/>
                  </a:lnTo>
                  <a:lnTo>
                    <a:pt x="4" y="28"/>
                  </a:lnTo>
                  <a:lnTo>
                    <a:pt x="4" y="30"/>
                  </a:lnTo>
                  <a:lnTo>
                    <a:pt x="4" y="30"/>
                  </a:lnTo>
                  <a:lnTo>
                    <a:pt x="4" y="30"/>
                  </a:lnTo>
                  <a:lnTo>
                    <a:pt x="0" y="34"/>
                  </a:lnTo>
                  <a:lnTo>
                    <a:pt x="0" y="34"/>
                  </a:lnTo>
                  <a:lnTo>
                    <a:pt x="0" y="34"/>
                  </a:lnTo>
                  <a:lnTo>
                    <a:pt x="0" y="34"/>
                  </a:lnTo>
                  <a:lnTo>
                    <a:pt x="0" y="34"/>
                  </a:lnTo>
                  <a:lnTo>
                    <a:pt x="0" y="30"/>
                  </a:lnTo>
                  <a:lnTo>
                    <a:pt x="0" y="30"/>
                  </a:lnTo>
                  <a:lnTo>
                    <a:pt x="0" y="30"/>
                  </a:lnTo>
                  <a:lnTo>
                    <a:pt x="0" y="28"/>
                  </a:lnTo>
                  <a:lnTo>
                    <a:pt x="4" y="28"/>
                  </a:lnTo>
                  <a:lnTo>
                    <a:pt x="4" y="24"/>
                  </a:lnTo>
                  <a:lnTo>
                    <a:pt x="4" y="24"/>
                  </a:lnTo>
                  <a:lnTo>
                    <a:pt x="4" y="24"/>
                  </a:lnTo>
                  <a:lnTo>
                    <a:pt x="4" y="24"/>
                  </a:lnTo>
                  <a:lnTo>
                    <a:pt x="4" y="24"/>
                  </a:lnTo>
                  <a:lnTo>
                    <a:pt x="4" y="24"/>
                  </a:lnTo>
                  <a:lnTo>
                    <a:pt x="4" y="24"/>
                  </a:lnTo>
                  <a:lnTo>
                    <a:pt x="4" y="24"/>
                  </a:lnTo>
                  <a:lnTo>
                    <a:pt x="4" y="24"/>
                  </a:lnTo>
                  <a:lnTo>
                    <a:pt x="8" y="20"/>
                  </a:lnTo>
                  <a:lnTo>
                    <a:pt x="8" y="20"/>
                  </a:lnTo>
                  <a:lnTo>
                    <a:pt x="8" y="20"/>
                  </a:lnTo>
                  <a:lnTo>
                    <a:pt x="8" y="20"/>
                  </a:lnTo>
                  <a:lnTo>
                    <a:pt x="8" y="20"/>
                  </a:lnTo>
                  <a:lnTo>
                    <a:pt x="8" y="20"/>
                  </a:lnTo>
                  <a:lnTo>
                    <a:pt x="8" y="16"/>
                  </a:lnTo>
                  <a:lnTo>
                    <a:pt x="12" y="16"/>
                  </a:lnTo>
                  <a:lnTo>
                    <a:pt x="12" y="16"/>
                  </a:lnTo>
                  <a:lnTo>
                    <a:pt x="12" y="8"/>
                  </a:lnTo>
                  <a:lnTo>
                    <a:pt x="16" y="4"/>
                  </a:lnTo>
                  <a:lnTo>
                    <a:pt x="16" y="4"/>
                  </a:lnTo>
                  <a:lnTo>
                    <a:pt x="16" y="4"/>
                  </a:lnTo>
                  <a:lnTo>
                    <a:pt x="16" y="4"/>
                  </a:lnTo>
                  <a:lnTo>
                    <a:pt x="16" y="4"/>
                  </a:lnTo>
                  <a:lnTo>
                    <a:pt x="16" y="4"/>
                  </a:lnTo>
                  <a:lnTo>
                    <a:pt x="16" y="4"/>
                  </a:lnTo>
                  <a:lnTo>
                    <a:pt x="16" y="4"/>
                  </a:lnTo>
                  <a:lnTo>
                    <a:pt x="16" y="4"/>
                  </a:lnTo>
                  <a:lnTo>
                    <a:pt x="16" y="8"/>
                  </a:lnTo>
                  <a:lnTo>
                    <a:pt x="16" y="8"/>
                  </a:lnTo>
                  <a:lnTo>
                    <a:pt x="16" y="8"/>
                  </a:lnTo>
                  <a:lnTo>
                    <a:pt x="16" y="8"/>
                  </a:lnTo>
                  <a:lnTo>
                    <a:pt x="16" y="8"/>
                  </a:lnTo>
                  <a:lnTo>
                    <a:pt x="16" y="8"/>
                  </a:lnTo>
                  <a:lnTo>
                    <a:pt x="16" y="8"/>
                  </a:lnTo>
                  <a:lnTo>
                    <a:pt x="16" y="8"/>
                  </a:lnTo>
                  <a:lnTo>
                    <a:pt x="20" y="8"/>
                  </a:lnTo>
                  <a:lnTo>
                    <a:pt x="20" y="4"/>
                  </a:lnTo>
                  <a:lnTo>
                    <a:pt x="20" y="4"/>
                  </a:lnTo>
                  <a:lnTo>
                    <a:pt x="20" y="4"/>
                  </a:lnTo>
                  <a:lnTo>
                    <a:pt x="24" y="4"/>
                  </a:lnTo>
                  <a:lnTo>
                    <a:pt x="24" y="4"/>
                  </a:lnTo>
                  <a:lnTo>
                    <a:pt x="24" y="4"/>
                  </a:lnTo>
                  <a:lnTo>
                    <a:pt x="24" y="8"/>
                  </a:lnTo>
                  <a:lnTo>
                    <a:pt x="24" y="8"/>
                  </a:lnTo>
                  <a:lnTo>
                    <a:pt x="20" y="8"/>
                  </a:lnTo>
                  <a:lnTo>
                    <a:pt x="20" y="8"/>
                  </a:lnTo>
                  <a:lnTo>
                    <a:pt x="20" y="8"/>
                  </a:lnTo>
                  <a:lnTo>
                    <a:pt x="20" y="8"/>
                  </a:lnTo>
                  <a:lnTo>
                    <a:pt x="20" y="8"/>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12"/>
                  </a:lnTo>
                  <a:lnTo>
                    <a:pt x="20" y="8"/>
                  </a:lnTo>
                  <a:lnTo>
                    <a:pt x="20" y="8"/>
                  </a:lnTo>
                  <a:lnTo>
                    <a:pt x="20" y="8"/>
                  </a:lnTo>
                  <a:lnTo>
                    <a:pt x="24" y="8"/>
                  </a:lnTo>
                  <a:lnTo>
                    <a:pt x="24" y="8"/>
                  </a:lnTo>
                  <a:lnTo>
                    <a:pt x="24" y="8"/>
                  </a:lnTo>
                  <a:lnTo>
                    <a:pt x="24" y="8"/>
                  </a:lnTo>
                  <a:lnTo>
                    <a:pt x="24" y="8"/>
                  </a:lnTo>
                  <a:lnTo>
                    <a:pt x="24" y="4"/>
                  </a:lnTo>
                  <a:lnTo>
                    <a:pt x="24" y="4"/>
                  </a:lnTo>
                  <a:lnTo>
                    <a:pt x="24" y="4"/>
                  </a:lnTo>
                  <a:lnTo>
                    <a:pt x="26" y="4"/>
                  </a:lnTo>
                  <a:lnTo>
                    <a:pt x="26" y="4"/>
                  </a:lnTo>
                  <a:lnTo>
                    <a:pt x="26" y="4"/>
                  </a:lnTo>
                  <a:lnTo>
                    <a:pt x="26" y="4"/>
                  </a:lnTo>
                  <a:lnTo>
                    <a:pt x="26" y="4"/>
                  </a:lnTo>
                  <a:lnTo>
                    <a:pt x="30" y="4"/>
                  </a:lnTo>
                  <a:lnTo>
                    <a:pt x="34" y="4"/>
                  </a:lnTo>
                  <a:lnTo>
                    <a:pt x="34" y="4"/>
                  </a:lnTo>
                  <a:lnTo>
                    <a:pt x="34" y="4"/>
                  </a:lnTo>
                  <a:lnTo>
                    <a:pt x="34" y="4"/>
                  </a:lnTo>
                  <a:lnTo>
                    <a:pt x="34" y="4"/>
                  </a:lnTo>
                  <a:lnTo>
                    <a:pt x="34" y="4"/>
                  </a:lnTo>
                  <a:lnTo>
                    <a:pt x="34" y="4"/>
                  </a:lnTo>
                  <a:lnTo>
                    <a:pt x="34" y="4"/>
                  </a:lnTo>
                  <a:lnTo>
                    <a:pt x="34" y="0"/>
                  </a:lnTo>
                  <a:lnTo>
                    <a:pt x="34" y="0"/>
                  </a:lnTo>
                  <a:lnTo>
                    <a:pt x="34" y="0"/>
                  </a:lnTo>
                  <a:lnTo>
                    <a:pt x="34" y="0"/>
                  </a:lnTo>
                  <a:lnTo>
                    <a:pt x="38" y="0"/>
                  </a:lnTo>
                  <a:lnTo>
                    <a:pt x="38" y="0"/>
                  </a:lnTo>
                  <a:lnTo>
                    <a:pt x="42" y="0"/>
                  </a:lnTo>
                  <a:lnTo>
                    <a:pt x="42" y="0"/>
                  </a:lnTo>
                  <a:lnTo>
                    <a:pt x="42" y="4"/>
                  </a:lnTo>
                  <a:lnTo>
                    <a:pt x="42" y="4"/>
                  </a:lnTo>
                  <a:lnTo>
                    <a:pt x="46" y="4"/>
                  </a:lnTo>
                  <a:lnTo>
                    <a:pt x="46" y="4"/>
                  </a:lnTo>
                  <a:lnTo>
                    <a:pt x="46" y="4"/>
                  </a:lnTo>
                  <a:lnTo>
                    <a:pt x="46" y="4"/>
                  </a:lnTo>
                  <a:lnTo>
                    <a:pt x="46" y="4"/>
                  </a:lnTo>
                  <a:lnTo>
                    <a:pt x="46" y="8"/>
                  </a:lnTo>
                  <a:lnTo>
                    <a:pt x="46" y="8"/>
                  </a:lnTo>
                  <a:lnTo>
                    <a:pt x="46" y="8"/>
                  </a:lnTo>
                  <a:close/>
                  <a:moveTo>
                    <a:pt x="16" y="20"/>
                  </a:moveTo>
                  <a:lnTo>
                    <a:pt x="16" y="20"/>
                  </a:lnTo>
                  <a:lnTo>
                    <a:pt x="16" y="20"/>
                  </a:lnTo>
                  <a:lnTo>
                    <a:pt x="16" y="16"/>
                  </a:lnTo>
                  <a:lnTo>
                    <a:pt x="16" y="16"/>
                  </a:lnTo>
                  <a:lnTo>
                    <a:pt x="16" y="16"/>
                  </a:lnTo>
                  <a:lnTo>
                    <a:pt x="12" y="20"/>
                  </a:lnTo>
                  <a:lnTo>
                    <a:pt x="12" y="20"/>
                  </a:lnTo>
                  <a:lnTo>
                    <a:pt x="12" y="20"/>
                  </a:lnTo>
                  <a:lnTo>
                    <a:pt x="12" y="20"/>
                  </a:lnTo>
                  <a:lnTo>
                    <a:pt x="12" y="20"/>
                  </a:lnTo>
                  <a:lnTo>
                    <a:pt x="12" y="20"/>
                  </a:lnTo>
                  <a:lnTo>
                    <a:pt x="12" y="20"/>
                  </a:lnTo>
                  <a:lnTo>
                    <a:pt x="12" y="20"/>
                  </a:lnTo>
                  <a:lnTo>
                    <a:pt x="12" y="20"/>
                  </a:lnTo>
                  <a:lnTo>
                    <a:pt x="8" y="24"/>
                  </a:lnTo>
                  <a:lnTo>
                    <a:pt x="8" y="24"/>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12" y="24"/>
                  </a:lnTo>
                  <a:lnTo>
                    <a:pt x="16" y="20"/>
                  </a:lnTo>
                  <a:lnTo>
                    <a:pt x="16" y="20"/>
                  </a:lnTo>
                  <a:lnTo>
                    <a:pt x="16" y="20"/>
                  </a:lnTo>
                  <a:lnTo>
                    <a:pt x="16" y="20"/>
                  </a:lnTo>
                  <a:lnTo>
                    <a:pt x="16" y="20"/>
                  </a:lnTo>
                  <a:lnTo>
                    <a:pt x="16" y="20"/>
                  </a:lnTo>
                  <a:lnTo>
                    <a:pt x="16" y="20"/>
                  </a:lnTo>
                  <a:lnTo>
                    <a:pt x="16" y="2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30" name="Freeform 224"/>
            <p:cNvSpPr>
              <a:spLocks/>
            </p:cNvSpPr>
            <p:nvPr/>
          </p:nvSpPr>
          <p:spPr bwMode="auto">
            <a:xfrm>
              <a:off x="6330666" y="3637410"/>
              <a:ext cx="35167" cy="18306"/>
            </a:xfrm>
            <a:custGeom>
              <a:avLst/>
              <a:gdLst>
                <a:gd name="T0" fmla="*/ 8 w 56"/>
                <a:gd name="T1" fmla="*/ 28 h 28"/>
                <a:gd name="T2" fmla="*/ 4 w 56"/>
                <a:gd name="T3" fmla="*/ 24 h 28"/>
                <a:gd name="T4" fmla="*/ 0 w 56"/>
                <a:gd name="T5" fmla="*/ 24 h 28"/>
                <a:gd name="T6" fmla="*/ 4 w 56"/>
                <a:gd name="T7" fmla="*/ 20 h 28"/>
                <a:gd name="T8" fmla="*/ 4 w 56"/>
                <a:gd name="T9" fmla="*/ 20 h 28"/>
                <a:gd name="T10" fmla="*/ 8 w 56"/>
                <a:gd name="T11" fmla="*/ 16 h 28"/>
                <a:gd name="T12" fmla="*/ 12 w 56"/>
                <a:gd name="T13" fmla="*/ 12 h 28"/>
                <a:gd name="T14" fmla="*/ 24 w 56"/>
                <a:gd name="T15" fmla="*/ 12 h 28"/>
                <a:gd name="T16" fmla="*/ 30 w 56"/>
                <a:gd name="T17" fmla="*/ 8 h 28"/>
                <a:gd name="T18" fmla="*/ 34 w 56"/>
                <a:gd name="T19" fmla="*/ 8 h 28"/>
                <a:gd name="T20" fmla="*/ 34 w 56"/>
                <a:gd name="T21" fmla="*/ 12 h 28"/>
                <a:gd name="T22" fmla="*/ 38 w 56"/>
                <a:gd name="T23" fmla="*/ 12 h 28"/>
                <a:gd name="T24" fmla="*/ 38 w 56"/>
                <a:gd name="T25" fmla="*/ 12 h 28"/>
                <a:gd name="T26" fmla="*/ 42 w 56"/>
                <a:gd name="T27" fmla="*/ 12 h 28"/>
                <a:gd name="T28" fmla="*/ 42 w 56"/>
                <a:gd name="T29" fmla="*/ 12 h 28"/>
                <a:gd name="T30" fmla="*/ 42 w 56"/>
                <a:gd name="T31" fmla="*/ 12 h 28"/>
                <a:gd name="T32" fmla="*/ 42 w 56"/>
                <a:gd name="T33" fmla="*/ 12 h 28"/>
                <a:gd name="T34" fmla="*/ 42 w 56"/>
                <a:gd name="T35" fmla="*/ 8 h 28"/>
                <a:gd name="T36" fmla="*/ 42 w 56"/>
                <a:gd name="T37" fmla="*/ 8 h 28"/>
                <a:gd name="T38" fmla="*/ 42 w 56"/>
                <a:gd name="T39" fmla="*/ 8 h 28"/>
                <a:gd name="T40" fmla="*/ 42 w 56"/>
                <a:gd name="T41" fmla="*/ 8 h 28"/>
                <a:gd name="T42" fmla="*/ 42 w 56"/>
                <a:gd name="T43" fmla="*/ 4 h 28"/>
                <a:gd name="T44" fmla="*/ 34 w 56"/>
                <a:gd name="T45" fmla="*/ 8 h 28"/>
                <a:gd name="T46" fmla="*/ 38 w 56"/>
                <a:gd name="T47" fmla="*/ 4 h 28"/>
                <a:gd name="T48" fmla="*/ 42 w 56"/>
                <a:gd name="T49" fmla="*/ 4 h 28"/>
                <a:gd name="T50" fmla="*/ 42 w 56"/>
                <a:gd name="T51" fmla="*/ 8 h 28"/>
                <a:gd name="T52" fmla="*/ 42 w 56"/>
                <a:gd name="T53" fmla="*/ 8 h 28"/>
                <a:gd name="T54" fmla="*/ 42 w 56"/>
                <a:gd name="T55" fmla="*/ 8 h 28"/>
                <a:gd name="T56" fmla="*/ 46 w 56"/>
                <a:gd name="T57" fmla="*/ 4 h 28"/>
                <a:gd name="T58" fmla="*/ 46 w 56"/>
                <a:gd name="T59" fmla="*/ 4 h 28"/>
                <a:gd name="T60" fmla="*/ 52 w 56"/>
                <a:gd name="T61" fmla="*/ 4 h 28"/>
                <a:gd name="T62" fmla="*/ 56 w 56"/>
                <a:gd name="T63" fmla="*/ 0 h 28"/>
                <a:gd name="T64" fmla="*/ 56 w 56"/>
                <a:gd name="T65" fmla="*/ 0 h 28"/>
                <a:gd name="T66" fmla="*/ 56 w 56"/>
                <a:gd name="T67" fmla="*/ 0 h 28"/>
                <a:gd name="T68" fmla="*/ 52 w 56"/>
                <a:gd name="T69" fmla="*/ 4 h 28"/>
                <a:gd name="T70" fmla="*/ 48 w 56"/>
                <a:gd name="T71" fmla="*/ 8 h 28"/>
                <a:gd name="T72" fmla="*/ 48 w 56"/>
                <a:gd name="T73" fmla="*/ 8 h 28"/>
                <a:gd name="T74" fmla="*/ 52 w 56"/>
                <a:gd name="T75" fmla="*/ 8 h 28"/>
                <a:gd name="T76" fmla="*/ 52 w 56"/>
                <a:gd name="T77" fmla="*/ 8 h 28"/>
                <a:gd name="T78" fmla="*/ 52 w 56"/>
                <a:gd name="T79" fmla="*/ 8 h 28"/>
                <a:gd name="T80" fmla="*/ 52 w 56"/>
                <a:gd name="T81" fmla="*/ 12 h 28"/>
                <a:gd name="T82" fmla="*/ 52 w 56"/>
                <a:gd name="T83" fmla="*/ 20 h 28"/>
                <a:gd name="T84" fmla="*/ 48 w 56"/>
                <a:gd name="T85" fmla="*/ 20 h 28"/>
                <a:gd name="T86" fmla="*/ 48 w 56"/>
                <a:gd name="T87" fmla="*/ 20 h 28"/>
                <a:gd name="T88" fmla="*/ 46 w 56"/>
                <a:gd name="T89" fmla="*/ 24 h 28"/>
                <a:gd name="T90" fmla="*/ 38 w 56"/>
                <a:gd name="T91" fmla="*/ 24 h 28"/>
                <a:gd name="T92" fmla="*/ 34 w 56"/>
                <a:gd name="T93" fmla="*/ 24 h 28"/>
                <a:gd name="T94" fmla="*/ 30 w 56"/>
                <a:gd name="T95" fmla="*/ 24 h 28"/>
                <a:gd name="T96" fmla="*/ 26 w 56"/>
                <a:gd name="T97" fmla="*/ 24 h 28"/>
                <a:gd name="T98" fmla="*/ 20 w 56"/>
                <a:gd name="T99" fmla="*/ 24 h 28"/>
                <a:gd name="T100" fmla="*/ 12 w 56"/>
                <a:gd name="T101"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6" h="28">
                  <a:moveTo>
                    <a:pt x="12" y="24"/>
                  </a:moveTo>
                  <a:lnTo>
                    <a:pt x="12" y="24"/>
                  </a:lnTo>
                  <a:lnTo>
                    <a:pt x="12" y="24"/>
                  </a:lnTo>
                  <a:lnTo>
                    <a:pt x="12" y="24"/>
                  </a:lnTo>
                  <a:lnTo>
                    <a:pt x="8" y="28"/>
                  </a:lnTo>
                  <a:lnTo>
                    <a:pt x="8" y="28"/>
                  </a:lnTo>
                  <a:lnTo>
                    <a:pt x="8" y="28"/>
                  </a:lnTo>
                  <a:lnTo>
                    <a:pt x="4" y="28"/>
                  </a:lnTo>
                  <a:lnTo>
                    <a:pt x="4" y="28"/>
                  </a:lnTo>
                  <a:lnTo>
                    <a:pt x="4" y="24"/>
                  </a:lnTo>
                  <a:lnTo>
                    <a:pt x="0" y="24"/>
                  </a:lnTo>
                  <a:lnTo>
                    <a:pt x="0" y="24"/>
                  </a:lnTo>
                  <a:lnTo>
                    <a:pt x="0" y="24"/>
                  </a:lnTo>
                  <a:lnTo>
                    <a:pt x="0" y="24"/>
                  </a:lnTo>
                  <a:lnTo>
                    <a:pt x="0" y="24"/>
                  </a:lnTo>
                  <a:lnTo>
                    <a:pt x="0" y="24"/>
                  </a:lnTo>
                  <a:lnTo>
                    <a:pt x="0" y="24"/>
                  </a:lnTo>
                  <a:lnTo>
                    <a:pt x="0" y="24"/>
                  </a:lnTo>
                  <a:lnTo>
                    <a:pt x="4" y="20"/>
                  </a:lnTo>
                  <a:lnTo>
                    <a:pt x="4" y="20"/>
                  </a:lnTo>
                  <a:lnTo>
                    <a:pt x="4" y="20"/>
                  </a:lnTo>
                  <a:lnTo>
                    <a:pt x="4" y="20"/>
                  </a:lnTo>
                  <a:lnTo>
                    <a:pt x="4" y="20"/>
                  </a:lnTo>
                  <a:lnTo>
                    <a:pt x="4" y="20"/>
                  </a:lnTo>
                  <a:lnTo>
                    <a:pt x="4" y="20"/>
                  </a:lnTo>
                  <a:lnTo>
                    <a:pt x="4" y="20"/>
                  </a:lnTo>
                  <a:lnTo>
                    <a:pt x="4" y="16"/>
                  </a:lnTo>
                  <a:lnTo>
                    <a:pt x="4" y="16"/>
                  </a:lnTo>
                  <a:lnTo>
                    <a:pt x="8" y="16"/>
                  </a:lnTo>
                  <a:lnTo>
                    <a:pt x="8" y="16"/>
                  </a:lnTo>
                  <a:lnTo>
                    <a:pt x="8" y="16"/>
                  </a:lnTo>
                  <a:lnTo>
                    <a:pt x="8" y="16"/>
                  </a:lnTo>
                  <a:lnTo>
                    <a:pt x="8" y="16"/>
                  </a:lnTo>
                  <a:lnTo>
                    <a:pt x="12" y="16"/>
                  </a:lnTo>
                  <a:lnTo>
                    <a:pt x="12" y="12"/>
                  </a:lnTo>
                  <a:lnTo>
                    <a:pt x="12" y="12"/>
                  </a:lnTo>
                  <a:lnTo>
                    <a:pt x="16" y="12"/>
                  </a:lnTo>
                  <a:lnTo>
                    <a:pt x="20" y="12"/>
                  </a:lnTo>
                  <a:lnTo>
                    <a:pt x="24" y="12"/>
                  </a:lnTo>
                  <a:lnTo>
                    <a:pt x="24" y="12"/>
                  </a:lnTo>
                  <a:lnTo>
                    <a:pt x="24" y="12"/>
                  </a:lnTo>
                  <a:lnTo>
                    <a:pt x="26" y="12"/>
                  </a:lnTo>
                  <a:lnTo>
                    <a:pt x="26" y="12"/>
                  </a:lnTo>
                  <a:lnTo>
                    <a:pt x="30" y="8"/>
                  </a:lnTo>
                  <a:lnTo>
                    <a:pt x="30" y="8"/>
                  </a:lnTo>
                  <a:lnTo>
                    <a:pt x="34" y="8"/>
                  </a:lnTo>
                  <a:lnTo>
                    <a:pt x="34" y="8"/>
                  </a:lnTo>
                  <a:lnTo>
                    <a:pt x="34" y="8"/>
                  </a:lnTo>
                  <a:lnTo>
                    <a:pt x="34" y="8"/>
                  </a:lnTo>
                  <a:lnTo>
                    <a:pt x="34" y="8"/>
                  </a:lnTo>
                  <a:lnTo>
                    <a:pt x="34" y="8"/>
                  </a:lnTo>
                  <a:lnTo>
                    <a:pt x="34" y="8"/>
                  </a:lnTo>
                  <a:lnTo>
                    <a:pt x="34" y="8"/>
                  </a:lnTo>
                  <a:lnTo>
                    <a:pt x="34" y="12"/>
                  </a:lnTo>
                  <a:lnTo>
                    <a:pt x="34" y="12"/>
                  </a:lnTo>
                  <a:lnTo>
                    <a:pt x="34" y="12"/>
                  </a:lnTo>
                  <a:lnTo>
                    <a:pt x="34" y="12"/>
                  </a:lnTo>
                  <a:lnTo>
                    <a:pt x="34" y="12"/>
                  </a:lnTo>
                  <a:lnTo>
                    <a:pt x="34" y="12"/>
                  </a:lnTo>
                  <a:lnTo>
                    <a:pt x="38" y="12"/>
                  </a:lnTo>
                  <a:lnTo>
                    <a:pt x="38" y="12"/>
                  </a:lnTo>
                  <a:lnTo>
                    <a:pt x="38" y="12"/>
                  </a:lnTo>
                  <a:lnTo>
                    <a:pt x="38" y="12"/>
                  </a:lnTo>
                  <a:lnTo>
                    <a:pt x="38" y="12"/>
                  </a:lnTo>
                  <a:lnTo>
                    <a:pt x="38" y="12"/>
                  </a:lnTo>
                  <a:lnTo>
                    <a:pt x="38" y="12"/>
                  </a:lnTo>
                  <a:lnTo>
                    <a:pt x="38" y="12"/>
                  </a:lnTo>
                  <a:lnTo>
                    <a:pt x="38" y="12"/>
                  </a:lnTo>
                  <a:lnTo>
                    <a:pt x="38"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12"/>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38" y="8"/>
                  </a:lnTo>
                  <a:lnTo>
                    <a:pt x="38" y="8"/>
                  </a:lnTo>
                  <a:lnTo>
                    <a:pt x="42" y="8"/>
                  </a:lnTo>
                  <a:lnTo>
                    <a:pt x="42" y="4"/>
                  </a:lnTo>
                  <a:lnTo>
                    <a:pt x="42" y="4"/>
                  </a:lnTo>
                  <a:lnTo>
                    <a:pt x="42" y="4"/>
                  </a:lnTo>
                  <a:lnTo>
                    <a:pt x="38" y="8"/>
                  </a:lnTo>
                  <a:lnTo>
                    <a:pt x="38" y="8"/>
                  </a:lnTo>
                  <a:lnTo>
                    <a:pt x="38" y="8"/>
                  </a:lnTo>
                  <a:lnTo>
                    <a:pt x="34" y="8"/>
                  </a:lnTo>
                  <a:lnTo>
                    <a:pt x="34" y="8"/>
                  </a:lnTo>
                  <a:lnTo>
                    <a:pt x="34" y="8"/>
                  </a:lnTo>
                  <a:lnTo>
                    <a:pt x="34" y="8"/>
                  </a:lnTo>
                  <a:lnTo>
                    <a:pt x="34" y="8"/>
                  </a:lnTo>
                  <a:lnTo>
                    <a:pt x="38" y="4"/>
                  </a:lnTo>
                  <a:lnTo>
                    <a:pt x="38" y="4"/>
                  </a:lnTo>
                  <a:lnTo>
                    <a:pt x="42" y="4"/>
                  </a:lnTo>
                  <a:lnTo>
                    <a:pt x="42" y="4"/>
                  </a:lnTo>
                  <a:lnTo>
                    <a:pt x="42" y="4"/>
                  </a:lnTo>
                  <a:lnTo>
                    <a:pt x="42" y="4"/>
                  </a:lnTo>
                  <a:lnTo>
                    <a:pt x="42" y="4"/>
                  </a:lnTo>
                  <a:lnTo>
                    <a:pt x="42" y="4"/>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2" y="8"/>
                  </a:lnTo>
                  <a:lnTo>
                    <a:pt x="46" y="4"/>
                  </a:lnTo>
                  <a:lnTo>
                    <a:pt x="46" y="4"/>
                  </a:lnTo>
                  <a:lnTo>
                    <a:pt x="46" y="4"/>
                  </a:lnTo>
                  <a:lnTo>
                    <a:pt x="46" y="4"/>
                  </a:lnTo>
                  <a:lnTo>
                    <a:pt x="46" y="4"/>
                  </a:lnTo>
                  <a:lnTo>
                    <a:pt x="46" y="4"/>
                  </a:lnTo>
                  <a:lnTo>
                    <a:pt x="48" y="4"/>
                  </a:lnTo>
                  <a:lnTo>
                    <a:pt x="48" y="4"/>
                  </a:lnTo>
                  <a:lnTo>
                    <a:pt x="48" y="4"/>
                  </a:lnTo>
                  <a:lnTo>
                    <a:pt x="48" y="4"/>
                  </a:lnTo>
                  <a:lnTo>
                    <a:pt x="52" y="4"/>
                  </a:lnTo>
                  <a:lnTo>
                    <a:pt x="52"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0"/>
                  </a:lnTo>
                  <a:lnTo>
                    <a:pt x="56" y="4"/>
                  </a:lnTo>
                  <a:lnTo>
                    <a:pt x="52" y="4"/>
                  </a:lnTo>
                  <a:lnTo>
                    <a:pt x="52" y="4"/>
                  </a:lnTo>
                  <a:lnTo>
                    <a:pt x="52" y="4"/>
                  </a:lnTo>
                  <a:lnTo>
                    <a:pt x="52" y="4"/>
                  </a:lnTo>
                  <a:lnTo>
                    <a:pt x="52" y="4"/>
                  </a:lnTo>
                  <a:lnTo>
                    <a:pt x="48" y="8"/>
                  </a:lnTo>
                  <a:lnTo>
                    <a:pt x="48" y="8"/>
                  </a:lnTo>
                  <a:lnTo>
                    <a:pt x="48" y="8"/>
                  </a:lnTo>
                  <a:lnTo>
                    <a:pt x="48" y="8"/>
                  </a:lnTo>
                  <a:lnTo>
                    <a:pt x="48" y="8"/>
                  </a:lnTo>
                  <a:lnTo>
                    <a:pt x="48" y="8"/>
                  </a:lnTo>
                  <a:lnTo>
                    <a:pt x="48" y="8"/>
                  </a:lnTo>
                  <a:lnTo>
                    <a:pt x="52" y="8"/>
                  </a:lnTo>
                  <a:lnTo>
                    <a:pt x="52" y="8"/>
                  </a:lnTo>
                  <a:lnTo>
                    <a:pt x="52" y="8"/>
                  </a:lnTo>
                  <a:lnTo>
                    <a:pt x="52" y="8"/>
                  </a:lnTo>
                  <a:lnTo>
                    <a:pt x="52" y="8"/>
                  </a:lnTo>
                  <a:lnTo>
                    <a:pt x="52" y="8"/>
                  </a:lnTo>
                  <a:lnTo>
                    <a:pt x="52" y="8"/>
                  </a:lnTo>
                  <a:lnTo>
                    <a:pt x="52" y="8"/>
                  </a:lnTo>
                  <a:lnTo>
                    <a:pt x="52" y="8"/>
                  </a:lnTo>
                  <a:lnTo>
                    <a:pt x="52" y="8"/>
                  </a:lnTo>
                  <a:lnTo>
                    <a:pt x="52" y="12"/>
                  </a:lnTo>
                  <a:lnTo>
                    <a:pt x="52" y="12"/>
                  </a:lnTo>
                  <a:lnTo>
                    <a:pt x="52" y="12"/>
                  </a:lnTo>
                  <a:lnTo>
                    <a:pt x="52" y="12"/>
                  </a:lnTo>
                  <a:lnTo>
                    <a:pt x="52" y="8"/>
                  </a:lnTo>
                  <a:lnTo>
                    <a:pt x="52" y="8"/>
                  </a:lnTo>
                  <a:lnTo>
                    <a:pt x="52" y="12"/>
                  </a:lnTo>
                  <a:lnTo>
                    <a:pt x="52" y="12"/>
                  </a:lnTo>
                  <a:lnTo>
                    <a:pt x="52" y="12"/>
                  </a:lnTo>
                  <a:lnTo>
                    <a:pt x="52" y="12"/>
                  </a:lnTo>
                  <a:lnTo>
                    <a:pt x="52" y="12"/>
                  </a:lnTo>
                  <a:lnTo>
                    <a:pt x="52" y="12"/>
                  </a:lnTo>
                  <a:lnTo>
                    <a:pt x="52" y="12"/>
                  </a:lnTo>
                  <a:lnTo>
                    <a:pt x="52" y="16"/>
                  </a:lnTo>
                  <a:lnTo>
                    <a:pt x="52" y="20"/>
                  </a:lnTo>
                  <a:lnTo>
                    <a:pt x="52" y="20"/>
                  </a:lnTo>
                  <a:lnTo>
                    <a:pt x="52" y="20"/>
                  </a:lnTo>
                  <a:lnTo>
                    <a:pt x="52" y="20"/>
                  </a:lnTo>
                  <a:lnTo>
                    <a:pt x="48" y="20"/>
                  </a:lnTo>
                  <a:lnTo>
                    <a:pt x="48" y="20"/>
                  </a:lnTo>
                  <a:lnTo>
                    <a:pt x="48" y="20"/>
                  </a:lnTo>
                  <a:lnTo>
                    <a:pt x="48" y="20"/>
                  </a:lnTo>
                  <a:lnTo>
                    <a:pt x="48" y="20"/>
                  </a:lnTo>
                  <a:lnTo>
                    <a:pt x="48" y="20"/>
                  </a:lnTo>
                  <a:lnTo>
                    <a:pt x="48" y="20"/>
                  </a:lnTo>
                  <a:lnTo>
                    <a:pt x="48" y="20"/>
                  </a:lnTo>
                  <a:lnTo>
                    <a:pt x="46" y="20"/>
                  </a:lnTo>
                  <a:lnTo>
                    <a:pt x="46" y="20"/>
                  </a:lnTo>
                  <a:lnTo>
                    <a:pt x="46" y="24"/>
                  </a:lnTo>
                  <a:lnTo>
                    <a:pt x="46" y="24"/>
                  </a:lnTo>
                  <a:lnTo>
                    <a:pt x="46" y="24"/>
                  </a:lnTo>
                  <a:lnTo>
                    <a:pt x="42" y="24"/>
                  </a:lnTo>
                  <a:lnTo>
                    <a:pt x="42" y="24"/>
                  </a:lnTo>
                  <a:lnTo>
                    <a:pt x="38" y="24"/>
                  </a:lnTo>
                  <a:lnTo>
                    <a:pt x="38" y="24"/>
                  </a:lnTo>
                  <a:lnTo>
                    <a:pt x="38" y="24"/>
                  </a:lnTo>
                  <a:lnTo>
                    <a:pt x="34" y="24"/>
                  </a:lnTo>
                  <a:lnTo>
                    <a:pt x="34" y="24"/>
                  </a:lnTo>
                  <a:lnTo>
                    <a:pt x="34" y="24"/>
                  </a:lnTo>
                  <a:lnTo>
                    <a:pt x="34" y="24"/>
                  </a:lnTo>
                  <a:lnTo>
                    <a:pt x="34" y="24"/>
                  </a:lnTo>
                  <a:lnTo>
                    <a:pt x="34" y="24"/>
                  </a:lnTo>
                  <a:lnTo>
                    <a:pt x="30" y="24"/>
                  </a:lnTo>
                  <a:lnTo>
                    <a:pt x="30" y="24"/>
                  </a:lnTo>
                  <a:lnTo>
                    <a:pt x="30" y="24"/>
                  </a:lnTo>
                  <a:lnTo>
                    <a:pt x="30" y="24"/>
                  </a:lnTo>
                  <a:lnTo>
                    <a:pt x="30" y="24"/>
                  </a:lnTo>
                  <a:lnTo>
                    <a:pt x="30" y="24"/>
                  </a:lnTo>
                  <a:lnTo>
                    <a:pt x="30" y="24"/>
                  </a:lnTo>
                  <a:lnTo>
                    <a:pt x="26" y="24"/>
                  </a:lnTo>
                  <a:lnTo>
                    <a:pt x="26" y="24"/>
                  </a:lnTo>
                  <a:lnTo>
                    <a:pt x="24" y="24"/>
                  </a:lnTo>
                  <a:lnTo>
                    <a:pt x="20" y="24"/>
                  </a:lnTo>
                  <a:lnTo>
                    <a:pt x="20" y="24"/>
                  </a:lnTo>
                  <a:lnTo>
                    <a:pt x="20" y="24"/>
                  </a:lnTo>
                  <a:lnTo>
                    <a:pt x="16" y="24"/>
                  </a:lnTo>
                  <a:lnTo>
                    <a:pt x="16" y="24"/>
                  </a:lnTo>
                  <a:lnTo>
                    <a:pt x="12" y="24"/>
                  </a:lnTo>
                  <a:lnTo>
                    <a:pt x="12" y="24"/>
                  </a:lnTo>
                  <a:lnTo>
                    <a:pt x="12" y="24"/>
                  </a:lnTo>
                  <a:lnTo>
                    <a:pt x="12" y="24"/>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31" name="Freeform 225"/>
            <p:cNvSpPr>
              <a:spLocks noEditPoints="1"/>
            </p:cNvSpPr>
            <p:nvPr/>
          </p:nvSpPr>
          <p:spPr bwMode="auto">
            <a:xfrm>
              <a:off x="6286708" y="3611258"/>
              <a:ext cx="46471" cy="47073"/>
            </a:xfrm>
            <a:custGeom>
              <a:avLst/>
              <a:gdLst>
                <a:gd name="T0" fmla="*/ 34 w 74"/>
                <a:gd name="T1" fmla="*/ 64 h 72"/>
                <a:gd name="T2" fmla="*/ 30 w 74"/>
                <a:gd name="T3" fmla="*/ 56 h 72"/>
                <a:gd name="T4" fmla="*/ 26 w 74"/>
                <a:gd name="T5" fmla="*/ 48 h 72"/>
                <a:gd name="T6" fmla="*/ 18 w 74"/>
                <a:gd name="T7" fmla="*/ 56 h 72"/>
                <a:gd name="T8" fmla="*/ 10 w 74"/>
                <a:gd name="T9" fmla="*/ 56 h 72"/>
                <a:gd name="T10" fmla="*/ 14 w 74"/>
                <a:gd name="T11" fmla="*/ 48 h 72"/>
                <a:gd name="T12" fmla="*/ 22 w 74"/>
                <a:gd name="T13" fmla="*/ 46 h 72"/>
                <a:gd name="T14" fmla="*/ 22 w 74"/>
                <a:gd name="T15" fmla="*/ 34 h 72"/>
                <a:gd name="T16" fmla="*/ 22 w 74"/>
                <a:gd name="T17" fmla="*/ 26 h 72"/>
                <a:gd name="T18" fmla="*/ 18 w 74"/>
                <a:gd name="T19" fmla="*/ 22 h 72"/>
                <a:gd name="T20" fmla="*/ 10 w 74"/>
                <a:gd name="T21" fmla="*/ 18 h 72"/>
                <a:gd name="T22" fmla="*/ 8 w 74"/>
                <a:gd name="T23" fmla="*/ 18 h 72"/>
                <a:gd name="T24" fmla="*/ 0 w 74"/>
                <a:gd name="T25" fmla="*/ 16 h 72"/>
                <a:gd name="T26" fmla="*/ 4 w 74"/>
                <a:gd name="T27" fmla="*/ 12 h 72"/>
                <a:gd name="T28" fmla="*/ 14 w 74"/>
                <a:gd name="T29" fmla="*/ 12 h 72"/>
                <a:gd name="T30" fmla="*/ 10 w 74"/>
                <a:gd name="T31" fmla="*/ 8 h 72"/>
                <a:gd name="T32" fmla="*/ 8 w 74"/>
                <a:gd name="T33" fmla="*/ 0 h 72"/>
                <a:gd name="T34" fmla="*/ 10 w 74"/>
                <a:gd name="T35" fmla="*/ 0 h 72"/>
                <a:gd name="T36" fmla="*/ 18 w 74"/>
                <a:gd name="T37" fmla="*/ 4 h 72"/>
                <a:gd name="T38" fmla="*/ 30 w 74"/>
                <a:gd name="T39" fmla="*/ 8 h 72"/>
                <a:gd name="T40" fmla="*/ 34 w 74"/>
                <a:gd name="T41" fmla="*/ 8 h 72"/>
                <a:gd name="T42" fmla="*/ 44 w 74"/>
                <a:gd name="T43" fmla="*/ 8 h 72"/>
                <a:gd name="T44" fmla="*/ 44 w 74"/>
                <a:gd name="T45" fmla="*/ 12 h 72"/>
                <a:gd name="T46" fmla="*/ 56 w 74"/>
                <a:gd name="T47" fmla="*/ 12 h 72"/>
                <a:gd name="T48" fmla="*/ 60 w 74"/>
                <a:gd name="T49" fmla="*/ 18 h 72"/>
                <a:gd name="T50" fmla="*/ 68 w 74"/>
                <a:gd name="T51" fmla="*/ 22 h 72"/>
                <a:gd name="T52" fmla="*/ 70 w 74"/>
                <a:gd name="T53" fmla="*/ 30 h 72"/>
                <a:gd name="T54" fmla="*/ 70 w 74"/>
                <a:gd name="T55" fmla="*/ 34 h 72"/>
                <a:gd name="T56" fmla="*/ 68 w 74"/>
                <a:gd name="T57" fmla="*/ 42 h 72"/>
                <a:gd name="T58" fmla="*/ 60 w 74"/>
                <a:gd name="T59" fmla="*/ 38 h 72"/>
                <a:gd name="T60" fmla="*/ 56 w 74"/>
                <a:gd name="T61" fmla="*/ 30 h 72"/>
                <a:gd name="T62" fmla="*/ 44 w 74"/>
                <a:gd name="T63" fmla="*/ 26 h 72"/>
                <a:gd name="T64" fmla="*/ 52 w 74"/>
                <a:gd name="T65" fmla="*/ 38 h 72"/>
                <a:gd name="T66" fmla="*/ 44 w 74"/>
                <a:gd name="T67" fmla="*/ 48 h 72"/>
                <a:gd name="T68" fmla="*/ 44 w 74"/>
                <a:gd name="T69" fmla="*/ 60 h 72"/>
                <a:gd name="T70" fmla="*/ 40 w 74"/>
                <a:gd name="T71" fmla="*/ 68 h 72"/>
                <a:gd name="T72" fmla="*/ 34 w 74"/>
                <a:gd name="T73" fmla="*/ 72 h 72"/>
                <a:gd name="T74" fmla="*/ 22 w 74"/>
                <a:gd name="T75" fmla="*/ 12 h 72"/>
                <a:gd name="T76" fmla="*/ 30 w 74"/>
                <a:gd name="T77" fmla="*/ 16 h 72"/>
                <a:gd name="T78" fmla="*/ 38 w 74"/>
                <a:gd name="T79" fmla="*/ 18 h 72"/>
                <a:gd name="T80" fmla="*/ 44 w 74"/>
                <a:gd name="T81" fmla="*/ 16 h 72"/>
                <a:gd name="T82" fmla="*/ 44 w 74"/>
                <a:gd name="T83" fmla="*/ 16 h 72"/>
                <a:gd name="T84" fmla="*/ 38 w 74"/>
                <a:gd name="T85" fmla="*/ 12 h 72"/>
                <a:gd name="T86" fmla="*/ 30 w 74"/>
                <a:gd name="T87" fmla="*/ 12 h 72"/>
                <a:gd name="T88" fmla="*/ 26 w 74"/>
                <a:gd name="T8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4" h="72">
                  <a:moveTo>
                    <a:pt x="34" y="72"/>
                  </a:moveTo>
                  <a:lnTo>
                    <a:pt x="34" y="68"/>
                  </a:lnTo>
                  <a:lnTo>
                    <a:pt x="34" y="64"/>
                  </a:lnTo>
                  <a:lnTo>
                    <a:pt x="34" y="60"/>
                  </a:lnTo>
                  <a:lnTo>
                    <a:pt x="34" y="56"/>
                  </a:lnTo>
                  <a:lnTo>
                    <a:pt x="30" y="56"/>
                  </a:lnTo>
                  <a:lnTo>
                    <a:pt x="30" y="52"/>
                  </a:lnTo>
                  <a:lnTo>
                    <a:pt x="30" y="48"/>
                  </a:lnTo>
                  <a:lnTo>
                    <a:pt x="26" y="48"/>
                  </a:lnTo>
                  <a:lnTo>
                    <a:pt x="22" y="48"/>
                  </a:lnTo>
                  <a:lnTo>
                    <a:pt x="22" y="52"/>
                  </a:lnTo>
                  <a:lnTo>
                    <a:pt x="18" y="56"/>
                  </a:lnTo>
                  <a:lnTo>
                    <a:pt x="14" y="60"/>
                  </a:lnTo>
                  <a:lnTo>
                    <a:pt x="14" y="56"/>
                  </a:lnTo>
                  <a:lnTo>
                    <a:pt x="10" y="56"/>
                  </a:lnTo>
                  <a:lnTo>
                    <a:pt x="10" y="52"/>
                  </a:lnTo>
                  <a:lnTo>
                    <a:pt x="14" y="52"/>
                  </a:lnTo>
                  <a:lnTo>
                    <a:pt x="14" y="48"/>
                  </a:lnTo>
                  <a:lnTo>
                    <a:pt x="18" y="48"/>
                  </a:lnTo>
                  <a:lnTo>
                    <a:pt x="18" y="46"/>
                  </a:lnTo>
                  <a:lnTo>
                    <a:pt x="22" y="46"/>
                  </a:lnTo>
                  <a:lnTo>
                    <a:pt x="22" y="42"/>
                  </a:lnTo>
                  <a:lnTo>
                    <a:pt x="22" y="38"/>
                  </a:lnTo>
                  <a:lnTo>
                    <a:pt x="22" y="34"/>
                  </a:lnTo>
                  <a:lnTo>
                    <a:pt x="18" y="30"/>
                  </a:lnTo>
                  <a:lnTo>
                    <a:pt x="22" y="30"/>
                  </a:lnTo>
                  <a:lnTo>
                    <a:pt x="22" y="26"/>
                  </a:lnTo>
                  <a:lnTo>
                    <a:pt x="18" y="26"/>
                  </a:lnTo>
                  <a:lnTo>
                    <a:pt x="22" y="26"/>
                  </a:lnTo>
                  <a:lnTo>
                    <a:pt x="18" y="22"/>
                  </a:lnTo>
                  <a:lnTo>
                    <a:pt x="14" y="22"/>
                  </a:lnTo>
                  <a:lnTo>
                    <a:pt x="14" y="18"/>
                  </a:lnTo>
                  <a:lnTo>
                    <a:pt x="10" y="18"/>
                  </a:lnTo>
                  <a:lnTo>
                    <a:pt x="8" y="18"/>
                  </a:lnTo>
                  <a:lnTo>
                    <a:pt x="8" y="16"/>
                  </a:lnTo>
                  <a:lnTo>
                    <a:pt x="8" y="18"/>
                  </a:lnTo>
                  <a:lnTo>
                    <a:pt x="4" y="18"/>
                  </a:lnTo>
                  <a:lnTo>
                    <a:pt x="4" y="16"/>
                  </a:lnTo>
                  <a:lnTo>
                    <a:pt x="0" y="16"/>
                  </a:lnTo>
                  <a:lnTo>
                    <a:pt x="0" y="12"/>
                  </a:lnTo>
                  <a:lnTo>
                    <a:pt x="4" y="8"/>
                  </a:lnTo>
                  <a:lnTo>
                    <a:pt x="4" y="12"/>
                  </a:lnTo>
                  <a:lnTo>
                    <a:pt x="8" y="12"/>
                  </a:lnTo>
                  <a:lnTo>
                    <a:pt x="10" y="12"/>
                  </a:lnTo>
                  <a:lnTo>
                    <a:pt x="14" y="12"/>
                  </a:lnTo>
                  <a:lnTo>
                    <a:pt x="10" y="8"/>
                  </a:lnTo>
                  <a:lnTo>
                    <a:pt x="10" y="12"/>
                  </a:lnTo>
                  <a:lnTo>
                    <a:pt x="10" y="8"/>
                  </a:lnTo>
                  <a:lnTo>
                    <a:pt x="10" y="4"/>
                  </a:lnTo>
                  <a:lnTo>
                    <a:pt x="8" y="4"/>
                  </a:lnTo>
                  <a:lnTo>
                    <a:pt x="8" y="0"/>
                  </a:lnTo>
                  <a:lnTo>
                    <a:pt x="4" y="0"/>
                  </a:lnTo>
                  <a:lnTo>
                    <a:pt x="8" y="0"/>
                  </a:lnTo>
                  <a:lnTo>
                    <a:pt x="10" y="0"/>
                  </a:lnTo>
                  <a:lnTo>
                    <a:pt x="10" y="4"/>
                  </a:lnTo>
                  <a:lnTo>
                    <a:pt x="14" y="4"/>
                  </a:lnTo>
                  <a:lnTo>
                    <a:pt x="18" y="4"/>
                  </a:lnTo>
                  <a:lnTo>
                    <a:pt x="22" y="8"/>
                  </a:lnTo>
                  <a:lnTo>
                    <a:pt x="26" y="8"/>
                  </a:lnTo>
                  <a:lnTo>
                    <a:pt x="30" y="8"/>
                  </a:lnTo>
                  <a:lnTo>
                    <a:pt x="34" y="8"/>
                  </a:lnTo>
                  <a:lnTo>
                    <a:pt x="38" y="8"/>
                  </a:lnTo>
                  <a:lnTo>
                    <a:pt x="34" y="8"/>
                  </a:lnTo>
                  <a:lnTo>
                    <a:pt x="38" y="8"/>
                  </a:lnTo>
                  <a:lnTo>
                    <a:pt x="40" y="8"/>
                  </a:lnTo>
                  <a:lnTo>
                    <a:pt x="44" y="8"/>
                  </a:lnTo>
                  <a:lnTo>
                    <a:pt x="48" y="8"/>
                  </a:lnTo>
                  <a:lnTo>
                    <a:pt x="48" y="12"/>
                  </a:lnTo>
                  <a:lnTo>
                    <a:pt x="44" y="12"/>
                  </a:lnTo>
                  <a:lnTo>
                    <a:pt x="48" y="12"/>
                  </a:lnTo>
                  <a:lnTo>
                    <a:pt x="52" y="12"/>
                  </a:lnTo>
                  <a:lnTo>
                    <a:pt x="56" y="12"/>
                  </a:lnTo>
                  <a:lnTo>
                    <a:pt x="60" y="12"/>
                  </a:lnTo>
                  <a:lnTo>
                    <a:pt x="60" y="16"/>
                  </a:lnTo>
                  <a:lnTo>
                    <a:pt x="60" y="18"/>
                  </a:lnTo>
                  <a:lnTo>
                    <a:pt x="64" y="18"/>
                  </a:lnTo>
                  <a:lnTo>
                    <a:pt x="64" y="22"/>
                  </a:lnTo>
                  <a:lnTo>
                    <a:pt x="68" y="22"/>
                  </a:lnTo>
                  <a:lnTo>
                    <a:pt x="68" y="26"/>
                  </a:lnTo>
                  <a:lnTo>
                    <a:pt x="68" y="30"/>
                  </a:lnTo>
                  <a:lnTo>
                    <a:pt x="70" y="30"/>
                  </a:lnTo>
                  <a:lnTo>
                    <a:pt x="70" y="34"/>
                  </a:lnTo>
                  <a:lnTo>
                    <a:pt x="74" y="34"/>
                  </a:lnTo>
                  <a:lnTo>
                    <a:pt x="70" y="34"/>
                  </a:lnTo>
                  <a:lnTo>
                    <a:pt x="68" y="34"/>
                  </a:lnTo>
                  <a:lnTo>
                    <a:pt x="68" y="38"/>
                  </a:lnTo>
                  <a:lnTo>
                    <a:pt x="68" y="42"/>
                  </a:lnTo>
                  <a:lnTo>
                    <a:pt x="64" y="42"/>
                  </a:lnTo>
                  <a:lnTo>
                    <a:pt x="64" y="38"/>
                  </a:lnTo>
                  <a:lnTo>
                    <a:pt x="60" y="38"/>
                  </a:lnTo>
                  <a:lnTo>
                    <a:pt x="56" y="38"/>
                  </a:lnTo>
                  <a:lnTo>
                    <a:pt x="56" y="34"/>
                  </a:lnTo>
                  <a:lnTo>
                    <a:pt x="56" y="30"/>
                  </a:lnTo>
                  <a:lnTo>
                    <a:pt x="52" y="30"/>
                  </a:lnTo>
                  <a:lnTo>
                    <a:pt x="48" y="26"/>
                  </a:lnTo>
                  <a:lnTo>
                    <a:pt x="44" y="26"/>
                  </a:lnTo>
                  <a:lnTo>
                    <a:pt x="48" y="30"/>
                  </a:lnTo>
                  <a:lnTo>
                    <a:pt x="52" y="34"/>
                  </a:lnTo>
                  <a:lnTo>
                    <a:pt x="52" y="38"/>
                  </a:lnTo>
                  <a:lnTo>
                    <a:pt x="48" y="42"/>
                  </a:lnTo>
                  <a:lnTo>
                    <a:pt x="44" y="46"/>
                  </a:lnTo>
                  <a:lnTo>
                    <a:pt x="44" y="48"/>
                  </a:lnTo>
                  <a:lnTo>
                    <a:pt x="44" y="52"/>
                  </a:lnTo>
                  <a:lnTo>
                    <a:pt x="44" y="56"/>
                  </a:lnTo>
                  <a:lnTo>
                    <a:pt x="44" y="60"/>
                  </a:lnTo>
                  <a:lnTo>
                    <a:pt x="44" y="64"/>
                  </a:lnTo>
                  <a:lnTo>
                    <a:pt x="40" y="64"/>
                  </a:lnTo>
                  <a:lnTo>
                    <a:pt x="40" y="68"/>
                  </a:lnTo>
                  <a:lnTo>
                    <a:pt x="38" y="68"/>
                  </a:lnTo>
                  <a:lnTo>
                    <a:pt x="34" y="72"/>
                  </a:lnTo>
                  <a:lnTo>
                    <a:pt x="34" y="72"/>
                  </a:lnTo>
                  <a:lnTo>
                    <a:pt x="34" y="72"/>
                  </a:lnTo>
                  <a:close/>
                  <a:moveTo>
                    <a:pt x="26" y="12"/>
                  </a:moveTo>
                  <a:lnTo>
                    <a:pt x="22" y="12"/>
                  </a:lnTo>
                  <a:lnTo>
                    <a:pt x="26" y="12"/>
                  </a:lnTo>
                  <a:lnTo>
                    <a:pt x="26" y="16"/>
                  </a:lnTo>
                  <a:lnTo>
                    <a:pt x="30" y="16"/>
                  </a:lnTo>
                  <a:lnTo>
                    <a:pt x="34" y="16"/>
                  </a:lnTo>
                  <a:lnTo>
                    <a:pt x="38" y="16"/>
                  </a:lnTo>
                  <a:lnTo>
                    <a:pt x="38" y="18"/>
                  </a:lnTo>
                  <a:lnTo>
                    <a:pt x="40" y="18"/>
                  </a:lnTo>
                  <a:lnTo>
                    <a:pt x="40" y="16"/>
                  </a:lnTo>
                  <a:lnTo>
                    <a:pt x="44" y="16"/>
                  </a:lnTo>
                  <a:lnTo>
                    <a:pt x="40" y="18"/>
                  </a:lnTo>
                  <a:lnTo>
                    <a:pt x="44" y="18"/>
                  </a:lnTo>
                  <a:lnTo>
                    <a:pt x="44" y="16"/>
                  </a:lnTo>
                  <a:lnTo>
                    <a:pt x="44" y="12"/>
                  </a:lnTo>
                  <a:lnTo>
                    <a:pt x="40" y="12"/>
                  </a:lnTo>
                  <a:lnTo>
                    <a:pt x="38" y="12"/>
                  </a:lnTo>
                  <a:lnTo>
                    <a:pt x="34" y="12"/>
                  </a:lnTo>
                  <a:lnTo>
                    <a:pt x="30" y="16"/>
                  </a:lnTo>
                  <a:lnTo>
                    <a:pt x="30" y="12"/>
                  </a:lnTo>
                  <a:lnTo>
                    <a:pt x="26" y="12"/>
                  </a:lnTo>
                  <a:lnTo>
                    <a:pt x="26" y="12"/>
                  </a:lnTo>
                  <a:lnTo>
                    <a:pt x="26" y="12"/>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32" name="Freeform 226"/>
            <p:cNvSpPr>
              <a:spLocks/>
            </p:cNvSpPr>
            <p:nvPr/>
          </p:nvSpPr>
          <p:spPr bwMode="auto">
            <a:xfrm>
              <a:off x="6298011" y="3658331"/>
              <a:ext cx="42703" cy="18306"/>
            </a:xfrm>
            <a:custGeom>
              <a:avLst/>
              <a:gdLst>
                <a:gd name="T0" fmla="*/ 68 w 68"/>
                <a:gd name="T1" fmla="*/ 0 h 28"/>
                <a:gd name="T2" fmla="*/ 68 w 68"/>
                <a:gd name="T3" fmla="*/ 2 h 28"/>
                <a:gd name="T4" fmla="*/ 68 w 68"/>
                <a:gd name="T5" fmla="*/ 2 h 28"/>
                <a:gd name="T6" fmla="*/ 56 w 68"/>
                <a:gd name="T7" fmla="*/ 10 h 28"/>
                <a:gd name="T8" fmla="*/ 54 w 68"/>
                <a:gd name="T9" fmla="*/ 14 h 28"/>
                <a:gd name="T10" fmla="*/ 46 w 68"/>
                <a:gd name="T11" fmla="*/ 16 h 28"/>
                <a:gd name="T12" fmla="*/ 42 w 68"/>
                <a:gd name="T13" fmla="*/ 16 h 28"/>
                <a:gd name="T14" fmla="*/ 34 w 68"/>
                <a:gd name="T15" fmla="*/ 20 h 28"/>
                <a:gd name="T16" fmla="*/ 30 w 68"/>
                <a:gd name="T17" fmla="*/ 24 h 28"/>
                <a:gd name="T18" fmla="*/ 28 w 68"/>
                <a:gd name="T19" fmla="*/ 28 h 28"/>
                <a:gd name="T20" fmla="*/ 24 w 68"/>
                <a:gd name="T21" fmla="*/ 28 h 28"/>
                <a:gd name="T22" fmla="*/ 24 w 68"/>
                <a:gd name="T23" fmla="*/ 28 h 28"/>
                <a:gd name="T24" fmla="*/ 20 w 68"/>
                <a:gd name="T25" fmla="*/ 28 h 28"/>
                <a:gd name="T26" fmla="*/ 16 w 68"/>
                <a:gd name="T27" fmla="*/ 28 h 28"/>
                <a:gd name="T28" fmla="*/ 12 w 68"/>
                <a:gd name="T29" fmla="*/ 28 h 28"/>
                <a:gd name="T30" fmla="*/ 8 w 68"/>
                <a:gd name="T31" fmla="*/ 28 h 28"/>
                <a:gd name="T32" fmla="*/ 8 w 68"/>
                <a:gd name="T33" fmla="*/ 28 h 28"/>
                <a:gd name="T34" fmla="*/ 12 w 68"/>
                <a:gd name="T35" fmla="*/ 28 h 28"/>
                <a:gd name="T36" fmla="*/ 12 w 68"/>
                <a:gd name="T37" fmla="*/ 28 h 28"/>
                <a:gd name="T38" fmla="*/ 12 w 68"/>
                <a:gd name="T39" fmla="*/ 24 h 28"/>
                <a:gd name="T40" fmla="*/ 12 w 68"/>
                <a:gd name="T41" fmla="*/ 24 h 28"/>
                <a:gd name="T42" fmla="*/ 8 w 68"/>
                <a:gd name="T43" fmla="*/ 24 h 28"/>
                <a:gd name="T44" fmla="*/ 8 w 68"/>
                <a:gd name="T45" fmla="*/ 24 h 28"/>
                <a:gd name="T46" fmla="*/ 4 w 68"/>
                <a:gd name="T47" fmla="*/ 24 h 28"/>
                <a:gd name="T48" fmla="*/ 0 w 68"/>
                <a:gd name="T49" fmla="*/ 20 h 28"/>
                <a:gd name="T50" fmla="*/ 0 w 68"/>
                <a:gd name="T51" fmla="*/ 20 h 28"/>
                <a:gd name="T52" fmla="*/ 4 w 68"/>
                <a:gd name="T53" fmla="*/ 16 h 28"/>
                <a:gd name="T54" fmla="*/ 4 w 68"/>
                <a:gd name="T55" fmla="*/ 14 h 28"/>
                <a:gd name="T56" fmla="*/ 8 w 68"/>
                <a:gd name="T57" fmla="*/ 10 h 28"/>
                <a:gd name="T58" fmla="*/ 8 w 68"/>
                <a:gd name="T59" fmla="*/ 10 h 28"/>
                <a:gd name="T60" fmla="*/ 8 w 68"/>
                <a:gd name="T61" fmla="*/ 16 h 28"/>
                <a:gd name="T62" fmla="*/ 8 w 68"/>
                <a:gd name="T63" fmla="*/ 16 h 28"/>
                <a:gd name="T64" fmla="*/ 12 w 68"/>
                <a:gd name="T65" fmla="*/ 16 h 28"/>
                <a:gd name="T66" fmla="*/ 12 w 68"/>
                <a:gd name="T67" fmla="*/ 16 h 28"/>
                <a:gd name="T68" fmla="*/ 16 w 68"/>
                <a:gd name="T69" fmla="*/ 16 h 28"/>
                <a:gd name="T70" fmla="*/ 16 w 68"/>
                <a:gd name="T71" fmla="*/ 16 h 28"/>
                <a:gd name="T72" fmla="*/ 20 w 68"/>
                <a:gd name="T73" fmla="*/ 14 h 28"/>
                <a:gd name="T74" fmla="*/ 28 w 68"/>
                <a:gd name="T75" fmla="*/ 10 h 28"/>
                <a:gd name="T76" fmla="*/ 30 w 68"/>
                <a:gd name="T77" fmla="*/ 6 h 28"/>
                <a:gd name="T78" fmla="*/ 34 w 68"/>
                <a:gd name="T79" fmla="*/ 2 h 28"/>
                <a:gd name="T80" fmla="*/ 42 w 68"/>
                <a:gd name="T81" fmla="*/ 6 h 28"/>
                <a:gd name="T82" fmla="*/ 42 w 68"/>
                <a:gd name="T83" fmla="*/ 6 h 28"/>
                <a:gd name="T84" fmla="*/ 50 w 68"/>
                <a:gd name="T85" fmla="*/ 6 h 28"/>
                <a:gd name="T86" fmla="*/ 50 w 68"/>
                <a:gd name="T87" fmla="*/ 6 h 28"/>
                <a:gd name="T88" fmla="*/ 50 w 68"/>
                <a:gd name="T89" fmla="*/ 6 h 28"/>
                <a:gd name="T90" fmla="*/ 46 w 68"/>
                <a:gd name="T91" fmla="*/ 6 h 28"/>
                <a:gd name="T92" fmla="*/ 46 w 68"/>
                <a:gd name="T93" fmla="*/ 6 h 28"/>
                <a:gd name="T94" fmla="*/ 50 w 68"/>
                <a:gd name="T95" fmla="*/ 2 h 28"/>
                <a:gd name="T96" fmla="*/ 54 w 68"/>
                <a:gd name="T97" fmla="*/ 2 h 28"/>
                <a:gd name="T98" fmla="*/ 56 w 68"/>
                <a:gd name="T99" fmla="*/ 0 h 28"/>
                <a:gd name="T100" fmla="*/ 64 w 68"/>
                <a:gd name="T101" fmla="*/ 0 h 28"/>
                <a:gd name="T102" fmla="*/ 64 w 68"/>
                <a:gd name="T103" fmla="*/ 2 h 28"/>
                <a:gd name="T104" fmla="*/ 68 w 68"/>
                <a:gd name="T10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 h="28">
                  <a:moveTo>
                    <a:pt x="68" y="0"/>
                  </a:moveTo>
                  <a:lnTo>
                    <a:pt x="68" y="0"/>
                  </a:lnTo>
                  <a:lnTo>
                    <a:pt x="68" y="0"/>
                  </a:lnTo>
                  <a:lnTo>
                    <a:pt x="68" y="0"/>
                  </a:lnTo>
                  <a:lnTo>
                    <a:pt x="68" y="2"/>
                  </a:lnTo>
                  <a:lnTo>
                    <a:pt x="68" y="2"/>
                  </a:lnTo>
                  <a:lnTo>
                    <a:pt x="68" y="2"/>
                  </a:lnTo>
                  <a:lnTo>
                    <a:pt x="68" y="2"/>
                  </a:lnTo>
                  <a:lnTo>
                    <a:pt x="68" y="2"/>
                  </a:lnTo>
                  <a:lnTo>
                    <a:pt x="68" y="2"/>
                  </a:lnTo>
                  <a:lnTo>
                    <a:pt x="68" y="2"/>
                  </a:lnTo>
                  <a:lnTo>
                    <a:pt x="68" y="2"/>
                  </a:lnTo>
                  <a:lnTo>
                    <a:pt x="64" y="2"/>
                  </a:lnTo>
                  <a:lnTo>
                    <a:pt x="64" y="6"/>
                  </a:lnTo>
                  <a:lnTo>
                    <a:pt x="60" y="6"/>
                  </a:lnTo>
                  <a:lnTo>
                    <a:pt x="56" y="10"/>
                  </a:lnTo>
                  <a:lnTo>
                    <a:pt x="56" y="10"/>
                  </a:lnTo>
                  <a:lnTo>
                    <a:pt x="54" y="14"/>
                  </a:lnTo>
                  <a:lnTo>
                    <a:pt x="54" y="14"/>
                  </a:lnTo>
                  <a:lnTo>
                    <a:pt x="54" y="14"/>
                  </a:lnTo>
                  <a:lnTo>
                    <a:pt x="54" y="14"/>
                  </a:lnTo>
                  <a:lnTo>
                    <a:pt x="50" y="14"/>
                  </a:lnTo>
                  <a:lnTo>
                    <a:pt x="46" y="16"/>
                  </a:lnTo>
                  <a:lnTo>
                    <a:pt x="46" y="16"/>
                  </a:lnTo>
                  <a:lnTo>
                    <a:pt x="42" y="16"/>
                  </a:lnTo>
                  <a:lnTo>
                    <a:pt x="42" y="16"/>
                  </a:lnTo>
                  <a:lnTo>
                    <a:pt x="42" y="16"/>
                  </a:lnTo>
                  <a:lnTo>
                    <a:pt x="42" y="16"/>
                  </a:lnTo>
                  <a:lnTo>
                    <a:pt x="38" y="16"/>
                  </a:lnTo>
                  <a:lnTo>
                    <a:pt x="34" y="20"/>
                  </a:lnTo>
                  <a:lnTo>
                    <a:pt x="34" y="20"/>
                  </a:lnTo>
                  <a:lnTo>
                    <a:pt x="34" y="20"/>
                  </a:lnTo>
                  <a:lnTo>
                    <a:pt x="30" y="20"/>
                  </a:lnTo>
                  <a:lnTo>
                    <a:pt x="30" y="24"/>
                  </a:lnTo>
                  <a:lnTo>
                    <a:pt x="30" y="24"/>
                  </a:lnTo>
                  <a:lnTo>
                    <a:pt x="30" y="24"/>
                  </a:lnTo>
                  <a:lnTo>
                    <a:pt x="30" y="24"/>
                  </a:lnTo>
                  <a:lnTo>
                    <a:pt x="28" y="24"/>
                  </a:lnTo>
                  <a:lnTo>
                    <a:pt x="28" y="24"/>
                  </a:lnTo>
                  <a:lnTo>
                    <a:pt x="28" y="28"/>
                  </a:lnTo>
                  <a:lnTo>
                    <a:pt x="28" y="28"/>
                  </a:lnTo>
                  <a:lnTo>
                    <a:pt x="28" y="28"/>
                  </a:lnTo>
                  <a:lnTo>
                    <a:pt x="24" y="28"/>
                  </a:lnTo>
                  <a:lnTo>
                    <a:pt x="24" y="28"/>
                  </a:lnTo>
                  <a:lnTo>
                    <a:pt x="24" y="28"/>
                  </a:lnTo>
                  <a:lnTo>
                    <a:pt x="24" y="28"/>
                  </a:lnTo>
                  <a:lnTo>
                    <a:pt x="24" y="28"/>
                  </a:lnTo>
                  <a:lnTo>
                    <a:pt x="24" y="28"/>
                  </a:lnTo>
                  <a:lnTo>
                    <a:pt x="24" y="28"/>
                  </a:lnTo>
                  <a:lnTo>
                    <a:pt x="20" y="28"/>
                  </a:lnTo>
                  <a:lnTo>
                    <a:pt x="20" y="28"/>
                  </a:lnTo>
                  <a:lnTo>
                    <a:pt x="20" y="28"/>
                  </a:lnTo>
                  <a:lnTo>
                    <a:pt x="20" y="28"/>
                  </a:lnTo>
                  <a:lnTo>
                    <a:pt x="20" y="28"/>
                  </a:lnTo>
                  <a:lnTo>
                    <a:pt x="16" y="28"/>
                  </a:lnTo>
                  <a:lnTo>
                    <a:pt x="16" y="28"/>
                  </a:lnTo>
                  <a:lnTo>
                    <a:pt x="16" y="28"/>
                  </a:lnTo>
                  <a:lnTo>
                    <a:pt x="16" y="28"/>
                  </a:lnTo>
                  <a:lnTo>
                    <a:pt x="12" y="28"/>
                  </a:lnTo>
                  <a:lnTo>
                    <a:pt x="12" y="28"/>
                  </a:lnTo>
                  <a:lnTo>
                    <a:pt x="12" y="28"/>
                  </a:lnTo>
                  <a:lnTo>
                    <a:pt x="12" y="28"/>
                  </a:lnTo>
                  <a:lnTo>
                    <a:pt x="12" y="28"/>
                  </a:lnTo>
                  <a:lnTo>
                    <a:pt x="8" y="28"/>
                  </a:lnTo>
                  <a:lnTo>
                    <a:pt x="8" y="28"/>
                  </a:lnTo>
                  <a:lnTo>
                    <a:pt x="8" y="28"/>
                  </a:lnTo>
                  <a:lnTo>
                    <a:pt x="8" y="28"/>
                  </a:lnTo>
                  <a:lnTo>
                    <a:pt x="8" y="28"/>
                  </a:lnTo>
                  <a:lnTo>
                    <a:pt x="8" y="28"/>
                  </a:lnTo>
                  <a:lnTo>
                    <a:pt x="8" y="28"/>
                  </a:lnTo>
                  <a:lnTo>
                    <a:pt x="8" y="28"/>
                  </a:lnTo>
                  <a:lnTo>
                    <a:pt x="12" y="28"/>
                  </a:lnTo>
                  <a:lnTo>
                    <a:pt x="12" y="28"/>
                  </a:lnTo>
                  <a:lnTo>
                    <a:pt x="12" y="28"/>
                  </a:lnTo>
                  <a:lnTo>
                    <a:pt x="12" y="28"/>
                  </a:lnTo>
                  <a:lnTo>
                    <a:pt x="12" y="28"/>
                  </a:lnTo>
                  <a:lnTo>
                    <a:pt x="12" y="28"/>
                  </a:lnTo>
                  <a:lnTo>
                    <a:pt x="12" y="28"/>
                  </a:lnTo>
                  <a:lnTo>
                    <a:pt x="12" y="24"/>
                  </a:lnTo>
                  <a:lnTo>
                    <a:pt x="12" y="24"/>
                  </a:lnTo>
                  <a:lnTo>
                    <a:pt x="12" y="24"/>
                  </a:lnTo>
                  <a:lnTo>
                    <a:pt x="12" y="24"/>
                  </a:lnTo>
                  <a:lnTo>
                    <a:pt x="12" y="24"/>
                  </a:lnTo>
                  <a:lnTo>
                    <a:pt x="12" y="24"/>
                  </a:lnTo>
                  <a:lnTo>
                    <a:pt x="12" y="24"/>
                  </a:lnTo>
                  <a:lnTo>
                    <a:pt x="8" y="24"/>
                  </a:lnTo>
                  <a:lnTo>
                    <a:pt x="8" y="24"/>
                  </a:lnTo>
                  <a:lnTo>
                    <a:pt x="8" y="24"/>
                  </a:lnTo>
                  <a:lnTo>
                    <a:pt x="8" y="24"/>
                  </a:lnTo>
                  <a:lnTo>
                    <a:pt x="8" y="24"/>
                  </a:lnTo>
                  <a:lnTo>
                    <a:pt x="8" y="24"/>
                  </a:lnTo>
                  <a:lnTo>
                    <a:pt x="8" y="24"/>
                  </a:lnTo>
                  <a:lnTo>
                    <a:pt x="8" y="24"/>
                  </a:lnTo>
                  <a:lnTo>
                    <a:pt x="4" y="24"/>
                  </a:lnTo>
                  <a:lnTo>
                    <a:pt x="4" y="24"/>
                  </a:lnTo>
                  <a:lnTo>
                    <a:pt x="4" y="24"/>
                  </a:lnTo>
                  <a:lnTo>
                    <a:pt x="0" y="24"/>
                  </a:lnTo>
                  <a:lnTo>
                    <a:pt x="0" y="20"/>
                  </a:lnTo>
                  <a:lnTo>
                    <a:pt x="0" y="20"/>
                  </a:lnTo>
                  <a:lnTo>
                    <a:pt x="0" y="20"/>
                  </a:lnTo>
                  <a:lnTo>
                    <a:pt x="0" y="20"/>
                  </a:lnTo>
                  <a:lnTo>
                    <a:pt x="0" y="20"/>
                  </a:lnTo>
                  <a:lnTo>
                    <a:pt x="0" y="20"/>
                  </a:lnTo>
                  <a:lnTo>
                    <a:pt x="0" y="20"/>
                  </a:lnTo>
                  <a:lnTo>
                    <a:pt x="4" y="20"/>
                  </a:lnTo>
                  <a:lnTo>
                    <a:pt x="4" y="16"/>
                  </a:lnTo>
                  <a:lnTo>
                    <a:pt x="4" y="16"/>
                  </a:lnTo>
                  <a:lnTo>
                    <a:pt x="4" y="16"/>
                  </a:lnTo>
                  <a:lnTo>
                    <a:pt x="4" y="16"/>
                  </a:lnTo>
                  <a:lnTo>
                    <a:pt x="4" y="16"/>
                  </a:lnTo>
                  <a:lnTo>
                    <a:pt x="4" y="16"/>
                  </a:lnTo>
                  <a:lnTo>
                    <a:pt x="4" y="14"/>
                  </a:lnTo>
                  <a:lnTo>
                    <a:pt x="8" y="14"/>
                  </a:lnTo>
                  <a:lnTo>
                    <a:pt x="8" y="14"/>
                  </a:lnTo>
                  <a:lnTo>
                    <a:pt x="8" y="10"/>
                  </a:lnTo>
                  <a:lnTo>
                    <a:pt x="8" y="10"/>
                  </a:lnTo>
                  <a:lnTo>
                    <a:pt x="8" y="10"/>
                  </a:lnTo>
                  <a:lnTo>
                    <a:pt x="8" y="10"/>
                  </a:lnTo>
                  <a:lnTo>
                    <a:pt x="8" y="10"/>
                  </a:lnTo>
                  <a:lnTo>
                    <a:pt x="8" y="10"/>
                  </a:lnTo>
                  <a:lnTo>
                    <a:pt x="8" y="14"/>
                  </a:lnTo>
                  <a:lnTo>
                    <a:pt x="8" y="14"/>
                  </a:lnTo>
                  <a:lnTo>
                    <a:pt x="8" y="14"/>
                  </a:lnTo>
                  <a:lnTo>
                    <a:pt x="8" y="16"/>
                  </a:lnTo>
                  <a:lnTo>
                    <a:pt x="8" y="16"/>
                  </a:lnTo>
                  <a:lnTo>
                    <a:pt x="8" y="16"/>
                  </a:lnTo>
                  <a:lnTo>
                    <a:pt x="8" y="16"/>
                  </a:lnTo>
                  <a:lnTo>
                    <a:pt x="8" y="16"/>
                  </a:lnTo>
                  <a:lnTo>
                    <a:pt x="8" y="16"/>
                  </a:lnTo>
                  <a:lnTo>
                    <a:pt x="8" y="16"/>
                  </a:lnTo>
                  <a:lnTo>
                    <a:pt x="8" y="16"/>
                  </a:lnTo>
                  <a:lnTo>
                    <a:pt x="12" y="16"/>
                  </a:lnTo>
                  <a:lnTo>
                    <a:pt x="12" y="16"/>
                  </a:lnTo>
                  <a:lnTo>
                    <a:pt x="12" y="16"/>
                  </a:lnTo>
                  <a:lnTo>
                    <a:pt x="12" y="16"/>
                  </a:lnTo>
                  <a:lnTo>
                    <a:pt x="12" y="16"/>
                  </a:lnTo>
                  <a:lnTo>
                    <a:pt x="12" y="16"/>
                  </a:lnTo>
                  <a:lnTo>
                    <a:pt x="12" y="16"/>
                  </a:lnTo>
                  <a:lnTo>
                    <a:pt x="12" y="16"/>
                  </a:lnTo>
                  <a:lnTo>
                    <a:pt x="16" y="16"/>
                  </a:lnTo>
                  <a:lnTo>
                    <a:pt x="16" y="16"/>
                  </a:lnTo>
                  <a:lnTo>
                    <a:pt x="16" y="16"/>
                  </a:lnTo>
                  <a:lnTo>
                    <a:pt x="16" y="16"/>
                  </a:lnTo>
                  <a:lnTo>
                    <a:pt x="16" y="16"/>
                  </a:lnTo>
                  <a:lnTo>
                    <a:pt x="16" y="14"/>
                  </a:lnTo>
                  <a:lnTo>
                    <a:pt x="16" y="14"/>
                  </a:lnTo>
                  <a:lnTo>
                    <a:pt x="16" y="14"/>
                  </a:lnTo>
                  <a:lnTo>
                    <a:pt x="20" y="14"/>
                  </a:lnTo>
                  <a:lnTo>
                    <a:pt x="24" y="10"/>
                  </a:lnTo>
                  <a:lnTo>
                    <a:pt x="24" y="10"/>
                  </a:lnTo>
                  <a:lnTo>
                    <a:pt x="28" y="10"/>
                  </a:lnTo>
                  <a:lnTo>
                    <a:pt x="28" y="10"/>
                  </a:lnTo>
                  <a:lnTo>
                    <a:pt x="28" y="6"/>
                  </a:lnTo>
                  <a:lnTo>
                    <a:pt x="30" y="6"/>
                  </a:lnTo>
                  <a:lnTo>
                    <a:pt x="30" y="6"/>
                  </a:lnTo>
                  <a:lnTo>
                    <a:pt x="30" y="6"/>
                  </a:lnTo>
                  <a:lnTo>
                    <a:pt x="30" y="6"/>
                  </a:lnTo>
                  <a:lnTo>
                    <a:pt x="34" y="6"/>
                  </a:lnTo>
                  <a:lnTo>
                    <a:pt x="34" y="2"/>
                  </a:lnTo>
                  <a:lnTo>
                    <a:pt x="34" y="2"/>
                  </a:lnTo>
                  <a:lnTo>
                    <a:pt x="38" y="2"/>
                  </a:lnTo>
                  <a:lnTo>
                    <a:pt x="38" y="6"/>
                  </a:lnTo>
                  <a:lnTo>
                    <a:pt x="38" y="6"/>
                  </a:lnTo>
                  <a:lnTo>
                    <a:pt x="42" y="6"/>
                  </a:lnTo>
                  <a:lnTo>
                    <a:pt x="42" y="6"/>
                  </a:lnTo>
                  <a:lnTo>
                    <a:pt x="42" y="6"/>
                  </a:lnTo>
                  <a:lnTo>
                    <a:pt x="42" y="6"/>
                  </a:lnTo>
                  <a:lnTo>
                    <a:pt x="42" y="6"/>
                  </a:lnTo>
                  <a:lnTo>
                    <a:pt x="46" y="6"/>
                  </a:lnTo>
                  <a:lnTo>
                    <a:pt x="46" y="6"/>
                  </a:lnTo>
                  <a:lnTo>
                    <a:pt x="46" y="6"/>
                  </a:lnTo>
                  <a:lnTo>
                    <a:pt x="50" y="6"/>
                  </a:lnTo>
                  <a:lnTo>
                    <a:pt x="50" y="6"/>
                  </a:lnTo>
                  <a:lnTo>
                    <a:pt x="50" y="6"/>
                  </a:lnTo>
                  <a:lnTo>
                    <a:pt x="50" y="6"/>
                  </a:lnTo>
                  <a:lnTo>
                    <a:pt x="50" y="6"/>
                  </a:lnTo>
                  <a:lnTo>
                    <a:pt x="50" y="6"/>
                  </a:lnTo>
                  <a:lnTo>
                    <a:pt x="50" y="6"/>
                  </a:lnTo>
                  <a:lnTo>
                    <a:pt x="50" y="6"/>
                  </a:lnTo>
                  <a:lnTo>
                    <a:pt x="50" y="6"/>
                  </a:lnTo>
                  <a:lnTo>
                    <a:pt x="50" y="6"/>
                  </a:lnTo>
                  <a:lnTo>
                    <a:pt x="46" y="6"/>
                  </a:lnTo>
                  <a:lnTo>
                    <a:pt x="46" y="6"/>
                  </a:lnTo>
                  <a:lnTo>
                    <a:pt x="46" y="6"/>
                  </a:lnTo>
                  <a:lnTo>
                    <a:pt x="46" y="6"/>
                  </a:lnTo>
                  <a:lnTo>
                    <a:pt x="46" y="6"/>
                  </a:lnTo>
                  <a:lnTo>
                    <a:pt x="46" y="6"/>
                  </a:lnTo>
                  <a:lnTo>
                    <a:pt x="46" y="6"/>
                  </a:lnTo>
                  <a:lnTo>
                    <a:pt x="46" y="2"/>
                  </a:lnTo>
                  <a:lnTo>
                    <a:pt x="50" y="2"/>
                  </a:lnTo>
                  <a:lnTo>
                    <a:pt x="50" y="2"/>
                  </a:lnTo>
                  <a:lnTo>
                    <a:pt x="50" y="2"/>
                  </a:lnTo>
                  <a:lnTo>
                    <a:pt x="50" y="2"/>
                  </a:lnTo>
                  <a:lnTo>
                    <a:pt x="50" y="2"/>
                  </a:lnTo>
                  <a:lnTo>
                    <a:pt x="50" y="2"/>
                  </a:lnTo>
                  <a:lnTo>
                    <a:pt x="54" y="2"/>
                  </a:lnTo>
                  <a:lnTo>
                    <a:pt x="54" y="2"/>
                  </a:lnTo>
                  <a:lnTo>
                    <a:pt x="56" y="0"/>
                  </a:lnTo>
                  <a:lnTo>
                    <a:pt x="56" y="0"/>
                  </a:lnTo>
                  <a:lnTo>
                    <a:pt x="56" y="0"/>
                  </a:lnTo>
                  <a:lnTo>
                    <a:pt x="56" y="0"/>
                  </a:lnTo>
                  <a:lnTo>
                    <a:pt x="60" y="0"/>
                  </a:lnTo>
                  <a:lnTo>
                    <a:pt x="60" y="0"/>
                  </a:lnTo>
                  <a:lnTo>
                    <a:pt x="64" y="0"/>
                  </a:lnTo>
                  <a:lnTo>
                    <a:pt x="64" y="0"/>
                  </a:lnTo>
                  <a:lnTo>
                    <a:pt x="64" y="0"/>
                  </a:lnTo>
                  <a:lnTo>
                    <a:pt x="64" y="0"/>
                  </a:lnTo>
                  <a:lnTo>
                    <a:pt x="64" y="2"/>
                  </a:lnTo>
                  <a:lnTo>
                    <a:pt x="64" y="2"/>
                  </a:lnTo>
                  <a:lnTo>
                    <a:pt x="64" y="0"/>
                  </a:lnTo>
                  <a:lnTo>
                    <a:pt x="64" y="0"/>
                  </a:lnTo>
                  <a:lnTo>
                    <a:pt x="68" y="0"/>
                  </a:lnTo>
                  <a:lnTo>
                    <a:pt x="68" y="0"/>
                  </a:lnTo>
                  <a:lnTo>
                    <a:pt x="68" y="0"/>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sp>
          <p:nvSpPr>
            <p:cNvPr id="533" name="Freeform 227"/>
            <p:cNvSpPr>
              <a:spLocks noEditPoints="1"/>
            </p:cNvSpPr>
            <p:nvPr/>
          </p:nvSpPr>
          <p:spPr bwMode="auto">
            <a:xfrm>
              <a:off x="7646914" y="3736786"/>
              <a:ext cx="259984" cy="349125"/>
            </a:xfrm>
            <a:custGeom>
              <a:avLst/>
              <a:gdLst>
                <a:gd name="T0" fmla="*/ 34 w 414"/>
                <a:gd name="T1" fmla="*/ 226 h 534"/>
                <a:gd name="T2" fmla="*/ 26 w 414"/>
                <a:gd name="T3" fmla="*/ 198 h 534"/>
                <a:gd name="T4" fmla="*/ 30 w 414"/>
                <a:gd name="T5" fmla="*/ 162 h 534"/>
                <a:gd name="T6" fmla="*/ 60 w 414"/>
                <a:gd name="T7" fmla="*/ 146 h 534"/>
                <a:gd name="T8" fmla="*/ 90 w 414"/>
                <a:gd name="T9" fmla="*/ 106 h 534"/>
                <a:gd name="T10" fmla="*/ 92 w 414"/>
                <a:gd name="T11" fmla="*/ 80 h 534"/>
                <a:gd name="T12" fmla="*/ 76 w 414"/>
                <a:gd name="T13" fmla="*/ 42 h 534"/>
                <a:gd name="T14" fmla="*/ 122 w 414"/>
                <a:gd name="T15" fmla="*/ 20 h 534"/>
                <a:gd name="T16" fmla="*/ 140 w 414"/>
                <a:gd name="T17" fmla="*/ 28 h 534"/>
                <a:gd name="T18" fmla="*/ 156 w 414"/>
                <a:gd name="T19" fmla="*/ 68 h 534"/>
                <a:gd name="T20" fmla="*/ 148 w 414"/>
                <a:gd name="T21" fmla="*/ 94 h 534"/>
                <a:gd name="T22" fmla="*/ 178 w 414"/>
                <a:gd name="T23" fmla="*/ 116 h 534"/>
                <a:gd name="T24" fmla="*/ 170 w 414"/>
                <a:gd name="T25" fmla="*/ 150 h 534"/>
                <a:gd name="T26" fmla="*/ 212 w 414"/>
                <a:gd name="T27" fmla="*/ 170 h 534"/>
                <a:gd name="T28" fmla="*/ 242 w 414"/>
                <a:gd name="T29" fmla="*/ 184 h 534"/>
                <a:gd name="T30" fmla="*/ 278 w 414"/>
                <a:gd name="T31" fmla="*/ 188 h 534"/>
                <a:gd name="T32" fmla="*/ 290 w 414"/>
                <a:gd name="T33" fmla="*/ 162 h 534"/>
                <a:gd name="T34" fmla="*/ 316 w 414"/>
                <a:gd name="T35" fmla="*/ 184 h 534"/>
                <a:gd name="T36" fmla="*/ 334 w 414"/>
                <a:gd name="T37" fmla="*/ 166 h 534"/>
                <a:gd name="T38" fmla="*/ 372 w 414"/>
                <a:gd name="T39" fmla="*/ 140 h 534"/>
                <a:gd name="T40" fmla="*/ 394 w 414"/>
                <a:gd name="T41" fmla="*/ 140 h 534"/>
                <a:gd name="T42" fmla="*/ 410 w 414"/>
                <a:gd name="T43" fmla="*/ 166 h 534"/>
                <a:gd name="T44" fmla="*/ 380 w 414"/>
                <a:gd name="T45" fmla="*/ 188 h 534"/>
                <a:gd name="T46" fmla="*/ 364 w 414"/>
                <a:gd name="T47" fmla="*/ 236 h 534"/>
                <a:gd name="T48" fmla="*/ 350 w 414"/>
                <a:gd name="T49" fmla="*/ 256 h 534"/>
                <a:gd name="T50" fmla="*/ 338 w 414"/>
                <a:gd name="T51" fmla="*/ 248 h 534"/>
                <a:gd name="T52" fmla="*/ 328 w 414"/>
                <a:gd name="T53" fmla="*/ 244 h 534"/>
                <a:gd name="T54" fmla="*/ 342 w 414"/>
                <a:gd name="T55" fmla="*/ 218 h 534"/>
                <a:gd name="T56" fmla="*/ 304 w 414"/>
                <a:gd name="T57" fmla="*/ 198 h 534"/>
                <a:gd name="T58" fmla="*/ 286 w 414"/>
                <a:gd name="T59" fmla="*/ 184 h 534"/>
                <a:gd name="T60" fmla="*/ 286 w 414"/>
                <a:gd name="T61" fmla="*/ 214 h 534"/>
                <a:gd name="T62" fmla="*/ 286 w 414"/>
                <a:gd name="T63" fmla="*/ 236 h 534"/>
                <a:gd name="T64" fmla="*/ 290 w 414"/>
                <a:gd name="T65" fmla="*/ 270 h 534"/>
                <a:gd name="T66" fmla="*/ 282 w 414"/>
                <a:gd name="T67" fmla="*/ 274 h 534"/>
                <a:gd name="T68" fmla="*/ 268 w 414"/>
                <a:gd name="T69" fmla="*/ 278 h 534"/>
                <a:gd name="T70" fmla="*/ 248 w 414"/>
                <a:gd name="T71" fmla="*/ 306 h 534"/>
                <a:gd name="T72" fmla="*/ 230 w 414"/>
                <a:gd name="T73" fmla="*/ 318 h 534"/>
                <a:gd name="T74" fmla="*/ 200 w 414"/>
                <a:gd name="T75" fmla="*/ 352 h 534"/>
                <a:gd name="T76" fmla="*/ 178 w 414"/>
                <a:gd name="T77" fmla="*/ 378 h 534"/>
                <a:gd name="T78" fmla="*/ 170 w 414"/>
                <a:gd name="T79" fmla="*/ 412 h 534"/>
                <a:gd name="T80" fmla="*/ 162 w 414"/>
                <a:gd name="T81" fmla="*/ 442 h 534"/>
                <a:gd name="T82" fmla="*/ 152 w 414"/>
                <a:gd name="T83" fmla="*/ 478 h 534"/>
                <a:gd name="T84" fmla="*/ 126 w 414"/>
                <a:gd name="T85" fmla="*/ 508 h 534"/>
                <a:gd name="T86" fmla="*/ 114 w 414"/>
                <a:gd name="T87" fmla="*/ 486 h 534"/>
                <a:gd name="T88" fmla="*/ 96 w 414"/>
                <a:gd name="T89" fmla="*/ 442 h 534"/>
                <a:gd name="T90" fmla="*/ 86 w 414"/>
                <a:gd name="T91" fmla="*/ 396 h 534"/>
                <a:gd name="T92" fmla="*/ 70 w 414"/>
                <a:gd name="T93" fmla="*/ 358 h 534"/>
                <a:gd name="T94" fmla="*/ 62 w 414"/>
                <a:gd name="T95" fmla="*/ 322 h 534"/>
                <a:gd name="T96" fmla="*/ 62 w 414"/>
                <a:gd name="T97" fmla="*/ 286 h 534"/>
                <a:gd name="T98" fmla="*/ 60 w 414"/>
                <a:gd name="T99" fmla="*/ 270 h 534"/>
                <a:gd name="T100" fmla="*/ 56 w 414"/>
                <a:gd name="T101" fmla="*/ 270 h 534"/>
                <a:gd name="T102" fmla="*/ 22 w 414"/>
                <a:gd name="T103" fmla="*/ 282 h 534"/>
                <a:gd name="T104" fmla="*/ 30 w 414"/>
                <a:gd name="T105" fmla="*/ 256 h 534"/>
                <a:gd name="T106" fmla="*/ 4 w 414"/>
                <a:gd name="T107" fmla="*/ 240 h 534"/>
                <a:gd name="T108" fmla="*/ 346 w 414"/>
                <a:gd name="T109" fmla="*/ 442 h 534"/>
                <a:gd name="T110" fmla="*/ 346 w 414"/>
                <a:gd name="T111" fmla="*/ 490 h 534"/>
                <a:gd name="T112" fmla="*/ 354 w 414"/>
                <a:gd name="T113" fmla="*/ 512 h 534"/>
                <a:gd name="T114" fmla="*/ 350 w 414"/>
                <a:gd name="T115" fmla="*/ 426 h 534"/>
                <a:gd name="T116" fmla="*/ 346 w 414"/>
                <a:gd name="T117" fmla="*/ 438 h 534"/>
                <a:gd name="T118" fmla="*/ 346 w 414"/>
                <a:gd name="T119" fmla="*/ 442 h 534"/>
                <a:gd name="T120" fmla="*/ 360 w 414"/>
                <a:gd name="T12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 h="534">
                  <a:moveTo>
                    <a:pt x="0" y="236"/>
                  </a:moveTo>
                  <a:lnTo>
                    <a:pt x="0" y="232"/>
                  </a:lnTo>
                  <a:lnTo>
                    <a:pt x="4" y="232"/>
                  </a:lnTo>
                  <a:lnTo>
                    <a:pt x="6" y="232"/>
                  </a:lnTo>
                  <a:lnTo>
                    <a:pt x="6" y="228"/>
                  </a:lnTo>
                  <a:lnTo>
                    <a:pt x="6" y="226"/>
                  </a:lnTo>
                  <a:lnTo>
                    <a:pt x="10" y="226"/>
                  </a:lnTo>
                  <a:lnTo>
                    <a:pt x="10" y="228"/>
                  </a:lnTo>
                  <a:lnTo>
                    <a:pt x="14" y="228"/>
                  </a:lnTo>
                  <a:lnTo>
                    <a:pt x="18" y="228"/>
                  </a:lnTo>
                  <a:lnTo>
                    <a:pt x="22" y="228"/>
                  </a:lnTo>
                  <a:lnTo>
                    <a:pt x="26" y="228"/>
                  </a:lnTo>
                  <a:lnTo>
                    <a:pt x="26" y="226"/>
                  </a:lnTo>
                  <a:lnTo>
                    <a:pt x="30" y="226"/>
                  </a:lnTo>
                  <a:lnTo>
                    <a:pt x="34" y="226"/>
                  </a:lnTo>
                  <a:lnTo>
                    <a:pt x="34" y="228"/>
                  </a:lnTo>
                  <a:lnTo>
                    <a:pt x="36" y="228"/>
                  </a:lnTo>
                  <a:lnTo>
                    <a:pt x="36" y="226"/>
                  </a:lnTo>
                  <a:lnTo>
                    <a:pt x="40" y="226"/>
                  </a:lnTo>
                  <a:lnTo>
                    <a:pt x="36" y="226"/>
                  </a:lnTo>
                  <a:lnTo>
                    <a:pt x="36" y="222"/>
                  </a:lnTo>
                  <a:lnTo>
                    <a:pt x="40" y="222"/>
                  </a:lnTo>
                  <a:lnTo>
                    <a:pt x="36" y="218"/>
                  </a:lnTo>
                  <a:lnTo>
                    <a:pt x="36" y="214"/>
                  </a:lnTo>
                  <a:lnTo>
                    <a:pt x="36" y="210"/>
                  </a:lnTo>
                  <a:lnTo>
                    <a:pt x="34" y="210"/>
                  </a:lnTo>
                  <a:lnTo>
                    <a:pt x="34" y="206"/>
                  </a:lnTo>
                  <a:lnTo>
                    <a:pt x="34" y="202"/>
                  </a:lnTo>
                  <a:lnTo>
                    <a:pt x="30" y="202"/>
                  </a:lnTo>
                  <a:lnTo>
                    <a:pt x="26" y="198"/>
                  </a:lnTo>
                  <a:lnTo>
                    <a:pt x="26" y="196"/>
                  </a:lnTo>
                  <a:lnTo>
                    <a:pt x="26" y="192"/>
                  </a:lnTo>
                  <a:lnTo>
                    <a:pt x="26" y="188"/>
                  </a:lnTo>
                  <a:lnTo>
                    <a:pt x="26" y="184"/>
                  </a:lnTo>
                  <a:lnTo>
                    <a:pt x="22" y="184"/>
                  </a:lnTo>
                  <a:lnTo>
                    <a:pt x="18" y="184"/>
                  </a:lnTo>
                  <a:lnTo>
                    <a:pt x="18" y="180"/>
                  </a:lnTo>
                  <a:lnTo>
                    <a:pt x="18" y="176"/>
                  </a:lnTo>
                  <a:lnTo>
                    <a:pt x="18" y="172"/>
                  </a:lnTo>
                  <a:lnTo>
                    <a:pt x="22" y="172"/>
                  </a:lnTo>
                  <a:lnTo>
                    <a:pt x="22" y="170"/>
                  </a:lnTo>
                  <a:lnTo>
                    <a:pt x="26" y="170"/>
                  </a:lnTo>
                  <a:lnTo>
                    <a:pt x="26" y="166"/>
                  </a:lnTo>
                  <a:lnTo>
                    <a:pt x="26" y="162"/>
                  </a:lnTo>
                  <a:lnTo>
                    <a:pt x="30" y="162"/>
                  </a:lnTo>
                  <a:lnTo>
                    <a:pt x="30" y="158"/>
                  </a:lnTo>
                  <a:lnTo>
                    <a:pt x="34" y="158"/>
                  </a:lnTo>
                  <a:lnTo>
                    <a:pt x="34" y="162"/>
                  </a:lnTo>
                  <a:lnTo>
                    <a:pt x="34" y="166"/>
                  </a:lnTo>
                  <a:lnTo>
                    <a:pt x="36" y="166"/>
                  </a:lnTo>
                  <a:lnTo>
                    <a:pt x="40" y="166"/>
                  </a:lnTo>
                  <a:lnTo>
                    <a:pt x="40" y="162"/>
                  </a:lnTo>
                  <a:lnTo>
                    <a:pt x="44" y="162"/>
                  </a:lnTo>
                  <a:lnTo>
                    <a:pt x="48" y="162"/>
                  </a:lnTo>
                  <a:lnTo>
                    <a:pt x="52" y="162"/>
                  </a:lnTo>
                  <a:lnTo>
                    <a:pt x="52" y="158"/>
                  </a:lnTo>
                  <a:lnTo>
                    <a:pt x="56" y="154"/>
                  </a:lnTo>
                  <a:lnTo>
                    <a:pt x="56" y="150"/>
                  </a:lnTo>
                  <a:lnTo>
                    <a:pt x="56" y="146"/>
                  </a:lnTo>
                  <a:lnTo>
                    <a:pt x="60" y="146"/>
                  </a:lnTo>
                  <a:lnTo>
                    <a:pt x="60" y="142"/>
                  </a:lnTo>
                  <a:lnTo>
                    <a:pt x="62" y="142"/>
                  </a:lnTo>
                  <a:lnTo>
                    <a:pt x="66" y="142"/>
                  </a:lnTo>
                  <a:lnTo>
                    <a:pt x="66" y="140"/>
                  </a:lnTo>
                  <a:lnTo>
                    <a:pt x="70" y="132"/>
                  </a:lnTo>
                  <a:lnTo>
                    <a:pt x="70" y="128"/>
                  </a:lnTo>
                  <a:lnTo>
                    <a:pt x="74" y="124"/>
                  </a:lnTo>
                  <a:lnTo>
                    <a:pt x="78" y="124"/>
                  </a:lnTo>
                  <a:lnTo>
                    <a:pt x="82" y="120"/>
                  </a:lnTo>
                  <a:lnTo>
                    <a:pt x="82" y="116"/>
                  </a:lnTo>
                  <a:lnTo>
                    <a:pt x="78" y="116"/>
                  </a:lnTo>
                  <a:lnTo>
                    <a:pt x="82" y="112"/>
                  </a:lnTo>
                  <a:lnTo>
                    <a:pt x="86" y="110"/>
                  </a:lnTo>
                  <a:lnTo>
                    <a:pt x="86" y="106"/>
                  </a:lnTo>
                  <a:lnTo>
                    <a:pt x="90" y="106"/>
                  </a:lnTo>
                  <a:lnTo>
                    <a:pt x="92" y="102"/>
                  </a:lnTo>
                  <a:lnTo>
                    <a:pt x="90" y="102"/>
                  </a:lnTo>
                  <a:lnTo>
                    <a:pt x="90" y="106"/>
                  </a:lnTo>
                  <a:lnTo>
                    <a:pt x="90" y="102"/>
                  </a:lnTo>
                  <a:lnTo>
                    <a:pt x="90" y="98"/>
                  </a:lnTo>
                  <a:lnTo>
                    <a:pt x="90" y="94"/>
                  </a:lnTo>
                  <a:lnTo>
                    <a:pt x="90" y="90"/>
                  </a:lnTo>
                  <a:lnTo>
                    <a:pt x="90" y="86"/>
                  </a:lnTo>
                  <a:lnTo>
                    <a:pt x="92" y="86"/>
                  </a:lnTo>
                  <a:lnTo>
                    <a:pt x="96" y="86"/>
                  </a:lnTo>
                  <a:lnTo>
                    <a:pt x="100" y="86"/>
                  </a:lnTo>
                  <a:lnTo>
                    <a:pt x="100" y="82"/>
                  </a:lnTo>
                  <a:lnTo>
                    <a:pt x="100" y="80"/>
                  </a:lnTo>
                  <a:lnTo>
                    <a:pt x="96" y="80"/>
                  </a:lnTo>
                  <a:lnTo>
                    <a:pt x="92" y="80"/>
                  </a:lnTo>
                  <a:lnTo>
                    <a:pt x="92" y="80"/>
                  </a:lnTo>
                  <a:lnTo>
                    <a:pt x="90" y="80"/>
                  </a:lnTo>
                  <a:lnTo>
                    <a:pt x="88" y="78"/>
                  </a:lnTo>
                  <a:lnTo>
                    <a:pt x="86" y="78"/>
                  </a:lnTo>
                  <a:lnTo>
                    <a:pt x="84" y="76"/>
                  </a:lnTo>
                  <a:lnTo>
                    <a:pt x="82" y="76"/>
                  </a:lnTo>
                  <a:lnTo>
                    <a:pt x="80" y="72"/>
                  </a:lnTo>
                  <a:lnTo>
                    <a:pt x="78" y="72"/>
                  </a:lnTo>
                  <a:lnTo>
                    <a:pt x="76" y="70"/>
                  </a:lnTo>
                  <a:lnTo>
                    <a:pt x="76" y="66"/>
                  </a:lnTo>
                  <a:lnTo>
                    <a:pt x="76" y="62"/>
                  </a:lnTo>
                  <a:lnTo>
                    <a:pt x="76" y="58"/>
                  </a:lnTo>
                  <a:lnTo>
                    <a:pt x="74" y="54"/>
                  </a:lnTo>
                  <a:lnTo>
                    <a:pt x="74" y="48"/>
                  </a:lnTo>
                  <a:lnTo>
                    <a:pt x="76" y="42"/>
                  </a:lnTo>
                  <a:lnTo>
                    <a:pt x="84" y="36"/>
                  </a:lnTo>
                  <a:lnTo>
                    <a:pt x="66" y="22"/>
                  </a:lnTo>
                  <a:lnTo>
                    <a:pt x="62" y="18"/>
                  </a:lnTo>
                  <a:lnTo>
                    <a:pt x="66" y="10"/>
                  </a:lnTo>
                  <a:lnTo>
                    <a:pt x="78" y="4"/>
                  </a:lnTo>
                  <a:lnTo>
                    <a:pt x="88" y="2"/>
                  </a:lnTo>
                  <a:lnTo>
                    <a:pt x="92" y="0"/>
                  </a:lnTo>
                  <a:lnTo>
                    <a:pt x="100" y="0"/>
                  </a:lnTo>
                  <a:lnTo>
                    <a:pt x="104" y="4"/>
                  </a:lnTo>
                  <a:lnTo>
                    <a:pt x="114" y="12"/>
                  </a:lnTo>
                  <a:lnTo>
                    <a:pt x="118" y="18"/>
                  </a:lnTo>
                  <a:lnTo>
                    <a:pt x="118" y="18"/>
                  </a:lnTo>
                  <a:lnTo>
                    <a:pt x="120" y="18"/>
                  </a:lnTo>
                  <a:lnTo>
                    <a:pt x="120" y="18"/>
                  </a:lnTo>
                  <a:lnTo>
                    <a:pt x="122" y="20"/>
                  </a:lnTo>
                  <a:lnTo>
                    <a:pt x="124" y="20"/>
                  </a:lnTo>
                  <a:lnTo>
                    <a:pt x="124" y="20"/>
                  </a:lnTo>
                  <a:lnTo>
                    <a:pt x="128" y="22"/>
                  </a:lnTo>
                  <a:lnTo>
                    <a:pt x="126" y="26"/>
                  </a:lnTo>
                  <a:lnTo>
                    <a:pt x="126" y="26"/>
                  </a:lnTo>
                  <a:lnTo>
                    <a:pt x="130" y="26"/>
                  </a:lnTo>
                  <a:lnTo>
                    <a:pt x="132" y="28"/>
                  </a:lnTo>
                  <a:lnTo>
                    <a:pt x="132" y="28"/>
                  </a:lnTo>
                  <a:lnTo>
                    <a:pt x="132" y="28"/>
                  </a:lnTo>
                  <a:lnTo>
                    <a:pt x="130" y="28"/>
                  </a:lnTo>
                  <a:lnTo>
                    <a:pt x="130" y="28"/>
                  </a:lnTo>
                  <a:lnTo>
                    <a:pt x="132" y="30"/>
                  </a:lnTo>
                  <a:lnTo>
                    <a:pt x="132" y="30"/>
                  </a:lnTo>
                  <a:lnTo>
                    <a:pt x="132" y="30"/>
                  </a:lnTo>
                  <a:lnTo>
                    <a:pt x="140" y="28"/>
                  </a:lnTo>
                  <a:lnTo>
                    <a:pt x="142" y="26"/>
                  </a:lnTo>
                  <a:lnTo>
                    <a:pt x="148" y="24"/>
                  </a:lnTo>
                  <a:lnTo>
                    <a:pt x="152" y="24"/>
                  </a:lnTo>
                  <a:lnTo>
                    <a:pt x="158" y="22"/>
                  </a:lnTo>
                  <a:lnTo>
                    <a:pt x="168" y="30"/>
                  </a:lnTo>
                  <a:lnTo>
                    <a:pt x="168" y="36"/>
                  </a:lnTo>
                  <a:lnTo>
                    <a:pt x="166" y="44"/>
                  </a:lnTo>
                  <a:lnTo>
                    <a:pt x="158" y="52"/>
                  </a:lnTo>
                  <a:lnTo>
                    <a:pt x="156" y="54"/>
                  </a:lnTo>
                  <a:lnTo>
                    <a:pt x="148" y="54"/>
                  </a:lnTo>
                  <a:lnTo>
                    <a:pt x="148" y="60"/>
                  </a:lnTo>
                  <a:lnTo>
                    <a:pt x="152" y="60"/>
                  </a:lnTo>
                  <a:lnTo>
                    <a:pt x="152" y="64"/>
                  </a:lnTo>
                  <a:lnTo>
                    <a:pt x="156" y="64"/>
                  </a:lnTo>
                  <a:lnTo>
                    <a:pt x="156" y="68"/>
                  </a:lnTo>
                  <a:lnTo>
                    <a:pt x="156" y="72"/>
                  </a:lnTo>
                  <a:lnTo>
                    <a:pt x="160" y="72"/>
                  </a:lnTo>
                  <a:lnTo>
                    <a:pt x="160" y="76"/>
                  </a:lnTo>
                  <a:lnTo>
                    <a:pt x="156" y="80"/>
                  </a:lnTo>
                  <a:lnTo>
                    <a:pt x="156" y="76"/>
                  </a:lnTo>
                  <a:lnTo>
                    <a:pt x="152" y="80"/>
                  </a:lnTo>
                  <a:lnTo>
                    <a:pt x="148" y="80"/>
                  </a:lnTo>
                  <a:lnTo>
                    <a:pt x="148" y="76"/>
                  </a:lnTo>
                  <a:lnTo>
                    <a:pt x="144" y="76"/>
                  </a:lnTo>
                  <a:lnTo>
                    <a:pt x="144" y="80"/>
                  </a:lnTo>
                  <a:lnTo>
                    <a:pt x="144" y="82"/>
                  </a:lnTo>
                  <a:lnTo>
                    <a:pt x="144" y="86"/>
                  </a:lnTo>
                  <a:lnTo>
                    <a:pt x="148" y="86"/>
                  </a:lnTo>
                  <a:lnTo>
                    <a:pt x="148" y="90"/>
                  </a:lnTo>
                  <a:lnTo>
                    <a:pt x="148" y="94"/>
                  </a:lnTo>
                  <a:lnTo>
                    <a:pt x="148" y="98"/>
                  </a:lnTo>
                  <a:lnTo>
                    <a:pt x="148" y="102"/>
                  </a:lnTo>
                  <a:lnTo>
                    <a:pt x="148" y="98"/>
                  </a:lnTo>
                  <a:lnTo>
                    <a:pt x="152" y="98"/>
                  </a:lnTo>
                  <a:lnTo>
                    <a:pt x="156" y="98"/>
                  </a:lnTo>
                  <a:lnTo>
                    <a:pt x="156" y="102"/>
                  </a:lnTo>
                  <a:lnTo>
                    <a:pt x="156" y="106"/>
                  </a:lnTo>
                  <a:lnTo>
                    <a:pt x="160" y="106"/>
                  </a:lnTo>
                  <a:lnTo>
                    <a:pt x="162" y="106"/>
                  </a:lnTo>
                  <a:lnTo>
                    <a:pt x="166" y="110"/>
                  </a:lnTo>
                  <a:lnTo>
                    <a:pt x="170" y="110"/>
                  </a:lnTo>
                  <a:lnTo>
                    <a:pt x="166" y="112"/>
                  </a:lnTo>
                  <a:lnTo>
                    <a:pt x="170" y="112"/>
                  </a:lnTo>
                  <a:lnTo>
                    <a:pt x="174" y="116"/>
                  </a:lnTo>
                  <a:lnTo>
                    <a:pt x="178" y="116"/>
                  </a:lnTo>
                  <a:lnTo>
                    <a:pt x="178" y="120"/>
                  </a:lnTo>
                  <a:lnTo>
                    <a:pt x="182" y="120"/>
                  </a:lnTo>
                  <a:lnTo>
                    <a:pt x="178" y="120"/>
                  </a:lnTo>
                  <a:lnTo>
                    <a:pt x="174" y="124"/>
                  </a:lnTo>
                  <a:lnTo>
                    <a:pt x="174" y="128"/>
                  </a:lnTo>
                  <a:lnTo>
                    <a:pt x="170" y="128"/>
                  </a:lnTo>
                  <a:lnTo>
                    <a:pt x="170" y="132"/>
                  </a:lnTo>
                  <a:lnTo>
                    <a:pt x="166" y="136"/>
                  </a:lnTo>
                  <a:lnTo>
                    <a:pt x="170" y="136"/>
                  </a:lnTo>
                  <a:lnTo>
                    <a:pt x="170" y="140"/>
                  </a:lnTo>
                  <a:lnTo>
                    <a:pt x="166" y="140"/>
                  </a:lnTo>
                  <a:lnTo>
                    <a:pt x="166" y="142"/>
                  </a:lnTo>
                  <a:lnTo>
                    <a:pt x="166" y="146"/>
                  </a:lnTo>
                  <a:lnTo>
                    <a:pt x="170" y="146"/>
                  </a:lnTo>
                  <a:lnTo>
                    <a:pt x="170" y="150"/>
                  </a:lnTo>
                  <a:lnTo>
                    <a:pt x="174" y="150"/>
                  </a:lnTo>
                  <a:lnTo>
                    <a:pt x="174" y="146"/>
                  </a:lnTo>
                  <a:lnTo>
                    <a:pt x="174" y="150"/>
                  </a:lnTo>
                  <a:lnTo>
                    <a:pt x="178" y="150"/>
                  </a:lnTo>
                  <a:lnTo>
                    <a:pt x="182" y="154"/>
                  </a:lnTo>
                  <a:lnTo>
                    <a:pt x="186" y="158"/>
                  </a:lnTo>
                  <a:lnTo>
                    <a:pt x="190" y="162"/>
                  </a:lnTo>
                  <a:lnTo>
                    <a:pt x="192" y="162"/>
                  </a:lnTo>
                  <a:lnTo>
                    <a:pt x="196" y="162"/>
                  </a:lnTo>
                  <a:lnTo>
                    <a:pt x="196" y="166"/>
                  </a:lnTo>
                  <a:lnTo>
                    <a:pt x="200" y="166"/>
                  </a:lnTo>
                  <a:lnTo>
                    <a:pt x="204" y="166"/>
                  </a:lnTo>
                  <a:lnTo>
                    <a:pt x="204" y="170"/>
                  </a:lnTo>
                  <a:lnTo>
                    <a:pt x="208" y="170"/>
                  </a:lnTo>
                  <a:lnTo>
                    <a:pt x="212" y="170"/>
                  </a:lnTo>
                  <a:lnTo>
                    <a:pt x="212" y="172"/>
                  </a:lnTo>
                  <a:lnTo>
                    <a:pt x="212" y="170"/>
                  </a:lnTo>
                  <a:lnTo>
                    <a:pt x="216" y="170"/>
                  </a:lnTo>
                  <a:lnTo>
                    <a:pt x="218" y="170"/>
                  </a:lnTo>
                  <a:lnTo>
                    <a:pt x="218" y="172"/>
                  </a:lnTo>
                  <a:lnTo>
                    <a:pt x="218" y="170"/>
                  </a:lnTo>
                  <a:lnTo>
                    <a:pt x="222" y="170"/>
                  </a:lnTo>
                  <a:lnTo>
                    <a:pt x="226" y="172"/>
                  </a:lnTo>
                  <a:lnTo>
                    <a:pt x="230" y="172"/>
                  </a:lnTo>
                  <a:lnTo>
                    <a:pt x="230" y="176"/>
                  </a:lnTo>
                  <a:lnTo>
                    <a:pt x="234" y="176"/>
                  </a:lnTo>
                  <a:lnTo>
                    <a:pt x="234" y="180"/>
                  </a:lnTo>
                  <a:lnTo>
                    <a:pt x="238" y="180"/>
                  </a:lnTo>
                  <a:lnTo>
                    <a:pt x="238" y="184"/>
                  </a:lnTo>
                  <a:lnTo>
                    <a:pt x="242" y="184"/>
                  </a:lnTo>
                  <a:lnTo>
                    <a:pt x="242" y="180"/>
                  </a:lnTo>
                  <a:lnTo>
                    <a:pt x="246" y="180"/>
                  </a:lnTo>
                  <a:lnTo>
                    <a:pt x="246" y="184"/>
                  </a:lnTo>
                  <a:lnTo>
                    <a:pt x="248" y="188"/>
                  </a:lnTo>
                  <a:lnTo>
                    <a:pt x="248" y="184"/>
                  </a:lnTo>
                  <a:lnTo>
                    <a:pt x="252" y="184"/>
                  </a:lnTo>
                  <a:lnTo>
                    <a:pt x="256" y="184"/>
                  </a:lnTo>
                  <a:lnTo>
                    <a:pt x="256" y="188"/>
                  </a:lnTo>
                  <a:lnTo>
                    <a:pt x="260" y="188"/>
                  </a:lnTo>
                  <a:lnTo>
                    <a:pt x="264" y="188"/>
                  </a:lnTo>
                  <a:lnTo>
                    <a:pt x="268" y="188"/>
                  </a:lnTo>
                  <a:lnTo>
                    <a:pt x="268" y="192"/>
                  </a:lnTo>
                  <a:lnTo>
                    <a:pt x="272" y="188"/>
                  </a:lnTo>
                  <a:lnTo>
                    <a:pt x="274" y="188"/>
                  </a:lnTo>
                  <a:lnTo>
                    <a:pt x="278" y="188"/>
                  </a:lnTo>
                  <a:lnTo>
                    <a:pt x="278" y="192"/>
                  </a:lnTo>
                  <a:lnTo>
                    <a:pt x="278" y="188"/>
                  </a:lnTo>
                  <a:lnTo>
                    <a:pt x="282" y="184"/>
                  </a:lnTo>
                  <a:lnTo>
                    <a:pt x="282" y="180"/>
                  </a:lnTo>
                  <a:lnTo>
                    <a:pt x="278" y="180"/>
                  </a:lnTo>
                  <a:lnTo>
                    <a:pt x="278" y="176"/>
                  </a:lnTo>
                  <a:lnTo>
                    <a:pt x="278" y="172"/>
                  </a:lnTo>
                  <a:lnTo>
                    <a:pt x="278" y="170"/>
                  </a:lnTo>
                  <a:lnTo>
                    <a:pt x="282" y="166"/>
                  </a:lnTo>
                  <a:lnTo>
                    <a:pt x="282" y="162"/>
                  </a:lnTo>
                  <a:lnTo>
                    <a:pt x="278" y="162"/>
                  </a:lnTo>
                  <a:lnTo>
                    <a:pt x="282" y="162"/>
                  </a:lnTo>
                  <a:lnTo>
                    <a:pt x="286" y="158"/>
                  </a:lnTo>
                  <a:lnTo>
                    <a:pt x="290" y="158"/>
                  </a:lnTo>
                  <a:lnTo>
                    <a:pt x="290" y="162"/>
                  </a:lnTo>
                  <a:lnTo>
                    <a:pt x="290" y="166"/>
                  </a:lnTo>
                  <a:lnTo>
                    <a:pt x="290" y="170"/>
                  </a:lnTo>
                  <a:lnTo>
                    <a:pt x="290" y="172"/>
                  </a:lnTo>
                  <a:lnTo>
                    <a:pt x="290" y="176"/>
                  </a:lnTo>
                  <a:lnTo>
                    <a:pt x="290" y="180"/>
                  </a:lnTo>
                  <a:lnTo>
                    <a:pt x="294" y="180"/>
                  </a:lnTo>
                  <a:lnTo>
                    <a:pt x="298" y="180"/>
                  </a:lnTo>
                  <a:lnTo>
                    <a:pt x="302" y="180"/>
                  </a:lnTo>
                  <a:lnTo>
                    <a:pt x="302" y="184"/>
                  </a:lnTo>
                  <a:lnTo>
                    <a:pt x="304" y="184"/>
                  </a:lnTo>
                  <a:lnTo>
                    <a:pt x="308" y="184"/>
                  </a:lnTo>
                  <a:lnTo>
                    <a:pt x="308" y="180"/>
                  </a:lnTo>
                  <a:lnTo>
                    <a:pt x="312" y="180"/>
                  </a:lnTo>
                  <a:lnTo>
                    <a:pt x="316" y="180"/>
                  </a:lnTo>
                  <a:lnTo>
                    <a:pt x="316" y="184"/>
                  </a:lnTo>
                  <a:lnTo>
                    <a:pt x="320" y="184"/>
                  </a:lnTo>
                  <a:lnTo>
                    <a:pt x="324" y="180"/>
                  </a:lnTo>
                  <a:lnTo>
                    <a:pt x="324" y="184"/>
                  </a:lnTo>
                  <a:lnTo>
                    <a:pt x="328" y="184"/>
                  </a:lnTo>
                  <a:lnTo>
                    <a:pt x="328" y="180"/>
                  </a:lnTo>
                  <a:lnTo>
                    <a:pt x="332" y="180"/>
                  </a:lnTo>
                  <a:lnTo>
                    <a:pt x="334" y="180"/>
                  </a:lnTo>
                  <a:lnTo>
                    <a:pt x="338" y="180"/>
                  </a:lnTo>
                  <a:lnTo>
                    <a:pt x="334" y="176"/>
                  </a:lnTo>
                  <a:lnTo>
                    <a:pt x="338" y="172"/>
                  </a:lnTo>
                  <a:lnTo>
                    <a:pt x="334" y="172"/>
                  </a:lnTo>
                  <a:lnTo>
                    <a:pt x="334" y="170"/>
                  </a:lnTo>
                  <a:lnTo>
                    <a:pt x="332" y="170"/>
                  </a:lnTo>
                  <a:lnTo>
                    <a:pt x="332" y="166"/>
                  </a:lnTo>
                  <a:lnTo>
                    <a:pt x="334" y="166"/>
                  </a:lnTo>
                  <a:lnTo>
                    <a:pt x="338" y="166"/>
                  </a:lnTo>
                  <a:lnTo>
                    <a:pt x="338" y="162"/>
                  </a:lnTo>
                  <a:lnTo>
                    <a:pt x="338" y="166"/>
                  </a:lnTo>
                  <a:lnTo>
                    <a:pt x="342" y="162"/>
                  </a:lnTo>
                  <a:lnTo>
                    <a:pt x="346" y="162"/>
                  </a:lnTo>
                  <a:lnTo>
                    <a:pt x="346" y="158"/>
                  </a:lnTo>
                  <a:lnTo>
                    <a:pt x="350" y="154"/>
                  </a:lnTo>
                  <a:lnTo>
                    <a:pt x="354" y="154"/>
                  </a:lnTo>
                  <a:lnTo>
                    <a:pt x="354" y="150"/>
                  </a:lnTo>
                  <a:lnTo>
                    <a:pt x="358" y="146"/>
                  </a:lnTo>
                  <a:lnTo>
                    <a:pt x="360" y="146"/>
                  </a:lnTo>
                  <a:lnTo>
                    <a:pt x="364" y="146"/>
                  </a:lnTo>
                  <a:lnTo>
                    <a:pt x="364" y="142"/>
                  </a:lnTo>
                  <a:lnTo>
                    <a:pt x="368" y="140"/>
                  </a:lnTo>
                  <a:lnTo>
                    <a:pt x="372" y="140"/>
                  </a:lnTo>
                  <a:lnTo>
                    <a:pt x="372" y="136"/>
                  </a:lnTo>
                  <a:lnTo>
                    <a:pt x="376" y="136"/>
                  </a:lnTo>
                  <a:lnTo>
                    <a:pt x="376" y="140"/>
                  </a:lnTo>
                  <a:lnTo>
                    <a:pt x="380" y="140"/>
                  </a:lnTo>
                  <a:lnTo>
                    <a:pt x="384" y="142"/>
                  </a:lnTo>
                  <a:lnTo>
                    <a:pt x="384" y="140"/>
                  </a:lnTo>
                  <a:lnTo>
                    <a:pt x="388" y="140"/>
                  </a:lnTo>
                  <a:lnTo>
                    <a:pt x="388" y="136"/>
                  </a:lnTo>
                  <a:lnTo>
                    <a:pt x="390" y="136"/>
                  </a:lnTo>
                  <a:lnTo>
                    <a:pt x="394" y="132"/>
                  </a:lnTo>
                  <a:lnTo>
                    <a:pt x="394" y="136"/>
                  </a:lnTo>
                  <a:lnTo>
                    <a:pt x="394" y="140"/>
                  </a:lnTo>
                  <a:lnTo>
                    <a:pt x="398" y="136"/>
                  </a:lnTo>
                  <a:lnTo>
                    <a:pt x="398" y="140"/>
                  </a:lnTo>
                  <a:lnTo>
                    <a:pt x="394" y="140"/>
                  </a:lnTo>
                  <a:lnTo>
                    <a:pt x="394" y="142"/>
                  </a:lnTo>
                  <a:lnTo>
                    <a:pt x="398" y="142"/>
                  </a:lnTo>
                  <a:lnTo>
                    <a:pt x="398" y="140"/>
                  </a:lnTo>
                  <a:lnTo>
                    <a:pt x="398" y="142"/>
                  </a:lnTo>
                  <a:lnTo>
                    <a:pt x="402" y="146"/>
                  </a:lnTo>
                  <a:lnTo>
                    <a:pt x="398" y="150"/>
                  </a:lnTo>
                  <a:lnTo>
                    <a:pt x="398" y="154"/>
                  </a:lnTo>
                  <a:lnTo>
                    <a:pt x="402" y="150"/>
                  </a:lnTo>
                  <a:lnTo>
                    <a:pt x="402" y="154"/>
                  </a:lnTo>
                  <a:lnTo>
                    <a:pt x="406" y="154"/>
                  </a:lnTo>
                  <a:lnTo>
                    <a:pt x="410" y="154"/>
                  </a:lnTo>
                  <a:lnTo>
                    <a:pt x="410" y="158"/>
                  </a:lnTo>
                  <a:lnTo>
                    <a:pt x="414" y="162"/>
                  </a:lnTo>
                  <a:lnTo>
                    <a:pt x="410" y="162"/>
                  </a:lnTo>
                  <a:lnTo>
                    <a:pt x="410" y="166"/>
                  </a:lnTo>
                  <a:lnTo>
                    <a:pt x="406" y="166"/>
                  </a:lnTo>
                  <a:lnTo>
                    <a:pt x="406" y="170"/>
                  </a:lnTo>
                  <a:lnTo>
                    <a:pt x="406" y="172"/>
                  </a:lnTo>
                  <a:lnTo>
                    <a:pt x="410" y="176"/>
                  </a:lnTo>
                  <a:lnTo>
                    <a:pt x="406" y="176"/>
                  </a:lnTo>
                  <a:lnTo>
                    <a:pt x="406" y="172"/>
                  </a:lnTo>
                  <a:lnTo>
                    <a:pt x="402" y="172"/>
                  </a:lnTo>
                  <a:lnTo>
                    <a:pt x="398" y="172"/>
                  </a:lnTo>
                  <a:lnTo>
                    <a:pt x="394" y="172"/>
                  </a:lnTo>
                  <a:lnTo>
                    <a:pt x="390" y="176"/>
                  </a:lnTo>
                  <a:lnTo>
                    <a:pt x="388" y="180"/>
                  </a:lnTo>
                  <a:lnTo>
                    <a:pt x="384" y="180"/>
                  </a:lnTo>
                  <a:lnTo>
                    <a:pt x="384" y="184"/>
                  </a:lnTo>
                  <a:lnTo>
                    <a:pt x="380" y="184"/>
                  </a:lnTo>
                  <a:lnTo>
                    <a:pt x="380" y="188"/>
                  </a:lnTo>
                  <a:lnTo>
                    <a:pt x="380" y="192"/>
                  </a:lnTo>
                  <a:lnTo>
                    <a:pt x="380" y="196"/>
                  </a:lnTo>
                  <a:lnTo>
                    <a:pt x="380" y="198"/>
                  </a:lnTo>
                  <a:lnTo>
                    <a:pt x="380" y="202"/>
                  </a:lnTo>
                  <a:lnTo>
                    <a:pt x="376" y="202"/>
                  </a:lnTo>
                  <a:lnTo>
                    <a:pt x="376" y="206"/>
                  </a:lnTo>
                  <a:lnTo>
                    <a:pt x="372" y="206"/>
                  </a:lnTo>
                  <a:lnTo>
                    <a:pt x="372" y="210"/>
                  </a:lnTo>
                  <a:lnTo>
                    <a:pt x="376" y="214"/>
                  </a:lnTo>
                  <a:lnTo>
                    <a:pt x="372" y="218"/>
                  </a:lnTo>
                  <a:lnTo>
                    <a:pt x="372" y="222"/>
                  </a:lnTo>
                  <a:lnTo>
                    <a:pt x="368" y="226"/>
                  </a:lnTo>
                  <a:lnTo>
                    <a:pt x="368" y="228"/>
                  </a:lnTo>
                  <a:lnTo>
                    <a:pt x="368" y="232"/>
                  </a:lnTo>
                  <a:lnTo>
                    <a:pt x="364" y="236"/>
                  </a:lnTo>
                  <a:lnTo>
                    <a:pt x="364" y="232"/>
                  </a:lnTo>
                  <a:lnTo>
                    <a:pt x="360" y="232"/>
                  </a:lnTo>
                  <a:lnTo>
                    <a:pt x="358" y="232"/>
                  </a:lnTo>
                  <a:lnTo>
                    <a:pt x="354" y="232"/>
                  </a:lnTo>
                  <a:lnTo>
                    <a:pt x="354" y="228"/>
                  </a:lnTo>
                  <a:lnTo>
                    <a:pt x="354" y="232"/>
                  </a:lnTo>
                  <a:lnTo>
                    <a:pt x="354" y="236"/>
                  </a:lnTo>
                  <a:lnTo>
                    <a:pt x="358" y="240"/>
                  </a:lnTo>
                  <a:lnTo>
                    <a:pt x="354" y="244"/>
                  </a:lnTo>
                  <a:lnTo>
                    <a:pt x="354" y="248"/>
                  </a:lnTo>
                  <a:lnTo>
                    <a:pt x="354" y="252"/>
                  </a:lnTo>
                  <a:lnTo>
                    <a:pt x="354" y="248"/>
                  </a:lnTo>
                  <a:lnTo>
                    <a:pt x="350" y="248"/>
                  </a:lnTo>
                  <a:lnTo>
                    <a:pt x="350" y="252"/>
                  </a:lnTo>
                  <a:lnTo>
                    <a:pt x="350" y="256"/>
                  </a:lnTo>
                  <a:lnTo>
                    <a:pt x="350" y="258"/>
                  </a:lnTo>
                  <a:lnTo>
                    <a:pt x="354" y="258"/>
                  </a:lnTo>
                  <a:lnTo>
                    <a:pt x="354" y="262"/>
                  </a:lnTo>
                  <a:lnTo>
                    <a:pt x="354" y="266"/>
                  </a:lnTo>
                  <a:lnTo>
                    <a:pt x="350" y="266"/>
                  </a:lnTo>
                  <a:lnTo>
                    <a:pt x="350" y="262"/>
                  </a:lnTo>
                  <a:lnTo>
                    <a:pt x="350" y="266"/>
                  </a:lnTo>
                  <a:lnTo>
                    <a:pt x="346" y="266"/>
                  </a:lnTo>
                  <a:lnTo>
                    <a:pt x="342" y="270"/>
                  </a:lnTo>
                  <a:lnTo>
                    <a:pt x="342" y="266"/>
                  </a:lnTo>
                  <a:lnTo>
                    <a:pt x="342" y="262"/>
                  </a:lnTo>
                  <a:lnTo>
                    <a:pt x="342" y="258"/>
                  </a:lnTo>
                  <a:lnTo>
                    <a:pt x="342" y="256"/>
                  </a:lnTo>
                  <a:lnTo>
                    <a:pt x="342" y="252"/>
                  </a:lnTo>
                  <a:lnTo>
                    <a:pt x="338" y="248"/>
                  </a:lnTo>
                  <a:lnTo>
                    <a:pt x="342" y="248"/>
                  </a:lnTo>
                  <a:lnTo>
                    <a:pt x="342" y="244"/>
                  </a:lnTo>
                  <a:lnTo>
                    <a:pt x="338" y="244"/>
                  </a:lnTo>
                  <a:lnTo>
                    <a:pt x="338" y="240"/>
                  </a:lnTo>
                  <a:lnTo>
                    <a:pt x="338" y="236"/>
                  </a:lnTo>
                  <a:lnTo>
                    <a:pt x="334" y="240"/>
                  </a:lnTo>
                  <a:lnTo>
                    <a:pt x="334" y="236"/>
                  </a:lnTo>
                  <a:lnTo>
                    <a:pt x="334" y="240"/>
                  </a:lnTo>
                  <a:lnTo>
                    <a:pt x="334" y="244"/>
                  </a:lnTo>
                  <a:lnTo>
                    <a:pt x="332" y="244"/>
                  </a:lnTo>
                  <a:lnTo>
                    <a:pt x="332" y="248"/>
                  </a:lnTo>
                  <a:lnTo>
                    <a:pt x="332" y="252"/>
                  </a:lnTo>
                  <a:lnTo>
                    <a:pt x="328" y="252"/>
                  </a:lnTo>
                  <a:lnTo>
                    <a:pt x="328" y="248"/>
                  </a:lnTo>
                  <a:lnTo>
                    <a:pt x="328" y="244"/>
                  </a:lnTo>
                  <a:lnTo>
                    <a:pt x="328" y="248"/>
                  </a:lnTo>
                  <a:lnTo>
                    <a:pt x="324" y="244"/>
                  </a:lnTo>
                  <a:lnTo>
                    <a:pt x="324" y="240"/>
                  </a:lnTo>
                  <a:lnTo>
                    <a:pt x="324" y="236"/>
                  </a:lnTo>
                  <a:lnTo>
                    <a:pt x="324" y="232"/>
                  </a:lnTo>
                  <a:lnTo>
                    <a:pt x="328" y="228"/>
                  </a:lnTo>
                  <a:lnTo>
                    <a:pt x="328" y="232"/>
                  </a:lnTo>
                  <a:lnTo>
                    <a:pt x="328" y="228"/>
                  </a:lnTo>
                  <a:lnTo>
                    <a:pt x="332" y="228"/>
                  </a:lnTo>
                  <a:lnTo>
                    <a:pt x="334" y="228"/>
                  </a:lnTo>
                  <a:lnTo>
                    <a:pt x="334" y="226"/>
                  </a:lnTo>
                  <a:lnTo>
                    <a:pt x="338" y="226"/>
                  </a:lnTo>
                  <a:lnTo>
                    <a:pt x="338" y="222"/>
                  </a:lnTo>
                  <a:lnTo>
                    <a:pt x="338" y="218"/>
                  </a:lnTo>
                  <a:lnTo>
                    <a:pt x="342" y="218"/>
                  </a:lnTo>
                  <a:lnTo>
                    <a:pt x="342" y="214"/>
                  </a:lnTo>
                  <a:lnTo>
                    <a:pt x="338" y="214"/>
                  </a:lnTo>
                  <a:lnTo>
                    <a:pt x="338" y="210"/>
                  </a:lnTo>
                  <a:lnTo>
                    <a:pt x="334" y="210"/>
                  </a:lnTo>
                  <a:lnTo>
                    <a:pt x="332" y="210"/>
                  </a:lnTo>
                  <a:lnTo>
                    <a:pt x="328" y="210"/>
                  </a:lnTo>
                  <a:lnTo>
                    <a:pt x="324" y="210"/>
                  </a:lnTo>
                  <a:lnTo>
                    <a:pt x="320" y="210"/>
                  </a:lnTo>
                  <a:lnTo>
                    <a:pt x="316" y="210"/>
                  </a:lnTo>
                  <a:lnTo>
                    <a:pt x="312" y="210"/>
                  </a:lnTo>
                  <a:lnTo>
                    <a:pt x="308" y="210"/>
                  </a:lnTo>
                  <a:lnTo>
                    <a:pt x="304" y="210"/>
                  </a:lnTo>
                  <a:lnTo>
                    <a:pt x="304" y="206"/>
                  </a:lnTo>
                  <a:lnTo>
                    <a:pt x="304" y="202"/>
                  </a:lnTo>
                  <a:lnTo>
                    <a:pt x="304" y="198"/>
                  </a:lnTo>
                  <a:lnTo>
                    <a:pt x="304" y="196"/>
                  </a:lnTo>
                  <a:lnTo>
                    <a:pt x="302" y="196"/>
                  </a:lnTo>
                  <a:lnTo>
                    <a:pt x="302" y="192"/>
                  </a:lnTo>
                  <a:lnTo>
                    <a:pt x="302" y="196"/>
                  </a:lnTo>
                  <a:lnTo>
                    <a:pt x="298" y="196"/>
                  </a:lnTo>
                  <a:lnTo>
                    <a:pt x="294" y="196"/>
                  </a:lnTo>
                  <a:lnTo>
                    <a:pt x="294" y="192"/>
                  </a:lnTo>
                  <a:lnTo>
                    <a:pt x="294" y="188"/>
                  </a:lnTo>
                  <a:lnTo>
                    <a:pt x="290" y="188"/>
                  </a:lnTo>
                  <a:lnTo>
                    <a:pt x="290" y="192"/>
                  </a:lnTo>
                  <a:lnTo>
                    <a:pt x="294" y="192"/>
                  </a:lnTo>
                  <a:lnTo>
                    <a:pt x="290" y="192"/>
                  </a:lnTo>
                  <a:lnTo>
                    <a:pt x="290" y="188"/>
                  </a:lnTo>
                  <a:lnTo>
                    <a:pt x="286" y="188"/>
                  </a:lnTo>
                  <a:lnTo>
                    <a:pt x="286" y="184"/>
                  </a:lnTo>
                  <a:lnTo>
                    <a:pt x="282" y="188"/>
                  </a:lnTo>
                  <a:lnTo>
                    <a:pt x="286" y="188"/>
                  </a:lnTo>
                  <a:lnTo>
                    <a:pt x="286" y="192"/>
                  </a:lnTo>
                  <a:lnTo>
                    <a:pt x="282" y="192"/>
                  </a:lnTo>
                  <a:lnTo>
                    <a:pt x="282" y="196"/>
                  </a:lnTo>
                  <a:lnTo>
                    <a:pt x="278" y="198"/>
                  </a:lnTo>
                  <a:lnTo>
                    <a:pt x="282" y="198"/>
                  </a:lnTo>
                  <a:lnTo>
                    <a:pt x="286" y="202"/>
                  </a:lnTo>
                  <a:lnTo>
                    <a:pt x="286" y="206"/>
                  </a:lnTo>
                  <a:lnTo>
                    <a:pt x="290" y="206"/>
                  </a:lnTo>
                  <a:lnTo>
                    <a:pt x="290" y="210"/>
                  </a:lnTo>
                  <a:lnTo>
                    <a:pt x="294" y="210"/>
                  </a:lnTo>
                  <a:lnTo>
                    <a:pt x="290" y="210"/>
                  </a:lnTo>
                  <a:lnTo>
                    <a:pt x="286" y="210"/>
                  </a:lnTo>
                  <a:lnTo>
                    <a:pt x="286" y="214"/>
                  </a:lnTo>
                  <a:lnTo>
                    <a:pt x="282" y="214"/>
                  </a:lnTo>
                  <a:lnTo>
                    <a:pt x="282" y="218"/>
                  </a:lnTo>
                  <a:lnTo>
                    <a:pt x="282" y="214"/>
                  </a:lnTo>
                  <a:lnTo>
                    <a:pt x="278" y="218"/>
                  </a:lnTo>
                  <a:lnTo>
                    <a:pt x="282" y="218"/>
                  </a:lnTo>
                  <a:lnTo>
                    <a:pt x="278" y="218"/>
                  </a:lnTo>
                  <a:lnTo>
                    <a:pt x="278" y="222"/>
                  </a:lnTo>
                  <a:lnTo>
                    <a:pt x="282" y="226"/>
                  </a:lnTo>
                  <a:lnTo>
                    <a:pt x="286" y="226"/>
                  </a:lnTo>
                  <a:lnTo>
                    <a:pt x="286" y="228"/>
                  </a:lnTo>
                  <a:lnTo>
                    <a:pt x="286" y="226"/>
                  </a:lnTo>
                  <a:lnTo>
                    <a:pt x="290" y="226"/>
                  </a:lnTo>
                  <a:lnTo>
                    <a:pt x="290" y="228"/>
                  </a:lnTo>
                  <a:lnTo>
                    <a:pt x="290" y="232"/>
                  </a:lnTo>
                  <a:lnTo>
                    <a:pt x="286" y="236"/>
                  </a:lnTo>
                  <a:lnTo>
                    <a:pt x="286" y="240"/>
                  </a:lnTo>
                  <a:lnTo>
                    <a:pt x="290" y="240"/>
                  </a:lnTo>
                  <a:lnTo>
                    <a:pt x="290" y="244"/>
                  </a:lnTo>
                  <a:lnTo>
                    <a:pt x="290" y="248"/>
                  </a:lnTo>
                  <a:lnTo>
                    <a:pt x="294" y="248"/>
                  </a:lnTo>
                  <a:lnTo>
                    <a:pt x="290" y="248"/>
                  </a:lnTo>
                  <a:lnTo>
                    <a:pt x="290" y="252"/>
                  </a:lnTo>
                  <a:lnTo>
                    <a:pt x="294" y="262"/>
                  </a:lnTo>
                  <a:lnTo>
                    <a:pt x="294" y="266"/>
                  </a:lnTo>
                  <a:lnTo>
                    <a:pt x="294" y="270"/>
                  </a:lnTo>
                  <a:lnTo>
                    <a:pt x="294" y="274"/>
                  </a:lnTo>
                  <a:lnTo>
                    <a:pt x="290" y="274"/>
                  </a:lnTo>
                  <a:lnTo>
                    <a:pt x="290" y="278"/>
                  </a:lnTo>
                  <a:lnTo>
                    <a:pt x="290" y="274"/>
                  </a:lnTo>
                  <a:lnTo>
                    <a:pt x="290" y="270"/>
                  </a:lnTo>
                  <a:lnTo>
                    <a:pt x="290" y="266"/>
                  </a:lnTo>
                  <a:lnTo>
                    <a:pt x="290" y="270"/>
                  </a:lnTo>
                  <a:lnTo>
                    <a:pt x="286" y="270"/>
                  </a:lnTo>
                  <a:lnTo>
                    <a:pt x="286" y="266"/>
                  </a:lnTo>
                  <a:lnTo>
                    <a:pt x="290" y="266"/>
                  </a:lnTo>
                  <a:lnTo>
                    <a:pt x="286" y="266"/>
                  </a:lnTo>
                  <a:lnTo>
                    <a:pt x="286" y="270"/>
                  </a:lnTo>
                  <a:lnTo>
                    <a:pt x="286" y="274"/>
                  </a:lnTo>
                  <a:lnTo>
                    <a:pt x="286" y="278"/>
                  </a:lnTo>
                  <a:lnTo>
                    <a:pt x="286" y="274"/>
                  </a:lnTo>
                  <a:lnTo>
                    <a:pt x="286" y="270"/>
                  </a:lnTo>
                  <a:lnTo>
                    <a:pt x="286" y="274"/>
                  </a:lnTo>
                  <a:lnTo>
                    <a:pt x="282" y="274"/>
                  </a:lnTo>
                  <a:lnTo>
                    <a:pt x="282" y="270"/>
                  </a:lnTo>
                  <a:lnTo>
                    <a:pt x="282" y="274"/>
                  </a:lnTo>
                  <a:lnTo>
                    <a:pt x="282" y="278"/>
                  </a:lnTo>
                  <a:lnTo>
                    <a:pt x="282" y="274"/>
                  </a:lnTo>
                  <a:lnTo>
                    <a:pt x="282" y="270"/>
                  </a:lnTo>
                  <a:lnTo>
                    <a:pt x="278" y="270"/>
                  </a:lnTo>
                  <a:lnTo>
                    <a:pt x="282" y="266"/>
                  </a:lnTo>
                  <a:lnTo>
                    <a:pt x="278" y="262"/>
                  </a:lnTo>
                  <a:lnTo>
                    <a:pt x="278" y="258"/>
                  </a:lnTo>
                  <a:lnTo>
                    <a:pt x="278" y="262"/>
                  </a:lnTo>
                  <a:lnTo>
                    <a:pt x="278" y="266"/>
                  </a:lnTo>
                  <a:lnTo>
                    <a:pt x="282" y="266"/>
                  </a:lnTo>
                  <a:lnTo>
                    <a:pt x="278" y="266"/>
                  </a:lnTo>
                  <a:lnTo>
                    <a:pt x="278" y="270"/>
                  </a:lnTo>
                  <a:lnTo>
                    <a:pt x="274" y="274"/>
                  </a:lnTo>
                  <a:lnTo>
                    <a:pt x="272" y="274"/>
                  </a:lnTo>
                  <a:lnTo>
                    <a:pt x="268" y="278"/>
                  </a:lnTo>
                  <a:lnTo>
                    <a:pt x="264" y="278"/>
                  </a:lnTo>
                  <a:lnTo>
                    <a:pt x="264" y="282"/>
                  </a:lnTo>
                  <a:lnTo>
                    <a:pt x="264" y="286"/>
                  </a:lnTo>
                  <a:lnTo>
                    <a:pt x="264" y="288"/>
                  </a:lnTo>
                  <a:lnTo>
                    <a:pt x="264" y="292"/>
                  </a:lnTo>
                  <a:lnTo>
                    <a:pt x="260" y="292"/>
                  </a:lnTo>
                  <a:lnTo>
                    <a:pt x="260" y="296"/>
                  </a:lnTo>
                  <a:lnTo>
                    <a:pt x="260" y="300"/>
                  </a:lnTo>
                  <a:lnTo>
                    <a:pt x="256" y="300"/>
                  </a:lnTo>
                  <a:lnTo>
                    <a:pt x="256" y="302"/>
                  </a:lnTo>
                  <a:lnTo>
                    <a:pt x="252" y="302"/>
                  </a:lnTo>
                  <a:lnTo>
                    <a:pt x="256" y="302"/>
                  </a:lnTo>
                  <a:lnTo>
                    <a:pt x="252" y="302"/>
                  </a:lnTo>
                  <a:lnTo>
                    <a:pt x="252" y="306"/>
                  </a:lnTo>
                  <a:lnTo>
                    <a:pt x="248" y="306"/>
                  </a:lnTo>
                  <a:lnTo>
                    <a:pt x="246" y="306"/>
                  </a:lnTo>
                  <a:lnTo>
                    <a:pt x="242" y="310"/>
                  </a:lnTo>
                  <a:lnTo>
                    <a:pt x="242" y="306"/>
                  </a:lnTo>
                  <a:lnTo>
                    <a:pt x="246" y="306"/>
                  </a:lnTo>
                  <a:lnTo>
                    <a:pt x="242" y="302"/>
                  </a:lnTo>
                  <a:lnTo>
                    <a:pt x="242" y="306"/>
                  </a:lnTo>
                  <a:lnTo>
                    <a:pt x="238" y="306"/>
                  </a:lnTo>
                  <a:lnTo>
                    <a:pt x="238" y="310"/>
                  </a:lnTo>
                  <a:lnTo>
                    <a:pt x="242" y="310"/>
                  </a:lnTo>
                  <a:lnTo>
                    <a:pt x="242" y="306"/>
                  </a:lnTo>
                  <a:lnTo>
                    <a:pt x="242" y="310"/>
                  </a:lnTo>
                  <a:lnTo>
                    <a:pt x="238" y="310"/>
                  </a:lnTo>
                  <a:lnTo>
                    <a:pt x="238" y="314"/>
                  </a:lnTo>
                  <a:lnTo>
                    <a:pt x="234" y="318"/>
                  </a:lnTo>
                  <a:lnTo>
                    <a:pt x="230" y="318"/>
                  </a:lnTo>
                  <a:lnTo>
                    <a:pt x="234" y="318"/>
                  </a:lnTo>
                  <a:lnTo>
                    <a:pt x="230" y="322"/>
                  </a:lnTo>
                  <a:lnTo>
                    <a:pt x="230" y="326"/>
                  </a:lnTo>
                  <a:lnTo>
                    <a:pt x="226" y="330"/>
                  </a:lnTo>
                  <a:lnTo>
                    <a:pt x="222" y="332"/>
                  </a:lnTo>
                  <a:lnTo>
                    <a:pt x="218" y="332"/>
                  </a:lnTo>
                  <a:lnTo>
                    <a:pt x="218" y="336"/>
                  </a:lnTo>
                  <a:lnTo>
                    <a:pt x="216" y="336"/>
                  </a:lnTo>
                  <a:lnTo>
                    <a:pt x="216" y="340"/>
                  </a:lnTo>
                  <a:lnTo>
                    <a:pt x="212" y="340"/>
                  </a:lnTo>
                  <a:lnTo>
                    <a:pt x="212" y="344"/>
                  </a:lnTo>
                  <a:lnTo>
                    <a:pt x="208" y="348"/>
                  </a:lnTo>
                  <a:lnTo>
                    <a:pt x="204" y="348"/>
                  </a:lnTo>
                  <a:lnTo>
                    <a:pt x="204" y="352"/>
                  </a:lnTo>
                  <a:lnTo>
                    <a:pt x="200" y="352"/>
                  </a:lnTo>
                  <a:lnTo>
                    <a:pt x="200" y="356"/>
                  </a:lnTo>
                  <a:lnTo>
                    <a:pt x="196" y="356"/>
                  </a:lnTo>
                  <a:lnTo>
                    <a:pt x="196" y="358"/>
                  </a:lnTo>
                  <a:lnTo>
                    <a:pt x="200" y="358"/>
                  </a:lnTo>
                  <a:lnTo>
                    <a:pt x="196" y="358"/>
                  </a:lnTo>
                  <a:lnTo>
                    <a:pt x="196" y="362"/>
                  </a:lnTo>
                  <a:lnTo>
                    <a:pt x="196" y="366"/>
                  </a:lnTo>
                  <a:lnTo>
                    <a:pt x="192" y="366"/>
                  </a:lnTo>
                  <a:lnTo>
                    <a:pt x="190" y="366"/>
                  </a:lnTo>
                  <a:lnTo>
                    <a:pt x="186" y="366"/>
                  </a:lnTo>
                  <a:lnTo>
                    <a:pt x="182" y="366"/>
                  </a:lnTo>
                  <a:lnTo>
                    <a:pt x="182" y="370"/>
                  </a:lnTo>
                  <a:lnTo>
                    <a:pt x="182" y="374"/>
                  </a:lnTo>
                  <a:lnTo>
                    <a:pt x="178" y="374"/>
                  </a:lnTo>
                  <a:lnTo>
                    <a:pt x="178" y="378"/>
                  </a:lnTo>
                  <a:lnTo>
                    <a:pt x="178" y="374"/>
                  </a:lnTo>
                  <a:lnTo>
                    <a:pt x="178" y="378"/>
                  </a:lnTo>
                  <a:lnTo>
                    <a:pt x="178" y="374"/>
                  </a:lnTo>
                  <a:lnTo>
                    <a:pt x="174" y="374"/>
                  </a:lnTo>
                  <a:lnTo>
                    <a:pt x="170" y="378"/>
                  </a:lnTo>
                  <a:lnTo>
                    <a:pt x="166" y="382"/>
                  </a:lnTo>
                  <a:lnTo>
                    <a:pt x="166" y="386"/>
                  </a:lnTo>
                  <a:lnTo>
                    <a:pt x="166" y="388"/>
                  </a:lnTo>
                  <a:lnTo>
                    <a:pt x="166" y="392"/>
                  </a:lnTo>
                  <a:lnTo>
                    <a:pt x="166" y="396"/>
                  </a:lnTo>
                  <a:lnTo>
                    <a:pt x="166" y="400"/>
                  </a:lnTo>
                  <a:lnTo>
                    <a:pt x="166" y="404"/>
                  </a:lnTo>
                  <a:lnTo>
                    <a:pt x="166" y="408"/>
                  </a:lnTo>
                  <a:lnTo>
                    <a:pt x="166" y="412"/>
                  </a:lnTo>
                  <a:lnTo>
                    <a:pt x="170" y="412"/>
                  </a:lnTo>
                  <a:lnTo>
                    <a:pt x="166" y="412"/>
                  </a:lnTo>
                  <a:lnTo>
                    <a:pt x="166" y="416"/>
                  </a:lnTo>
                  <a:lnTo>
                    <a:pt x="170" y="416"/>
                  </a:lnTo>
                  <a:lnTo>
                    <a:pt x="170" y="418"/>
                  </a:lnTo>
                  <a:lnTo>
                    <a:pt x="170" y="416"/>
                  </a:lnTo>
                  <a:lnTo>
                    <a:pt x="166" y="412"/>
                  </a:lnTo>
                  <a:lnTo>
                    <a:pt x="166" y="416"/>
                  </a:lnTo>
                  <a:lnTo>
                    <a:pt x="170" y="418"/>
                  </a:lnTo>
                  <a:lnTo>
                    <a:pt x="170" y="422"/>
                  </a:lnTo>
                  <a:lnTo>
                    <a:pt x="170" y="426"/>
                  </a:lnTo>
                  <a:lnTo>
                    <a:pt x="170" y="430"/>
                  </a:lnTo>
                  <a:lnTo>
                    <a:pt x="166" y="430"/>
                  </a:lnTo>
                  <a:lnTo>
                    <a:pt x="166" y="434"/>
                  </a:lnTo>
                  <a:lnTo>
                    <a:pt x="166" y="438"/>
                  </a:lnTo>
                  <a:lnTo>
                    <a:pt x="162" y="442"/>
                  </a:lnTo>
                  <a:lnTo>
                    <a:pt x="162" y="446"/>
                  </a:lnTo>
                  <a:lnTo>
                    <a:pt x="162" y="448"/>
                  </a:lnTo>
                  <a:lnTo>
                    <a:pt x="162" y="452"/>
                  </a:lnTo>
                  <a:lnTo>
                    <a:pt x="162" y="456"/>
                  </a:lnTo>
                  <a:lnTo>
                    <a:pt x="162" y="460"/>
                  </a:lnTo>
                  <a:lnTo>
                    <a:pt x="162" y="464"/>
                  </a:lnTo>
                  <a:lnTo>
                    <a:pt x="162" y="468"/>
                  </a:lnTo>
                  <a:lnTo>
                    <a:pt x="162" y="472"/>
                  </a:lnTo>
                  <a:lnTo>
                    <a:pt x="160" y="472"/>
                  </a:lnTo>
                  <a:lnTo>
                    <a:pt x="162" y="472"/>
                  </a:lnTo>
                  <a:lnTo>
                    <a:pt x="160" y="472"/>
                  </a:lnTo>
                  <a:lnTo>
                    <a:pt x="156" y="472"/>
                  </a:lnTo>
                  <a:lnTo>
                    <a:pt x="156" y="474"/>
                  </a:lnTo>
                  <a:lnTo>
                    <a:pt x="156" y="478"/>
                  </a:lnTo>
                  <a:lnTo>
                    <a:pt x="152" y="478"/>
                  </a:lnTo>
                  <a:lnTo>
                    <a:pt x="152" y="482"/>
                  </a:lnTo>
                  <a:lnTo>
                    <a:pt x="148" y="486"/>
                  </a:lnTo>
                  <a:lnTo>
                    <a:pt x="152" y="486"/>
                  </a:lnTo>
                  <a:lnTo>
                    <a:pt x="152" y="490"/>
                  </a:lnTo>
                  <a:lnTo>
                    <a:pt x="156" y="490"/>
                  </a:lnTo>
                  <a:lnTo>
                    <a:pt x="152" y="490"/>
                  </a:lnTo>
                  <a:lnTo>
                    <a:pt x="148" y="490"/>
                  </a:lnTo>
                  <a:lnTo>
                    <a:pt x="144" y="494"/>
                  </a:lnTo>
                  <a:lnTo>
                    <a:pt x="140" y="494"/>
                  </a:lnTo>
                  <a:lnTo>
                    <a:pt x="140" y="498"/>
                  </a:lnTo>
                  <a:lnTo>
                    <a:pt x="140" y="502"/>
                  </a:lnTo>
                  <a:lnTo>
                    <a:pt x="136" y="504"/>
                  </a:lnTo>
                  <a:lnTo>
                    <a:pt x="134" y="508"/>
                  </a:lnTo>
                  <a:lnTo>
                    <a:pt x="130" y="508"/>
                  </a:lnTo>
                  <a:lnTo>
                    <a:pt x="126" y="508"/>
                  </a:lnTo>
                  <a:lnTo>
                    <a:pt x="126" y="504"/>
                  </a:lnTo>
                  <a:lnTo>
                    <a:pt x="122" y="504"/>
                  </a:lnTo>
                  <a:lnTo>
                    <a:pt x="122" y="502"/>
                  </a:lnTo>
                  <a:lnTo>
                    <a:pt x="118" y="502"/>
                  </a:lnTo>
                  <a:lnTo>
                    <a:pt x="118" y="498"/>
                  </a:lnTo>
                  <a:lnTo>
                    <a:pt x="118" y="494"/>
                  </a:lnTo>
                  <a:lnTo>
                    <a:pt x="114" y="494"/>
                  </a:lnTo>
                  <a:lnTo>
                    <a:pt x="114" y="490"/>
                  </a:lnTo>
                  <a:lnTo>
                    <a:pt x="114" y="486"/>
                  </a:lnTo>
                  <a:lnTo>
                    <a:pt x="114" y="482"/>
                  </a:lnTo>
                  <a:lnTo>
                    <a:pt x="110" y="478"/>
                  </a:lnTo>
                  <a:lnTo>
                    <a:pt x="114" y="478"/>
                  </a:lnTo>
                  <a:lnTo>
                    <a:pt x="110" y="478"/>
                  </a:lnTo>
                  <a:lnTo>
                    <a:pt x="114" y="482"/>
                  </a:lnTo>
                  <a:lnTo>
                    <a:pt x="114" y="486"/>
                  </a:lnTo>
                  <a:lnTo>
                    <a:pt x="114" y="482"/>
                  </a:lnTo>
                  <a:lnTo>
                    <a:pt x="114" y="478"/>
                  </a:lnTo>
                  <a:lnTo>
                    <a:pt x="110" y="478"/>
                  </a:lnTo>
                  <a:lnTo>
                    <a:pt x="110" y="474"/>
                  </a:lnTo>
                  <a:lnTo>
                    <a:pt x="110" y="478"/>
                  </a:lnTo>
                  <a:lnTo>
                    <a:pt x="110" y="474"/>
                  </a:lnTo>
                  <a:lnTo>
                    <a:pt x="110" y="472"/>
                  </a:lnTo>
                  <a:lnTo>
                    <a:pt x="110" y="468"/>
                  </a:lnTo>
                  <a:lnTo>
                    <a:pt x="106" y="464"/>
                  </a:lnTo>
                  <a:lnTo>
                    <a:pt x="106" y="460"/>
                  </a:lnTo>
                  <a:lnTo>
                    <a:pt x="104" y="452"/>
                  </a:lnTo>
                  <a:lnTo>
                    <a:pt x="104" y="448"/>
                  </a:lnTo>
                  <a:lnTo>
                    <a:pt x="100" y="446"/>
                  </a:lnTo>
                  <a:lnTo>
                    <a:pt x="100" y="442"/>
                  </a:lnTo>
                  <a:lnTo>
                    <a:pt x="96" y="442"/>
                  </a:lnTo>
                  <a:lnTo>
                    <a:pt x="96" y="438"/>
                  </a:lnTo>
                  <a:lnTo>
                    <a:pt x="96" y="434"/>
                  </a:lnTo>
                  <a:lnTo>
                    <a:pt x="92" y="430"/>
                  </a:lnTo>
                  <a:lnTo>
                    <a:pt x="92" y="426"/>
                  </a:lnTo>
                  <a:lnTo>
                    <a:pt x="92" y="422"/>
                  </a:lnTo>
                  <a:lnTo>
                    <a:pt x="92" y="418"/>
                  </a:lnTo>
                  <a:lnTo>
                    <a:pt x="90" y="416"/>
                  </a:lnTo>
                  <a:lnTo>
                    <a:pt x="90" y="412"/>
                  </a:lnTo>
                  <a:lnTo>
                    <a:pt x="90" y="408"/>
                  </a:lnTo>
                  <a:lnTo>
                    <a:pt x="90" y="404"/>
                  </a:lnTo>
                  <a:lnTo>
                    <a:pt x="86" y="404"/>
                  </a:lnTo>
                  <a:lnTo>
                    <a:pt x="86" y="400"/>
                  </a:lnTo>
                  <a:lnTo>
                    <a:pt x="86" y="396"/>
                  </a:lnTo>
                  <a:lnTo>
                    <a:pt x="86" y="400"/>
                  </a:lnTo>
                  <a:lnTo>
                    <a:pt x="86" y="396"/>
                  </a:lnTo>
                  <a:lnTo>
                    <a:pt x="82" y="396"/>
                  </a:lnTo>
                  <a:lnTo>
                    <a:pt x="82" y="392"/>
                  </a:lnTo>
                  <a:lnTo>
                    <a:pt x="82" y="388"/>
                  </a:lnTo>
                  <a:lnTo>
                    <a:pt x="78" y="386"/>
                  </a:lnTo>
                  <a:lnTo>
                    <a:pt x="78" y="382"/>
                  </a:lnTo>
                  <a:lnTo>
                    <a:pt x="82" y="386"/>
                  </a:lnTo>
                  <a:lnTo>
                    <a:pt x="82" y="382"/>
                  </a:lnTo>
                  <a:lnTo>
                    <a:pt x="78" y="382"/>
                  </a:lnTo>
                  <a:lnTo>
                    <a:pt x="78" y="378"/>
                  </a:lnTo>
                  <a:lnTo>
                    <a:pt x="74" y="378"/>
                  </a:lnTo>
                  <a:lnTo>
                    <a:pt x="74" y="374"/>
                  </a:lnTo>
                  <a:lnTo>
                    <a:pt x="74" y="370"/>
                  </a:lnTo>
                  <a:lnTo>
                    <a:pt x="70" y="366"/>
                  </a:lnTo>
                  <a:lnTo>
                    <a:pt x="70" y="362"/>
                  </a:lnTo>
                  <a:lnTo>
                    <a:pt x="70" y="358"/>
                  </a:lnTo>
                  <a:lnTo>
                    <a:pt x="70" y="356"/>
                  </a:lnTo>
                  <a:lnTo>
                    <a:pt x="70" y="352"/>
                  </a:lnTo>
                  <a:lnTo>
                    <a:pt x="70" y="348"/>
                  </a:lnTo>
                  <a:lnTo>
                    <a:pt x="70" y="344"/>
                  </a:lnTo>
                  <a:lnTo>
                    <a:pt x="66" y="344"/>
                  </a:lnTo>
                  <a:lnTo>
                    <a:pt x="66" y="340"/>
                  </a:lnTo>
                  <a:lnTo>
                    <a:pt x="66" y="336"/>
                  </a:lnTo>
                  <a:lnTo>
                    <a:pt x="66" y="332"/>
                  </a:lnTo>
                  <a:lnTo>
                    <a:pt x="66" y="330"/>
                  </a:lnTo>
                  <a:lnTo>
                    <a:pt x="62" y="326"/>
                  </a:lnTo>
                  <a:lnTo>
                    <a:pt x="66" y="326"/>
                  </a:lnTo>
                  <a:lnTo>
                    <a:pt x="66" y="322"/>
                  </a:lnTo>
                  <a:lnTo>
                    <a:pt x="66" y="318"/>
                  </a:lnTo>
                  <a:lnTo>
                    <a:pt x="66" y="322"/>
                  </a:lnTo>
                  <a:lnTo>
                    <a:pt x="62" y="322"/>
                  </a:lnTo>
                  <a:lnTo>
                    <a:pt x="62" y="318"/>
                  </a:lnTo>
                  <a:lnTo>
                    <a:pt x="62" y="314"/>
                  </a:lnTo>
                  <a:lnTo>
                    <a:pt x="66" y="314"/>
                  </a:lnTo>
                  <a:lnTo>
                    <a:pt x="66" y="318"/>
                  </a:lnTo>
                  <a:lnTo>
                    <a:pt x="66" y="314"/>
                  </a:lnTo>
                  <a:lnTo>
                    <a:pt x="62" y="314"/>
                  </a:lnTo>
                  <a:lnTo>
                    <a:pt x="62" y="310"/>
                  </a:lnTo>
                  <a:lnTo>
                    <a:pt x="62" y="306"/>
                  </a:lnTo>
                  <a:lnTo>
                    <a:pt x="62" y="302"/>
                  </a:lnTo>
                  <a:lnTo>
                    <a:pt x="62" y="300"/>
                  </a:lnTo>
                  <a:lnTo>
                    <a:pt x="62" y="296"/>
                  </a:lnTo>
                  <a:lnTo>
                    <a:pt x="66" y="296"/>
                  </a:lnTo>
                  <a:lnTo>
                    <a:pt x="66" y="288"/>
                  </a:lnTo>
                  <a:lnTo>
                    <a:pt x="62" y="288"/>
                  </a:lnTo>
                  <a:lnTo>
                    <a:pt x="62" y="286"/>
                  </a:lnTo>
                  <a:lnTo>
                    <a:pt x="62" y="282"/>
                  </a:lnTo>
                  <a:lnTo>
                    <a:pt x="60" y="282"/>
                  </a:lnTo>
                  <a:lnTo>
                    <a:pt x="60" y="278"/>
                  </a:lnTo>
                  <a:lnTo>
                    <a:pt x="62" y="278"/>
                  </a:lnTo>
                  <a:lnTo>
                    <a:pt x="60" y="278"/>
                  </a:lnTo>
                  <a:lnTo>
                    <a:pt x="62" y="278"/>
                  </a:lnTo>
                  <a:lnTo>
                    <a:pt x="62" y="274"/>
                  </a:lnTo>
                  <a:lnTo>
                    <a:pt x="66" y="274"/>
                  </a:lnTo>
                  <a:lnTo>
                    <a:pt x="70" y="274"/>
                  </a:lnTo>
                  <a:lnTo>
                    <a:pt x="66" y="274"/>
                  </a:lnTo>
                  <a:lnTo>
                    <a:pt x="62" y="274"/>
                  </a:lnTo>
                  <a:lnTo>
                    <a:pt x="60" y="274"/>
                  </a:lnTo>
                  <a:lnTo>
                    <a:pt x="60" y="270"/>
                  </a:lnTo>
                  <a:lnTo>
                    <a:pt x="62" y="270"/>
                  </a:lnTo>
                  <a:lnTo>
                    <a:pt x="60" y="270"/>
                  </a:lnTo>
                  <a:lnTo>
                    <a:pt x="60" y="266"/>
                  </a:lnTo>
                  <a:lnTo>
                    <a:pt x="62" y="262"/>
                  </a:lnTo>
                  <a:lnTo>
                    <a:pt x="62" y="266"/>
                  </a:lnTo>
                  <a:lnTo>
                    <a:pt x="62" y="262"/>
                  </a:lnTo>
                  <a:lnTo>
                    <a:pt x="66" y="262"/>
                  </a:lnTo>
                  <a:lnTo>
                    <a:pt x="62" y="262"/>
                  </a:lnTo>
                  <a:lnTo>
                    <a:pt x="60" y="262"/>
                  </a:lnTo>
                  <a:lnTo>
                    <a:pt x="56" y="262"/>
                  </a:lnTo>
                  <a:lnTo>
                    <a:pt x="56" y="266"/>
                  </a:lnTo>
                  <a:lnTo>
                    <a:pt x="56" y="270"/>
                  </a:lnTo>
                  <a:lnTo>
                    <a:pt x="52" y="270"/>
                  </a:lnTo>
                  <a:lnTo>
                    <a:pt x="56" y="270"/>
                  </a:lnTo>
                  <a:lnTo>
                    <a:pt x="52" y="270"/>
                  </a:lnTo>
                  <a:lnTo>
                    <a:pt x="52" y="274"/>
                  </a:lnTo>
                  <a:lnTo>
                    <a:pt x="56" y="270"/>
                  </a:lnTo>
                  <a:lnTo>
                    <a:pt x="56" y="274"/>
                  </a:lnTo>
                  <a:lnTo>
                    <a:pt x="56" y="278"/>
                  </a:lnTo>
                  <a:lnTo>
                    <a:pt x="56" y="282"/>
                  </a:lnTo>
                  <a:lnTo>
                    <a:pt x="52" y="282"/>
                  </a:lnTo>
                  <a:lnTo>
                    <a:pt x="52" y="286"/>
                  </a:lnTo>
                  <a:lnTo>
                    <a:pt x="48" y="286"/>
                  </a:lnTo>
                  <a:lnTo>
                    <a:pt x="44" y="288"/>
                  </a:lnTo>
                  <a:lnTo>
                    <a:pt x="40" y="288"/>
                  </a:lnTo>
                  <a:lnTo>
                    <a:pt x="36" y="292"/>
                  </a:lnTo>
                  <a:lnTo>
                    <a:pt x="34" y="288"/>
                  </a:lnTo>
                  <a:lnTo>
                    <a:pt x="30" y="288"/>
                  </a:lnTo>
                  <a:lnTo>
                    <a:pt x="30" y="286"/>
                  </a:lnTo>
                  <a:lnTo>
                    <a:pt x="26" y="286"/>
                  </a:lnTo>
                  <a:lnTo>
                    <a:pt x="26" y="282"/>
                  </a:lnTo>
                  <a:lnTo>
                    <a:pt x="22" y="282"/>
                  </a:lnTo>
                  <a:lnTo>
                    <a:pt x="22" y="278"/>
                  </a:lnTo>
                  <a:lnTo>
                    <a:pt x="18" y="274"/>
                  </a:lnTo>
                  <a:lnTo>
                    <a:pt x="14" y="270"/>
                  </a:lnTo>
                  <a:lnTo>
                    <a:pt x="10" y="266"/>
                  </a:lnTo>
                  <a:lnTo>
                    <a:pt x="10" y="262"/>
                  </a:lnTo>
                  <a:lnTo>
                    <a:pt x="10" y="258"/>
                  </a:lnTo>
                  <a:lnTo>
                    <a:pt x="10" y="262"/>
                  </a:lnTo>
                  <a:lnTo>
                    <a:pt x="14" y="262"/>
                  </a:lnTo>
                  <a:lnTo>
                    <a:pt x="10" y="262"/>
                  </a:lnTo>
                  <a:lnTo>
                    <a:pt x="14" y="262"/>
                  </a:lnTo>
                  <a:lnTo>
                    <a:pt x="18" y="262"/>
                  </a:lnTo>
                  <a:lnTo>
                    <a:pt x="22" y="262"/>
                  </a:lnTo>
                  <a:lnTo>
                    <a:pt x="22" y="258"/>
                  </a:lnTo>
                  <a:lnTo>
                    <a:pt x="26" y="258"/>
                  </a:lnTo>
                  <a:lnTo>
                    <a:pt x="30" y="256"/>
                  </a:lnTo>
                  <a:lnTo>
                    <a:pt x="30" y="252"/>
                  </a:lnTo>
                  <a:lnTo>
                    <a:pt x="34" y="252"/>
                  </a:lnTo>
                  <a:lnTo>
                    <a:pt x="34" y="248"/>
                  </a:lnTo>
                  <a:lnTo>
                    <a:pt x="30" y="248"/>
                  </a:lnTo>
                  <a:lnTo>
                    <a:pt x="30" y="252"/>
                  </a:lnTo>
                  <a:lnTo>
                    <a:pt x="22" y="252"/>
                  </a:lnTo>
                  <a:lnTo>
                    <a:pt x="22" y="256"/>
                  </a:lnTo>
                  <a:lnTo>
                    <a:pt x="18" y="256"/>
                  </a:lnTo>
                  <a:lnTo>
                    <a:pt x="14" y="256"/>
                  </a:lnTo>
                  <a:lnTo>
                    <a:pt x="14" y="252"/>
                  </a:lnTo>
                  <a:lnTo>
                    <a:pt x="10" y="252"/>
                  </a:lnTo>
                  <a:lnTo>
                    <a:pt x="6" y="252"/>
                  </a:lnTo>
                  <a:lnTo>
                    <a:pt x="6" y="248"/>
                  </a:lnTo>
                  <a:lnTo>
                    <a:pt x="4" y="244"/>
                  </a:lnTo>
                  <a:lnTo>
                    <a:pt x="4" y="240"/>
                  </a:lnTo>
                  <a:lnTo>
                    <a:pt x="4" y="236"/>
                  </a:lnTo>
                  <a:lnTo>
                    <a:pt x="6" y="236"/>
                  </a:lnTo>
                  <a:lnTo>
                    <a:pt x="4" y="236"/>
                  </a:lnTo>
                  <a:lnTo>
                    <a:pt x="0" y="240"/>
                  </a:lnTo>
                  <a:lnTo>
                    <a:pt x="0" y="236"/>
                  </a:lnTo>
                  <a:lnTo>
                    <a:pt x="0" y="236"/>
                  </a:lnTo>
                  <a:lnTo>
                    <a:pt x="0" y="236"/>
                  </a:lnTo>
                  <a:close/>
                  <a:moveTo>
                    <a:pt x="282" y="270"/>
                  </a:moveTo>
                  <a:lnTo>
                    <a:pt x="282" y="274"/>
                  </a:lnTo>
                  <a:lnTo>
                    <a:pt x="278" y="274"/>
                  </a:lnTo>
                  <a:lnTo>
                    <a:pt x="278" y="270"/>
                  </a:lnTo>
                  <a:lnTo>
                    <a:pt x="282" y="270"/>
                  </a:lnTo>
                  <a:lnTo>
                    <a:pt x="282" y="270"/>
                  </a:lnTo>
                  <a:lnTo>
                    <a:pt x="282" y="270"/>
                  </a:lnTo>
                  <a:close/>
                  <a:moveTo>
                    <a:pt x="346" y="442"/>
                  </a:moveTo>
                  <a:lnTo>
                    <a:pt x="346" y="438"/>
                  </a:lnTo>
                  <a:lnTo>
                    <a:pt x="350" y="438"/>
                  </a:lnTo>
                  <a:lnTo>
                    <a:pt x="346" y="442"/>
                  </a:lnTo>
                  <a:lnTo>
                    <a:pt x="346" y="442"/>
                  </a:lnTo>
                  <a:lnTo>
                    <a:pt x="346" y="442"/>
                  </a:lnTo>
                  <a:close/>
                  <a:moveTo>
                    <a:pt x="346" y="452"/>
                  </a:moveTo>
                  <a:lnTo>
                    <a:pt x="342" y="452"/>
                  </a:lnTo>
                  <a:lnTo>
                    <a:pt x="346" y="452"/>
                  </a:lnTo>
                  <a:lnTo>
                    <a:pt x="346" y="452"/>
                  </a:lnTo>
                  <a:lnTo>
                    <a:pt x="346" y="452"/>
                  </a:lnTo>
                  <a:close/>
                  <a:moveTo>
                    <a:pt x="346" y="490"/>
                  </a:moveTo>
                  <a:lnTo>
                    <a:pt x="346" y="494"/>
                  </a:lnTo>
                  <a:lnTo>
                    <a:pt x="346" y="490"/>
                  </a:lnTo>
                  <a:lnTo>
                    <a:pt x="346" y="490"/>
                  </a:lnTo>
                  <a:lnTo>
                    <a:pt x="346" y="490"/>
                  </a:lnTo>
                  <a:close/>
                  <a:moveTo>
                    <a:pt x="66" y="504"/>
                  </a:moveTo>
                  <a:lnTo>
                    <a:pt x="66" y="508"/>
                  </a:lnTo>
                  <a:lnTo>
                    <a:pt x="66" y="504"/>
                  </a:lnTo>
                  <a:lnTo>
                    <a:pt x="66" y="504"/>
                  </a:lnTo>
                  <a:lnTo>
                    <a:pt x="66" y="504"/>
                  </a:lnTo>
                  <a:close/>
                  <a:moveTo>
                    <a:pt x="358" y="508"/>
                  </a:moveTo>
                  <a:lnTo>
                    <a:pt x="358" y="512"/>
                  </a:lnTo>
                  <a:lnTo>
                    <a:pt x="358" y="508"/>
                  </a:lnTo>
                  <a:lnTo>
                    <a:pt x="358" y="508"/>
                  </a:lnTo>
                  <a:lnTo>
                    <a:pt x="358" y="508"/>
                  </a:lnTo>
                  <a:close/>
                  <a:moveTo>
                    <a:pt x="354" y="512"/>
                  </a:moveTo>
                  <a:lnTo>
                    <a:pt x="358" y="512"/>
                  </a:lnTo>
                  <a:lnTo>
                    <a:pt x="354" y="512"/>
                  </a:lnTo>
                  <a:lnTo>
                    <a:pt x="354" y="512"/>
                  </a:lnTo>
                  <a:lnTo>
                    <a:pt x="354" y="512"/>
                  </a:lnTo>
                  <a:close/>
                  <a:moveTo>
                    <a:pt x="360" y="524"/>
                  </a:moveTo>
                  <a:lnTo>
                    <a:pt x="358" y="524"/>
                  </a:lnTo>
                  <a:lnTo>
                    <a:pt x="360" y="524"/>
                  </a:lnTo>
                  <a:lnTo>
                    <a:pt x="360" y="520"/>
                  </a:lnTo>
                  <a:lnTo>
                    <a:pt x="360" y="524"/>
                  </a:lnTo>
                  <a:lnTo>
                    <a:pt x="360" y="524"/>
                  </a:lnTo>
                  <a:lnTo>
                    <a:pt x="360" y="524"/>
                  </a:lnTo>
                  <a:close/>
                  <a:moveTo>
                    <a:pt x="346" y="426"/>
                  </a:moveTo>
                  <a:lnTo>
                    <a:pt x="346" y="422"/>
                  </a:lnTo>
                  <a:lnTo>
                    <a:pt x="346" y="418"/>
                  </a:lnTo>
                  <a:lnTo>
                    <a:pt x="350" y="418"/>
                  </a:lnTo>
                  <a:lnTo>
                    <a:pt x="350" y="416"/>
                  </a:lnTo>
                  <a:lnTo>
                    <a:pt x="350" y="418"/>
                  </a:lnTo>
                  <a:lnTo>
                    <a:pt x="350" y="422"/>
                  </a:lnTo>
                  <a:lnTo>
                    <a:pt x="350" y="426"/>
                  </a:lnTo>
                  <a:lnTo>
                    <a:pt x="350" y="422"/>
                  </a:lnTo>
                  <a:lnTo>
                    <a:pt x="346" y="426"/>
                  </a:lnTo>
                  <a:lnTo>
                    <a:pt x="346" y="426"/>
                  </a:lnTo>
                  <a:lnTo>
                    <a:pt x="346" y="426"/>
                  </a:lnTo>
                  <a:close/>
                  <a:moveTo>
                    <a:pt x="346" y="438"/>
                  </a:moveTo>
                  <a:lnTo>
                    <a:pt x="346" y="434"/>
                  </a:lnTo>
                  <a:lnTo>
                    <a:pt x="346" y="430"/>
                  </a:lnTo>
                  <a:lnTo>
                    <a:pt x="346" y="426"/>
                  </a:lnTo>
                  <a:lnTo>
                    <a:pt x="350" y="426"/>
                  </a:lnTo>
                  <a:lnTo>
                    <a:pt x="350" y="430"/>
                  </a:lnTo>
                  <a:lnTo>
                    <a:pt x="350" y="434"/>
                  </a:lnTo>
                  <a:lnTo>
                    <a:pt x="346" y="434"/>
                  </a:lnTo>
                  <a:lnTo>
                    <a:pt x="346" y="438"/>
                  </a:lnTo>
                  <a:lnTo>
                    <a:pt x="350" y="438"/>
                  </a:lnTo>
                  <a:lnTo>
                    <a:pt x="346" y="438"/>
                  </a:lnTo>
                  <a:lnTo>
                    <a:pt x="346" y="438"/>
                  </a:lnTo>
                  <a:lnTo>
                    <a:pt x="346" y="438"/>
                  </a:lnTo>
                  <a:close/>
                  <a:moveTo>
                    <a:pt x="346" y="442"/>
                  </a:moveTo>
                  <a:lnTo>
                    <a:pt x="346" y="446"/>
                  </a:lnTo>
                  <a:lnTo>
                    <a:pt x="346" y="448"/>
                  </a:lnTo>
                  <a:lnTo>
                    <a:pt x="346" y="452"/>
                  </a:lnTo>
                  <a:lnTo>
                    <a:pt x="342" y="448"/>
                  </a:lnTo>
                  <a:lnTo>
                    <a:pt x="342" y="446"/>
                  </a:lnTo>
                  <a:lnTo>
                    <a:pt x="346" y="446"/>
                  </a:lnTo>
                  <a:lnTo>
                    <a:pt x="346" y="442"/>
                  </a:lnTo>
                  <a:lnTo>
                    <a:pt x="346" y="438"/>
                  </a:lnTo>
                  <a:lnTo>
                    <a:pt x="346" y="442"/>
                  </a:lnTo>
                  <a:lnTo>
                    <a:pt x="346" y="438"/>
                  </a:lnTo>
                  <a:lnTo>
                    <a:pt x="346" y="442"/>
                  </a:lnTo>
                  <a:lnTo>
                    <a:pt x="346" y="442"/>
                  </a:lnTo>
                  <a:lnTo>
                    <a:pt x="346" y="442"/>
                  </a:lnTo>
                  <a:close/>
                  <a:moveTo>
                    <a:pt x="342" y="464"/>
                  </a:moveTo>
                  <a:lnTo>
                    <a:pt x="342" y="468"/>
                  </a:lnTo>
                  <a:lnTo>
                    <a:pt x="338" y="468"/>
                  </a:lnTo>
                  <a:lnTo>
                    <a:pt x="338" y="464"/>
                  </a:lnTo>
                  <a:lnTo>
                    <a:pt x="342" y="464"/>
                  </a:lnTo>
                  <a:lnTo>
                    <a:pt x="342" y="460"/>
                  </a:lnTo>
                  <a:lnTo>
                    <a:pt x="342" y="464"/>
                  </a:lnTo>
                  <a:lnTo>
                    <a:pt x="342" y="464"/>
                  </a:lnTo>
                  <a:lnTo>
                    <a:pt x="342" y="464"/>
                  </a:lnTo>
                  <a:close/>
                  <a:moveTo>
                    <a:pt x="360" y="528"/>
                  </a:moveTo>
                  <a:lnTo>
                    <a:pt x="360" y="532"/>
                  </a:lnTo>
                  <a:lnTo>
                    <a:pt x="360" y="534"/>
                  </a:lnTo>
                  <a:lnTo>
                    <a:pt x="360" y="532"/>
                  </a:lnTo>
                  <a:lnTo>
                    <a:pt x="360" y="528"/>
                  </a:lnTo>
                  <a:lnTo>
                    <a:pt x="358" y="528"/>
                  </a:lnTo>
                  <a:lnTo>
                    <a:pt x="360" y="524"/>
                  </a:lnTo>
                  <a:lnTo>
                    <a:pt x="360" y="528"/>
                  </a:lnTo>
                  <a:lnTo>
                    <a:pt x="360" y="528"/>
                  </a:lnTo>
                  <a:lnTo>
                    <a:pt x="360" y="528"/>
                  </a:lnTo>
                  <a:close/>
                </a:path>
              </a:pathLst>
            </a:custGeom>
            <a:solidFill>
              <a:schemeClr val="bg1">
                <a:lumMod val="85000"/>
              </a:schemeClr>
            </a:solidFill>
            <a:ln w="9525">
              <a:solidFill>
                <a:schemeClr val="bg1">
                  <a:lumMod val="85000"/>
                </a:schemeClr>
              </a:solidFill>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latin typeface="+mj-lt"/>
              </a:endParaRPr>
            </a:p>
          </p:txBody>
        </p:sp>
      </p:grpSp>
      <p:sp>
        <p:nvSpPr>
          <p:cNvPr id="535" name="Freeform 915"/>
          <p:cNvSpPr>
            <a:spLocks noEditPoints="1"/>
          </p:cNvSpPr>
          <p:nvPr/>
        </p:nvSpPr>
        <p:spPr bwMode="auto">
          <a:xfrm>
            <a:off x="5128517" y="2438968"/>
            <a:ext cx="1449332" cy="187766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latin typeface="+mj-lt"/>
            </a:endParaRPr>
          </a:p>
        </p:txBody>
      </p:sp>
      <p:sp>
        <p:nvSpPr>
          <p:cNvPr id="536" name="Oval 535"/>
          <p:cNvSpPr/>
          <p:nvPr/>
        </p:nvSpPr>
        <p:spPr bwMode="gray">
          <a:xfrm>
            <a:off x="5363704" y="2996968"/>
            <a:ext cx="940456" cy="1141707"/>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537" name="TextBox 536"/>
          <p:cNvSpPr txBox="1"/>
          <p:nvPr/>
        </p:nvSpPr>
        <p:spPr>
          <a:xfrm>
            <a:off x="5435856" y="3317238"/>
            <a:ext cx="843739" cy="523220"/>
          </a:xfrm>
          <a:prstGeom prst="rect">
            <a:avLst/>
          </a:prstGeom>
          <a:noFill/>
        </p:spPr>
        <p:txBody>
          <a:bodyPr wrap="square" lIns="0" tIns="0" rIns="0" bIns="0" rtlCol="0">
            <a:spAutoFit/>
          </a:bodyPr>
          <a:lstStyle/>
          <a:p>
            <a:pPr algn="ctr">
              <a:spcBef>
                <a:spcPts val="600"/>
              </a:spcBef>
              <a:buSzPct val="100000"/>
            </a:pPr>
            <a:r>
              <a:rPr lang="fr-FR" sz="2000" b="1" dirty="0">
                <a:solidFill>
                  <a:srgbClr val="75787B"/>
                </a:solidFill>
                <a:latin typeface="+mj-lt"/>
              </a:rPr>
              <a:t>11</a:t>
            </a:r>
            <a:r>
              <a:rPr lang="fr-FR" sz="1400" b="1" dirty="0">
                <a:solidFill>
                  <a:srgbClr val="75787B"/>
                </a:solidFill>
                <a:latin typeface="+mj-lt"/>
              </a:rPr>
              <a:t> mds $</a:t>
            </a:r>
          </a:p>
        </p:txBody>
      </p:sp>
      <p:sp>
        <p:nvSpPr>
          <p:cNvPr id="538" name="TextBox 537"/>
          <p:cNvSpPr txBox="1"/>
          <p:nvPr/>
        </p:nvSpPr>
        <p:spPr>
          <a:xfrm>
            <a:off x="5275808" y="4435088"/>
            <a:ext cx="1154748" cy="169277"/>
          </a:xfrm>
          <a:prstGeom prst="rect">
            <a:avLst/>
          </a:prstGeom>
          <a:noFill/>
        </p:spPr>
        <p:txBody>
          <a:bodyPr wrap="square" lIns="0" tIns="0" rIns="0" bIns="0" rtlCol="0">
            <a:spAutoFit/>
          </a:bodyPr>
          <a:lstStyle/>
          <a:p>
            <a:pPr algn="ctr">
              <a:spcBef>
                <a:spcPts val="600"/>
              </a:spcBef>
              <a:buSzPct val="100000"/>
            </a:pPr>
            <a:r>
              <a:rPr lang="fr-FR" sz="1100" b="1" dirty="0">
                <a:latin typeface="+mj-lt"/>
              </a:rPr>
              <a:t>Amérique</a:t>
            </a:r>
          </a:p>
        </p:txBody>
      </p:sp>
      <p:grpSp>
        <p:nvGrpSpPr>
          <p:cNvPr id="539" name="Group 538"/>
          <p:cNvGrpSpPr/>
          <p:nvPr/>
        </p:nvGrpSpPr>
        <p:grpSpPr>
          <a:xfrm>
            <a:off x="7553696" y="2927213"/>
            <a:ext cx="1035684" cy="1484037"/>
            <a:chOff x="6641447" y="3141411"/>
            <a:chExt cx="1082324" cy="1680075"/>
          </a:xfrm>
        </p:grpSpPr>
        <p:sp>
          <p:nvSpPr>
            <p:cNvPr id="540" name="Freeform 915"/>
            <p:cNvSpPr>
              <a:spLocks noEditPoints="1"/>
            </p:cNvSpPr>
            <p:nvPr/>
          </p:nvSpPr>
          <p:spPr bwMode="auto">
            <a:xfrm>
              <a:off x="6641447" y="3141411"/>
              <a:ext cx="1082324" cy="1387098"/>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latin typeface="+mj-lt"/>
              </a:endParaRPr>
            </a:p>
          </p:txBody>
        </p:sp>
        <p:sp>
          <p:nvSpPr>
            <p:cNvPr id="541" name="Oval 540"/>
            <p:cNvSpPr/>
            <p:nvPr/>
          </p:nvSpPr>
          <p:spPr bwMode="gray">
            <a:xfrm>
              <a:off x="6836695" y="3490775"/>
              <a:ext cx="681827" cy="904673"/>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542" name="TextBox 541"/>
            <p:cNvSpPr txBox="1"/>
            <p:nvPr/>
          </p:nvSpPr>
          <p:spPr>
            <a:xfrm>
              <a:off x="6881476" y="3775795"/>
              <a:ext cx="630083" cy="487806"/>
            </a:xfrm>
            <a:prstGeom prst="rect">
              <a:avLst/>
            </a:prstGeom>
            <a:noFill/>
          </p:spPr>
          <p:txBody>
            <a:bodyPr wrap="square" lIns="0" tIns="0" rIns="0" bIns="0" rtlCol="0">
              <a:spAutoFit/>
            </a:bodyPr>
            <a:lstStyle/>
            <a:p>
              <a:pPr algn="ctr">
                <a:spcBef>
                  <a:spcPts val="600"/>
                </a:spcBef>
                <a:buSzPct val="100000"/>
              </a:pPr>
              <a:r>
                <a:rPr lang="fr-FR" sz="1600" b="1" dirty="0">
                  <a:solidFill>
                    <a:srgbClr val="75787B"/>
                  </a:solidFill>
                  <a:latin typeface="+mj-lt"/>
                </a:rPr>
                <a:t>4</a:t>
              </a:r>
              <a:r>
                <a:rPr lang="fr-FR" sz="1200" b="1" dirty="0">
                  <a:solidFill>
                    <a:srgbClr val="75787B"/>
                  </a:solidFill>
                  <a:latin typeface="+mj-lt"/>
                </a:rPr>
                <a:t>  mds $</a:t>
              </a:r>
            </a:p>
          </p:txBody>
        </p:sp>
        <p:sp>
          <p:nvSpPr>
            <p:cNvPr id="543" name="TextBox 542"/>
            <p:cNvSpPr txBox="1"/>
            <p:nvPr/>
          </p:nvSpPr>
          <p:spPr>
            <a:xfrm>
              <a:off x="6659617" y="4629848"/>
              <a:ext cx="1021938" cy="191638"/>
            </a:xfrm>
            <a:prstGeom prst="rect">
              <a:avLst/>
            </a:prstGeom>
            <a:noFill/>
          </p:spPr>
          <p:txBody>
            <a:bodyPr wrap="square" lIns="0" tIns="0" rIns="0" bIns="0" rtlCol="0">
              <a:spAutoFit/>
            </a:bodyPr>
            <a:lstStyle/>
            <a:p>
              <a:pPr algn="ctr">
                <a:spcBef>
                  <a:spcPts val="600"/>
                </a:spcBef>
                <a:buSzPct val="100000"/>
              </a:pPr>
              <a:r>
                <a:rPr lang="fr-FR" sz="1100" b="1" dirty="0">
                  <a:solidFill>
                    <a:srgbClr val="86BC25"/>
                  </a:solidFill>
                  <a:latin typeface="+mj-lt"/>
                </a:rPr>
                <a:t>Asie</a:t>
              </a:r>
            </a:p>
          </p:txBody>
        </p:sp>
      </p:grpSp>
      <p:grpSp>
        <p:nvGrpSpPr>
          <p:cNvPr id="544" name="Group 543"/>
          <p:cNvGrpSpPr/>
          <p:nvPr/>
        </p:nvGrpSpPr>
        <p:grpSpPr>
          <a:xfrm>
            <a:off x="6468067" y="2492129"/>
            <a:ext cx="1021938" cy="1340193"/>
            <a:chOff x="7809086" y="3458932"/>
            <a:chExt cx="1021938" cy="1340193"/>
          </a:xfrm>
        </p:grpSpPr>
        <p:sp>
          <p:nvSpPr>
            <p:cNvPr id="545" name="Freeform 915"/>
            <p:cNvSpPr>
              <a:spLocks noEditPoints="1"/>
            </p:cNvSpPr>
            <p:nvPr/>
          </p:nvSpPr>
          <p:spPr bwMode="auto">
            <a:xfrm>
              <a:off x="7864063" y="3458932"/>
              <a:ext cx="911984" cy="1069577"/>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latin typeface="+mj-lt"/>
              </a:endParaRPr>
            </a:p>
          </p:txBody>
        </p:sp>
        <p:sp>
          <p:nvSpPr>
            <p:cNvPr id="546" name="Rectangle 545"/>
            <p:cNvSpPr/>
            <p:nvPr/>
          </p:nvSpPr>
          <p:spPr bwMode="gray">
            <a:xfrm>
              <a:off x="8112961" y="3909771"/>
              <a:ext cx="393928" cy="535336"/>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547" name="TextBox 546"/>
            <p:cNvSpPr txBox="1"/>
            <p:nvPr/>
          </p:nvSpPr>
          <p:spPr>
            <a:xfrm>
              <a:off x="8056798" y="3917202"/>
              <a:ext cx="530918" cy="369332"/>
            </a:xfrm>
            <a:prstGeom prst="rect">
              <a:avLst/>
            </a:prstGeom>
            <a:noFill/>
          </p:spPr>
          <p:txBody>
            <a:bodyPr wrap="square" lIns="0" tIns="0" rIns="0" bIns="0" rtlCol="0">
              <a:spAutoFit/>
            </a:bodyPr>
            <a:lstStyle/>
            <a:p>
              <a:pPr algn="ctr">
                <a:spcBef>
                  <a:spcPts val="600"/>
                </a:spcBef>
                <a:buSzPct val="100000"/>
              </a:pPr>
              <a:r>
                <a:rPr lang="fr-FR" sz="1400" b="1" dirty="0">
                  <a:solidFill>
                    <a:srgbClr val="75787B"/>
                  </a:solidFill>
                  <a:latin typeface="+mj-lt"/>
                </a:rPr>
                <a:t>3</a:t>
              </a:r>
              <a:r>
                <a:rPr lang="fr-FR" sz="1200" b="1" dirty="0">
                  <a:solidFill>
                    <a:srgbClr val="75787B"/>
                  </a:solidFill>
                  <a:latin typeface="+mj-lt"/>
                </a:rPr>
                <a:t> </a:t>
              </a:r>
              <a:r>
                <a:rPr lang="fr-FR" sz="1000" b="1" dirty="0">
                  <a:solidFill>
                    <a:srgbClr val="75787B"/>
                  </a:solidFill>
                  <a:latin typeface="+mj-lt"/>
                </a:rPr>
                <a:t> mds $</a:t>
              </a:r>
            </a:p>
          </p:txBody>
        </p:sp>
        <p:sp>
          <p:nvSpPr>
            <p:cNvPr id="548" name="TextBox 547"/>
            <p:cNvSpPr txBox="1"/>
            <p:nvPr/>
          </p:nvSpPr>
          <p:spPr>
            <a:xfrm>
              <a:off x="7809086" y="4629848"/>
              <a:ext cx="1021938" cy="169277"/>
            </a:xfrm>
            <a:prstGeom prst="rect">
              <a:avLst/>
            </a:prstGeom>
            <a:noFill/>
          </p:spPr>
          <p:txBody>
            <a:bodyPr wrap="square" lIns="0" tIns="0" rIns="0" bIns="0" rtlCol="0">
              <a:spAutoFit/>
            </a:bodyPr>
            <a:lstStyle/>
            <a:p>
              <a:pPr algn="ctr">
                <a:spcBef>
                  <a:spcPts val="600"/>
                </a:spcBef>
                <a:buSzPct val="100000"/>
              </a:pPr>
              <a:r>
                <a:rPr lang="fr-FR" sz="1100" b="1" dirty="0">
                  <a:solidFill>
                    <a:srgbClr val="86BC25"/>
                  </a:solidFill>
                  <a:latin typeface="+mj-lt"/>
                </a:rPr>
                <a:t>Europe</a:t>
              </a:r>
            </a:p>
          </p:txBody>
        </p:sp>
      </p:grpSp>
      <p:sp>
        <p:nvSpPr>
          <p:cNvPr id="550" name="Freeform 915"/>
          <p:cNvSpPr>
            <a:spLocks noEditPoints="1"/>
          </p:cNvSpPr>
          <p:nvPr/>
        </p:nvSpPr>
        <p:spPr bwMode="auto">
          <a:xfrm>
            <a:off x="6658676" y="4141030"/>
            <a:ext cx="668859" cy="869716"/>
          </a:xfrm>
          <a:custGeom>
            <a:avLst/>
            <a:gdLst>
              <a:gd name="T0" fmla="*/ 224 w 256"/>
              <a:gd name="T1" fmla="*/ 240 h 312"/>
              <a:gd name="T2" fmla="*/ 199 w 256"/>
              <a:gd name="T3" fmla="*/ 32 h 312"/>
              <a:gd name="T4" fmla="*/ 188 w 256"/>
              <a:gd name="T5" fmla="*/ 6 h 312"/>
              <a:gd name="T6" fmla="*/ 67 w 256"/>
              <a:gd name="T7" fmla="*/ 6 h 312"/>
              <a:gd name="T8" fmla="*/ 56 w 256"/>
              <a:gd name="T9" fmla="*/ 32 h 312"/>
              <a:gd name="T10" fmla="*/ 32 w 256"/>
              <a:gd name="T11" fmla="*/ 240 h 312"/>
              <a:gd name="T12" fmla="*/ 12 w 256"/>
              <a:gd name="T13" fmla="*/ 307 h 312"/>
              <a:gd name="T14" fmla="*/ 234 w 256"/>
              <a:gd name="T15" fmla="*/ 312 h 312"/>
              <a:gd name="T16" fmla="*/ 244 w 256"/>
              <a:gd name="T17" fmla="*/ 297 h 312"/>
              <a:gd name="T18" fmla="*/ 132 w 256"/>
              <a:gd name="T19" fmla="*/ 34 h 312"/>
              <a:gd name="T20" fmla="*/ 177 w 256"/>
              <a:gd name="T21" fmla="*/ 24 h 312"/>
              <a:gd name="T22" fmla="*/ 109 w 256"/>
              <a:gd name="T23" fmla="*/ 56 h 312"/>
              <a:gd name="T24" fmla="*/ 123 w 256"/>
              <a:gd name="T25" fmla="*/ 34 h 312"/>
              <a:gd name="T26" fmla="*/ 53 w 256"/>
              <a:gd name="T27" fmla="*/ 238 h 312"/>
              <a:gd name="T28" fmla="*/ 108 w 256"/>
              <a:gd name="T29" fmla="*/ 78 h 312"/>
              <a:gd name="T30" fmla="*/ 203 w 256"/>
              <a:gd name="T31" fmla="*/ 233 h 312"/>
              <a:gd name="T32" fmla="*/ 218 w 256"/>
              <a:gd name="T33" fmla="*/ 291 h 312"/>
              <a:gd name="T34" fmla="*/ 163 w 256"/>
              <a:gd name="T35" fmla="*/ 203 h 312"/>
              <a:gd name="T36" fmla="*/ 157 w 256"/>
              <a:gd name="T37" fmla="*/ 234 h 312"/>
              <a:gd name="T38" fmla="*/ 133 w 256"/>
              <a:gd name="T39" fmla="*/ 259 h 312"/>
              <a:gd name="T40" fmla="*/ 122 w 256"/>
              <a:gd name="T41" fmla="*/ 244 h 312"/>
              <a:gd name="T42" fmla="*/ 89 w 256"/>
              <a:gd name="T43" fmla="*/ 217 h 312"/>
              <a:gd name="T44" fmla="*/ 122 w 256"/>
              <a:gd name="T45" fmla="*/ 226 h 312"/>
              <a:gd name="T46" fmla="*/ 133 w 256"/>
              <a:gd name="T47" fmla="*/ 225 h 312"/>
              <a:gd name="T48" fmla="*/ 140 w 256"/>
              <a:gd name="T49" fmla="*/ 211 h 312"/>
              <a:gd name="T50" fmla="*/ 122 w 256"/>
              <a:gd name="T51" fmla="*/ 202 h 312"/>
              <a:gd name="T52" fmla="*/ 95 w 256"/>
              <a:gd name="T53" fmla="*/ 187 h 312"/>
              <a:gd name="T54" fmla="*/ 98 w 256"/>
              <a:gd name="T55" fmla="*/ 151 h 312"/>
              <a:gd name="T56" fmla="*/ 122 w 256"/>
              <a:gd name="T57" fmla="*/ 131 h 312"/>
              <a:gd name="T58" fmla="*/ 133 w 256"/>
              <a:gd name="T59" fmla="*/ 142 h 312"/>
              <a:gd name="T60" fmla="*/ 157 w 256"/>
              <a:gd name="T61" fmla="*/ 167 h 312"/>
              <a:gd name="T62" fmla="*/ 128 w 256"/>
              <a:gd name="T63" fmla="*/ 161 h 312"/>
              <a:gd name="T64" fmla="*/ 112 w 256"/>
              <a:gd name="T65" fmla="*/ 170 h 312"/>
              <a:gd name="T66" fmla="*/ 122 w 256"/>
              <a:gd name="T67" fmla="*/ 180 h 312"/>
              <a:gd name="T68" fmla="*/ 154 w 256"/>
              <a:gd name="T69" fmla="*/ 19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6" h="312">
                <a:moveTo>
                  <a:pt x="244" y="297"/>
                </a:moveTo>
                <a:cubicBezTo>
                  <a:pt x="237" y="281"/>
                  <a:pt x="225" y="253"/>
                  <a:pt x="224" y="240"/>
                </a:cubicBezTo>
                <a:cubicBezTo>
                  <a:pt x="230" y="224"/>
                  <a:pt x="256" y="145"/>
                  <a:pt x="167" y="66"/>
                </a:cubicBezTo>
                <a:cubicBezTo>
                  <a:pt x="199" y="32"/>
                  <a:pt x="199" y="32"/>
                  <a:pt x="199" y="32"/>
                </a:cubicBezTo>
                <a:cubicBezTo>
                  <a:pt x="202" y="29"/>
                  <a:pt x="203" y="25"/>
                  <a:pt x="202" y="22"/>
                </a:cubicBezTo>
                <a:cubicBezTo>
                  <a:pt x="202" y="20"/>
                  <a:pt x="199" y="11"/>
                  <a:pt x="188" y="6"/>
                </a:cubicBezTo>
                <a:cubicBezTo>
                  <a:pt x="174" y="0"/>
                  <a:pt x="154" y="2"/>
                  <a:pt x="128" y="13"/>
                </a:cubicBezTo>
                <a:cubicBezTo>
                  <a:pt x="101" y="2"/>
                  <a:pt x="81" y="0"/>
                  <a:pt x="67" y="6"/>
                </a:cubicBezTo>
                <a:cubicBezTo>
                  <a:pt x="57" y="11"/>
                  <a:pt x="54" y="20"/>
                  <a:pt x="53" y="22"/>
                </a:cubicBezTo>
                <a:cubicBezTo>
                  <a:pt x="52" y="25"/>
                  <a:pt x="53" y="29"/>
                  <a:pt x="56" y="32"/>
                </a:cubicBezTo>
                <a:cubicBezTo>
                  <a:pt x="89" y="66"/>
                  <a:pt x="89" y="66"/>
                  <a:pt x="89" y="66"/>
                </a:cubicBezTo>
                <a:cubicBezTo>
                  <a:pt x="0" y="145"/>
                  <a:pt x="25" y="224"/>
                  <a:pt x="32" y="240"/>
                </a:cubicBezTo>
                <a:cubicBezTo>
                  <a:pt x="30" y="253"/>
                  <a:pt x="19" y="281"/>
                  <a:pt x="11" y="297"/>
                </a:cubicBezTo>
                <a:cubicBezTo>
                  <a:pt x="10" y="300"/>
                  <a:pt x="10" y="304"/>
                  <a:pt x="12" y="307"/>
                </a:cubicBezTo>
                <a:cubicBezTo>
                  <a:pt x="14" y="310"/>
                  <a:pt x="17" y="312"/>
                  <a:pt x="21" y="312"/>
                </a:cubicBezTo>
                <a:cubicBezTo>
                  <a:pt x="234" y="312"/>
                  <a:pt x="234" y="312"/>
                  <a:pt x="234" y="312"/>
                </a:cubicBezTo>
                <a:cubicBezTo>
                  <a:pt x="238" y="312"/>
                  <a:pt x="241" y="310"/>
                  <a:pt x="243" y="307"/>
                </a:cubicBezTo>
                <a:cubicBezTo>
                  <a:pt x="245" y="304"/>
                  <a:pt x="246" y="300"/>
                  <a:pt x="244" y="297"/>
                </a:cubicBezTo>
                <a:close/>
                <a:moveTo>
                  <a:pt x="123" y="34"/>
                </a:moveTo>
                <a:cubicBezTo>
                  <a:pt x="126" y="35"/>
                  <a:pt x="129" y="35"/>
                  <a:pt x="132" y="34"/>
                </a:cubicBezTo>
                <a:cubicBezTo>
                  <a:pt x="132" y="34"/>
                  <a:pt x="132" y="34"/>
                  <a:pt x="132" y="34"/>
                </a:cubicBezTo>
                <a:cubicBezTo>
                  <a:pt x="157" y="23"/>
                  <a:pt x="171" y="23"/>
                  <a:pt x="177" y="24"/>
                </a:cubicBezTo>
                <a:cubicBezTo>
                  <a:pt x="147" y="56"/>
                  <a:pt x="147" y="56"/>
                  <a:pt x="147" y="56"/>
                </a:cubicBezTo>
                <a:cubicBezTo>
                  <a:pt x="109" y="56"/>
                  <a:pt x="109" y="56"/>
                  <a:pt x="109" y="56"/>
                </a:cubicBezTo>
                <a:cubicBezTo>
                  <a:pt x="79" y="25"/>
                  <a:pt x="79" y="25"/>
                  <a:pt x="79" y="25"/>
                </a:cubicBezTo>
                <a:cubicBezTo>
                  <a:pt x="84" y="23"/>
                  <a:pt x="97" y="22"/>
                  <a:pt x="123" y="34"/>
                </a:cubicBezTo>
                <a:close/>
                <a:moveTo>
                  <a:pt x="37" y="291"/>
                </a:moveTo>
                <a:cubicBezTo>
                  <a:pt x="44" y="275"/>
                  <a:pt x="53" y="252"/>
                  <a:pt x="53" y="238"/>
                </a:cubicBezTo>
                <a:cubicBezTo>
                  <a:pt x="53" y="236"/>
                  <a:pt x="53" y="234"/>
                  <a:pt x="52" y="233"/>
                </a:cubicBezTo>
                <a:cubicBezTo>
                  <a:pt x="50" y="230"/>
                  <a:pt x="15" y="155"/>
                  <a:pt x="108" y="78"/>
                </a:cubicBezTo>
                <a:cubicBezTo>
                  <a:pt x="147" y="78"/>
                  <a:pt x="147" y="78"/>
                  <a:pt x="147" y="78"/>
                </a:cubicBezTo>
                <a:cubicBezTo>
                  <a:pt x="240" y="155"/>
                  <a:pt x="205" y="230"/>
                  <a:pt x="203" y="233"/>
                </a:cubicBezTo>
                <a:cubicBezTo>
                  <a:pt x="203" y="234"/>
                  <a:pt x="202" y="236"/>
                  <a:pt x="202" y="238"/>
                </a:cubicBezTo>
                <a:cubicBezTo>
                  <a:pt x="202" y="252"/>
                  <a:pt x="211" y="275"/>
                  <a:pt x="218" y="291"/>
                </a:cubicBezTo>
                <a:lnTo>
                  <a:pt x="37" y="291"/>
                </a:lnTo>
                <a:close/>
                <a:moveTo>
                  <a:pt x="163" y="203"/>
                </a:moveTo>
                <a:cubicBezTo>
                  <a:pt x="165" y="207"/>
                  <a:pt x="166" y="210"/>
                  <a:pt x="166" y="215"/>
                </a:cubicBezTo>
                <a:cubicBezTo>
                  <a:pt x="166" y="223"/>
                  <a:pt x="163" y="230"/>
                  <a:pt x="157" y="234"/>
                </a:cubicBezTo>
                <a:cubicBezTo>
                  <a:pt x="151" y="239"/>
                  <a:pt x="143" y="242"/>
                  <a:pt x="133" y="243"/>
                </a:cubicBezTo>
                <a:cubicBezTo>
                  <a:pt x="133" y="259"/>
                  <a:pt x="133" y="259"/>
                  <a:pt x="133" y="259"/>
                </a:cubicBezTo>
                <a:cubicBezTo>
                  <a:pt x="122" y="259"/>
                  <a:pt x="122" y="259"/>
                  <a:pt x="122" y="259"/>
                </a:cubicBezTo>
                <a:cubicBezTo>
                  <a:pt x="122" y="244"/>
                  <a:pt x="122" y="244"/>
                  <a:pt x="122" y="244"/>
                </a:cubicBezTo>
                <a:cubicBezTo>
                  <a:pt x="110" y="243"/>
                  <a:pt x="99" y="241"/>
                  <a:pt x="89" y="237"/>
                </a:cubicBezTo>
                <a:cubicBezTo>
                  <a:pt x="89" y="217"/>
                  <a:pt x="89" y="217"/>
                  <a:pt x="89" y="217"/>
                </a:cubicBezTo>
                <a:cubicBezTo>
                  <a:pt x="94" y="219"/>
                  <a:pt x="99" y="221"/>
                  <a:pt x="105" y="223"/>
                </a:cubicBezTo>
                <a:cubicBezTo>
                  <a:pt x="112" y="224"/>
                  <a:pt x="117" y="225"/>
                  <a:pt x="122" y="226"/>
                </a:cubicBezTo>
                <a:cubicBezTo>
                  <a:pt x="122" y="226"/>
                  <a:pt x="125" y="226"/>
                  <a:pt x="128" y="226"/>
                </a:cubicBezTo>
                <a:cubicBezTo>
                  <a:pt x="130" y="226"/>
                  <a:pt x="133" y="225"/>
                  <a:pt x="133" y="225"/>
                </a:cubicBezTo>
                <a:cubicBezTo>
                  <a:pt x="140" y="224"/>
                  <a:pt x="143" y="221"/>
                  <a:pt x="143" y="216"/>
                </a:cubicBezTo>
                <a:cubicBezTo>
                  <a:pt x="143" y="214"/>
                  <a:pt x="142" y="212"/>
                  <a:pt x="140" y="211"/>
                </a:cubicBezTo>
                <a:cubicBezTo>
                  <a:pt x="139" y="209"/>
                  <a:pt x="136" y="208"/>
                  <a:pt x="133" y="206"/>
                </a:cubicBezTo>
                <a:cubicBezTo>
                  <a:pt x="122" y="202"/>
                  <a:pt x="122" y="202"/>
                  <a:pt x="122" y="202"/>
                </a:cubicBezTo>
                <a:cubicBezTo>
                  <a:pt x="117" y="200"/>
                  <a:pt x="117" y="200"/>
                  <a:pt x="117" y="200"/>
                </a:cubicBezTo>
                <a:cubicBezTo>
                  <a:pt x="107" y="196"/>
                  <a:pt x="100" y="192"/>
                  <a:pt x="95" y="187"/>
                </a:cubicBezTo>
                <a:cubicBezTo>
                  <a:pt x="91" y="182"/>
                  <a:pt x="89" y="177"/>
                  <a:pt x="89" y="170"/>
                </a:cubicBezTo>
                <a:cubicBezTo>
                  <a:pt x="89" y="162"/>
                  <a:pt x="92" y="156"/>
                  <a:pt x="98" y="151"/>
                </a:cubicBezTo>
                <a:cubicBezTo>
                  <a:pt x="104" y="147"/>
                  <a:pt x="112" y="144"/>
                  <a:pt x="122" y="143"/>
                </a:cubicBezTo>
                <a:cubicBezTo>
                  <a:pt x="122" y="131"/>
                  <a:pt x="122" y="131"/>
                  <a:pt x="122" y="131"/>
                </a:cubicBezTo>
                <a:cubicBezTo>
                  <a:pt x="133" y="131"/>
                  <a:pt x="133" y="131"/>
                  <a:pt x="133" y="131"/>
                </a:cubicBezTo>
                <a:cubicBezTo>
                  <a:pt x="133" y="142"/>
                  <a:pt x="133" y="142"/>
                  <a:pt x="133" y="142"/>
                </a:cubicBezTo>
                <a:cubicBezTo>
                  <a:pt x="144" y="143"/>
                  <a:pt x="155" y="145"/>
                  <a:pt x="164" y="149"/>
                </a:cubicBezTo>
                <a:cubicBezTo>
                  <a:pt x="157" y="167"/>
                  <a:pt x="157" y="167"/>
                  <a:pt x="157" y="167"/>
                </a:cubicBezTo>
                <a:cubicBezTo>
                  <a:pt x="149" y="164"/>
                  <a:pt x="141" y="162"/>
                  <a:pt x="133" y="161"/>
                </a:cubicBezTo>
                <a:cubicBezTo>
                  <a:pt x="133" y="161"/>
                  <a:pt x="131" y="161"/>
                  <a:pt x="128" y="161"/>
                </a:cubicBezTo>
                <a:cubicBezTo>
                  <a:pt x="125" y="161"/>
                  <a:pt x="122" y="162"/>
                  <a:pt x="122" y="162"/>
                </a:cubicBezTo>
                <a:cubicBezTo>
                  <a:pt x="116" y="163"/>
                  <a:pt x="112" y="165"/>
                  <a:pt x="112" y="170"/>
                </a:cubicBezTo>
                <a:cubicBezTo>
                  <a:pt x="112" y="172"/>
                  <a:pt x="113" y="174"/>
                  <a:pt x="115" y="175"/>
                </a:cubicBezTo>
                <a:cubicBezTo>
                  <a:pt x="116" y="177"/>
                  <a:pt x="119" y="178"/>
                  <a:pt x="122" y="180"/>
                </a:cubicBezTo>
                <a:cubicBezTo>
                  <a:pt x="133" y="184"/>
                  <a:pt x="133" y="184"/>
                  <a:pt x="133" y="184"/>
                </a:cubicBezTo>
                <a:cubicBezTo>
                  <a:pt x="143" y="188"/>
                  <a:pt x="150" y="191"/>
                  <a:pt x="154" y="194"/>
                </a:cubicBezTo>
                <a:cubicBezTo>
                  <a:pt x="158" y="197"/>
                  <a:pt x="161" y="200"/>
                  <a:pt x="163" y="203"/>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latin typeface="+mj-lt"/>
            </a:endParaRPr>
          </a:p>
        </p:txBody>
      </p:sp>
      <p:sp>
        <p:nvSpPr>
          <p:cNvPr id="551" name="Oval 550"/>
          <p:cNvSpPr/>
          <p:nvPr/>
        </p:nvSpPr>
        <p:spPr bwMode="gray">
          <a:xfrm>
            <a:off x="6841220" y="4368050"/>
            <a:ext cx="302315" cy="503822"/>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552" name="TextBox 551"/>
          <p:cNvSpPr txBox="1"/>
          <p:nvPr/>
        </p:nvSpPr>
        <p:spPr>
          <a:xfrm>
            <a:off x="6790134" y="4562441"/>
            <a:ext cx="389381" cy="307777"/>
          </a:xfrm>
          <a:prstGeom prst="rect">
            <a:avLst/>
          </a:prstGeom>
          <a:noFill/>
        </p:spPr>
        <p:txBody>
          <a:bodyPr wrap="square" lIns="0" tIns="0" rIns="0" bIns="0" rtlCol="0">
            <a:spAutoFit/>
          </a:bodyPr>
          <a:lstStyle/>
          <a:p>
            <a:pPr algn="ctr">
              <a:spcBef>
                <a:spcPts val="600"/>
              </a:spcBef>
              <a:buSzPct val="100000"/>
            </a:pPr>
            <a:r>
              <a:rPr lang="fr-FR" sz="1000" b="1" dirty="0">
                <a:solidFill>
                  <a:srgbClr val="75787B"/>
                </a:solidFill>
                <a:latin typeface="+mj-lt"/>
              </a:rPr>
              <a:t>1  md $</a:t>
            </a:r>
          </a:p>
        </p:txBody>
      </p:sp>
      <p:sp>
        <p:nvSpPr>
          <p:cNvPr id="553" name="TextBox 552"/>
          <p:cNvSpPr txBox="1"/>
          <p:nvPr/>
        </p:nvSpPr>
        <p:spPr>
          <a:xfrm>
            <a:off x="6618355" y="5093149"/>
            <a:ext cx="749500" cy="169277"/>
          </a:xfrm>
          <a:prstGeom prst="rect">
            <a:avLst/>
          </a:prstGeom>
          <a:noFill/>
        </p:spPr>
        <p:txBody>
          <a:bodyPr wrap="square" lIns="0" tIns="0" rIns="0" bIns="0" rtlCol="0">
            <a:spAutoFit/>
          </a:bodyPr>
          <a:lstStyle/>
          <a:p>
            <a:pPr algn="ctr">
              <a:spcBef>
                <a:spcPts val="600"/>
              </a:spcBef>
              <a:buSzPct val="100000"/>
            </a:pPr>
            <a:r>
              <a:rPr lang="fr-FR" sz="1100" b="1" dirty="0">
                <a:latin typeface="+mj-lt"/>
              </a:rPr>
              <a:t>Afrique</a:t>
            </a:r>
          </a:p>
        </p:txBody>
      </p:sp>
      <p:grpSp>
        <p:nvGrpSpPr>
          <p:cNvPr id="7" name="Group 6"/>
          <p:cNvGrpSpPr/>
          <p:nvPr/>
        </p:nvGrpSpPr>
        <p:grpSpPr>
          <a:xfrm>
            <a:off x="424968" y="2276968"/>
            <a:ext cx="4232996" cy="4018494"/>
            <a:chOff x="498856" y="2064535"/>
            <a:chExt cx="4232996" cy="4018494"/>
          </a:xfrm>
        </p:grpSpPr>
        <p:cxnSp>
          <p:nvCxnSpPr>
            <p:cNvPr id="303" name="Straight Connector 302"/>
            <p:cNvCxnSpPr/>
            <p:nvPr/>
          </p:nvCxnSpPr>
          <p:spPr bwMode="gray">
            <a:xfrm>
              <a:off x="2571306" y="2441795"/>
              <a:ext cx="0" cy="2268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4" name="Straight Connector 303"/>
            <p:cNvCxnSpPr/>
            <p:nvPr/>
          </p:nvCxnSpPr>
          <p:spPr bwMode="gray">
            <a:xfrm rot="5400000">
              <a:off x="3855086" y="2888389"/>
              <a:ext cx="864000" cy="15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5" name="Straight Connector 304"/>
            <p:cNvCxnSpPr/>
            <p:nvPr/>
          </p:nvCxnSpPr>
          <p:spPr bwMode="gray">
            <a:xfrm rot="5400000">
              <a:off x="2605522" y="3258960"/>
              <a:ext cx="1620000" cy="15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6" name="Straight Connector 305"/>
            <p:cNvCxnSpPr/>
            <p:nvPr/>
          </p:nvCxnSpPr>
          <p:spPr bwMode="gray">
            <a:xfrm rot="5400000">
              <a:off x="493693" y="3620659"/>
              <a:ext cx="2412000" cy="15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p:nvPr/>
          </p:nvCxnSpPr>
          <p:spPr bwMode="gray">
            <a:xfrm rot="5400000">
              <a:off x="-386824" y="3632300"/>
              <a:ext cx="2412000" cy="15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08" name="Oval 307"/>
            <p:cNvSpPr/>
            <p:nvPr/>
          </p:nvSpPr>
          <p:spPr bwMode="gray">
            <a:xfrm>
              <a:off x="3908292" y="2064535"/>
              <a:ext cx="756000" cy="756000"/>
            </a:xfrm>
            <a:prstGeom prst="ellipse">
              <a:avLst/>
            </a:prstGeom>
            <a:solidFill>
              <a:schemeClr val="bg1"/>
            </a:solidFill>
            <a:ln w="952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09" name="Oval 308"/>
            <p:cNvSpPr/>
            <p:nvPr/>
          </p:nvSpPr>
          <p:spPr bwMode="gray">
            <a:xfrm>
              <a:off x="3078716" y="2100535"/>
              <a:ext cx="684000" cy="684000"/>
            </a:xfrm>
            <a:prstGeom prst="ellipse">
              <a:avLst/>
            </a:prstGeom>
            <a:solidFill>
              <a:schemeClr val="bg1"/>
            </a:solidFill>
            <a:ln w="952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10" name="Oval 309"/>
            <p:cNvSpPr/>
            <p:nvPr/>
          </p:nvSpPr>
          <p:spPr bwMode="gray">
            <a:xfrm>
              <a:off x="2282625" y="2154535"/>
              <a:ext cx="576000" cy="576000"/>
            </a:xfrm>
            <a:prstGeom prst="ellipse">
              <a:avLst/>
            </a:prstGeom>
            <a:solidFill>
              <a:schemeClr val="bg1"/>
            </a:solidFill>
            <a:ln w="952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11" name="Oval 310"/>
            <p:cNvSpPr/>
            <p:nvPr/>
          </p:nvSpPr>
          <p:spPr bwMode="gray">
            <a:xfrm>
              <a:off x="1447945" y="2190535"/>
              <a:ext cx="504000" cy="504000"/>
            </a:xfrm>
            <a:prstGeom prst="ellipse">
              <a:avLst/>
            </a:prstGeom>
            <a:solidFill>
              <a:schemeClr val="bg1"/>
            </a:solidFill>
            <a:ln w="952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12" name="Oval 311"/>
            <p:cNvSpPr/>
            <p:nvPr/>
          </p:nvSpPr>
          <p:spPr bwMode="gray">
            <a:xfrm>
              <a:off x="602382" y="2226535"/>
              <a:ext cx="432000" cy="432000"/>
            </a:xfrm>
            <a:prstGeom prst="ellipse">
              <a:avLst/>
            </a:prstGeom>
            <a:solidFill>
              <a:schemeClr val="bg1"/>
            </a:solidFill>
            <a:ln w="952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13" name="TextBox 312"/>
            <p:cNvSpPr txBox="1"/>
            <p:nvPr/>
          </p:nvSpPr>
          <p:spPr>
            <a:xfrm>
              <a:off x="498856" y="2357897"/>
              <a:ext cx="626529" cy="169277"/>
            </a:xfrm>
            <a:prstGeom prst="rect">
              <a:avLst/>
            </a:prstGeom>
            <a:noFill/>
          </p:spPr>
          <p:txBody>
            <a:bodyPr wrap="square" lIns="0" tIns="0" rIns="0" bIns="0" rtlCol="0">
              <a:spAutoFit/>
            </a:bodyPr>
            <a:lstStyle/>
            <a:p>
              <a:pPr algn="ctr">
                <a:spcBef>
                  <a:spcPts val="600"/>
                </a:spcBef>
                <a:buSzPct val="100000"/>
              </a:pPr>
              <a:r>
                <a:rPr lang="fr-FR" sz="1100" b="1" dirty="0">
                  <a:solidFill>
                    <a:srgbClr val="313131"/>
                  </a:solidFill>
                  <a:latin typeface="+mj-lt"/>
                </a:rPr>
                <a:t>457</a:t>
              </a:r>
            </a:p>
          </p:txBody>
        </p:sp>
        <p:sp>
          <p:nvSpPr>
            <p:cNvPr id="314" name="TextBox 313"/>
            <p:cNvSpPr txBox="1"/>
            <p:nvPr/>
          </p:nvSpPr>
          <p:spPr>
            <a:xfrm>
              <a:off x="1383174" y="2350202"/>
              <a:ext cx="626529" cy="184666"/>
            </a:xfrm>
            <a:prstGeom prst="rect">
              <a:avLst/>
            </a:prstGeom>
            <a:noFill/>
          </p:spPr>
          <p:txBody>
            <a:bodyPr wrap="square" lIns="0" tIns="0" rIns="0" bIns="0" rtlCol="0">
              <a:spAutoFit/>
            </a:bodyPr>
            <a:lstStyle/>
            <a:p>
              <a:pPr algn="ctr">
                <a:spcBef>
                  <a:spcPts val="600"/>
                </a:spcBef>
                <a:buSzPct val="100000"/>
              </a:pPr>
              <a:r>
                <a:rPr lang="fr-FR" sz="1200" b="1" dirty="0">
                  <a:solidFill>
                    <a:srgbClr val="313131"/>
                  </a:solidFill>
                  <a:latin typeface="+mj-lt"/>
                </a:rPr>
                <a:t>607</a:t>
              </a:r>
            </a:p>
          </p:txBody>
        </p:sp>
        <p:sp>
          <p:nvSpPr>
            <p:cNvPr id="315" name="TextBox 314"/>
            <p:cNvSpPr txBox="1"/>
            <p:nvPr/>
          </p:nvSpPr>
          <p:spPr>
            <a:xfrm>
              <a:off x="2257360" y="2334813"/>
              <a:ext cx="626529" cy="215444"/>
            </a:xfrm>
            <a:prstGeom prst="rect">
              <a:avLst/>
            </a:prstGeom>
            <a:noFill/>
          </p:spPr>
          <p:txBody>
            <a:bodyPr wrap="square" lIns="0" tIns="0" rIns="0" bIns="0" rtlCol="0">
              <a:spAutoFit/>
            </a:bodyPr>
            <a:lstStyle/>
            <a:p>
              <a:pPr algn="ctr">
                <a:spcBef>
                  <a:spcPts val="600"/>
                </a:spcBef>
                <a:buSzPct val="100000"/>
              </a:pPr>
              <a:r>
                <a:rPr lang="fr-FR" sz="1400" b="1" dirty="0">
                  <a:solidFill>
                    <a:srgbClr val="313131"/>
                  </a:solidFill>
                  <a:latin typeface="+mj-lt"/>
                </a:rPr>
                <a:t>759</a:t>
              </a:r>
            </a:p>
          </p:txBody>
        </p:sp>
        <p:sp>
          <p:nvSpPr>
            <p:cNvPr id="316" name="TextBox 315"/>
            <p:cNvSpPr txBox="1"/>
            <p:nvPr/>
          </p:nvSpPr>
          <p:spPr>
            <a:xfrm>
              <a:off x="3127335" y="2334813"/>
              <a:ext cx="626529" cy="215444"/>
            </a:xfrm>
            <a:prstGeom prst="rect">
              <a:avLst/>
            </a:prstGeom>
            <a:noFill/>
          </p:spPr>
          <p:txBody>
            <a:bodyPr wrap="square" lIns="0" tIns="0" rIns="0" bIns="0" rtlCol="0">
              <a:spAutoFit/>
            </a:bodyPr>
            <a:lstStyle/>
            <a:p>
              <a:pPr algn="ctr">
                <a:spcBef>
                  <a:spcPts val="600"/>
                </a:spcBef>
                <a:buSzPct val="100000"/>
              </a:pPr>
              <a:r>
                <a:rPr lang="fr-FR" sz="1400" b="1" dirty="0">
                  <a:solidFill>
                    <a:srgbClr val="313131"/>
                  </a:solidFill>
                  <a:latin typeface="+mj-lt"/>
                </a:rPr>
                <a:t>933</a:t>
              </a:r>
            </a:p>
          </p:txBody>
        </p:sp>
        <p:sp>
          <p:nvSpPr>
            <p:cNvPr id="317" name="TextBox 316"/>
            <p:cNvSpPr txBox="1"/>
            <p:nvPr/>
          </p:nvSpPr>
          <p:spPr>
            <a:xfrm>
              <a:off x="3921561" y="2319425"/>
              <a:ext cx="714807" cy="246221"/>
            </a:xfrm>
            <a:prstGeom prst="rect">
              <a:avLst/>
            </a:prstGeom>
            <a:noFill/>
          </p:spPr>
          <p:txBody>
            <a:bodyPr wrap="square" lIns="0" tIns="0" rIns="0" bIns="0" rtlCol="0">
              <a:spAutoFit/>
            </a:bodyPr>
            <a:lstStyle/>
            <a:p>
              <a:pPr algn="ctr">
                <a:spcBef>
                  <a:spcPts val="600"/>
                </a:spcBef>
                <a:buSzPct val="100000"/>
              </a:pPr>
              <a:r>
                <a:rPr lang="fr-FR" sz="1600" b="1" dirty="0">
                  <a:solidFill>
                    <a:srgbClr val="313131"/>
                  </a:solidFill>
                  <a:latin typeface="+mj-lt"/>
                </a:rPr>
                <a:t>1162</a:t>
              </a:r>
            </a:p>
          </p:txBody>
        </p:sp>
        <p:sp>
          <p:nvSpPr>
            <p:cNvPr id="318" name="TextBox 317"/>
            <p:cNvSpPr txBox="1"/>
            <p:nvPr/>
          </p:nvSpPr>
          <p:spPr>
            <a:xfrm>
              <a:off x="552127" y="5990696"/>
              <a:ext cx="2121056" cy="92333"/>
            </a:xfrm>
            <a:prstGeom prst="rect">
              <a:avLst/>
            </a:prstGeom>
            <a:noFill/>
          </p:spPr>
          <p:txBody>
            <a:bodyPr wrap="square" lIns="0" tIns="0" rIns="0" bIns="0" rtlCol="0">
              <a:spAutoFit/>
            </a:bodyPr>
            <a:lstStyle/>
            <a:p>
              <a:pPr>
                <a:spcBef>
                  <a:spcPts val="600"/>
                </a:spcBef>
                <a:buSzPct val="100000"/>
              </a:pPr>
              <a:r>
                <a:rPr lang="fr-FR" sz="600" dirty="0">
                  <a:solidFill>
                    <a:srgbClr val="313131"/>
                  </a:solidFill>
                  <a:latin typeface="+mj-lt"/>
                </a:rPr>
                <a:t>Source : CB Insights</a:t>
              </a:r>
            </a:p>
          </p:txBody>
        </p:sp>
        <p:sp>
          <p:nvSpPr>
            <p:cNvPr id="554" name="Rectangle 553"/>
            <p:cNvSpPr/>
            <p:nvPr/>
          </p:nvSpPr>
          <p:spPr bwMode="gray">
            <a:xfrm>
              <a:off x="927330" y="5787383"/>
              <a:ext cx="72000" cy="7200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555" name="TextBox 554"/>
            <p:cNvSpPr txBox="1"/>
            <p:nvPr/>
          </p:nvSpPr>
          <p:spPr>
            <a:xfrm>
              <a:off x="1147791" y="5761828"/>
              <a:ext cx="1608814" cy="123111"/>
            </a:xfrm>
            <a:prstGeom prst="rect">
              <a:avLst/>
            </a:prstGeom>
            <a:noFill/>
          </p:spPr>
          <p:txBody>
            <a:bodyPr wrap="square" lIns="0" tIns="0" rIns="0" bIns="0" rtlCol="0">
              <a:spAutoFit/>
            </a:bodyPr>
            <a:lstStyle/>
            <a:p>
              <a:pPr>
                <a:spcBef>
                  <a:spcPts val="600"/>
                </a:spcBef>
                <a:buSzPct val="100000"/>
              </a:pPr>
              <a:r>
                <a:rPr lang="fr-FR" sz="800" dirty="0">
                  <a:solidFill>
                    <a:srgbClr val="313131"/>
                  </a:solidFill>
                  <a:latin typeface="+mj-lt"/>
                </a:rPr>
                <a:t>Montant des investissements</a:t>
              </a:r>
            </a:p>
          </p:txBody>
        </p:sp>
        <p:sp>
          <p:nvSpPr>
            <p:cNvPr id="556" name="Oval 555"/>
            <p:cNvSpPr/>
            <p:nvPr/>
          </p:nvSpPr>
          <p:spPr bwMode="gray">
            <a:xfrm>
              <a:off x="2937238" y="5787383"/>
              <a:ext cx="72000" cy="72000"/>
            </a:xfrm>
            <a:prstGeom prst="ellipse">
              <a:avLst/>
            </a:prstGeom>
            <a:solidFill>
              <a:schemeClr val="bg1"/>
            </a:solidFill>
            <a:ln w="9525" algn="ctr">
              <a:solidFill>
                <a:schemeClr val="tx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557" name="TextBox 556"/>
            <p:cNvSpPr txBox="1"/>
            <p:nvPr/>
          </p:nvSpPr>
          <p:spPr>
            <a:xfrm>
              <a:off x="3123038" y="5761828"/>
              <a:ext cx="1608814" cy="123111"/>
            </a:xfrm>
            <a:prstGeom prst="rect">
              <a:avLst/>
            </a:prstGeom>
            <a:noFill/>
          </p:spPr>
          <p:txBody>
            <a:bodyPr wrap="square" lIns="0" tIns="0" rIns="0" bIns="0" rtlCol="0">
              <a:spAutoFit/>
            </a:bodyPr>
            <a:lstStyle/>
            <a:p>
              <a:pPr>
                <a:spcBef>
                  <a:spcPts val="600"/>
                </a:spcBef>
                <a:buSzPct val="100000"/>
              </a:pPr>
              <a:r>
                <a:rPr lang="fr-FR" sz="800" dirty="0">
                  <a:solidFill>
                    <a:srgbClr val="313131"/>
                  </a:solidFill>
                  <a:latin typeface="+mj-lt"/>
                </a:rPr>
                <a:t>Nombre de deals déclarés </a:t>
              </a:r>
            </a:p>
          </p:txBody>
        </p:sp>
      </p:grpSp>
      <p:sp>
        <p:nvSpPr>
          <p:cNvPr id="8" name="Rectangle 7"/>
          <p:cNvSpPr/>
          <p:nvPr/>
        </p:nvSpPr>
        <p:spPr bwMode="gray">
          <a:xfrm>
            <a:off x="5576888" y="3971807"/>
            <a:ext cx="693811" cy="216282"/>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Tree>
    <p:extLst>
      <p:ext uri="{BB962C8B-B14F-4D97-AF65-F5344CB8AC3E}">
        <p14:creationId xmlns:p14="http://schemas.microsoft.com/office/powerpoint/2010/main" val="300081199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p:txBody>
          <a:bodyPr/>
          <a:lstStyle/>
          <a:p>
            <a:pPr>
              <a:spcBef>
                <a:spcPts val="600"/>
              </a:spcBef>
              <a:buSzPct val="100000"/>
              <a:buFont typeface="Arial"/>
              <a:buNone/>
            </a:pPr>
            <a:r>
              <a:rPr lang="fr-FR" dirty="0">
                <a:solidFill>
                  <a:prstClr val="black"/>
                </a:solidFill>
                <a:latin typeface="+mj-lt"/>
              </a:rPr>
              <a:t>© 2017 Deloitte </a:t>
            </a:r>
          </a:p>
        </p:txBody>
      </p:sp>
      <p:sp>
        <p:nvSpPr>
          <p:cNvPr id="5" name="Slide Number Placeholder 4"/>
          <p:cNvSpPr>
            <a:spLocks noGrp="1"/>
          </p:cNvSpPr>
          <p:nvPr>
            <p:ph type="sldNum" sz="quarter" idx="4"/>
          </p:nvPr>
        </p:nvSpPr>
        <p:spPr/>
        <p:txBody>
          <a:bodyPr/>
          <a:lstStyle/>
          <a:p>
            <a:pPr algn="r">
              <a:spcBef>
                <a:spcPts val="600"/>
              </a:spcBef>
              <a:buSzPct val="100000"/>
              <a:buFont typeface="Arial"/>
              <a:buNone/>
            </a:pPr>
            <a:fld id="{4654C24A-AA93-4318-A7E9-AF587A936244}" type="slidenum">
              <a:rPr lang="fr-FR" smtClean="0">
                <a:solidFill>
                  <a:prstClr val="black"/>
                </a:solidFill>
                <a:latin typeface="+mj-lt"/>
              </a:rPr>
              <a:pPr algn="r">
                <a:spcBef>
                  <a:spcPts val="600"/>
                </a:spcBef>
                <a:buSzPct val="100000"/>
                <a:buFont typeface="Arial"/>
                <a:buNone/>
              </a:pPr>
              <a:t>5</a:t>
            </a:fld>
            <a:endParaRPr lang="fr-FR">
              <a:solidFill>
                <a:prstClr val="black"/>
              </a:solidFill>
              <a:latin typeface="+mj-lt"/>
            </a:endParaRPr>
          </a:p>
        </p:txBody>
      </p:sp>
      <p:sp>
        <p:nvSpPr>
          <p:cNvPr id="130" name="Title 2"/>
          <p:cNvSpPr>
            <a:spLocks noGrp="1"/>
          </p:cNvSpPr>
          <p:nvPr>
            <p:ph type="title"/>
          </p:nvPr>
        </p:nvSpPr>
        <p:spPr>
          <a:xfrm>
            <a:off x="376239" y="317500"/>
            <a:ext cx="8391525" cy="334101"/>
          </a:xfrm>
        </p:spPr>
        <p:txBody>
          <a:bodyPr/>
          <a:lstStyle/>
          <a:p>
            <a:r>
              <a:rPr lang="fr-FR" dirty="0"/>
              <a:t>La </a:t>
            </a:r>
            <a:r>
              <a:rPr lang="fr-FR" dirty="0" err="1"/>
              <a:t>Fintech</a:t>
            </a:r>
            <a:r>
              <a:rPr lang="fr-FR" dirty="0"/>
              <a:t> dans le monde</a:t>
            </a:r>
          </a:p>
        </p:txBody>
      </p:sp>
      <p:sp>
        <p:nvSpPr>
          <p:cNvPr id="131" name="Text Placeholder 8"/>
          <p:cNvSpPr>
            <a:spLocks noGrp="1"/>
          </p:cNvSpPr>
          <p:nvPr>
            <p:ph type="body" sz="quarter" idx="13"/>
          </p:nvPr>
        </p:nvSpPr>
        <p:spPr>
          <a:xfrm>
            <a:off x="376237" y="651601"/>
            <a:ext cx="8638973" cy="355250"/>
          </a:xfrm>
        </p:spPr>
        <p:txBody>
          <a:bodyPr/>
          <a:lstStyle/>
          <a:p>
            <a:r>
              <a:rPr lang="fr-FR" sz="1800" dirty="0">
                <a:latin typeface="+mj-lt"/>
              </a:rPr>
              <a:t>6 segments d’activités comprenant plusieurs innovations</a:t>
            </a:r>
          </a:p>
        </p:txBody>
      </p:sp>
      <p:sp>
        <p:nvSpPr>
          <p:cNvPr id="135" name="object 26"/>
          <p:cNvSpPr/>
          <p:nvPr/>
        </p:nvSpPr>
        <p:spPr>
          <a:xfrm rot="10800000">
            <a:off x="5795439" y="4041421"/>
            <a:ext cx="1158790" cy="1037358"/>
          </a:xfrm>
          <a:custGeom>
            <a:avLst/>
            <a:gdLst/>
            <a:ahLst/>
            <a:cxnLst/>
            <a:rect l="l" t="t" r="r" b="b"/>
            <a:pathLst>
              <a:path w="1205864" h="1079500">
                <a:moveTo>
                  <a:pt x="1124585" y="0"/>
                </a:moveTo>
                <a:lnTo>
                  <a:pt x="80886" y="0"/>
                </a:lnTo>
                <a:lnTo>
                  <a:pt x="59182" y="1968"/>
                </a:lnTo>
                <a:lnTo>
                  <a:pt x="37477" y="5918"/>
                </a:lnTo>
                <a:lnTo>
                  <a:pt x="17754" y="11836"/>
                </a:lnTo>
                <a:lnTo>
                  <a:pt x="0" y="19723"/>
                </a:lnTo>
                <a:lnTo>
                  <a:pt x="599236" y="1078992"/>
                </a:lnTo>
                <a:lnTo>
                  <a:pt x="604024" y="1070521"/>
                </a:lnTo>
                <a:lnTo>
                  <a:pt x="612976" y="1070521"/>
                </a:lnTo>
                <a:lnTo>
                  <a:pt x="1205484" y="19723"/>
                </a:lnTo>
                <a:lnTo>
                  <a:pt x="1187716" y="11836"/>
                </a:lnTo>
                <a:lnTo>
                  <a:pt x="1167993" y="5918"/>
                </a:lnTo>
                <a:lnTo>
                  <a:pt x="1146289" y="1968"/>
                </a:lnTo>
                <a:lnTo>
                  <a:pt x="1124585" y="0"/>
                </a:lnTo>
                <a:close/>
              </a:path>
              <a:path w="1205864" h="1079500">
                <a:moveTo>
                  <a:pt x="612976" y="1070521"/>
                </a:moveTo>
                <a:lnTo>
                  <a:pt x="604024" y="1070521"/>
                </a:lnTo>
                <a:lnTo>
                  <a:pt x="608507" y="1078445"/>
                </a:lnTo>
                <a:lnTo>
                  <a:pt x="612976" y="1070521"/>
                </a:lnTo>
                <a:close/>
              </a:path>
            </a:pathLst>
          </a:custGeom>
          <a:solidFill>
            <a:srgbClr val="F2F2F2"/>
          </a:solidFill>
        </p:spPr>
        <p:txBody>
          <a:bodyPr wrap="square" lIns="0" tIns="0" rIns="0" bIns="0" rtlCol="0"/>
          <a:lstStyle/>
          <a:p>
            <a:endParaRPr>
              <a:solidFill>
                <a:prstClr val="black"/>
              </a:solidFill>
              <a:latin typeface="+mj-lt"/>
            </a:endParaRPr>
          </a:p>
        </p:txBody>
      </p:sp>
      <p:sp>
        <p:nvSpPr>
          <p:cNvPr id="275" name="object 29"/>
          <p:cNvSpPr/>
          <p:nvPr/>
        </p:nvSpPr>
        <p:spPr>
          <a:xfrm>
            <a:off x="5197250" y="4017256"/>
            <a:ext cx="1169773" cy="1019051"/>
          </a:xfrm>
          <a:custGeom>
            <a:avLst/>
            <a:gdLst/>
            <a:ahLst/>
            <a:cxnLst/>
            <a:rect l="l" t="t" r="r" b="b"/>
            <a:pathLst>
              <a:path w="1217295" h="1060450">
                <a:moveTo>
                  <a:pt x="1216914" y="0"/>
                </a:moveTo>
                <a:lnTo>
                  <a:pt x="0" y="0"/>
                </a:lnTo>
                <a:lnTo>
                  <a:pt x="1651" y="19735"/>
                </a:lnTo>
                <a:lnTo>
                  <a:pt x="13487" y="65112"/>
                </a:lnTo>
                <a:lnTo>
                  <a:pt x="546163" y="992289"/>
                </a:lnTo>
                <a:lnTo>
                  <a:pt x="579704" y="1033716"/>
                </a:lnTo>
                <a:lnTo>
                  <a:pt x="617334" y="1059942"/>
                </a:lnTo>
                <a:lnTo>
                  <a:pt x="1216914"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276" name="object 30"/>
          <p:cNvSpPr/>
          <p:nvPr/>
        </p:nvSpPr>
        <p:spPr>
          <a:xfrm>
            <a:off x="6395215" y="4017256"/>
            <a:ext cx="1167333" cy="1019051"/>
          </a:xfrm>
          <a:custGeom>
            <a:avLst/>
            <a:gdLst/>
            <a:ahLst/>
            <a:cxnLst/>
            <a:rect l="l" t="t" r="r" b="b"/>
            <a:pathLst>
              <a:path w="1214754" h="1060450">
                <a:moveTo>
                  <a:pt x="1214628" y="0"/>
                </a:moveTo>
                <a:lnTo>
                  <a:pt x="0" y="0"/>
                </a:lnTo>
                <a:lnTo>
                  <a:pt x="597598" y="1059942"/>
                </a:lnTo>
                <a:lnTo>
                  <a:pt x="634809" y="1033957"/>
                </a:lnTo>
                <a:lnTo>
                  <a:pt x="668350" y="992530"/>
                </a:lnTo>
                <a:lnTo>
                  <a:pt x="1191272" y="86829"/>
                </a:lnTo>
                <a:lnTo>
                  <a:pt x="1209040" y="43421"/>
                </a:lnTo>
                <a:lnTo>
                  <a:pt x="1214628"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277" name="object 27"/>
          <p:cNvSpPr/>
          <p:nvPr/>
        </p:nvSpPr>
        <p:spPr>
          <a:xfrm>
            <a:off x="5197250" y="2984048"/>
            <a:ext cx="1174655" cy="1024543"/>
          </a:xfrm>
          <a:custGeom>
            <a:avLst/>
            <a:gdLst/>
            <a:ahLst/>
            <a:cxnLst/>
            <a:rect l="l" t="t" r="r" b="b"/>
            <a:pathLst>
              <a:path w="1222375" h="1066164">
                <a:moveTo>
                  <a:pt x="621233" y="0"/>
                </a:moveTo>
                <a:lnTo>
                  <a:pt x="580034" y="28308"/>
                </a:lnTo>
                <a:lnTo>
                  <a:pt x="546493" y="69735"/>
                </a:lnTo>
                <a:lnTo>
                  <a:pt x="23672" y="975283"/>
                </a:lnTo>
                <a:lnTo>
                  <a:pt x="5918" y="1020660"/>
                </a:lnTo>
                <a:lnTo>
                  <a:pt x="0" y="1066038"/>
                </a:lnTo>
                <a:lnTo>
                  <a:pt x="1222248" y="1066038"/>
                </a:lnTo>
                <a:lnTo>
                  <a:pt x="621233"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278" name="object 28"/>
          <p:cNvSpPr/>
          <p:nvPr/>
        </p:nvSpPr>
        <p:spPr>
          <a:xfrm>
            <a:off x="6388625" y="2984048"/>
            <a:ext cx="1174045" cy="1024543"/>
          </a:xfrm>
          <a:custGeom>
            <a:avLst/>
            <a:gdLst/>
            <a:ahLst/>
            <a:cxnLst/>
            <a:rect l="l" t="t" r="r" b="b"/>
            <a:pathLst>
              <a:path w="1221739" h="1066164">
                <a:moveTo>
                  <a:pt x="600087" y="0"/>
                </a:moveTo>
                <a:lnTo>
                  <a:pt x="0" y="1064107"/>
                </a:lnTo>
                <a:lnTo>
                  <a:pt x="1092" y="1066038"/>
                </a:lnTo>
                <a:lnTo>
                  <a:pt x="1221485" y="1066038"/>
                </a:lnTo>
                <a:lnTo>
                  <a:pt x="1215567" y="1018692"/>
                </a:lnTo>
                <a:lnTo>
                  <a:pt x="1197813" y="975283"/>
                </a:lnTo>
                <a:lnTo>
                  <a:pt x="674839" y="69735"/>
                </a:lnTo>
                <a:lnTo>
                  <a:pt x="641299" y="28308"/>
                </a:lnTo>
                <a:lnTo>
                  <a:pt x="600087"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279" name="object 26"/>
          <p:cNvSpPr/>
          <p:nvPr/>
        </p:nvSpPr>
        <p:spPr>
          <a:xfrm>
            <a:off x="5802558" y="2963545"/>
            <a:ext cx="1158790" cy="1037358"/>
          </a:xfrm>
          <a:custGeom>
            <a:avLst/>
            <a:gdLst/>
            <a:ahLst/>
            <a:cxnLst/>
            <a:rect l="l" t="t" r="r" b="b"/>
            <a:pathLst>
              <a:path w="1205864" h="1079500">
                <a:moveTo>
                  <a:pt x="1124585" y="0"/>
                </a:moveTo>
                <a:lnTo>
                  <a:pt x="80886" y="0"/>
                </a:lnTo>
                <a:lnTo>
                  <a:pt x="59182" y="1968"/>
                </a:lnTo>
                <a:lnTo>
                  <a:pt x="37477" y="5918"/>
                </a:lnTo>
                <a:lnTo>
                  <a:pt x="17754" y="11836"/>
                </a:lnTo>
                <a:lnTo>
                  <a:pt x="0" y="19723"/>
                </a:lnTo>
                <a:lnTo>
                  <a:pt x="599236" y="1078992"/>
                </a:lnTo>
                <a:lnTo>
                  <a:pt x="604024" y="1070521"/>
                </a:lnTo>
                <a:lnTo>
                  <a:pt x="612976" y="1070521"/>
                </a:lnTo>
                <a:lnTo>
                  <a:pt x="1205484" y="19723"/>
                </a:lnTo>
                <a:lnTo>
                  <a:pt x="1187716" y="11836"/>
                </a:lnTo>
                <a:lnTo>
                  <a:pt x="1167993" y="5918"/>
                </a:lnTo>
                <a:lnTo>
                  <a:pt x="1146289" y="1968"/>
                </a:lnTo>
                <a:lnTo>
                  <a:pt x="1124585" y="0"/>
                </a:lnTo>
                <a:close/>
              </a:path>
              <a:path w="1205864" h="1079500">
                <a:moveTo>
                  <a:pt x="612976" y="1070521"/>
                </a:moveTo>
                <a:lnTo>
                  <a:pt x="604024" y="1070521"/>
                </a:lnTo>
                <a:lnTo>
                  <a:pt x="608507" y="1078445"/>
                </a:lnTo>
                <a:lnTo>
                  <a:pt x="612976" y="1070521"/>
                </a:lnTo>
                <a:close/>
              </a:path>
            </a:pathLst>
          </a:custGeom>
          <a:solidFill>
            <a:srgbClr val="F2F2F2"/>
          </a:solidFill>
        </p:spPr>
        <p:txBody>
          <a:bodyPr wrap="square" lIns="0" tIns="0" rIns="0" bIns="0" rtlCol="0"/>
          <a:lstStyle/>
          <a:p>
            <a:endParaRPr>
              <a:solidFill>
                <a:prstClr val="black"/>
              </a:solidFill>
              <a:latin typeface="+mj-lt"/>
            </a:endParaRPr>
          </a:p>
        </p:txBody>
      </p:sp>
      <p:sp>
        <p:nvSpPr>
          <p:cNvPr id="300" name="object 31"/>
          <p:cNvSpPr/>
          <p:nvPr/>
        </p:nvSpPr>
        <p:spPr>
          <a:xfrm>
            <a:off x="5220315" y="1894822"/>
            <a:ext cx="2320020" cy="523561"/>
          </a:xfrm>
          <a:custGeom>
            <a:avLst/>
            <a:gdLst/>
            <a:ahLst/>
            <a:cxnLst/>
            <a:rect l="l" t="t" r="r" b="b"/>
            <a:pathLst>
              <a:path w="2414270" h="544830">
                <a:moveTo>
                  <a:pt x="2261374" y="0"/>
                </a:moveTo>
                <a:lnTo>
                  <a:pt x="152641" y="0"/>
                </a:lnTo>
                <a:lnTo>
                  <a:pt x="108788" y="3987"/>
                </a:lnTo>
                <a:lnTo>
                  <a:pt x="64947" y="11963"/>
                </a:lnTo>
                <a:lnTo>
                  <a:pt x="25082" y="23926"/>
                </a:lnTo>
                <a:lnTo>
                  <a:pt x="0" y="35077"/>
                </a:lnTo>
                <a:lnTo>
                  <a:pt x="287248" y="544829"/>
                </a:lnTo>
                <a:lnTo>
                  <a:pt x="305727" y="536613"/>
                </a:lnTo>
                <a:lnTo>
                  <a:pt x="336118" y="527494"/>
                </a:lnTo>
                <a:lnTo>
                  <a:pt x="369557" y="521411"/>
                </a:lnTo>
                <a:lnTo>
                  <a:pt x="402996" y="518363"/>
                </a:lnTo>
                <a:lnTo>
                  <a:pt x="2141681" y="518363"/>
                </a:lnTo>
                <a:lnTo>
                  <a:pt x="2414016" y="35077"/>
                </a:lnTo>
                <a:lnTo>
                  <a:pt x="2388946" y="23926"/>
                </a:lnTo>
                <a:lnTo>
                  <a:pt x="2349080" y="11963"/>
                </a:lnTo>
                <a:lnTo>
                  <a:pt x="2305227" y="3987"/>
                </a:lnTo>
                <a:lnTo>
                  <a:pt x="2261374" y="0"/>
                </a:lnTo>
                <a:close/>
              </a:path>
              <a:path w="2414270" h="544830">
                <a:moveTo>
                  <a:pt x="2141681" y="518363"/>
                </a:moveTo>
                <a:lnTo>
                  <a:pt x="2011032" y="518363"/>
                </a:lnTo>
                <a:lnTo>
                  <a:pt x="2044458" y="521411"/>
                </a:lnTo>
                <a:lnTo>
                  <a:pt x="2077897" y="527494"/>
                </a:lnTo>
                <a:lnTo>
                  <a:pt x="2108301" y="536613"/>
                </a:lnTo>
                <a:lnTo>
                  <a:pt x="2126767" y="544829"/>
                </a:lnTo>
                <a:lnTo>
                  <a:pt x="2141681" y="518363"/>
                </a:lnTo>
                <a:close/>
              </a:path>
            </a:pathLst>
          </a:custGeom>
          <a:solidFill>
            <a:srgbClr val="041E42"/>
          </a:solidFill>
        </p:spPr>
        <p:txBody>
          <a:bodyPr wrap="square" lIns="0" tIns="0" rIns="0" bIns="0" rtlCol="0"/>
          <a:lstStyle/>
          <a:p>
            <a:endParaRPr>
              <a:solidFill>
                <a:prstClr val="black"/>
              </a:solidFill>
              <a:latin typeface="+mj-lt"/>
            </a:endParaRPr>
          </a:p>
        </p:txBody>
      </p:sp>
      <p:sp>
        <p:nvSpPr>
          <p:cNvPr id="301" name="object 62"/>
          <p:cNvSpPr/>
          <p:nvPr/>
        </p:nvSpPr>
        <p:spPr>
          <a:xfrm>
            <a:off x="3991595" y="1938024"/>
            <a:ext cx="2376159" cy="2072275"/>
          </a:xfrm>
          <a:custGeom>
            <a:avLst/>
            <a:gdLst/>
            <a:ahLst/>
            <a:cxnLst/>
            <a:rect l="l" t="t" r="r" b="b"/>
            <a:pathLst>
              <a:path w="2472690" h="2156460">
                <a:moveTo>
                  <a:pt x="1259077" y="0"/>
                </a:moveTo>
                <a:lnTo>
                  <a:pt x="1211262" y="27901"/>
                </a:lnTo>
                <a:lnTo>
                  <a:pt x="1171422" y="59791"/>
                </a:lnTo>
                <a:lnTo>
                  <a:pt x="1135557" y="99656"/>
                </a:lnTo>
                <a:lnTo>
                  <a:pt x="1103680" y="143497"/>
                </a:lnTo>
                <a:lnTo>
                  <a:pt x="47815" y="1973097"/>
                </a:lnTo>
                <a:lnTo>
                  <a:pt x="27889" y="2016950"/>
                </a:lnTo>
                <a:lnTo>
                  <a:pt x="11950" y="2064778"/>
                </a:lnTo>
                <a:lnTo>
                  <a:pt x="3987" y="2108631"/>
                </a:lnTo>
                <a:lnTo>
                  <a:pt x="0" y="2156460"/>
                </a:lnTo>
                <a:lnTo>
                  <a:pt x="2471051" y="2156460"/>
                </a:lnTo>
                <a:lnTo>
                  <a:pt x="2472690" y="2153564"/>
                </a:lnTo>
                <a:lnTo>
                  <a:pt x="2472410" y="2153056"/>
                </a:lnTo>
                <a:lnTo>
                  <a:pt x="590118" y="2153056"/>
                </a:lnTo>
                <a:lnTo>
                  <a:pt x="593153" y="2116582"/>
                </a:lnTo>
                <a:lnTo>
                  <a:pt x="611390" y="2046668"/>
                </a:lnTo>
                <a:lnTo>
                  <a:pt x="1431734" y="618058"/>
                </a:lnTo>
                <a:lnTo>
                  <a:pt x="1456042" y="584619"/>
                </a:lnTo>
                <a:lnTo>
                  <a:pt x="1483385" y="554228"/>
                </a:lnTo>
                <a:lnTo>
                  <a:pt x="1513776" y="529907"/>
                </a:lnTo>
                <a:lnTo>
                  <a:pt x="1546834" y="510616"/>
                </a:lnTo>
                <a:lnTo>
                  <a:pt x="1259077" y="0"/>
                </a:lnTo>
                <a:close/>
              </a:path>
            </a:pathLst>
          </a:custGeom>
          <a:solidFill>
            <a:srgbClr val="0097A9"/>
          </a:solidFill>
        </p:spPr>
        <p:txBody>
          <a:bodyPr wrap="square" lIns="0" tIns="0" rIns="0" bIns="0" rtlCol="0"/>
          <a:lstStyle/>
          <a:p>
            <a:endParaRPr>
              <a:solidFill>
                <a:prstClr val="black"/>
              </a:solidFill>
              <a:latin typeface="+mj-lt"/>
            </a:endParaRPr>
          </a:p>
        </p:txBody>
      </p:sp>
      <p:sp>
        <p:nvSpPr>
          <p:cNvPr id="302" name="object 102"/>
          <p:cNvSpPr/>
          <p:nvPr/>
        </p:nvSpPr>
        <p:spPr>
          <a:xfrm>
            <a:off x="3991595" y="4020550"/>
            <a:ext cx="1481591" cy="2072275"/>
          </a:xfrm>
          <a:custGeom>
            <a:avLst/>
            <a:gdLst/>
            <a:ahLst/>
            <a:cxnLst/>
            <a:rect l="l" t="t" r="r" b="b"/>
            <a:pathLst>
              <a:path w="1541779" h="2156460">
                <a:moveTo>
                  <a:pt x="590689" y="0"/>
                </a:moveTo>
                <a:lnTo>
                  <a:pt x="0" y="0"/>
                </a:lnTo>
                <a:lnTo>
                  <a:pt x="3987" y="47828"/>
                </a:lnTo>
                <a:lnTo>
                  <a:pt x="11950" y="91681"/>
                </a:lnTo>
                <a:lnTo>
                  <a:pt x="27889" y="139509"/>
                </a:lnTo>
                <a:lnTo>
                  <a:pt x="47815" y="183362"/>
                </a:lnTo>
                <a:lnTo>
                  <a:pt x="1103807" y="2012962"/>
                </a:lnTo>
                <a:lnTo>
                  <a:pt x="1135684" y="2056803"/>
                </a:lnTo>
                <a:lnTo>
                  <a:pt x="1171549" y="2096668"/>
                </a:lnTo>
                <a:lnTo>
                  <a:pt x="1211389" y="2128558"/>
                </a:lnTo>
                <a:lnTo>
                  <a:pt x="1259217" y="2156460"/>
                </a:lnTo>
                <a:lnTo>
                  <a:pt x="1278978" y="2121395"/>
                </a:lnTo>
                <a:lnTo>
                  <a:pt x="1268183" y="2116594"/>
                </a:lnTo>
                <a:lnTo>
                  <a:pt x="1541526" y="1633181"/>
                </a:lnTo>
                <a:lnTo>
                  <a:pt x="1483550" y="1592770"/>
                </a:lnTo>
                <a:lnTo>
                  <a:pt x="1456207" y="1562366"/>
                </a:lnTo>
                <a:lnTo>
                  <a:pt x="1431886" y="1528940"/>
                </a:lnTo>
                <a:lnTo>
                  <a:pt x="626643" y="133756"/>
                </a:lnTo>
                <a:lnTo>
                  <a:pt x="599300" y="63855"/>
                </a:lnTo>
                <a:lnTo>
                  <a:pt x="593217" y="30416"/>
                </a:lnTo>
                <a:lnTo>
                  <a:pt x="590689" y="0"/>
                </a:lnTo>
                <a:close/>
              </a:path>
            </a:pathLst>
          </a:custGeom>
          <a:solidFill>
            <a:srgbClr val="44546A"/>
          </a:solidFill>
        </p:spPr>
        <p:txBody>
          <a:bodyPr wrap="square" lIns="0" tIns="0" rIns="0" bIns="0" rtlCol="0"/>
          <a:lstStyle/>
          <a:p>
            <a:endParaRPr>
              <a:solidFill>
                <a:prstClr val="black"/>
              </a:solidFill>
              <a:latin typeface="+mj-lt"/>
            </a:endParaRPr>
          </a:p>
        </p:txBody>
      </p:sp>
      <p:sp>
        <p:nvSpPr>
          <p:cNvPr id="303" name="object 112"/>
          <p:cNvSpPr/>
          <p:nvPr/>
        </p:nvSpPr>
        <p:spPr>
          <a:xfrm>
            <a:off x="7288196" y="4020550"/>
            <a:ext cx="1481591" cy="2072275"/>
          </a:xfrm>
          <a:custGeom>
            <a:avLst/>
            <a:gdLst/>
            <a:ahLst/>
            <a:cxnLst/>
            <a:rect l="l" t="t" r="r" b="b"/>
            <a:pathLst>
              <a:path w="1541779" h="2156460">
                <a:moveTo>
                  <a:pt x="1541526" y="0"/>
                </a:moveTo>
                <a:lnTo>
                  <a:pt x="950582" y="0"/>
                </a:lnTo>
                <a:lnTo>
                  <a:pt x="948042" y="30416"/>
                </a:lnTo>
                <a:lnTo>
                  <a:pt x="941971" y="66890"/>
                </a:lnTo>
                <a:lnTo>
                  <a:pt x="914603" y="133756"/>
                </a:lnTo>
                <a:lnTo>
                  <a:pt x="109004" y="1528940"/>
                </a:lnTo>
                <a:lnTo>
                  <a:pt x="84683" y="1562366"/>
                </a:lnTo>
                <a:lnTo>
                  <a:pt x="57327" y="1592770"/>
                </a:lnTo>
                <a:lnTo>
                  <a:pt x="26923" y="1617091"/>
                </a:lnTo>
                <a:lnTo>
                  <a:pt x="0" y="1632788"/>
                </a:lnTo>
                <a:lnTo>
                  <a:pt x="272783" y="2116594"/>
                </a:lnTo>
                <a:lnTo>
                  <a:pt x="261988" y="2121395"/>
                </a:lnTo>
                <a:lnTo>
                  <a:pt x="281762" y="2156460"/>
                </a:lnTo>
                <a:lnTo>
                  <a:pt x="329603" y="2128558"/>
                </a:lnTo>
                <a:lnTo>
                  <a:pt x="369468" y="2096668"/>
                </a:lnTo>
                <a:lnTo>
                  <a:pt x="405345" y="2056803"/>
                </a:lnTo>
                <a:lnTo>
                  <a:pt x="437235" y="2012962"/>
                </a:lnTo>
                <a:lnTo>
                  <a:pt x="1493685" y="183362"/>
                </a:lnTo>
                <a:lnTo>
                  <a:pt x="1513611" y="139509"/>
                </a:lnTo>
                <a:lnTo>
                  <a:pt x="1529562" y="95669"/>
                </a:lnTo>
                <a:lnTo>
                  <a:pt x="1537538" y="47828"/>
                </a:lnTo>
                <a:lnTo>
                  <a:pt x="1541526" y="0"/>
                </a:lnTo>
                <a:close/>
              </a:path>
            </a:pathLst>
          </a:custGeom>
          <a:solidFill>
            <a:srgbClr val="43B02A"/>
          </a:solidFill>
        </p:spPr>
        <p:txBody>
          <a:bodyPr wrap="square" lIns="0" tIns="0" rIns="0" bIns="0" rtlCol="0"/>
          <a:lstStyle/>
          <a:p>
            <a:endParaRPr>
              <a:solidFill>
                <a:prstClr val="black"/>
              </a:solidFill>
              <a:latin typeface="+mj-lt"/>
            </a:endParaRPr>
          </a:p>
        </p:txBody>
      </p:sp>
      <p:sp>
        <p:nvSpPr>
          <p:cNvPr id="304" name="object 118"/>
          <p:cNvSpPr/>
          <p:nvPr/>
        </p:nvSpPr>
        <p:spPr>
          <a:xfrm>
            <a:off x="5220315" y="5598556"/>
            <a:ext cx="2320020" cy="522950"/>
          </a:xfrm>
          <a:custGeom>
            <a:avLst/>
            <a:gdLst/>
            <a:ahLst/>
            <a:cxnLst/>
            <a:rect l="l" t="t" r="r" b="b"/>
            <a:pathLst>
              <a:path w="2414270" h="544195">
                <a:moveTo>
                  <a:pt x="287248" y="0"/>
                </a:moveTo>
                <a:lnTo>
                  <a:pt x="0" y="509041"/>
                </a:lnTo>
                <a:lnTo>
                  <a:pt x="25082" y="520179"/>
                </a:lnTo>
                <a:lnTo>
                  <a:pt x="64947" y="532117"/>
                </a:lnTo>
                <a:lnTo>
                  <a:pt x="108788" y="540080"/>
                </a:lnTo>
                <a:lnTo>
                  <a:pt x="152641" y="544067"/>
                </a:lnTo>
                <a:lnTo>
                  <a:pt x="2261374" y="544067"/>
                </a:lnTo>
                <a:lnTo>
                  <a:pt x="2305227" y="540080"/>
                </a:lnTo>
                <a:lnTo>
                  <a:pt x="2349080" y="532117"/>
                </a:lnTo>
                <a:lnTo>
                  <a:pt x="2388946" y="520179"/>
                </a:lnTo>
                <a:lnTo>
                  <a:pt x="2414016" y="509041"/>
                </a:lnTo>
                <a:lnTo>
                  <a:pt x="2141680" y="26428"/>
                </a:lnTo>
                <a:lnTo>
                  <a:pt x="402996" y="26428"/>
                </a:lnTo>
                <a:lnTo>
                  <a:pt x="369557" y="23393"/>
                </a:lnTo>
                <a:lnTo>
                  <a:pt x="336118" y="17310"/>
                </a:lnTo>
                <a:lnTo>
                  <a:pt x="305727" y="8204"/>
                </a:lnTo>
                <a:lnTo>
                  <a:pt x="287248" y="0"/>
                </a:lnTo>
                <a:close/>
              </a:path>
              <a:path w="2414270" h="544195">
                <a:moveTo>
                  <a:pt x="2126767" y="0"/>
                </a:moveTo>
                <a:lnTo>
                  <a:pt x="2108301" y="8204"/>
                </a:lnTo>
                <a:lnTo>
                  <a:pt x="2077897" y="17310"/>
                </a:lnTo>
                <a:lnTo>
                  <a:pt x="2044458" y="23393"/>
                </a:lnTo>
                <a:lnTo>
                  <a:pt x="2011032" y="26428"/>
                </a:lnTo>
                <a:lnTo>
                  <a:pt x="2141680" y="26428"/>
                </a:lnTo>
                <a:lnTo>
                  <a:pt x="2126767" y="0"/>
                </a:lnTo>
                <a:close/>
              </a:path>
            </a:pathLst>
          </a:custGeom>
          <a:solidFill>
            <a:srgbClr val="86BC25"/>
          </a:solidFill>
        </p:spPr>
        <p:txBody>
          <a:bodyPr wrap="square" lIns="0" tIns="0" rIns="0" bIns="0" rtlCol="0"/>
          <a:lstStyle/>
          <a:p>
            <a:endParaRPr>
              <a:solidFill>
                <a:prstClr val="black"/>
              </a:solidFill>
              <a:latin typeface="+mj-lt"/>
            </a:endParaRPr>
          </a:p>
        </p:txBody>
      </p:sp>
      <p:sp>
        <p:nvSpPr>
          <p:cNvPr id="305" name="object 64"/>
          <p:cNvSpPr/>
          <p:nvPr/>
        </p:nvSpPr>
        <p:spPr>
          <a:xfrm>
            <a:off x="6395581" y="1938024"/>
            <a:ext cx="2374329" cy="2072275"/>
          </a:xfrm>
          <a:custGeom>
            <a:avLst/>
            <a:gdLst/>
            <a:ahLst/>
            <a:cxnLst/>
            <a:rect l="l" t="t" r="r" b="b"/>
            <a:pathLst>
              <a:path w="2470784" h="2156460">
                <a:moveTo>
                  <a:pt x="1210627" y="0"/>
                </a:moveTo>
                <a:lnTo>
                  <a:pt x="922718" y="510616"/>
                </a:lnTo>
                <a:lnTo>
                  <a:pt x="955789" y="529907"/>
                </a:lnTo>
                <a:lnTo>
                  <a:pt x="986193" y="554228"/>
                </a:lnTo>
                <a:lnTo>
                  <a:pt x="1013548" y="584619"/>
                </a:lnTo>
                <a:lnTo>
                  <a:pt x="1037869" y="618058"/>
                </a:lnTo>
                <a:lnTo>
                  <a:pt x="1843481" y="2013229"/>
                </a:lnTo>
                <a:lnTo>
                  <a:pt x="1870837" y="2080107"/>
                </a:lnTo>
                <a:lnTo>
                  <a:pt x="1879955" y="2153056"/>
                </a:lnTo>
                <a:lnTo>
                  <a:pt x="0" y="2153056"/>
                </a:lnTo>
                <a:lnTo>
                  <a:pt x="1917" y="2156460"/>
                </a:lnTo>
                <a:lnTo>
                  <a:pt x="2470404" y="2156460"/>
                </a:lnTo>
                <a:lnTo>
                  <a:pt x="2466416" y="2108631"/>
                </a:lnTo>
                <a:lnTo>
                  <a:pt x="2458440" y="2060790"/>
                </a:lnTo>
                <a:lnTo>
                  <a:pt x="2442489" y="2016950"/>
                </a:lnTo>
                <a:lnTo>
                  <a:pt x="2422563" y="1973097"/>
                </a:lnTo>
                <a:lnTo>
                  <a:pt x="1366100" y="143497"/>
                </a:lnTo>
                <a:lnTo>
                  <a:pt x="1334211" y="99656"/>
                </a:lnTo>
                <a:lnTo>
                  <a:pt x="1298333" y="59791"/>
                </a:lnTo>
                <a:lnTo>
                  <a:pt x="1258468" y="27901"/>
                </a:lnTo>
                <a:lnTo>
                  <a:pt x="1210627" y="0"/>
                </a:lnTo>
                <a:close/>
              </a:path>
            </a:pathLst>
          </a:custGeom>
          <a:solidFill>
            <a:srgbClr val="62B5E5"/>
          </a:solidFill>
        </p:spPr>
        <p:txBody>
          <a:bodyPr wrap="square" lIns="0" tIns="0" rIns="0" bIns="0" rtlCol="0"/>
          <a:lstStyle/>
          <a:p>
            <a:endParaRPr>
              <a:solidFill>
                <a:prstClr val="black"/>
              </a:solidFill>
              <a:latin typeface="+mj-lt"/>
            </a:endParaRPr>
          </a:p>
        </p:txBody>
      </p:sp>
      <p:sp>
        <p:nvSpPr>
          <p:cNvPr id="306" name="object 120"/>
          <p:cNvSpPr txBox="1"/>
          <p:nvPr/>
        </p:nvSpPr>
        <p:spPr>
          <a:xfrm>
            <a:off x="5807705" y="2042517"/>
            <a:ext cx="1025885" cy="215444"/>
          </a:xfrm>
          <a:prstGeom prst="rect">
            <a:avLst/>
          </a:prstGeom>
        </p:spPr>
        <p:txBody>
          <a:bodyPr vert="horz" wrap="square" lIns="0" tIns="0" rIns="0" bIns="0" rtlCol="0">
            <a:spAutoFit/>
          </a:bodyPr>
          <a:lstStyle/>
          <a:p>
            <a:pPr marL="12700" algn="ctr"/>
            <a:r>
              <a:rPr sz="1400" spc="-10" dirty="0">
                <a:solidFill>
                  <a:srgbClr val="FFFFFF"/>
                </a:solidFill>
                <a:latin typeface="+mj-lt"/>
                <a:cs typeface="Verdana"/>
              </a:rPr>
              <a:t>Paiements</a:t>
            </a:r>
            <a:endParaRPr sz="1400" dirty="0">
              <a:solidFill>
                <a:prstClr val="black"/>
              </a:solidFill>
              <a:latin typeface="+mj-lt"/>
              <a:cs typeface="Verdana"/>
            </a:endParaRPr>
          </a:p>
        </p:txBody>
      </p:sp>
      <p:sp>
        <p:nvSpPr>
          <p:cNvPr id="309" name="object 120"/>
          <p:cNvSpPr txBox="1"/>
          <p:nvPr/>
        </p:nvSpPr>
        <p:spPr>
          <a:xfrm>
            <a:off x="5699455" y="5765917"/>
            <a:ext cx="1360769" cy="215444"/>
          </a:xfrm>
          <a:prstGeom prst="rect">
            <a:avLst/>
          </a:prstGeom>
        </p:spPr>
        <p:txBody>
          <a:bodyPr vert="horz" wrap="square" lIns="0" tIns="0" rIns="0" bIns="0" rtlCol="0">
            <a:spAutoFit/>
          </a:bodyPr>
          <a:lstStyle/>
          <a:p>
            <a:pPr marL="12700" algn="ctr"/>
            <a:r>
              <a:rPr lang="fr-FR" sz="1400" spc="-10" dirty="0">
                <a:solidFill>
                  <a:srgbClr val="FFFFFF"/>
                </a:solidFill>
                <a:latin typeface="+mj-lt"/>
                <a:cs typeface="Verdana"/>
              </a:rPr>
              <a:t>Levée de fonds</a:t>
            </a:r>
            <a:endParaRPr sz="1400" dirty="0">
              <a:solidFill>
                <a:prstClr val="black"/>
              </a:solidFill>
              <a:latin typeface="+mj-lt"/>
              <a:cs typeface="Verdana"/>
            </a:endParaRPr>
          </a:p>
        </p:txBody>
      </p:sp>
      <p:sp>
        <p:nvSpPr>
          <p:cNvPr id="312" name="object 55"/>
          <p:cNvSpPr/>
          <p:nvPr/>
        </p:nvSpPr>
        <p:spPr>
          <a:xfrm>
            <a:off x="5488320" y="4020550"/>
            <a:ext cx="881144" cy="1548714"/>
          </a:xfrm>
          <a:custGeom>
            <a:avLst/>
            <a:gdLst/>
            <a:ahLst/>
            <a:cxnLst/>
            <a:rect l="l" t="t" r="r" b="b"/>
            <a:pathLst>
              <a:path w="916939" h="1611629">
                <a:moveTo>
                  <a:pt x="909358" y="0"/>
                </a:moveTo>
                <a:lnTo>
                  <a:pt x="916686" y="0"/>
                </a:lnTo>
                <a:lnTo>
                  <a:pt x="8229" y="1611630"/>
                </a:lnTo>
                <a:lnTo>
                  <a:pt x="0" y="1607972"/>
                </a:lnTo>
                <a:lnTo>
                  <a:pt x="909358"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313" name="object 130"/>
          <p:cNvSpPr/>
          <p:nvPr/>
        </p:nvSpPr>
        <p:spPr>
          <a:xfrm>
            <a:off x="5197616" y="4035929"/>
            <a:ext cx="587633" cy="1011119"/>
          </a:xfrm>
          <a:custGeom>
            <a:avLst/>
            <a:gdLst/>
            <a:ahLst/>
            <a:cxnLst/>
            <a:rect l="l" t="t" r="r" b="b"/>
            <a:pathLst>
              <a:path w="611504" h="1052195">
                <a:moveTo>
                  <a:pt x="0" y="0"/>
                </a:moveTo>
                <a:lnTo>
                  <a:pt x="611124" y="1051636"/>
                </a:lnTo>
              </a:path>
            </a:pathLst>
          </a:custGeom>
          <a:ln w="9906">
            <a:solidFill>
              <a:srgbClr val="0097A9"/>
            </a:solidFill>
            <a:prstDash val="dash"/>
          </a:ln>
        </p:spPr>
        <p:txBody>
          <a:bodyPr wrap="square" lIns="0" tIns="0" rIns="0" bIns="0" rtlCol="0"/>
          <a:lstStyle/>
          <a:p>
            <a:endParaRPr>
              <a:solidFill>
                <a:prstClr val="black"/>
              </a:solidFill>
              <a:latin typeface="+mj-lt"/>
            </a:endParaRPr>
          </a:p>
        </p:txBody>
      </p:sp>
      <p:sp>
        <p:nvSpPr>
          <p:cNvPr id="314" name="object 127"/>
          <p:cNvSpPr/>
          <p:nvPr/>
        </p:nvSpPr>
        <p:spPr>
          <a:xfrm>
            <a:off x="5182970" y="1894822"/>
            <a:ext cx="2403619" cy="4226928"/>
          </a:xfrm>
          <a:custGeom>
            <a:avLst/>
            <a:gdLst/>
            <a:ahLst/>
            <a:cxnLst/>
            <a:rect l="l" t="t" r="r" b="b"/>
            <a:pathLst>
              <a:path w="2501265" h="4398645">
                <a:moveTo>
                  <a:pt x="2500858" y="0"/>
                </a:moveTo>
                <a:lnTo>
                  <a:pt x="0" y="4398403"/>
                </a:lnTo>
              </a:path>
            </a:pathLst>
          </a:custGeom>
          <a:ln w="9906">
            <a:solidFill>
              <a:srgbClr val="0097A9"/>
            </a:solidFill>
            <a:prstDash val="dash"/>
          </a:ln>
        </p:spPr>
        <p:txBody>
          <a:bodyPr wrap="square" lIns="0" tIns="0" rIns="0" bIns="0" rtlCol="0"/>
          <a:lstStyle/>
          <a:p>
            <a:endParaRPr>
              <a:solidFill>
                <a:prstClr val="black"/>
              </a:solidFill>
              <a:latin typeface="+mj-lt"/>
            </a:endParaRPr>
          </a:p>
        </p:txBody>
      </p:sp>
      <p:sp>
        <p:nvSpPr>
          <p:cNvPr id="315" name="object 126"/>
          <p:cNvSpPr/>
          <p:nvPr/>
        </p:nvSpPr>
        <p:spPr>
          <a:xfrm>
            <a:off x="5197616" y="1894822"/>
            <a:ext cx="2365176" cy="4226928"/>
          </a:xfrm>
          <a:custGeom>
            <a:avLst/>
            <a:gdLst/>
            <a:ahLst/>
            <a:cxnLst/>
            <a:rect l="l" t="t" r="r" b="b"/>
            <a:pathLst>
              <a:path w="2461260" h="4398645">
                <a:moveTo>
                  <a:pt x="0" y="0"/>
                </a:moveTo>
                <a:lnTo>
                  <a:pt x="2460866" y="4398403"/>
                </a:lnTo>
              </a:path>
            </a:pathLst>
          </a:custGeom>
          <a:ln w="9906">
            <a:solidFill>
              <a:srgbClr val="0097A9"/>
            </a:solidFill>
            <a:prstDash val="dash"/>
          </a:ln>
        </p:spPr>
        <p:txBody>
          <a:bodyPr wrap="square" lIns="0" tIns="0" rIns="0" bIns="0" rtlCol="0"/>
          <a:lstStyle/>
          <a:p>
            <a:endParaRPr>
              <a:solidFill>
                <a:prstClr val="black"/>
              </a:solidFill>
              <a:latin typeface="+mj-lt"/>
            </a:endParaRPr>
          </a:p>
        </p:txBody>
      </p:sp>
      <p:sp>
        <p:nvSpPr>
          <p:cNvPr id="316" name="object 32"/>
          <p:cNvSpPr/>
          <p:nvPr/>
        </p:nvSpPr>
        <p:spPr>
          <a:xfrm>
            <a:off x="6375810" y="3985402"/>
            <a:ext cx="12204" cy="21357"/>
          </a:xfrm>
          <a:custGeom>
            <a:avLst/>
            <a:gdLst/>
            <a:ahLst/>
            <a:cxnLst/>
            <a:rect l="l" t="t" r="r" b="b"/>
            <a:pathLst>
              <a:path w="12700" h="22225">
                <a:moveTo>
                  <a:pt x="6121" y="0"/>
                </a:moveTo>
                <a:lnTo>
                  <a:pt x="0" y="11049"/>
                </a:lnTo>
                <a:lnTo>
                  <a:pt x="6121" y="22085"/>
                </a:lnTo>
                <a:lnTo>
                  <a:pt x="12192" y="11049"/>
                </a:lnTo>
                <a:lnTo>
                  <a:pt x="6121"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317" name="object 33"/>
          <p:cNvSpPr/>
          <p:nvPr/>
        </p:nvSpPr>
        <p:spPr>
          <a:xfrm>
            <a:off x="6375810" y="3985402"/>
            <a:ext cx="12204" cy="21357"/>
          </a:xfrm>
          <a:custGeom>
            <a:avLst/>
            <a:gdLst/>
            <a:ahLst/>
            <a:cxnLst/>
            <a:rect l="l" t="t" r="r" b="b"/>
            <a:pathLst>
              <a:path w="12700" h="22225">
                <a:moveTo>
                  <a:pt x="6108" y="0"/>
                </a:moveTo>
                <a:lnTo>
                  <a:pt x="12191" y="11049"/>
                </a:lnTo>
                <a:lnTo>
                  <a:pt x="6108" y="22098"/>
                </a:lnTo>
                <a:lnTo>
                  <a:pt x="0" y="11049"/>
                </a:lnTo>
                <a:lnTo>
                  <a:pt x="6108" y="0"/>
                </a:lnTo>
                <a:close/>
              </a:path>
            </a:pathLst>
          </a:custGeom>
          <a:ln w="16001">
            <a:solidFill>
              <a:srgbClr val="FFFFFF"/>
            </a:solidFill>
          </a:ln>
        </p:spPr>
        <p:txBody>
          <a:bodyPr wrap="square" lIns="0" tIns="0" rIns="0" bIns="0" rtlCol="0"/>
          <a:lstStyle/>
          <a:p>
            <a:endParaRPr>
              <a:solidFill>
                <a:prstClr val="black"/>
              </a:solidFill>
              <a:latin typeface="+mj-lt"/>
            </a:endParaRPr>
          </a:p>
        </p:txBody>
      </p:sp>
      <p:sp>
        <p:nvSpPr>
          <p:cNvPr id="318" name="object 34"/>
          <p:cNvSpPr/>
          <p:nvPr/>
        </p:nvSpPr>
        <p:spPr>
          <a:xfrm>
            <a:off x="6387526" y="3994189"/>
            <a:ext cx="2441" cy="4882"/>
          </a:xfrm>
          <a:custGeom>
            <a:avLst/>
            <a:gdLst/>
            <a:ahLst/>
            <a:cxnLst/>
            <a:rect l="l" t="t" r="r" b="b"/>
            <a:pathLst>
              <a:path w="2539" h="5079">
                <a:moveTo>
                  <a:pt x="1143" y="0"/>
                </a:moveTo>
                <a:lnTo>
                  <a:pt x="0" y="2286"/>
                </a:lnTo>
                <a:lnTo>
                  <a:pt x="1143" y="4572"/>
                </a:lnTo>
                <a:lnTo>
                  <a:pt x="2286" y="2286"/>
                </a:lnTo>
                <a:lnTo>
                  <a:pt x="1143"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319" name="object 35"/>
          <p:cNvSpPr/>
          <p:nvPr/>
        </p:nvSpPr>
        <p:spPr>
          <a:xfrm>
            <a:off x="6387526" y="3994189"/>
            <a:ext cx="2441" cy="4882"/>
          </a:xfrm>
          <a:custGeom>
            <a:avLst/>
            <a:gdLst/>
            <a:ahLst/>
            <a:cxnLst/>
            <a:rect l="l" t="t" r="r" b="b"/>
            <a:pathLst>
              <a:path w="2539" h="5079">
                <a:moveTo>
                  <a:pt x="1142" y="0"/>
                </a:moveTo>
                <a:lnTo>
                  <a:pt x="2285" y="2286"/>
                </a:lnTo>
                <a:lnTo>
                  <a:pt x="1142" y="4572"/>
                </a:lnTo>
                <a:lnTo>
                  <a:pt x="0" y="2286"/>
                </a:lnTo>
                <a:lnTo>
                  <a:pt x="1142"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320" name="object 36"/>
          <p:cNvSpPr/>
          <p:nvPr/>
        </p:nvSpPr>
        <p:spPr>
          <a:xfrm>
            <a:off x="6374345" y="3996021"/>
            <a:ext cx="1831" cy="0"/>
          </a:xfrm>
          <a:custGeom>
            <a:avLst/>
            <a:gdLst/>
            <a:ahLst/>
            <a:cxnLst/>
            <a:rect l="l" t="t" r="r" b="b"/>
            <a:pathLst>
              <a:path w="1904">
                <a:moveTo>
                  <a:pt x="0" y="0"/>
                </a:moveTo>
                <a:lnTo>
                  <a:pt x="1524" y="0"/>
                </a:lnTo>
              </a:path>
            </a:pathLst>
          </a:custGeom>
          <a:ln w="3175">
            <a:solidFill>
              <a:srgbClr val="F2F2F2"/>
            </a:solidFill>
          </a:ln>
        </p:spPr>
        <p:txBody>
          <a:bodyPr wrap="square" lIns="0" tIns="0" rIns="0" bIns="0" rtlCol="0"/>
          <a:lstStyle/>
          <a:p>
            <a:endParaRPr>
              <a:solidFill>
                <a:prstClr val="black"/>
              </a:solidFill>
              <a:latin typeface="+mj-lt"/>
            </a:endParaRPr>
          </a:p>
        </p:txBody>
      </p:sp>
      <p:sp>
        <p:nvSpPr>
          <p:cNvPr id="321" name="object 37"/>
          <p:cNvSpPr/>
          <p:nvPr/>
        </p:nvSpPr>
        <p:spPr>
          <a:xfrm>
            <a:off x="6374345" y="3994922"/>
            <a:ext cx="1831" cy="2441"/>
          </a:xfrm>
          <a:custGeom>
            <a:avLst/>
            <a:gdLst/>
            <a:ahLst/>
            <a:cxnLst/>
            <a:rect l="l" t="t" r="r" b="b"/>
            <a:pathLst>
              <a:path w="1904" h="2539">
                <a:moveTo>
                  <a:pt x="762" y="0"/>
                </a:moveTo>
                <a:lnTo>
                  <a:pt x="1524" y="1142"/>
                </a:lnTo>
                <a:lnTo>
                  <a:pt x="762" y="2285"/>
                </a:lnTo>
                <a:lnTo>
                  <a:pt x="0" y="1142"/>
                </a:lnTo>
                <a:lnTo>
                  <a:pt x="762"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322" name="object 38"/>
          <p:cNvSpPr/>
          <p:nvPr/>
        </p:nvSpPr>
        <p:spPr>
          <a:xfrm>
            <a:off x="6391187" y="4000036"/>
            <a:ext cx="3051" cy="6102"/>
          </a:xfrm>
          <a:custGeom>
            <a:avLst/>
            <a:gdLst/>
            <a:ahLst/>
            <a:cxnLst/>
            <a:rect l="l" t="t" r="r" b="b"/>
            <a:pathLst>
              <a:path w="3175" h="6350">
                <a:moveTo>
                  <a:pt x="1066" y="0"/>
                </a:moveTo>
                <a:lnTo>
                  <a:pt x="0" y="2120"/>
                </a:lnTo>
                <a:lnTo>
                  <a:pt x="2006" y="6108"/>
                </a:lnTo>
                <a:lnTo>
                  <a:pt x="3048" y="4000"/>
                </a:lnTo>
                <a:lnTo>
                  <a:pt x="1066"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323" name="object 39"/>
          <p:cNvSpPr/>
          <p:nvPr/>
        </p:nvSpPr>
        <p:spPr>
          <a:xfrm>
            <a:off x="6391187" y="4000048"/>
            <a:ext cx="3051" cy="6102"/>
          </a:xfrm>
          <a:custGeom>
            <a:avLst/>
            <a:gdLst/>
            <a:ahLst/>
            <a:cxnLst/>
            <a:rect l="l" t="t" r="r" b="b"/>
            <a:pathLst>
              <a:path w="3175" h="6350">
                <a:moveTo>
                  <a:pt x="1054" y="0"/>
                </a:moveTo>
                <a:lnTo>
                  <a:pt x="3048" y="3987"/>
                </a:lnTo>
                <a:lnTo>
                  <a:pt x="1993" y="6096"/>
                </a:lnTo>
                <a:lnTo>
                  <a:pt x="0" y="2108"/>
                </a:lnTo>
                <a:lnTo>
                  <a:pt x="1054"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324" name="object 40"/>
          <p:cNvSpPr/>
          <p:nvPr/>
        </p:nvSpPr>
        <p:spPr>
          <a:xfrm>
            <a:off x="6368488" y="4003721"/>
            <a:ext cx="2441" cy="3051"/>
          </a:xfrm>
          <a:custGeom>
            <a:avLst/>
            <a:gdLst/>
            <a:ahLst/>
            <a:cxnLst/>
            <a:rect l="l" t="t" r="r" b="b"/>
            <a:pathLst>
              <a:path w="2539" h="3175">
                <a:moveTo>
                  <a:pt x="1663" y="0"/>
                </a:moveTo>
                <a:lnTo>
                  <a:pt x="0" y="3035"/>
                </a:lnTo>
                <a:lnTo>
                  <a:pt x="1219" y="3035"/>
                </a:lnTo>
                <a:lnTo>
                  <a:pt x="2286" y="1117"/>
                </a:lnTo>
                <a:lnTo>
                  <a:pt x="1663"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325" name="object 41"/>
          <p:cNvSpPr/>
          <p:nvPr/>
        </p:nvSpPr>
        <p:spPr>
          <a:xfrm>
            <a:off x="6368488" y="4003709"/>
            <a:ext cx="2441" cy="3051"/>
          </a:xfrm>
          <a:custGeom>
            <a:avLst/>
            <a:gdLst/>
            <a:ahLst/>
            <a:cxnLst/>
            <a:rect l="l" t="t" r="r" b="b"/>
            <a:pathLst>
              <a:path w="2539" h="3175">
                <a:moveTo>
                  <a:pt x="1676" y="0"/>
                </a:moveTo>
                <a:lnTo>
                  <a:pt x="2286" y="1117"/>
                </a:lnTo>
                <a:lnTo>
                  <a:pt x="1231" y="3048"/>
                </a:lnTo>
                <a:lnTo>
                  <a:pt x="0" y="3048"/>
                </a:lnTo>
                <a:lnTo>
                  <a:pt x="1676"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326" name="object 42"/>
          <p:cNvSpPr/>
          <p:nvPr/>
        </p:nvSpPr>
        <p:spPr>
          <a:xfrm>
            <a:off x="6392651" y="4005918"/>
            <a:ext cx="1220" cy="1220"/>
          </a:xfrm>
          <a:custGeom>
            <a:avLst/>
            <a:gdLst/>
            <a:ahLst/>
            <a:cxnLst/>
            <a:rect l="l" t="t" r="r" b="b"/>
            <a:pathLst>
              <a:path w="1270" h="1270">
                <a:moveTo>
                  <a:pt x="381" y="0"/>
                </a:moveTo>
                <a:lnTo>
                  <a:pt x="0" y="749"/>
                </a:lnTo>
                <a:lnTo>
                  <a:pt x="749" y="749"/>
                </a:lnTo>
                <a:lnTo>
                  <a:pt x="381"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327" name="object 43"/>
          <p:cNvSpPr/>
          <p:nvPr/>
        </p:nvSpPr>
        <p:spPr>
          <a:xfrm>
            <a:off x="6392651" y="4005906"/>
            <a:ext cx="1220" cy="1220"/>
          </a:xfrm>
          <a:custGeom>
            <a:avLst/>
            <a:gdLst/>
            <a:ahLst/>
            <a:cxnLst/>
            <a:rect l="l" t="t" r="r" b="b"/>
            <a:pathLst>
              <a:path w="1270" h="1270">
                <a:moveTo>
                  <a:pt x="380" y="0"/>
                </a:moveTo>
                <a:lnTo>
                  <a:pt x="761" y="761"/>
                </a:lnTo>
                <a:lnTo>
                  <a:pt x="0" y="761"/>
                </a:lnTo>
                <a:lnTo>
                  <a:pt x="380"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328" name="object 44"/>
          <p:cNvSpPr/>
          <p:nvPr/>
        </p:nvSpPr>
        <p:spPr>
          <a:xfrm>
            <a:off x="6367756" y="4006639"/>
            <a:ext cx="1220" cy="1220"/>
          </a:xfrm>
          <a:custGeom>
            <a:avLst/>
            <a:gdLst/>
            <a:ahLst/>
            <a:cxnLst/>
            <a:rect l="l" t="t" r="r" b="b"/>
            <a:pathLst>
              <a:path w="1270" h="1270">
                <a:moveTo>
                  <a:pt x="762" y="0"/>
                </a:moveTo>
                <a:lnTo>
                  <a:pt x="0" y="0"/>
                </a:lnTo>
                <a:lnTo>
                  <a:pt x="381" y="762"/>
                </a:lnTo>
                <a:lnTo>
                  <a:pt x="762"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329" name="object 45"/>
          <p:cNvSpPr/>
          <p:nvPr/>
        </p:nvSpPr>
        <p:spPr>
          <a:xfrm>
            <a:off x="6367756" y="4006639"/>
            <a:ext cx="1220" cy="1220"/>
          </a:xfrm>
          <a:custGeom>
            <a:avLst/>
            <a:gdLst/>
            <a:ahLst/>
            <a:cxnLst/>
            <a:rect l="l" t="t" r="r" b="b"/>
            <a:pathLst>
              <a:path w="1270" h="1270">
                <a:moveTo>
                  <a:pt x="0" y="0"/>
                </a:moveTo>
                <a:lnTo>
                  <a:pt x="762" y="0"/>
                </a:lnTo>
                <a:lnTo>
                  <a:pt x="381" y="762"/>
                </a:lnTo>
                <a:lnTo>
                  <a:pt x="0"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330" name="object 46"/>
          <p:cNvSpPr/>
          <p:nvPr/>
        </p:nvSpPr>
        <p:spPr>
          <a:xfrm>
            <a:off x="6393384" y="4006639"/>
            <a:ext cx="4882" cy="3661"/>
          </a:xfrm>
          <a:custGeom>
            <a:avLst/>
            <a:gdLst/>
            <a:ahLst/>
            <a:cxnLst/>
            <a:rect l="l" t="t" r="r" b="b"/>
            <a:pathLst>
              <a:path w="5079" h="3810">
                <a:moveTo>
                  <a:pt x="2540" y="0"/>
                </a:moveTo>
                <a:lnTo>
                  <a:pt x="0" y="0"/>
                </a:lnTo>
                <a:lnTo>
                  <a:pt x="2032" y="3822"/>
                </a:lnTo>
                <a:lnTo>
                  <a:pt x="4572" y="3822"/>
                </a:lnTo>
                <a:lnTo>
                  <a:pt x="2540"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331" name="object 47"/>
          <p:cNvSpPr/>
          <p:nvPr/>
        </p:nvSpPr>
        <p:spPr>
          <a:xfrm>
            <a:off x="6393384" y="4006639"/>
            <a:ext cx="4882" cy="3661"/>
          </a:xfrm>
          <a:custGeom>
            <a:avLst/>
            <a:gdLst/>
            <a:ahLst/>
            <a:cxnLst/>
            <a:rect l="l" t="t" r="r" b="b"/>
            <a:pathLst>
              <a:path w="5079" h="3810">
                <a:moveTo>
                  <a:pt x="0" y="0"/>
                </a:moveTo>
                <a:lnTo>
                  <a:pt x="2540" y="0"/>
                </a:lnTo>
                <a:lnTo>
                  <a:pt x="4572" y="3810"/>
                </a:lnTo>
                <a:lnTo>
                  <a:pt x="2032" y="3810"/>
                </a:lnTo>
                <a:lnTo>
                  <a:pt x="0"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332" name="object 48"/>
          <p:cNvSpPr/>
          <p:nvPr/>
        </p:nvSpPr>
        <p:spPr>
          <a:xfrm>
            <a:off x="6366291" y="4007371"/>
            <a:ext cx="2441" cy="3051"/>
          </a:xfrm>
          <a:custGeom>
            <a:avLst/>
            <a:gdLst/>
            <a:ahLst/>
            <a:cxnLst/>
            <a:rect l="l" t="t" r="r" b="b"/>
            <a:pathLst>
              <a:path w="2539" h="3175">
                <a:moveTo>
                  <a:pt x="1574" y="0"/>
                </a:moveTo>
                <a:lnTo>
                  <a:pt x="0" y="3047"/>
                </a:lnTo>
                <a:lnTo>
                  <a:pt x="1409" y="3047"/>
                </a:lnTo>
                <a:lnTo>
                  <a:pt x="2286" y="1358"/>
                </a:lnTo>
                <a:lnTo>
                  <a:pt x="1574"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333" name="object 49"/>
          <p:cNvSpPr/>
          <p:nvPr/>
        </p:nvSpPr>
        <p:spPr>
          <a:xfrm>
            <a:off x="6366291" y="4007371"/>
            <a:ext cx="2441" cy="3051"/>
          </a:xfrm>
          <a:custGeom>
            <a:avLst/>
            <a:gdLst/>
            <a:ahLst/>
            <a:cxnLst/>
            <a:rect l="l" t="t" r="r" b="b"/>
            <a:pathLst>
              <a:path w="2539" h="3175">
                <a:moveTo>
                  <a:pt x="1587" y="0"/>
                </a:moveTo>
                <a:lnTo>
                  <a:pt x="2286" y="1358"/>
                </a:lnTo>
                <a:lnTo>
                  <a:pt x="1409" y="3047"/>
                </a:lnTo>
                <a:lnTo>
                  <a:pt x="0" y="3047"/>
                </a:lnTo>
                <a:lnTo>
                  <a:pt x="1587"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334" name="object 50"/>
          <p:cNvSpPr/>
          <p:nvPr/>
        </p:nvSpPr>
        <p:spPr>
          <a:xfrm>
            <a:off x="6360433" y="4014693"/>
            <a:ext cx="4882" cy="6102"/>
          </a:xfrm>
          <a:custGeom>
            <a:avLst/>
            <a:gdLst/>
            <a:ahLst/>
            <a:cxnLst/>
            <a:rect l="l" t="t" r="r" b="b"/>
            <a:pathLst>
              <a:path w="5079" h="6350">
                <a:moveTo>
                  <a:pt x="4571" y="0"/>
                </a:moveTo>
                <a:lnTo>
                  <a:pt x="3213" y="0"/>
                </a:lnTo>
                <a:lnTo>
                  <a:pt x="0" y="6096"/>
                </a:lnTo>
                <a:lnTo>
                  <a:pt x="1358" y="6096"/>
                </a:lnTo>
                <a:lnTo>
                  <a:pt x="4571"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335" name="object 51"/>
          <p:cNvSpPr/>
          <p:nvPr/>
        </p:nvSpPr>
        <p:spPr>
          <a:xfrm>
            <a:off x="6360433" y="4014693"/>
            <a:ext cx="4882" cy="6102"/>
          </a:xfrm>
          <a:custGeom>
            <a:avLst/>
            <a:gdLst/>
            <a:ahLst/>
            <a:cxnLst/>
            <a:rect l="l" t="t" r="r" b="b"/>
            <a:pathLst>
              <a:path w="5079" h="6350">
                <a:moveTo>
                  <a:pt x="3213" y="0"/>
                </a:moveTo>
                <a:lnTo>
                  <a:pt x="4571" y="0"/>
                </a:lnTo>
                <a:lnTo>
                  <a:pt x="1358" y="6096"/>
                </a:lnTo>
                <a:lnTo>
                  <a:pt x="0" y="6096"/>
                </a:lnTo>
                <a:lnTo>
                  <a:pt x="3213"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336" name="object 52"/>
          <p:cNvSpPr/>
          <p:nvPr/>
        </p:nvSpPr>
        <p:spPr>
          <a:xfrm>
            <a:off x="6397778" y="4014693"/>
            <a:ext cx="6102" cy="6102"/>
          </a:xfrm>
          <a:custGeom>
            <a:avLst/>
            <a:gdLst/>
            <a:ahLst/>
            <a:cxnLst/>
            <a:rect l="l" t="t" r="r" b="b"/>
            <a:pathLst>
              <a:path w="6350" h="6350">
                <a:moveTo>
                  <a:pt x="2514" y="0"/>
                </a:moveTo>
                <a:lnTo>
                  <a:pt x="0" y="0"/>
                </a:lnTo>
                <a:lnTo>
                  <a:pt x="3594" y="6096"/>
                </a:lnTo>
                <a:lnTo>
                  <a:pt x="6108" y="6096"/>
                </a:lnTo>
                <a:lnTo>
                  <a:pt x="2514"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337" name="object 53"/>
          <p:cNvSpPr/>
          <p:nvPr/>
        </p:nvSpPr>
        <p:spPr>
          <a:xfrm>
            <a:off x="6397778" y="4014693"/>
            <a:ext cx="6102" cy="6102"/>
          </a:xfrm>
          <a:custGeom>
            <a:avLst/>
            <a:gdLst/>
            <a:ahLst/>
            <a:cxnLst/>
            <a:rect l="l" t="t" r="r" b="b"/>
            <a:pathLst>
              <a:path w="6350" h="6350">
                <a:moveTo>
                  <a:pt x="0" y="0"/>
                </a:moveTo>
                <a:lnTo>
                  <a:pt x="2514" y="0"/>
                </a:lnTo>
                <a:lnTo>
                  <a:pt x="6096" y="6096"/>
                </a:lnTo>
                <a:lnTo>
                  <a:pt x="3581" y="6096"/>
                </a:lnTo>
                <a:lnTo>
                  <a:pt x="0"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338" name="object 70"/>
          <p:cNvSpPr/>
          <p:nvPr/>
        </p:nvSpPr>
        <p:spPr>
          <a:xfrm>
            <a:off x="6375077" y="3982473"/>
            <a:ext cx="14034" cy="14034"/>
          </a:xfrm>
          <a:custGeom>
            <a:avLst/>
            <a:gdLst/>
            <a:ahLst/>
            <a:cxnLst/>
            <a:rect l="l" t="t" r="r" b="b"/>
            <a:pathLst>
              <a:path w="14604" h="14604">
                <a:moveTo>
                  <a:pt x="7492" y="0"/>
                </a:moveTo>
                <a:lnTo>
                  <a:pt x="0" y="13182"/>
                </a:lnTo>
                <a:lnTo>
                  <a:pt x="736" y="14478"/>
                </a:lnTo>
                <a:lnTo>
                  <a:pt x="7010" y="3441"/>
                </a:lnTo>
                <a:lnTo>
                  <a:pt x="9442" y="3441"/>
                </a:lnTo>
                <a:lnTo>
                  <a:pt x="7492" y="0"/>
                </a:lnTo>
                <a:close/>
              </a:path>
              <a:path w="14604" h="14604">
                <a:moveTo>
                  <a:pt x="9442" y="3441"/>
                </a:moveTo>
                <a:lnTo>
                  <a:pt x="7010" y="3441"/>
                </a:lnTo>
                <a:lnTo>
                  <a:pt x="13271" y="14478"/>
                </a:lnTo>
                <a:lnTo>
                  <a:pt x="14477" y="12331"/>
                </a:lnTo>
                <a:lnTo>
                  <a:pt x="9442" y="3441"/>
                </a:lnTo>
                <a:close/>
              </a:path>
            </a:pathLst>
          </a:custGeom>
          <a:solidFill>
            <a:srgbClr val="F2F2F2"/>
          </a:solidFill>
        </p:spPr>
        <p:txBody>
          <a:bodyPr wrap="square" lIns="0" tIns="0" rIns="0" bIns="0" rtlCol="0"/>
          <a:lstStyle/>
          <a:p>
            <a:endParaRPr>
              <a:solidFill>
                <a:prstClr val="black"/>
              </a:solidFill>
              <a:latin typeface="+mj-lt"/>
            </a:endParaRPr>
          </a:p>
        </p:txBody>
      </p:sp>
      <p:sp>
        <p:nvSpPr>
          <p:cNvPr id="339" name="object 71"/>
          <p:cNvSpPr/>
          <p:nvPr/>
        </p:nvSpPr>
        <p:spPr>
          <a:xfrm>
            <a:off x="6375077" y="3982473"/>
            <a:ext cx="14034" cy="14034"/>
          </a:xfrm>
          <a:custGeom>
            <a:avLst/>
            <a:gdLst/>
            <a:ahLst/>
            <a:cxnLst/>
            <a:rect l="l" t="t" r="r" b="b"/>
            <a:pathLst>
              <a:path w="14604" h="14604">
                <a:moveTo>
                  <a:pt x="7492" y="0"/>
                </a:moveTo>
                <a:lnTo>
                  <a:pt x="14477" y="12331"/>
                </a:lnTo>
                <a:lnTo>
                  <a:pt x="13271" y="14478"/>
                </a:lnTo>
                <a:lnTo>
                  <a:pt x="7010" y="3441"/>
                </a:lnTo>
                <a:lnTo>
                  <a:pt x="736" y="14478"/>
                </a:lnTo>
                <a:lnTo>
                  <a:pt x="0" y="13182"/>
                </a:lnTo>
                <a:lnTo>
                  <a:pt x="7492"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340" name="object 72"/>
          <p:cNvSpPr/>
          <p:nvPr/>
        </p:nvSpPr>
        <p:spPr>
          <a:xfrm>
            <a:off x="6369952" y="3996387"/>
            <a:ext cx="5492" cy="8543"/>
          </a:xfrm>
          <a:custGeom>
            <a:avLst/>
            <a:gdLst/>
            <a:ahLst/>
            <a:cxnLst/>
            <a:rect l="l" t="t" r="r" b="b"/>
            <a:pathLst>
              <a:path w="5714" h="8889">
                <a:moveTo>
                  <a:pt x="4546" y="0"/>
                </a:moveTo>
                <a:lnTo>
                  <a:pt x="0" y="7137"/>
                </a:lnTo>
                <a:lnTo>
                  <a:pt x="787" y="8369"/>
                </a:lnTo>
                <a:lnTo>
                  <a:pt x="5334" y="1231"/>
                </a:lnTo>
                <a:lnTo>
                  <a:pt x="4546"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341" name="object 73"/>
          <p:cNvSpPr/>
          <p:nvPr/>
        </p:nvSpPr>
        <p:spPr>
          <a:xfrm>
            <a:off x="6369952" y="3996387"/>
            <a:ext cx="5492" cy="8543"/>
          </a:xfrm>
          <a:custGeom>
            <a:avLst/>
            <a:gdLst/>
            <a:ahLst/>
            <a:cxnLst/>
            <a:rect l="l" t="t" r="r" b="b"/>
            <a:pathLst>
              <a:path w="5714" h="8889">
                <a:moveTo>
                  <a:pt x="4546" y="0"/>
                </a:moveTo>
                <a:lnTo>
                  <a:pt x="5334" y="1231"/>
                </a:lnTo>
                <a:lnTo>
                  <a:pt x="787" y="8382"/>
                </a:lnTo>
                <a:lnTo>
                  <a:pt x="0" y="7150"/>
                </a:lnTo>
                <a:lnTo>
                  <a:pt x="4546"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342" name="object 74"/>
          <p:cNvSpPr/>
          <p:nvPr/>
        </p:nvSpPr>
        <p:spPr>
          <a:xfrm>
            <a:off x="6388991" y="3996387"/>
            <a:ext cx="3051" cy="6102"/>
          </a:xfrm>
          <a:custGeom>
            <a:avLst/>
            <a:gdLst/>
            <a:ahLst/>
            <a:cxnLst/>
            <a:rect l="l" t="t" r="r" b="b"/>
            <a:pathLst>
              <a:path w="3175" h="6350">
                <a:moveTo>
                  <a:pt x="1079" y="0"/>
                </a:moveTo>
                <a:lnTo>
                  <a:pt x="0" y="2133"/>
                </a:lnTo>
                <a:lnTo>
                  <a:pt x="1993" y="6083"/>
                </a:lnTo>
                <a:lnTo>
                  <a:pt x="3048" y="3962"/>
                </a:lnTo>
                <a:lnTo>
                  <a:pt x="1079"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343" name="object 75"/>
          <p:cNvSpPr/>
          <p:nvPr/>
        </p:nvSpPr>
        <p:spPr>
          <a:xfrm>
            <a:off x="6388991" y="3996387"/>
            <a:ext cx="3051" cy="6102"/>
          </a:xfrm>
          <a:custGeom>
            <a:avLst/>
            <a:gdLst/>
            <a:ahLst/>
            <a:cxnLst/>
            <a:rect l="l" t="t" r="r" b="b"/>
            <a:pathLst>
              <a:path w="3175" h="6350">
                <a:moveTo>
                  <a:pt x="1066" y="0"/>
                </a:moveTo>
                <a:lnTo>
                  <a:pt x="3048" y="3962"/>
                </a:lnTo>
                <a:lnTo>
                  <a:pt x="1981" y="6096"/>
                </a:lnTo>
                <a:lnTo>
                  <a:pt x="0" y="2133"/>
                </a:lnTo>
                <a:lnTo>
                  <a:pt x="1066"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344" name="object 76"/>
          <p:cNvSpPr/>
          <p:nvPr/>
        </p:nvSpPr>
        <p:spPr>
          <a:xfrm>
            <a:off x="6375077" y="3996387"/>
            <a:ext cx="14034" cy="14034"/>
          </a:xfrm>
          <a:custGeom>
            <a:avLst/>
            <a:gdLst/>
            <a:ahLst/>
            <a:cxnLst/>
            <a:rect l="l" t="t" r="r" b="b"/>
            <a:pathLst>
              <a:path w="14604" h="14604">
                <a:moveTo>
                  <a:pt x="736" y="0"/>
                </a:moveTo>
                <a:lnTo>
                  <a:pt x="0" y="1295"/>
                </a:lnTo>
                <a:lnTo>
                  <a:pt x="7492" y="14478"/>
                </a:lnTo>
                <a:lnTo>
                  <a:pt x="9442" y="11036"/>
                </a:lnTo>
                <a:lnTo>
                  <a:pt x="7010" y="11036"/>
                </a:lnTo>
                <a:lnTo>
                  <a:pt x="736" y="0"/>
                </a:lnTo>
                <a:close/>
              </a:path>
              <a:path w="14604" h="14604">
                <a:moveTo>
                  <a:pt x="13271" y="0"/>
                </a:moveTo>
                <a:lnTo>
                  <a:pt x="7010" y="11036"/>
                </a:lnTo>
                <a:lnTo>
                  <a:pt x="9442" y="11036"/>
                </a:lnTo>
                <a:lnTo>
                  <a:pt x="14477" y="2146"/>
                </a:lnTo>
                <a:lnTo>
                  <a:pt x="13271"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345" name="object 77"/>
          <p:cNvSpPr/>
          <p:nvPr/>
        </p:nvSpPr>
        <p:spPr>
          <a:xfrm>
            <a:off x="6375077" y="3996387"/>
            <a:ext cx="14034" cy="14034"/>
          </a:xfrm>
          <a:custGeom>
            <a:avLst/>
            <a:gdLst/>
            <a:ahLst/>
            <a:cxnLst/>
            <a:rect l="l" t="t" r="r" b="b"/>
            <a:pathLst>
              <a:path w="14604" h="14604">
                <a:moveTo>
                  <a:pt x="736" y="0"/>
                </a:moveTo>
                <a:lnTo>
                  <a:pt x="7010" y="11036"/>
                </a:lnTo>
                <a:lnTo>
                  <a:pt x="13271" y="0"/>
                </a:lnTo>
                <a:lnTo>
                  <a:pt x="14477" y="2146"/>
                </a:lnTo>
                <a:lnTo>
                  <a:pt x="7492" y="14478"/>
                </a:lnTo>
                <a:lnTo>
                  <a:pt x="0" y="1295"/>
                </a:lnTo>
                <a:lnTo>
                  <a:pt x="736"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346" name="object 78"/>
          <p:cNvSpPr/>
          <p:nvPr/>
        </p:nvSpPr>
        <p:spPr>
          <a:xfrm>
            <a:off x="6388259" y="4002244"/>
            <a:ext cx="5492" cy="4882"/>
          </a:xfrm>
          <a:custGeom>
            <a:avLst/>
            <a:gdLst/>
            <a:ahLst/>
            <a:cxnLst/>
            <a:rect l="l" t="t" r="r" b="b"/>
            <a:pathLst>
              <a:path w="5714" h="5079">
                <a:moveTo>
                  <a:pt x="2921" y="0"/>
                </a:moveTo>
                <a:lnTo>
                  <a:pt x="0" y="4572"/>
                </a:lnTo>
                <a:lnTo>
                  <a:pt x="4813" y="4572"/>
                </a:lnTo>
                <a:lnTo>
                  <a:pt x="5321" y="3771"/>
                </a:lnTo>
                <a:lnTo>
                  <a:pt x="2921"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347" name="object 79"/>
          <p:cNvSpPr/>
          <p:nvPr/>
        </p:nvSpPr>
        <p:spPr>
          <a:xfrm>
            <a:off x="6388259" y="4002244"/>
            <a:ext cx="5492" cy="4882"/>
          </a:xfrm>
          <a:custGeom>
            <a:avLst/>
            <a:gdLst/>
            <a:ahLst/>
            <a:cxnLst/>
            <a:rect l="l" t="t" r="r" b="b"/>
            <a:pathLst>
              <a:path w="5714" h="5079">
                <a:moveTo>
                  <a:pt x="2921" y="0"/>
                </a:moveTo>
                <a:lnTo>
                  <a:pt x="5334" y="3759"/>
                </a:lnTo>
                <a:lnTo>
                  <a:pt x="4813" y="4572"/>
                </a:lnTo>
                <a:lnTo>
                  <a:pt x="0" y="4572"/>
                </a:lnTo>
                <a:lnTo>
                  <a:pt x="2921" y="0"/>
                </a:lnTo>
                <a:close/>
              </a:path>
            </a:pathLst>
          </a:custGeom>
          <a:ln w="16001">
            <a:solidFill>
              <a:srgbClr val="FFFFFF"/>
            </a:solidFill>
          </a:ln>
        </p:spPr>
        <p:txBody>
          <a:bodyPr wrap="square" lIns="0" tIns="0" rIns="0" bIns="0" rtlCol="0"/>
          <a:lstStyle/>
          <a:p>
            <a:endParaRPr>
              <a:solidFill>
                <a:prstClr val="black"/>
              </a:solidFill>
              <a:latin typeface="+mj-lt"/>
            </a:endParaRPr>
          </a:p>
        </p:txBody>
      </p:sp>
      <p:sp>
        <p:nvSpPr>
          <p:cNvPr id="348" name="object 80"/>
          <p:cNvSpPr/>
          <p:nvPr/>
        </p:nvSpPr>
        <p:spPr>
          <a:xfrm>
            <a:off x="6393384" y="4003709"/>
            <a:ext cx="2441" cy="3051"/>
          </a:xfrm>
          <a:custGeom>
            <a:avLst/>
            <a:gdLst/>
            <a:ahLst/>
            <a:cxnLst/>
            <a:rect l="l" t="t" r="r" b="b"/>
            <a:pathLst>
              <a:path w="2539" h="3175">
                <a:moveTo>
                  <a:pt x="952" y="0"/>
                </a:moveTo>
                <a:lnTo>
                  <a:pt x="0" y="2158"/>
                </a:lnTo>
                <a:lnTo>
                  <a:pt x="393" y="3035"/>
                </a:lnTo>
                <a:lnTo>
                  <a:pt x="2286" y="3035"/>
                </a:lnTo>
                <a:lnTo>
                  <a:pt x="952"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349" name="object 81"/>
          <p:cNvSpPr/>
          <p:nvPr/>
        </p:nvSpPr>
        <p:spPr>
          <a:xfrm>
            <a:off x="6393384" y="4003709"/>
            <a:ext cx="2441" cy="3051"/>
          </a:xfrm>
          <a:custGeom>
            <a:avLst/>
            <a:gdLst/>
            <a:ahLst/>
            <a:cxnLst/>
            <a:rect l="l" t="t" r="r" b="b"/>
            <a:pathLst>
              <a:path w="2539" h="3175">
                <a:moveTo>
                  <a:pt x="952" y="0"/>
                </a:moveTo>
                <a:lnTo>
                  <a:pt x="2285" y="3048"/>
                </a:lnTo>
                <a:lnTo>
                  <a:pt x="380" y="3048"/>
                </a:lnTo>
                <a:lnTo>
                  <a:pt x="0" y="2171"/>
                </a:lnTo>
                <a:lnTo>
                  <a:pt x="952"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350" name="object 82"/>
          <p:cNvSpPr/>
          <p:nvPr/>
        </p:nvSpPr>
        <p:spPr>
          <a:xfrm>
            <a:off x="6369952" y="4004441"/>
            <a:ext cx="2441" cy="2441"/>
          </a:xfrm>
          <a:custGeom>
            <a:avLst/>
            <a:gdLst/>
            <a:ahLst/>
            <a:cxnLst/>
            <a:rect l="l" t="t" r="r" b="b"/>
            <a:pathLst>
              <a:path w="2539" h="2539">
                <a:moveTo>
                  <a:pt x="1143" y="0"/>
                </a:moveTo>
                <a:lnTo>
                  <a:pt x="0" y="2285"/>
                </a:lnTo>
                <a:lnTo>
                  <a:pt x="2286" y="2285"/>
                </a:lnTo>
                <a:lnTo>
                  <a:pt x="1143"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351" name="object 83"/>
          <p:cNvSpPr/>
          <p:nvPr/>
        </p:nvSpPr>
        <p:spPr>
          <a:xfrm>
            <a:off x="6369952" y="4004441"/>
            <a:ext cx="2441" cy="2441"/>
          </a:xfrm>
          <a:custGeom>
            <a:avLst/>
            <a:gdLst/>
            <a:ahLst/>
            <a:cxnLst/>
            <a:rect l="l" t="t" r="r" b="b"/>
            <a:pathLst>
              <a:path w="2539" h="2539">
                <a:moveTo>
                  <a:pt x="1142" y="0"/>
                </a:moveTo>
                <a:lnTo>
                  <a:pt x="2285" y="2286"/>
                </a:lnTo>
                <a:lnTo>
                  <a:pt x="0" y="2286"/>
                </a:lnTo>
                <a:lnTo>
                  <a:pt x="1142"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352" name="object 84"/>
          <p:cNvSpPr/>
          <p:nvPr/>
        </p:nvSpPr>
        <p:spPr>
          <a:xfrm>
            <a:off x="6367756" y="4006639"/>
            <a:ext cx="2441" cy="2441"/>
          </a:xfrm>
          <a:custGeom>
            <a:avLst/>
            <a:gdLst/>
            <a:ahLst/>
            <a:cxnLst/>
            <a:rect l="l" t="t" r="r" b="b"/>
            <a:pathLst>
              <a:path w="2539" h="2539">
                <a:moveTo>
                  <a:pt x="2285" y="0"/>
                </a:moveTo>
                <a:lnTo>
                  <a:pt x="380" y="0"/>
                </a:lnTo>
                <a:lnTo>
                  <a:pt x="0" y="647"/>
                </a:lnTo>
                <a:lnTo>
                  <a:pt x="952" y="2286"/>
                </a:lnTo>
                <a:lnTo>
                  <a:pt x="2285"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353" name="object 85"/>
          <p:cNvSpPr/>
          <p:nvPr/>
        </p:nvSpPr>
        <p:spPr>
          <a:xfrm>
            <a:off x="6367756" y="4006639"/>
            <a:ext cx="2441" cy="2441"/>
          </a:xfrm>
          <a:custGeom>
            <a:avLst/>
            <a:gdLst/>
            <a:ahLst/>
            <a:cxnLst/>
            <a:rect l="l" t="t" r="r" b="b"/>
            <a:pathLst>
              <a:path w="2539" h="2539">
                <a:moveTo>
                  <a:pt x="380" y="0"/>
                </a:moveTo>
                <a:lnTo>
                  <a:pt x="2285" y="0"/>
                </a:lnTo>
                <a:lnTo>
                  <a:pt x="952" y="2286"/>
                </a:lnTo>
                <a:lnTo>
                  <a:pt x="0" y="647"/>
                </a:lnTo>
                <a:lnTo>
                  <a:pt x="380"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354" name="object 86"/>
          <p:cNvSpPr/>
          <p:nvPr/>
        </p:nvSpPr>
        <p:spPr>
          <a:xfrm>
            <a:off x="6390467" y="4006639"/>
            <a:ext cx="5492" cy="3661"/>
          </a:xfrm>
          <a:custGeom>
            <a:avLst/>
            <a:gdLst/>
            <a:ahLst/>
            <a:cxnLst/>
            <a:rect l="l" t="t" r="r" b="b"/>
            <a:pathLst>
              <a:path w="5714" h="3810">
                <a:moveTo>
                  <a:pt x="3200" y="0"/>
                </a:moveTo>
                <a:lnTo>
                  <a:pt x="2120" y="0"/>
                </a:lnTo>
                <a:lnTo>
                  <a:pt x="0" y="3822"/>
                </a:lnTo>
                <a:lnTo>
                  <a:pt x="5321" y="3822"/>
                </a:lnTo>
                <a:lnTo>
                  <a:pt x="3200"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355" name="object 87"/>
          <p:cNvSpPr/>
          <p:nvPr/>
        </p:nvSpPr>
        <p:spPr>
          <a:xfrm>
            <a:off x="6390455" y="4006639"/>
            <a:ext cx="5492" cy="3661"/>
          </a:xfrm>
          <a:custGeom>
            <a:avLst/>
            <a:gdLst/>
            <a:ahLst/>
            <a:cxnLst/>
            <a:rect l="l" t="t" r="r" b="b"/>
            <a:pathLst>
              <a:path w="5714" h="3810">
                <a:moveTo>
                  <a:pt x="2133" y="0"/>
                </a:moveTo>
                <a:lnTo>
                  <a:pt x="3213" y="0"/>
                </a:lnTo>
                <a:lnTo>
                  <a:pt x="5334" y="3810"/>
                </a:lnTo>
                <a:lnTo>
                  <a:pt x="0" y="3810"/>
                </a:lnTo>
                <a:lnTo>
                  <a:pt x="2133"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356" name="object 88"/>
          <p:cNvSpPr/>
          <p:nvPr/>
        </p:nvSpPr>
        <p:spPr>
          <a:xfrm>
            <a:off x="6367756" y="4008823"/>
            <a:ext cx="2441" cy="1831"/>
          </a:xfrm>
          <a:custGeom>
            <a:avLst/>
            <a:gdLst/>
            <a:ahLst/>
            <a:cxnLst/>
            <a:rect l="l" t="t" r="r" b="b"/>
            <a:pathLst>
              <a:path w="2539" h="1904">
                <a:moveTo>
                  <a:pt x="1143" y="0"/>
                </a:moveTo>
                <a:lnTo>
                  <a:pt x="0" y="1536"/>
                </a:lnTo>
                <a:lnTo>
                  <a:pt x="2286" y="1536"/>
                </a:lnTo>
                <a:lnTo>
                  <a:pt x="1143"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357" name="object 89"/>
          <p:cNvSpPr/>
          <p:nvPr/>
        </p:nvSpPr>
        <p:spPr>
          <a:xfrm>
            <a:off x="6367756" y="4008835"/>
            <a:ext cx="2441" cy="1831"/>
          </a:xfrm>
          <a:custGeom>
            <a:avLst/>
            <a:gdLst/>
            <a:ahLst/>
            <a:cxnLst/>
            <a:rect l="l" t="t" r="r" b="b"/>
            <a:pathLst>
              <a:path w="2539" h="1904">
                <a:moveTo>
                  <a:pt x="1142" y="0"/>
                </a:moveTo>
                <a:lnTo>
                  <a:pt x="2285" y="1523"/>
                </a:lnTo>
                <a:lnTo>
                  <a:pt x="0" y="1523"/>
                </a:lnTo>
                <a:lnTo>
                  <a:pt x="1142"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358" name="object 90"/>
          <p:cNvSpPr/>
          <p:nvPr/>
        </p:nvSpPr>
        <p:spPr>
          <a:xfrm>
            <a:off x="6364093" y="4010299"/>
            <a:ext cx="3661" cy="4882"/>
          </a:xfrm>
          <a:custGeom>
            <a:avLst/>
            <a:gdLst/>
            <a:ahLst/>
            <a:cxnLst/>
            <a:rect l="l" t="t" r="r" b="b"/>
            <a:pathLst>
              <a:path w="3810" h="5079">
                <a:moveTo>
                  <a:pt x="3809" y="0"/>
                </a:moveTo>
                <a:lnTo>
                  <a:pt x="2539" y="0"/>
                </a:lnTo>
                <a:lnTo>
                  <a:pt x="0" y="4571"/>
                </a:lnTo>
                <a:lnTo>
                  <a:pt x="1269" y="4571"/>
                </a:lnTo>
                <a:lnTo>
                  <a:pt x="3809"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359" name="object 91"/>
          <p:cNvSpPr/>
          <p:nvPr/>
        </p:nvSpPr>
        <p:spPr>
          <a:xfrm>
            <a:off x="6364093" y="4010299"/>
            <a:ext cx="3661" cy="4882"/>
          </a:xfrm>
          <a:custGeom>
            <a:avLst/>
            <a:gdLst/>
            <a:ahLst/>
            <a:cxnLst/>
            <a:rect l="l" t="t" r="r" b="b"/>
            <a:pathLst>
              <a:path w="3810" h="5079">
                <a:moveTo>
                  <a:pt x="2539" y="0"/>
                </a:moveTo>
                <a:lnTo>
                  <a:pt x="3809" y="0"/>
                </a:lnTo>
                <a:lnTo>
                  <a:pt x="1269" y="4571"/>
                </a:lnTo>
                <a:lnTo>
                  <a:pt x="0" y="4571"/>
                </a:lnTo>
                <a:lnTo>
                  <a:pt x="2539"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360" name="object 92"/>
          <p:cNvSpPr/>
          <p:nvPr/>
        </p:nvSpPr>
        <p:spPr>
          <a:xfrm>
            <a:off x="6395581" y="4010299"/>
            <a:ext cx="5492" cy="4882"/>
          </a:xfrm>
          <a:custGeom>
            <a:avLst/>
            <a:gdLst/>
            <a:ahLst/>
            <a:cxnLst/>
            <a:rect l="l" t="t" r="r" b="b"/>
            <a:pathLst>
              <a:path w="5714" h="5079">
                <a:moveTo>
                  <a:pt x="2425" y="0"/>
                </a:moveTo>
                <a:lnTo>
                  <a:pt x="0" y="0"/>
                </a:lnTo>
                <a:lnTo>
                  <a:pt x="2908" y="4571"/>
                </a:lnTo>
                <a:lnTo>
                  <a:pt x="5334" y="4571"/>
                </a:lnTo>
                <a:lnTo>
                  <a:pt x="2425"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361" name="object 93"/>
          <p:cNvSpPr/>
          <p:nvPr/>
        </p:nvSpPr>
        <p:spPr>
          <a:xfrm>
            <a:off x="6395581" y="4010299"/>
            <a:ext cx="5492" cy="4882"/>
          </a:xfrm>
          <a:custGeom>
            <a:avLst/>
            <a:gdLst/>
            <a:ahLst/>
            <a:cxnLst/>
            <a:rect l="l" t="t" r="r" b="b"/>
            <a:pathLst>
              <a:path w="5714" h="5079">
                <a:moveTo>
                  <a:pt x="0" y="0"/>
                </a:moveTo>
                <a:lnTo>
                  <a:pt x="2413" y="0"/>
                </a:lnTo>
                <a:lnTo>
                  <a:pt x="5334" y="4571"/>
                </a:lnTo>
                <a:lnTo>
                  <a:pt x="2921" y="4571"/>
                </a:lnTo>
                <a:lnTo>
                  <a:pt x="0"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362" name="object 94"/>
          <p:cNvSpPr/>
          <p:nvPr/>
        </p:nvSpPr>
        <p:spPr>
          <a:xfrm>
            <a:off x="4558360" y="4017622"/>
            <a:ext cx="1806223" cy="0"/>
          </a:xfrm>
          <a:custGeom>
            <a:avLst/>
            <a:gdLst/>
            <a:ahLst/>
            <a:cxnLst/>
            <a:rect l="l" t="t" r="r" b="b"/>
            <a:pathLst>
              <a:path w="1879600">
                <a:moveTo>
                  <a:pt x="0" y="0"/>
                </a:moveTo>
                <a:lnTo>
                  <a:pt x="1879092" y="0"/>
                </a:lnTo>
              </a:path>
            </a:pathLst>
          </a:custGeom>
          <a:ln w="6095">
            <a:solidFill>
              <a:srgbClr val="F2F2F2"/>
            </a:solidFill>
          </a:ln>
        </p:spPr>
        <p:txBody>
          <a:bodyPr wrap="square" lIns="0" tIns="0" rIns="0" bIns="0" rtlCol="0"/>
          <a:lstStyle/>
          <a:p>
            <a:endParaRPr>
              <a:solidFill>
                <a:prstClr val="black"/>
              </a:solidFill>
              <a:latin typeface="+mj-lt"/>
            </a:endParaRPr>
          </a:p>
        </p:txBody>
      </p:sp>
      <p:sp>
        <p:nvSpPr>
          <p:cNvPr id="363" name="object 95"/>
          <p:cNvSpPr/>
          <p:nvPr/>
        </p:nvSpPr>
        <p:spPr>
          <a:xfrm>
            <a:off x="4558360" y="4014693"/>
            <a:ext cx="1806223" cy="6102"/>
          </a:xfrm>
          <a:custGeom>
            <a:avLst/>
            <a:gdLst/>
            <a:ahLst/>
            <a:cxnLst/>
            <a:rect l="l" t="t" r="r" b="b"/>
            <a:pathLst>
              <a:path w="1879600" h="6350">
                <a:moveTo>
                  <a:pt x="0" y="3048"/>
                </a:moveTo>
                <a:lnTo>
                  <a:pt x="1879092" y="3048"/>
                </a:lnTo>
              </a:path>
            </a:pathLst>
          </a:custGeom>
          <a:ln w="6095">
            <a:solidFill>
              <a:srgbClr val="FFFFFF"/>
            </a:solidFill>
          </a:ln>
        </p:spPr>
        <p:txBody>
          <a:bodyPr wrap="square" lIns="0" tIns="0" rIns="0" bIns="0" rtlCol="0"/>
          <a:lstStyle/>
          <a:p>
            <a:endParaRPr>
              <a:solidFill>
                <a:prstClr val="black"/>
              </a:solidFill>
              <a:latin typeface="+mj-lt"/>
            </a:endParaRPr>
          </a:p>
        </p:txBody>
      </p:sp>
      <p:sp>
        <p:nvSpPr>
          <p:cNvPr id="364" name="object 96"/>
          <p:cNvSpPr/>
          <p:nvPr/>
        </p:nvSpPr>
        <p:spPr>
          <a:xfrm>
            <a:off x="6361909" y="4014693"/>
            <a:ext cx="10374" cy="6102"/>
          </a:xfrm>
          <a:custGeom>
            <a:avLst/>
            <a:gdLst/>
            <a:ahLst/>
            <a:cxnLst/>
            <a:rect l="l" t="t" r="r" b="b"/>
            <a:pathLst>
              <a:path w="10795" h="6350">
                <a:moveTo>
                  <a:pt x="10655" y="0"/>
                </a:moveTo>
                <a:lnTo>
                  <a:pt x="3390" y="0"/>
                </a:lnTo>
                <a:lnTo>
                  <a:pt x="0" y="6096"/>
                </a:lnTo>
                <a:lnTo>
                  <a:pt x="7264" y="6096"/>
                </a:lnTo>
                <a:lnTo>
                  <a:pt x="10655"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365" name="object 97"/>
          <p:cNvSpPr/>
          <p:nvPr/>
        </p:nvSpPr>
        <p:spPr>
          <a:xfrm>
            <a:off x="6361897" y="4014693"/>
            <a:ext cx="10374" cy="6102"/>
          </a:xfrm>
          <a:custGeom>
            <a:avLst/>
            <a:gdLst/>
            <a:ahLst/>
            <a:cxnLst/>
            <a:rect l="l" t="t" r="r" b="b"/>
            <a:pathLst>
              <a:path w="10795" h="6350">
                <a:moveTo>
                  <a:pt x="3403" y="0"/>
                </a:moveTo>
                <a:lnTo>
                  <a:pt x="10667" y="0"/>
                </a:lnTo>
                <a:lnTo>
                  <a:pt x="7277" y="6096"/>
                </a:lnTo>
                <a:lnTo>
                  <a:pt x="0" y="6096"/>
                </a:lnTo>
                <a:lnTo>
                  <a:pt x="3403"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366" name="object 98"/>
          <p:cNvSpPr/>
          <p:nvPr/>
        </p:nvSpPr>
        <p:spPr>
          <a:xfrm>
            <a:off x="6388259" y="4014693"/>
            <a:ext cx="13425" cy="6102"/>
          </a:xfrm>
          <a:custGeom>
            <a:avLst/>
            <a:gdLst/>
            <a:ahLst/>
            <a:cxnLst/>
            <a:rect l="l" t="t" r="r" b="b"/>
            <a:pathLst>
              <a:path w="13970" h="6350">
                <a:moveTo>
                  <a:pt x="10299" y="0"/>
                </a:moveTo>
                <a:lnTo>
                  <a:pt x="0" y="0"/>
                </a:lnTo>
                <a:lnTo>
                  <a:pt x="3416" y="6096"/>
                </a:lnTo>
                <a:lnTo>
                  <a:pt x="13716" y="6096"/>
                </a:lnTo>
                <a:lnTo>
                  <a:pt x="10299"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367" name="object 99"/>
          <p:cNvSpPr/>
          <p:nvPr/>
        </p:nvSpPr>
        <p:spPr>
          <a:xfrm>
            <a:off x="6388259" y="4014693"/>
            <a:ext cx="13425" cy="6102"/>
          </a:xfrm>
          <a:custGeom>
            <a:avLst/>
            <a:gdLst/>
            <a:ahLst/>
            <a:cxnLst/>
            <a:rect l="l" t="t" r="r" b="b"/>
            <a:pathLst>
              <a:path w="13970" h="6350">
                <a:moveTo>
                  <a:pt x="0" y="0"/>
                </a:moveTo>
                <a:lnTo>
                  <a:pt x="10299" y="0"/>
                </a:lnTo>
                <a:lnTo>
                  <a:pt x="13716" y="6096"/>
                </a:lnTo>
                <a:lnTo>
                  <a:pt x="3416" y="6096"/>
                </a:lnTo>
                <a:lnTo>
                  <a:pt x="0"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368" name="object 100"/>
          <p:cNvSpPr/>
          <p:nvPr/>
        </p:nvSpPr>
        <p:spPr>
          <a:xfrm>
            <a:off x="6400706" y="4017622"/>
            <a:ext cx="1801341" cy="0"/>
          </a:xfrm>
          <a:custGeom>
            <a:avLst/>
            <a:gdLst/>
            <a:ahLst/>
            <a:cxnLst/>
            <a:rect l="l" t="t" r="r" b="b"/>
            <a:pathLst>
              <a:path w="1874520">
                <a:moveTo>
                  <a:pt x="0" y="0"/>
                </a:moveTo>
                <a:lnTo>
                  <a:pt x="1874519" y="0"/>
                </a:lnTo>
              </a:path>
            </a:pathLst>
          </a:custGeom>
          <a:ln w="6095">
            <a:solidFill>
              <a:srgbClr val="F2F2F2"/>
            </a:solidFill>
          </a:ln>
        </p:spPr>
        <p:txBody>
          <a:bodyPr wrap="square" lIns="0" tIns="0" rIns="0" bIns="0" rtlCol="0"/>
          <a:lstStyle/>
          <a:p>
            <a:endParaRPr>
              <a:solidFill>
                <a:prstClr val="black"/>
              </a:solidFill>
              <a:latin typeface="+mj-lt"/>
            </a:endParaRPr>
          </a:p>
        </p:txBody>
      </p:sp>
      <p:sp>
        <p:nvSpPr>
          <p:cNvPr id="369" name="object 101"/>
          <p:cNvSpPr/>
          <p:nvPr/>
        </p:nvSpPr>
        <p:spPr>
          <a:xfrm>
            <a:off x="6400706" y="4014693"/>
            <a:ext cx="1801341" cy="6102"/>
          </a:xfrm>
          <a:custGeom>
            <a:avLst/>
            <a:gdLst/>
            <a:ahLst/>
            <a:cxnLst/>
            <a:rect l="l" t="t" r="r" b="b"/>
            <a:pathLst>
              <a:path w="1874520" h="6350">
                <a:moveTo>
                  <a:pt x="0" y="3048"/>
                </a:moveTo>
                <a:lnTo>
                  <a:pt x="1874519" y="3048"/>
                </a:lnTo>
              </a:path>
            </a:pathLst>
          </a:custGeom>
          <a:ln w="6095">
            <a:solidFill>
              <a:srgbClr val="FFFFFF"/>
            </a:solidFill>
          </a:ln>
        </p:spPr>
        <p:txBody>
          <a:bodyPr wrap="square" lIns="0" tIns="0" rIns="0" bIns="0" rtlCol="0"/>
          <a:lstStyle/>
          <a:p>
            <a:endParaRPr>
              <a:solidFill>
                <a:prstClr val="black"/>
              </a:solidFill>
              <a:latin typeface="+mj-lt"/>
            </a:endParaRPr>
          </a:p>
        </p:txBody>
      </p:sp>
      <p:sp>
        <p:nvSpPr>
          <p:cNvPr id="370" name="object 114"/>
          <p:cNvSpPr/>
          <p:nvPr/>
        </p:nvSpPr>
        <p:spPr>
          <a:xfrm>
            <a:off x="6388259" y="4115744"/>
            <a:ext cx="1831" cy="0"/>
          </a:xfrm>
          <a:custGeom>
            <a:avLst/>
            <a:gdLst/>
            <a:ahLst/>
            <a:cxnLst/>
            <a:rect l="l" t="t" r="r" b="b"/>
            <a:pathLst>
              <a:path w="1904">
                <a:moveTo>
                  <a:pt x="0" y="0"/>
                </a:moveTo>
                <a:lnTo>
                  <a:pt x="1524" y="0"/>
                </a:lnTo>
              </a:path>
            </a:pathLst>
          </a:custGeom>
          <a:ln w="3175">
            <a:solidFill>
              <a:srgbClr val="F2F2F2"/>
            </a:solidFill>
          </a:ln>
        </p:spPr>
        <p:txBody>
          <a:bodyPr wrap="square" lIns="0" tIns="0" rIns="0" bIns="0" rtlCol="0"/>
          <a:lstStyle/>
          <a:p>
            <a:endParaRPr>
              <a:solidFill>
                <a:prstClr val="black"/>
              </a:solidFill>
              <a:latin typeface="+mj-lt"/>
            </a:endParaRPr>
          </a:p>
        </p:txBody>
      </p:sp>
      <p:sp>
        <p:nvSpPr>
          <p:cNvPr id="371" name="object 115"/>
          <p:cNvSpPr/>
          <p:nvPr/>
        </p:nvSpPr>
        <p:spPr>
          <a:xfrm>
            <a:off x="6380569" y="4115744"/>
            <a:ext cx="17086" cy="0"/>
          </a:xfrm>
          <a:custGeom>
            <a:avLst/>
            <a:gdLst/>
            <a:ahLst/>
            <a:cxnLst/>
            <a:rect l="l" t="t" r="r" b="b"/>
            <a:pathLst>
              <a:path w="17779">
                <a:moveTo>
                  <a:pt x="0" y="0"/>
                </a:moveTo>
                <a:lnTo>
                  <a:pt x="17525" y="0"/>
                </a:lnTo>
              </a:path>
            </a:pathLst>
          </a:custGeom>
          <a:ln w="17525">
            <a:solidFill>
              <a:srgbClr val="FFFFFF"/>
            </a:solidFill>
          </a:ln>
        </p:spPr>
        <p:txBody>
          <a:bodyPr wrap="square" lIns="0" tIns="0" rIns="0" bIns="0" rtlCol="0"/>
          <a:lstStyle/>
          <a:p>
            <a:endParaRPr>
              <a:solidFill>
                <a:prstClr val="black"/>
              </a:solidFill>
              <a:latin typeface="+mj-lt"/>
            </a:endParaRPr>
          </a:p>
        </p:txBody>
      </p:sp>
      <p:sp>
        <p:nvSpPr>
          <p:cNvPr id="372" name="object 116"/>
          <p:cNvSpPr/>
          <p:nvPr/>
        </p:nvSpPr>
        <p:spPr>
          <a:xfrm>
            <a:off x="6390455" y="4153089"/>
            <a:ext cx="2441" cy="0"/>
          </a:xfrm>
          <a:custGeom>
            <a:avLst/>
            <a:gdLst/>
            <a:ahLst/>
            <a:cxnLst/>
            <a:rect l="l" t="t" r="r" b="b"/>
            <a:pathLst>
              <a:path w="2539">
                <a:moveTo>
                  <a:pt x="0" y="0"/>
                </a:moveTo>
                <a:lnTo>
                  <a:pt x="2286" y="0"/>
                </a:lnTo>
              </a:path>
            </a:pathLst>
          </a:custGeom>
          <a:ln w="3175">
            <a:solidFill>
              <a:srgbClr val="F2F2F2"/>
            </a:solidFill>
          </a:ln>
        </p:spPr>
        <p:txBody>
          <a:bodyPr wrap="square" lIns="0" tIns="0" rIns="0" bIns="0" rtlCol="0"/>
          <a:lstStyle/>
          <a:p>
            <a:endParaRPr>
              <a:solidFill>
                <a:prstClr val="black"/>
              </a:solidFill>
              <a:latin typeface="+mj-lt"/>
            </a:endParaRPr>
          </a:p>
        </p:txBody>
      </p:sp>
      <p:sp>
        <p:nvSpPr>
          <p:cNvPr id="373" name="object 117"/>
          <p:cNvSpPr/>
          <p:nvPr/>
        </p:nvSpPr>
        <p:spPr>
          <a:xfrm>
            <a:off x="6382766" y="4153089"/>
            <a:ext cx="17696" cy="0"/>
          </a:xfrm>
          <a:custGeom>
            <a:avLst/>
            <a:gdLst/>
            <a:ahLst/>
            <a:cxnLst/>
            <a:rect l="l" t="t" r="r" b="b"/>
            <a:pathLst>
              <a:path w="18414">
                <a:moveTo>
                  <a:pt x="0" y="0"/>
                </a:moveTo>
                <a:lnTo>
                  <a:pt x="18287" y="0"/>
                </a:lnTo>
              </a:path>
            </a:pathLst>
          </a:custGeom>
          <a:ln w="17525">
            <a:solidFill>
              <a:srgbClr val="FFFFFF"/>
            </a:solidFill>
          </a:ln>
        </p:spPr>
        <p:txBody>
          <a:bodyPr wrap="square" lIns="0" tIns="0" rIns="0" bIns="0" rtlCol="0"/>
          <a:lstStyle/>
          <a:p>
            <a:endParaRPr>
              <a:solidFill>
                <a:prstClr val="black"/>
              </a:solidFill>
              <a:latin typeface="+mj-lt"/>
            </a:endParaRPr>
          </a:p>
        </p:txBody>
      </p:sp>
      <p:sp>
        <p:nvSpPr>
          <p:cNvPr id="374" name="object 128"/>
          <p:cNvSpPr/>
          <p:nvPr/>
        </p:nvSpPr>
        <p:spPr>
          <a:xfrm>
            <a:off x="3889813" y="4007371"/>
            <a:ext cx="4903041" cy="0"/>
          </a:xfrm>
          <a:custGeom>
            <a:avLst/>
            <a:gdLst/>
            <a:ahLst/>
            <a:cxnLst/>
            <a:rect l="l" t="t" r="r" b="b"/>
            <a:pathLst>
              <a:path w="5102225">
                <a:moveTo>
                  <a:pt x="0" y="0"/>
                </a:moveTo>
                <a:lnTo>
                  <a:pt x="5101945" y="0"/>
                </a:lnTo>
              </a:path>
            </a:pathLst>
          </a:custGeom>
          <a:ln w="9906">
            <a:solidFill>
              <a:srgbClr val="0097A9"/>
            </a:solidFill>
            <a:prstDash val="dash"/>
          </a:ln>
        </p:spPr>
        <p:txBody>
          <a:bodyPr wrap="square" lIns="0" tIns="0" rIns="0" bIns="0" rtlCol="0"/>
          <a:lstStyle/>
          <a:p>
            <a:endParaRPr>
              <a:solidFill>
                <a:prstClr val="black"/>
              </a:solidFill>
              <a:latin typeface="+mj-lt"/>
            </a:endParaRPr>
          </a:p>
        </p:txBody>
      </p:sp>
      <p:sp>
        <p:nvSpPr>
          <p:cNvPr id="375" name="object 131"/>
          <p:cNvSpPr/>
          <p:nvPr/>
        </p:nvSpPr>
        <p:spPr>
          <a:xfrm>
            <a:off x="6983580" y="4008835"/>
            <a:ext cx="579090" cy="1039799"/>
          </a:xfrm>
          <a:custGeom>
            <a:avLst/>
            <a:gdLst/>
            <a:ahLst/>
            <a:cxnLst/>
            <a:rect l="l" t="t" r="r" b="b"/>
            <a:pathLst>
              <a:path w="602614" h="1082039">
                <a:moveTo>
                  <a:pt x="602361" y="0"/>
                </a:moveTo>
                <a:lnTo>
                  <a:pt x="0" y="1082001"/>
                </a:lnTo>
              </a:path>
            </a:pathLst>
          </a:custGeom>
          <a:ln w="9906">
            <a:solidFill>
              <a:srgbClr val="0097A9"/>
            </a:solidFill>
            <a:prstDash val="dash"/>
          </a:ln>
        </p:spPr>
        <p:txBody>
          <a:bodyPr wrap="square" lIns="0" tIns="0" rIns="0" bIns="0" rtlCol="0"/>
          <a:lstStyle/>
          <a:p>
            <a:endParaRPr>
              <a:solidFill>
                <a:prstClr val="black"/>
              </a:solidFill>
              <a:latin typeface="+mj-lt"/>
            </a:endParaRPr>
          </a:p>
        </p:txBody>
      </p:sp>
      <p:sp>
        <p:nvSpPr>
          <p:cNvPr id="376" name="object 132"/>
          <p:cNvSpPr/>
          <p:nvPr/>
        </p:nvSpPr>
        <p:spPr>
          <a:xfrm>
            <a:off x="6986508" y="2996130"/>
            <a:ext cx="591904" cy="1011119"/>
          </a:xfrm>
          <a:custGeom>
            <a:avLst/>
            <a:gdLst/>
            <a:ahLst/>
            <a:cxnLst/>
            <a:rect l="l" t="t" r="r" b="b"/>
            <a:pathLst>
              <a:path w="615950" h="1052195">
                <a:moveTo>
                  <a:pt x="0" y="0"/>
                </a:moveTo>
                <a:lnTo>
                  <a:pt x="615823" y="1051674"/>
                </a:lnTo>
              </a:path>
            </a:pathLst>
          </a:custGeom>
          <a:ln w="9906">
            <a:solidFill>
              <a:srgbClr val="0097A9"/>
            </a:solidFill>
            <a:prstDash val="dash"/>
          </a:ln>
        </p:spPr>
        <p:txBody>
          <a:bodyPr wrap="square" lIns="0" tIns="0" rIns="0" bIns="0" rtlCol="0"/>
          <a:lstStyle/>
          <a:p>
            <a:endParaRPr>
              <a:solidFill>
                <a:prstClr val="black"/>
              </a:solidFill>
              <a:latin typeface="+mj-lt"/>
            </a:endParaRPr>
          </a:p>
        </p:txBody>
      </p:sp>
      <p:sp>
        <p:nvSpPr>
          <p:cNvPr id="377" name="object 133"/>
          <p:cNvSpPr/>
          <p:nvPr/>
        </p:nvSpPr>
        <p:spPr>
          <a:xfrm>
            <a:off x="5800992" y="2961713"/>
            <a:ext cx="1158790" cy="0"/>
          </a:xfrm>
          <a:custGeom>
            <a:avLst/>
            <a:gdLst/>
            <a:ahLst/>
            <a:cxnLst/>
            <a:rect l="l" t="t" r="r" b="b"/>
            <a:pathLst>
              <a:path w="1205864">
                <a:moveTo>
                  <a:pt x="0" y="0"/>
                </a:moveTo>
                <a:lnTo>
                  <a:pt x="1205445" y="0"/>
                </a:lnTo>
              </a:path>
            </a:pathLst>
          </a:custGeom>
          <a:ln w="9906">
            <a:solidFill>
              <a:srgbClr val="0097A9"/>
            </a:solidFill>
            <a:prstDash val="dash"/>
          </a:ln>
        </p:spPr>
        <p:txBody>
          <a:bodyPr wrap="square" lIns="0" tIns="0" rIns="0" bIns="0" rtlCol="0"/>
          <a:lstStyle/>
          <a:p>
            <a:endParaRPr>
              <a:solidFill>
                <a:prstClr val="black"/>
              </a:solidFill>
              <a:latin typeface="+mj-lt"/>
            </a:endParaRPr>
          </a:p>
        </p:txBody>
      </p:sp>
      <p:sp>
        <p:nvSpPr>
          <p:cNvPr id="378" name="object 129"/>
          <p:cNvSpPr/>
          <p:nvPr/>
        </p:nvSpPr>
        <p:spPr>
          <a:xfrm>
            <a:off x="5199812" y="2970500"/>
            <a:ext cx="574208" cy="1015390"/>
          </a:xfrm>
          <a:custGeom>
            <a:avLst/>
            <a:gdLst/>
            <a:ahLst/>
            <a:cxnLst/>
            <a:rect l="l" t="t" r="r" b="b"/>
            <a:pathLst>
              <a:path w="597535" h="1056639">
                <a:moveTo>
                  <a:pt x="597230" y="0"/>
                </a:moveTo>
                <a:lnTo>
                  <a:pt x="0" y="1056538"/>
                </a:lnTo>
              </a:path>
            </a:pathLst>
          </a:custGeom>
          <a:ln w="9906">
            <a:solidFill>
              <a:srgbClr val="0097A9"/>
            </a:solidFill>
            <a:prstDash val="dash"/>
          </a:ln>
        </p:spPr>
        <p:txBody>
          <a:bodyPr wrap="square" lIns="0" tIns="0" rIns="0" bIns="0" rtlCol="0"/>
          <a:lstStyle/>
          <a:p>
            <a:endParaRPr>
              <a:solidFill>
                <a:prstClr val="black"/>
              </a:solidFill>
              <a:latin typeface="+mj-lt"/>
            </a:endParaRPr>
          </a:p>
        </p:txBody>
      </p:sp>
      <p:sp>
        <p:nvSpPr>
          <p:cNvPr id="381" name="object 167"/>
          <p:cNvSpPr/>
          <p:nvPr/>
        </p:nvSpPr>
        <p:spPr>
          <a:xfrm>
            <a:off x="2487451" y="5845356"/>
            <a:ext cx="192315" cy="218363"/>
          </a:xfrm>
          <a:custGeom>
            <a:avLst/>
            <a:gdLst/>
            <a:ahLst/>
            <a:cxnLst/>
            <a:rect l="l" t="t" r="r" b="b"/>
            <a:pathLst>
              <a:path w="220344" h="250189">
                <a:moveTo>
                  <a:pt x="187312" y="227329"/>
                </a:moveTo>
                <a:lnTo>
                  <a:pt x="32905" y="227329"/>
                </a:lnTo>
                <a:lnTo>
                  <a:pt x="32905" y="238759"/>
                </a:lnTo>
                <a:lnTo>
                  <a:pt x="33337" y="243839"/>
                </a:lnTo>
                <a:lnTo>
                  <a:pt x="35534" y="247649"/>
                </a:lnTo>
                <a:lnTo>
                  <a:pt x="38607" y="250189"/>
                </a:lnTo>
                <a:lnTo>
                  <a:pt x="180733" y="250189"/>
                </a:lnTo>
                <a:lnTo>
                  <a:pt x="183807" y="247649"/>
                </a:lnTo>
                <a:lnTo>
                  <a:pt x="186004" y="243839"/>
                </a:lnTo>
                <a:lnTo>
                  <a:pt x="187312" y="238759"/>
                </a:lnTo>
                <a:lnTo>
                  <a:pt x="187312" y="227329"/>
                </a:lnTo>
                <a:close/>
              </a:path>
              <a:path w="220344" h="250189">
                <a:moveTo>
                  <a:pt x="203111" y="106679"/>
                </a:moveTo>
                <a:lnTo>
                  <a:pt x="16230" y="106679"/>
                </a:lnTo>
                <a:lnTo>
                  <a:pt x="9207" y="109219"/>
                </a:lnTo>
                <a:lnTo>
                  <a:pt x="6146" y="113029"/>
                </a:lnTo>
                <a:lnTo>
                  <a:pt x="3949" y="115569"/>
                </a:lnTo>
                <a:lnTo>
                  <a:pt x="1752" y="119379"/>
                </a:lnTo>
                <a:lnTo>
                  <a:pt x="0" y="123189"/>
                </a:lnTo>
                <a:lnTo>
                  <a:pt x="0" y="209549"/>
                </a:lnTo>
                <a:lnTo>
                  <a:pt x="1752" y="213359"/>
                </a:lnTo>
                <a:lnTo>
                  <a:pt x="3949" y="217169"/>
                </a:lnTo>
                <a:lnTo>
                  <a:pt x="6146" y="219709"/>
                </a:lnTo>
                <a:lnTo>
                  <a:pt x="9207" y="223519"/>
                </a:lnTo>
                <a:lnTo>
                  <a:pt x="16230" y="226059"/>
                </a:lnTo>
                <a:lnTo>
                  <a:pt x="21056" y="227329"/>
                </a:lnTo>
                <a:lnTo>
                  <a:pt x="198729" y="227329"/>
                </a:lnTo>
                <a:lnTo>
                  <a:pt x="203111" y="226059"/>
                </a:lnTo>
                <a:lnTo>
                  <a:pt x="206616" y="224789"/>
                </a:lnTo>
                <a:lnTo>
                  <a:pt x="210565" y="223519"/>
                </a:lnTo>
                <a:lnTo>
                  <a:pt x="216268" y="217169"/>
                </a:lnTo>
                <a:lnTo>
                  <a:pt x="216852" y="215899"/>
                </a:lnTo>
                <a:lnTo>
                  <a:pt x="83794" y="215899"/>
                </a:lnTo>
                <a:lnTo>
                  <a:pt x="79400" y="214629"/>
                </a:lnTo>
                <a:lnTo>
                  <a:pt x="75895" y="212089"/>
                </a:lnTo>
                <a:lnTo>
                  <a:pt x="71945" y="209549"/>
                </a:lnTo>
                <a:lnTo>
                  <a:pt x="67563" y="201929"/>
                </a:lnTo>
                <a:lnTo>
                  <a:pt x="66243" y="198119"/>
                </a:lnTo>
                <a:lnTo>
                  <a:pt x="65366" y="193039"/>
                </a:lnTo>
                <a:lnTo>
                  <a:pt x="220217" y="193039"/>
                </a:lnTo>
                <a:lnTo>
                  <a:pt x="220217" y="170179"/>
                </a:lnTo>
                <a:lnTo>
                  <a:pt x="54838" y="170179"/>
                </a:lnTo>
                <a:lnTo>
                  <a:pt x="46062" y="167639"/>
                </a:lnTo>
                <a:lnTo>
                  <a:pt x="42557" y="165099"/>
                </a:lnTo>
                <a:lnTo>
                  <a:pt x="38607" y="162559"/>
                </a:lnTo>
                <a:lnTo>
                  <a:pt x="36410" y="160019"/>
                </a:lnTo>
                <a:lnTo>
                  <a:pt x="34213" y="156209"/>
                </a:lnTo>
                <a:lnTo>
                  <a:pt x="32905" y="151129"/>
                </a:lnTo>
                <a:lnTo>
                  <a:pt x="32905" y="142239"/>
                </a:lnTo>
                <a:lnTo>
                  <a:pt x="54838" y="124459"/>
                </a:lnTo>
                <a:lnTo>
                  <a:pt x="219560" y="124459"/>
                </a:lnTo>
                <a:lnTo>
                  <a:pt x="219341" y="123189"/>
                </a:lnTo>
                <a:lnTo>
                  <a:pt x="218020" y="119379"/>
                </a:lnTo>
                <a:lnTo>
                  <a:pt x="216268" y="115569"/>
                </a:lnTo>
                <a:lnTo>
                  <a:pt x="213639" y="113029"/>
                </a:lnTo>
                <a:lnTo>
                  <a:pt x="210565" y="109219"/>
                </a:lnTo>
                <a:lnTo>
                  <a:pt x="206616" y="107949"/>
                </a:lnTo>
                <a:lnTo>
                  <a:pt x="203111" y="106679"/>
                </a:lnTo>
                <a:close/>
              </a:path>
              <a:path w="220344" h="250189">
                <a:moveTo>
                  <a:pt x="220217" y="193039"/>
                </a:moveTo>
                <a:lnTo>
                  <a:pt x="154419" y="193039"/>
                </a:lnTo>
                <a:lnTo>
                  <a:pt x="153542" y="198119"/>
                </a:lnTo>
                <a:lnTo>
                  <a:pt x="151790" y="201929"/>
                </a:lnTo>
                <a:lnTo>
                  <a:pt x="136436" y="215899"/>
                </a:lnTo>
                <a:lnTo>
                  <a:pt x="216852" y="215899"/>
                </a:lnTo>
                <a:lnTo>
                  <a:pt x="218020" y="213359"/>
                </a:lnTo>
                <a:lnTo>
                  <a:pt x="219341" y="209549"/>
                </a:lnTo>
                <a:lnTo>
                  <a:pt x="220217" y="205739"/>
                </a:lnTo>
                <a:lnTo>
                  <a:pt x="220217" y="193039"/>
                </a:lnTo>
                <a:close/>
              </a:path>
              <a:path w="220344" h="250189">
                <a:moveTo>
                  <a:pt x="165379" y="124459"/>
                </a:moveTo>
                <a:lnTo>
                  <a:pt x="54838" y="124459"/>
                </a:lnTo>
                <a:lnTo>
                  <a:pt x="59220" y="125729"/>
                </a:lnTo>
                <a:lnTo>
                  <a:pt x="63169" y="126999"/>
                </a:lnTo>
                <a:lnTo>
                  <a:pt x="66674" y="128269"/>
                </a:lnTo>
                <a:lnTo>
                  <a:pt x="70624" y="130809"/>
                </a:lnTo>
                <a:lnTo>
                  <a:pt x="75018" y="138429"/>
                </a:lnTo>
                <a:lnTo>
                  <a:pt x="76326" y="142239"/>
                </a:lnTo>
                <a:lnTo>
                  <a:pt x="76326" y="151129"/>
                </a:lnTo>
                <a:lnTo>
                  <a:pt x="75018" y="156209"/>
                </a:lnTo>
                <a:lnTo>
                  <a:pt x="72821" y="160019"/>
                </a:lnTo>
                <a:lnTo>
                  <a:pt x="70624" y="162559"/>
                </a:lnTo>
                <a:lnTo>
                  <a:pt x="66674" y="165099"/>
                </a:lnTo>
                <a:lnTo>
                  <a:pt x="63169" y="167639"/>
                </a:lnTo>
                <a:lnTo>
                  <a:pt x="59220" y="168909"/>
                </a:lnTo>
                <a:lnTo>
                  <a:pt x="54838" y="170179"/>
                </a:lnTo>
                <a:lnTo>
                  <a:pt x="165379" y="170179"/>
                </a:lnTo>
                <a:lnTo>
                  <a:pt x="143014" y="151129"/>
                </a:lnTo>
                <a:lnTo>
                  <a:pt x="143014" y="142239"/>
                </a:lnTo>
                <a:lnTo>
                  <a:pt x="144767" y="138429"/>
                </a:lnTo>
                <a:lnTo>
                  <a:pt x="149148" y="130809"/>
                </a:lnTo>
                <a:lnTo>
                  <a:pt x="152666" y="128269"/>
                </a:lnTo>
                <a:lnTo>
                  <a:pt x="156616" y="126999"/>
                </a:lnTo>
                <a:lnTo>
                  <a:pt x="165379" y="124459"/>
                </a:lnTo>
                <a:close/>
              </a:path>
              <a:path w="220344" h="250189">
                <a:moveTo>
                  <a:pt x="219560" y="124459"/>
                </a:moveTo>
                <a:lnTo>
                  <a:pt x="165379" y="124459"/>
                </a:lnTo>
                <a:lnTo>
                  <a:pt x="169773" y="125729"/>
                </a:lnTo>
                <a:lnTo>
                  <a:pt x="173278" y="126999"/>
                </a:lnTo>
                <a:lnTo>
                  <a:pt x="177228" y="128269"/>
                </a:lnTo>
                <a:lnTo>
                  <a:pt x="180733" y="130809"/>
                </a:lnTo>
                <a:lnTo>
                  <a:pt x="185127" y="138429"/>
                </a:lnTo>
                <a:lnTo>
                  <a:pt x="186880" y="142239"/>
                </a:lnTo>
                <a:lnTo>
                  <a:pt x="186880" y="151129"/>
                </a:lnTo>
                <a:lnTo>
                  <a:pt x="165379" y="170179"/>
                </a:lnTo>
                <a:lnTo>
                  <a:pt x="220217" y="170179"/>
                </a:lnTo>
                <a:lnTo>
                  <a:pt x="220217" y="128269"/>
                </a:lnTo>
                <a:lnTo>
                  <a:pt x="219560" y="124459"/>
                </a:lnTo>
                <a:close/>
              </a:path>
              <a:path w="220344" h="250189">
                <a:moveTo>
                  <a:pt x="50767" y="67309"/>
                </a:moveTo>
                <a:lnTo>
                  <a:pt x="28955" y="67309"/>
                </a:lnTo>
                <a:lnTo>
                  <a:pt x="46062" y="83819"/>
                </a:lnTo>
                <a:lnTo>
                  <a:pt x="44742" y="88899"/>
                </a:lnTo>
                <a:lnTo>
                  <a:pt x="43865" y="93979"/>
                </a:lnTo>
                <a:lnTo>
                  <a:pt x="43865" y="106679"/>
                </a:lnTo>
                <a:lnTo>
                  <a:pt x="175475" y="106679"/>
                </a:lnTo>
                <a:lnTo>
                  <a:pt x="175475" y="93979"/>
                </a:lnTo>
                <a:lnTo>
                  <a:pt x="175031" y="88899"/>
                </a:lnTo>
                <a:lnTo>
                  <a:pt x="173278" y="83819"/>
                </a:lnTo>
                <a:lnTo>
                  <a:pt x="183806" y="73659"/>
                </a:lnTo>
                <a:lnTo>
                  <a:pt x="57035" y="73659"/>
                </a:lnTo>
                <a:lnTo>
                  <a:pt x="50767" y="67309"/>
                </a:lnTo>
                <a:close/>
              </a:path>
              <a:path w="220344" h="250189">
                <a:moveTo>
                  <a:pt x="154851" y="72389"/>
                </a:moveTo>
                <a:lnTo>
                  <a:pt x="65366" y="72389"/>
                </a:lnTo>
                <a:lnTo>
                  <a:pt x="60972" y="73659"/>
                </a:lnTo>
                <a:lnTo>
                  <a:pt x="158800" y="73659"/>
                </a:lnTo>
                <a:lnTo>
                  <a:pt x="154851" y="72389"/>
                </a:lnTo>
                <a:close/>
              </a:path>
              <a:path w="220344" h="250189">
                <a:moveTo>
                  <a:pt x="201790" y="29209"/>
                </a:moveTo>
                <a:lnTo>
                  <a:pt x="194335" y="29209"/>
                </a:lnTo>
                <a:lnTo>
                  <a:pt x="190385" y="30479"/>
                </a:lnTo>
                <a:lnTo>
                  <a:pt x="186880" y="31749"/>
                </a:lnTo>
                <a:lnTo>
                  <a:pt x="183807" y="34289"/>
                </a:lnTo>
                <a:lnTo>
                  <a:pt x="182486" y="36829"/>
                </a:lnTo>
                <a:lnTo>
                  <a:pt x="180301" y="39369"/>
                </a:lnTo>
                <a:lnTo>
                  <a:pt x="178549" y="45719"/>
                </a:lnTo>
                <a:lnTo>
                  <a:pt x="178549" y="50799"/>
                </a:lnTo>
                <a:lnTo>
                  <a:pt x="179425" y="55879"/>
                </a:lnTo>
                <a:lnTo>
                  <a:pt x="162318" y="73659"/>
                </a:lnTo>
                <a:lnTo>
                  <a:pt x="183806" y="73659"/>
                </a:lnTo>
                <a:lnTo>
                  <a:pt x="190385" y="67309"/>
                </a:lnTo>
                <a:lnTo>
                  <a:pt x="204203" y="67309"/>
                </a:lnTo>
                <a:lnTo>
                  <a:pt x="217144" y="52069"/>
                </a:lnTo>
                <a:lnTo>
                  <a:pt x="217144" y="45719"/>
                </a:lnTo>
                <a:lnTo>
                  <a:pt x="215836" y="40639"/>
                </a:lnTo>
                <a:lnTo>
                  <a:pt x="211442" y="34289"/>
                </a:lnTo>
                <a:lnTo>
                  <a:pt x="208368" y="31749"/>
                </a:lnTo>
                <a:lnTo>
                  <a:pt x="205308" y="30479"/>
                </a:lnTo>
                <a:lnTo>
                  <a:pt x="201790" y="29209"/>
                </a:lnTo>
                <a:close/>
              </a:path>
              <a:path w="220344" h="250189">
                <a:moveTo>
                  <a:pt x="25450" y="29209"/>
                </a:moveTo>
                <a:lnTo>
                  <a:pt x="17983" y="29209"/>
                </a:lnTo>
                <a:lnTo>
                  <a:pt x="14033" y="30479"/>
                </a:lnTo>
                <a:lnTo>
                  <a:pt x="2197" y="45719"/>
                </a:lnTo>
                <a:lnTo>
                  <a:pt x="2197" y="52069"/>
                </a:lnTo>
                <a:lnTo>
                  <a:pt x="3949" y="55879"/>
                </a:lnTo>
                <a:lnTo>
                  <a:pt x="5270" y="59689"/>
                </a:lnTo>
                <a:lnTo>
                  <a:pt x="7454" y="62229"/>
                </a:lnTo>
                <a:lnTo>
                  <a:pt x="10528" y="64769"/>
                </a:lnTo>
                <a:lnTo>
                  <a:pt x="12725" y="66039"/>
                </a:lnTo>
                <a:lnTo>
                  <a:pt x="17983" y="68579"/>
                </a:lnTo>
                <a:lnTo>
                  <a:pt x="23685" y="68579"/>
                </a:lnTo>
                <a:lnTo>
                  <a:pt x="28955" y="67309"/>
                </a:lnTo>
                <a:lnTo>
                  <a:pt x="50767" y="67309"/>
                </a:lnTo>
                <a:lnTo>
                  <a:pt x="39484" y="55879"/>
                </a:lnTo>
                <a:lnTo>
                  <a:pt x="40792" y="50799"/>
                </a:lnTo>
                <a:lnTo>
                  <a:pt x="40792" y="45719"/>
                </a:lnTo>
                <a:lnTo>
                  <a:pt x="28955" y="30479"/>
                </a:lnTo>
                <a:lnTo>
                  <a:pt x="25450" y="29209"/>
                </a:lnTo>
                <a:close/>
              </a:path>
              <a:path w="220344" h="250189">
                <a:moveTo>
                  <a:pt x="204203" y="67309"/>
                </a:moveTo>
                <a:lnTo>
                  <a:pt x="190385" y="67309"/>
                </a:lnTo>
                <a:lnTo>
                  <a:pt x="195656" y="68579"/>
                </a:lnTo>
                <a:lnTo>
                  <a:pt x="201790" y="68579"/>
                </a:lnTo>
                <a:lnTo>
                  <a:pt x="204203" y="67309"/>
                </a:lnTo>
                <a:close/>
              </a:path>
              <a:path w="220344" h="250189">
                <a:moveTo>
                  <a:pt x="105282" y="11429"/>
                </a:moveTo>
                <a:lnTo>
                  <a:pt x="89928" y="11429"/>
                </a:lnTo>
                <a:lnTo>
                  <a:pt x="92557" y="13969"/>
                </a:lnTo>
                <a:lnTo>
                  <a:pt x="95630" y="16509"/>
                </a:lnTo>
                <a:lnTo>
                  <a:pt x="97828" y="20319"/>
                </a:lnTo>
                <a:lnTo>
                  <a:pt x="106159" y="40639"/>
                </a:lnTo>
                <a:lnTo>
                  <a:pt x="108356" y="43179"/>
                </a:lnTo>
                <a:lnTo>
                  <a:pt x="111429" y="46989"/>
                </a:lnTo>
                <a:lnTo>
                  <a:pt x="118440" y="49529"/>
                </a:lnTo>
                <a:lnTo>
                  <a:pt x="119316" y="49529"/>
                </a:lnTo>
                <a:lnTo>
                  <a:pt x="123266" y="48259"/>
                </a:lnTo>
                <a:lnTo>
                  <a:pt x="125907" y="46989"/>
                </a:lnTo>
                <a:lnTo>
                  <a:pt x="128968" y="45719"/>
                </a:lnTo>
                <a:lnTo>
                  <a:pt x="131165" y="40639"/>
                </a:lnTo>
                <a:lnTo>
                  <a:pt x="132680" y="38099"/>
                </a:lnTo>
                <a:lnTo>
                  <a:pt x="117132" y="38099"/>
                </a:lnTo>
                <a:lnTo>
                  <a:pt x="114934" y="35559"/>
                </a:lnTo>
                <a:lnTo>
                  <a:pt x="106603" y="16509"/>
                </a:lnTo>
                <a:lnTo>
                  <a:pt x="105282" y="11429"/>
                </a:lnTo>
                <a:close/>
              </a:path>
              <a:path w="220344" h="250189">
                <a:moveTo>
                  <a:pt x="92125" y="1269"/>
                </a:moveTo>
                <a:lnTo>
                  <a:pt x="78524" y="1269"/>
                </a:lnTo>
                <a:lnTo>
                  <a:pt x="75895" y="2539"/>
                </a:lnTo>
                <a:lnTo>
                  <a:pt x="72821" y="3809"/>
                </a:lnTo>
                <a:lnTo>
                  <a:pt x="66243" y="11429"/>
                </a:lnTo>
                <a:lnTo>
                  <a:pt x="64046" y="15239"/>
                </a:lnTo>
                <a:lnTo>
                  <a:pt x="54394" y="36829"/>
                </a:lnTo>
                <a:lnTo>
                  <a:pt x="53517" y="39369"/>
                </a:lnTo>
                <a:lnTo>
                  <a:pt x="54394" y="40639"/>
                </a:lnTo>
                <a:lnTo>
                  <a:pt x="54838" y="43179"/>
                </a:lnTo>
                <a:lnTo>
                  <a:pt x="56591" y="45719"/>
                </a:lnTo>
                <a:lnTo>
                  <a:pt x="60096" y="45719"/>
                </a:lnTo>
                <a:lnTo>
                  <a:pt x="61417" y="44449"/>
                </a:lnTo>
                <a:lnTo>
                  <a:pt x="63169" y="41909"/>
                </a:lnTo>
                <a:lnTo>
                  <a:pt x="72821" y="20319"/>
                </a:lnTo>
                <a:lnTo>
                  <a:pt x="75018" y="16509"/>
                </a:lnTo>
                <a:lnTo>
                  <a:pt x="78092" y="13969"/>
                </a:lnTo>
                <a:lnTo>
                  <a:pt x="81597" y="11429"/>
                </a:lnTo>
                <a:lnTo>
                  <a:pt x="105282" y="11429"/>
                </a:lnTo>
                <a:lnTo>
                  <a:pt x="103085" y="8889"/>
                </a:lnTo>
                <a:lnTo>
                  <a:pt x="100901" y="7619"/>
                </a:lnTo>
                <a:lnTo>
                  <a:pt x="97828" y="5079"/>
                </a:lnTo>
                <a:lnTo>
                  <a:pt x="95630" y="3809"/>
                </a:lnTo>
                <a:lnTo>
                  <a:pt x="92125" y="1269"/>
                </a:lnTo>
                <a:close/>
              </a:path>
              <a:path w="220344" h="250189">
                <a:moveTo>
                  <a:pt x="158360" y="25399"/>
                </a:moveTo>
                <a:lnTo>
                  <a:pt x="145199" y="25399"/>
                </a:lnTo>
                <a:lnTo>
                  <a:pt x="146964" y="26669"/>
                </a:lnTo>
                <a:lnTo>
                  <a:pt x="157048" y="43179"/>
                </a:lnTo>
                <a:lnTo>
                  <a:pt x="158800" y="44449"/>
                </a:lnTo>
                <a:lnTo>
                  <a:pt x="160121" y="45719"/>
                </a:lnTo>
                <a:lnTo>
                  <a:pt x="162318" y="45719"/>
                </a:lnTo>
                <a:lnTo>
                  <a:pt x="163626" y="44449"/>
                </a:lnTo>
                <a:lnTo>
                  <a:pt x="165379" y="43179"/>
                </a:lnTo>
                <a:lnTo>
                  <a:pt x="166255" y="40639"/>
                </a:lnTo>
                <a:lnTo>
                  <a:pt x="166255" y="38099"/>
                </a:lnTo>
                <a:lnTo>
                  <a:pt x="165379" y="35559"/>
                </a:lnTo>
                <a:lnTo>
                  <a:pt x="158360" y="25399"/>
                </a:lnTo>
                <a:close/>
              </a:path>
              <a:path w="220344" h="250189">
                <a:moveTo>
                  <a:pt x="146088" y="13969"/>
                </a:moveTo>
                <a:lnTo>
                  <a:pt x="139496" y="13969"/>
                </a:lnTo>
                <a:lnTo>
                  <a:pt x="135559" y="16509"/>
                </a:lnTo>
                <a:lnTo>
                  <a:pt x="133362" y="17779"/>
                </a:lnTo>
                <a:lnTo>
                  <a:pt x="131165" y="21589"/>
                </a:lnTo>
                <a:lnTo>
                  <a:pt x="123266" y="35559"/>
                </a:lnTo>
                <a:lnTo>
                  <a:pt x="122389" y="36829"/>
                </a:lnTo>
                <a:lnTo>
                  <a:pt x="121081" y="38099"/>
                </a:lnTo>
                <a:lnTo>
                  <a:pt x="132680" y="38099"/>
                </a:lnTo>
                <a:lnTo>
                  <a:pt x="139496" y="26669"/>
                </a:lnTo>
                <a:lnTo>
                  <a:pt x="140817" y="25399"/>
                </a:lnTo>
                <a:lnTo>
                  <a:pt x="158360" y="25399"/>
                </a:lnTo>
                <a:lnTo>
                  <a:pt x="154851" y="20319"/>
                </a:lnTo>
                <a:lnTo>
                  <a:pt x="152666" y="17779"/>
                </a:lnTo>
                <a:lnTo>
                  <a:pt x="149593" y="15239"/>
                </a:lnTo>
                <a:lnTo>
                  <a:pt x="146088" y="13969"/>
                </a:lnTo>
                <a:close/>
              </a:path>
              <a:path w="220344" h="250189">
                <a:moveTo>
                  <a:pt x="85547" y="0"/>
                </a:moveTo>
                <a:lnTo>
                  <a:pt x="82473" y="1269"/>
                </a:lnTo>
                <a:lnTo>
                  <a:pt x="89052" y="1269"/>
                </a:lnTo>
                <a:lnTo>
                  <a:pt x="85547" y="0"/>
                </a:lnTo>
                <a:close/>
              </a:path>
            </a:pathLst>
          </a:custGeom>
          <a:solidFill>
            <a:srgbClr val="0097A9"/>
          </a:solidFill>
        </p:spPr>
        <p:txBody>
          <a:bodyPr wrap="square" lIns="0" tIns="0" rIns="0" bIns="0" rtlCol="0"/>
          <a:lstStyle/>
          <a:p>
            <a:endParaRPr>
              <a:solidFill>
                <a:prstClr val="black"/>
              </a:solidFill>
              <a:latin typeface="+mj-lt"/>
            </a:endParaRPr>
          </a:p>
        </p:txBody>
      </p:sp>
      <p:sp>
        <p:nvSpPr>
          <p:cNvPr id="382" name="object 168"/>
          <p:cNvSpPr/>
          <p:nvPr/>
        </p:nvSpPr>
        <p:spPr>
          <a:xfrm>
            <a:off x="436963" y="5865184"/>
            <a:ext cx="235174" cy="171189"/>
          </a:xfrm>
          <a:custGeom>
            <a:avLst/>
            <a:gdLst/>
            <a:ahLst/>
            <a:cxnLst/>
            <a:rect l="l" t="t" r="r" b="b"/>
            <a:pathLst>
              <a:path w="266064" h="193675">
                <a:moveTo>
                  <a:pt x="68237" y="0"/>
                </a:moveTo>
                <a:lnTo>
                  <a:pt x="57238" y="0"/>
                </a:lnTo>
                <a:lnTo>
                  <a:pt x="51955" y="2209"/>
                </a:lnTo>
                <a:lnTo>
                  <a:pt x="35661" y="21564"/>
                </a:lnTo>
                <a:lnTo>
                  <a:pt x="35661" y="32562"/>
                </a:lnTo>
                <a:lnTo>
                  <a:pt x="40068" y="43116"/>
                </a:lnTo>
                <a:lnTo>
                  <a:pt x="44030" y="46634"/>
                </a:lnTo>
                <a:lnTo>
                  <a:pt x="47548" y="50596"/>
                </a:lnTo>
                <a:lnTo>
                  <a:pt x="51955" y="52793"/>
                </a:lnTo>
                <a:lnTo>
                  <a:pt x="57238" y="54114"/>
                </a:lnTo>
                <a:lnTo>
                  <a:pt x="63398" y="54990"/>
                </a:lnTo>
                <a:lnTo>
                  <a:pt x="68237" y="54114"/>
                </a:lnTo>
                <a:lnTo>
                  <a:pt x="73520" y="52793"/>
                </a:lnTo>
                <a:lnTo>
                  <a:pt x="78803" y="50596"/>
                </a:lnTo>
                <a:lnTo>
                  <a:pt x="82334" y="46634"/>
                </a:lnTo>
                <a:lnTo>
                  <a:pt x="86296" y="43116"/>
                </a:lnTo>
                <a:lnTo>
                  <a:pt x="88493" y="37833"/>
                </a:lnTo>
                <a:lnTo>
                  <a:pt x="89814" y="32562"/>
                </a:lnTo>
                <a:lnTo>
                  <a:pt x="90690" y="27279"/>
                </a:lnTo>
                <a:lnTo>
                  <a:pt x="89814" y="21564"/>
                </a:lnTo>
                <a:lnTo>
                  <a:pt x="88493" y="16281"/>
                </a:lnTo>
                <a:lnTo>
                  <a:pt x="86296" y="11887"/>
                </a:lnTo>
                <a:lnTo>
                  <a:pt x="82334" y="7480"/>
                </a:lnTo>
                <a:lnTo>
                  <a:pt x="78803" y="4406"/>
                </a:lnTo>
                <a:lnTo>
                  <a:pt x="68237" y="0"/>
                </a:lnTo>
                <a:close/>
              </a:path>
              <a:path w="266064" h="193675">
                <a:moveTo>
                  <a:pt x="208254" y="0"/>
                </a:moveTo>
                <a:lnTo>
                  <a:pt x="196811" y="0"/>
                </a:lnTo>
                <a:lnTo>
                  <a:pt x="187121" y="4406"/>
                </a:lnTo>
                <a:lnTo>
                  <a:pt x="183603" y="7480"/>
                </a:lnTo>
                <a:lnTo>
                  <a:pt x="180073" y="11887"/>
                </a:lnTo>
                <a:lnTo>
                  <a:pt x="177431" y="16281"/>
                </a:lnTo>
                <a:lnTo>
                  <a:pt x="175234" y="21564"/>
                </a:lnTo>
                <a:lnTo>
                  <a:pt x="175234" y="32562"/>
                </a:lnTo>
                <a:lnTo>
                  <a:pt x="177431" y="37833"/>
                </a:lnTo>
                <a:lnTo>
                  <a:pt x="180073" y="43116"/>
                </a:lnTo>
                <a:lnTo>
                  <a:pt x="183603" y="46634"/>
                </a:lnTo>
                <a:lnTo>
                  <a:pt x="187121" y="50596"/>
                </a:lnTo>
                <a:lnTo>
                  <a:pt x="191960" y="52793"/>
                </a:lnTo>
                <a:lnTo>
                  <a:pt x="196811" y="54114"/>
                </a:lnTo>
                <a:lnTo>
                  <a:pt x="202971" y="54990"/>
                </a:lnTo>
                <a:lnTo>
                  <a:pt x="208254" y="54114"/>
                </a:lnTo>
                <a:lnTo>
                  <a:pt x="230276" y="27279"/>
                </a:lnTo>
                <a:lnTo>
                  <a:pt x="229831" y="21564"/>
                </a:lnTo>
                <a:lnTo>
                  <a:pt x="213537" y="2209"/>
                </a:lnTo>
                <a:lnTo>
                  <a:pt x="208254" y="0"/>
                </a:lnTo>
                <a:close/>
              </a:path>
              <a:path w="266064" h="193675">
                <a:moveTo>
                  <a:pt x="93776" y="60705"/>
                </a:moveTo>
                <a:lnTo>
                  <a:pt x="32143" y="60705"/>
                </a:lnTo>
                <a:lnTo>
                  <a:pt x="25095" y="61594"/>
                </a:lnTo>
                <a:lnTo>
                  <a:pt x="52" y="95897"/>
                </a:lnTo>
                <a:lnTo>
                  <a:pt x="0" y="183870"/>
                </a:lnTo>
                <a:lnTo>
                  <a:pt x="876" y="186512"/>
                </a:lnTo>
                <a:lnTo>
                  <a:pt x="3517" y="190919"/>
                </a:lnTo>
                <a:lnTo>
                  <a:pt x="6604" y="193116"/>
                </a:lnTo>
                <a:lnTo>
                  <a:pt x="10998" y="193547"/>
                </a:lnTo>
                <a:lnTo>
                  <a:pt x="14960" y="193116"/>
                </a:lnTo>
                <a:lnTo>
                  <a:pt x="18491" y="190919"/>
                </a:lnTo>
                <a:lnTo>
                  <a:pt x="20243" y="188709"/>
                </a:lnTo>
                <a:lnTo>
                  <a:pt x="20688" y="186512"/>
                </a:lnTo>
                <a:lnTo>
                  <a:pt x="21564" y="183870"/>
                </a:lnTo>
                <a:lnTo>
                  <a:pt x="21564" y="98539"/>
                </a:lnTo>
                <a:lnTo>
                  <a:pt x="44855" y="98539"/>
                </a:lnTo>
                <a:lnTo>
                  <a:pt x="45351" y="97218"/>
                </a:lnTo>
                <a:lnTo>
                  <a:pt x="59436" y="86220"/>
                </a:lnTo>
                <a:lnTo>
                  <a:pt x="63398" y="85343"/>
                </a:lnTo>
                <a:lnTo>
                  <a:pt x="124460" y="85343"/>
                </a:lnTo>
                <a:lnTo>
                  <a:pt x="124155" y="84023"/>
                </a:lnTo>
                <a:lnTo>
                  <a:pt x="101269" y="61594"/>
                </a:lnTo>
                <a:lnTo>
                  <a:pt x="93776" y="60705"/>
                </a:lnTo>
                <a:close/>
              </a:path>
              <a:path w="266064" h="193675">
                <a:moveTo>
                  <a:pt x="126365" y="110413"/>
                </a:moveTo>
                <a:lnTo>
                  <a:pt x="104787" y="110413"/>
                </a:lnTo>
                <a:lnTo>
                  <a:pt x="104787" y="183870"/>
                </a:lnTo>
                <a:lnTo>
                  <a:pt x="105664" y="186512"/>
                </a:lnTo>
                <a:lnTo>
                  <a:pt x="107873" y="190030"/>
                </a:lnTo>
                <a:lnTo>
                  <a:pt x="110947" y="192239"/>
                </a:lnTo>
                <a:lnTo>
                  <a:pt x="113588" y="193547"/>
                </a:lnTo>
                <a:lnTo>
                  <a:pt x="117551" y="193547"/>
                </a:lnTo>
                <a:lnTo>
                  <a:pt x="120192" y="192239"/>
                </a:lnTo>
                <a:lnTo>
                  <a:pt x="123278" y="190030"/>
                </a:lnTo>
                <a:lnTo>
                  <a:pt x="125476" y="186512"/>
                </a:lnTo>
                <a:lnTo>
                  <a:pt x="126365" y="181241"/>
                </a:lnTo>
                <a:lnTo>
                  <a:pt x="126365" y="110413"/>
                </a:lnTo>
                <a:close/>
              </a:path>
              <a:path w="266064" h="193675">
                <a:moveTo>
                  <a:pt x="44855" y="98539"/>
                </a:moveTo>
                <a:lnTo>
                  <a:pt x="29057" y="98539"/>
                </a:lnTo>
                <a:lnTo>
                  <a:pt x="29057" y="179476"/>
                </a:lnTo>
                <a:lnTo>
                  <a:pt x="97307" y="179476"/>
                </a:lnTo>
                <a:lnTo>
                  <a:pt x="97307" y="124053"/>
                </a:lnTo>
                <a:lnTo>
                  <a:pt x="59436" y="124053"/>
                </a:lnTo>
                <a:lnTo>
                  <a:pt x="55918" y="122288"/>
                </a:lnTo>
                <a:lnTo>
                  <a:pt x="44030" y="108216"/>
                </a:lnTo>
                <a:lnTo>
                  <a:pt x="44030" y="100736"/>
                </a:lnTo>
                <a:lnTo>
                  <a:pt x="44855" y="98539"/>
                </a:lnTo>
                <a:close/>
              </a:path>
              <a:path w="266064" h="193675">
                <a:moveTo>
                  <a:pt x="97307" y="110413"/>
                </a:moveTo>
                <a:lnTo>
                  <a:pt x="81889" y="110413"/>
                </a:lnTo>
                <a:lnTo>
                  <a:pt x="80124" y="113499"/>
                </a:lnTo>
                <a:lnTo>
                  <a:pt x="78803" y="116573"/>
                </a:lnTo>
                <a:lnTo>
                  <a:pt x="76606" y="118770"/>
                </a:lnTo>
                <a:lnTo>
                  <a:pt x="74409" y="120091"/>
                </a:lnTo>
                <a:lnTo>
                  <a:pt x="72199" y="121856"/>
                </a:lnTo>
                <a:lnTo>
                  <a:pt x="69126" y="123177"/>
                </a:lnTo>
                <a:lnTo>
                  <a:pt x="66040" y="124053"/>
                </a:lnTo>
                <a:lnTo>
                  <a:pt x="97307" y="124053"/>
                </a:lnTo>
                <a:lnTo>
                  <a:pt x="97307" y="110413"/>
                </a:lnTo>
                <a:close/>
              </a:path>
              <a:path w="266064" h="193675">
                <a:moveTo>
                  <a:pt x="124460" y="85343"/>
                </a:moveTo>
                <a:lnTo>
                  <a:pt x="66040" y="85343"/>
                </a:lnTo>
                <a:lnTo>
                  <a:pt x="69126" y="86220"/>
                </a:lnTo>
                <a:lnTo>
                  <a:pt x="72199" y="87541"/>
                </a:lnTo>
                <a:lnTo>
                  <a:pt x="74409" y="88861"/>
                </a:lnTo>
                <a:lnTo>
                  <a:pt x="76606" y="91058"/>
                </a:lnTo>
                <a:lnTo>
                  <a:pt x="78803" y="93700"/>
                </a:lnTo>
                <a:lnTo>
                  <a:pt x="80124" y="95897"/>
                </a:lnTo>
                <a:lnTo>
                  <a:pt x="81889" y="98539"/>
                </a:lnTo>
                <a:lnTo>
                  <a:pt x="126365" y="98539"/>
                </a:lnTo>
                <a:lnTo>
                  <a:pt x="126260" y="96342"/>
                </a:lnTo>
                <a:lnTo>
                  <a:pt x="125476" y="89738"/>
                </a:lnTo>
                <a:lnTo>
                  <a:pt x="124460" y="85343"/>
                </a:lnTo>
                <a:close/>
              </a:path>
              <a:path w="266064" h="193675">
                <a:moveTo>
                  <a:pt x="161150" y="110413"/>
                </a:moveTo>
                <a:lnTo>
                  <a:pt x="139573" y="110413"/>
                </a:lnTo>
                <a:lnTo>
                  <a:pt x="139573" y="181241"/>
                </a:lnTo>
                <a:lnTo>
                  <a:pt x="140449" y="186512"/>
                </a:lnTo>
                <a:lnTo>
                  <a:pt x="142646" y="190030"/>
                </a:lnTo>
                <a:lnTo>
                  <a:pt x="144856" y="192239"/>
                </a:lnTo>
                <a:lnTo>
                  <a:pt x="148818" y="193547"/>
                </a:lnTo>
                <a:lnTo>
                  <a:pt x="152336" y="193547"/>
                </a:lnTo>
                <a:lnTo>
                  <a:pt x="155422" y="192239"/>
                </a:lnTo>
                <a:lnTo>
                  <a:pt x="158496" y="190030"/>
                </a:lnTo>
                <a:lnTo>
                  <a:pt x="160705" y="186512"/>
                </a:lnTo>
                <a:lnTo>
                  <a:pt x="161150" y="183870"/>
                </a:lnTo>
                <a:lnTo>
                  <a:pt x="161150" y="110413"/>
                </a:lnTo>
                <a:close/>
              </a:path>
              <a:path w="266064" h="193675">
                <a:moveTo>
                  <a:pt x="265938" y="98539"/>
                </a:moveTo>
                <a:lnTo>
                  <a:pt x="243916" y="98539"/>
                </a:lnTo>
                <a:lnTo>
                  <a:pt x="243916" y="181241"/>
                </a:lnTo>
                <a:lnTo>
                  <a:pt x="244360" y="183870"/>
                </a:lnTo>
                <a:lnTo>
                  <a:pt x="244360" y="186512"/>
                </a:lnTo>
                <a:lnTo>
                  <a:pt x="246126" y="188709"/>
                </a:lnTo>
                <a:lnTo>
                  <a:pt x="247446" y="190919"/>
                </a:lnTo>
                <a:lnTo>
                  <a:pt x="250520" y="193116"/>
                </a:lnTo>
                <a:lnTo>
                  <a:pt x="254927" y="193547"/>
                </a:lnTo>
                <a:lnTo>
                  <a:pt x="258889" y="193116"/>
                </a:lnTo>
                <a:lnTo>
                  <a:pt x="262407" y="190919"/>
                </a:lnTo>
                <a:lnTo>
                  <a:pt x="263728" y="188709"/>
                </a:lnTo>
                <a:lnTo>
                  <a:pt x="264617" y="186512"/>
                </a:lnTo>
                <a:lnTo>
                  <a:pt x="265493" y="183870"/>
                </a:lnTo>
                <a:lnTo>
                  <a:pt x="265938" y="181241"/>
                </a:lnTo>
                <a:lnTo>
                  <a:pt x="265938" y="98539"/>
                </a:lnTo>
                <a:close/>
              </a:path>
              <a:path w="266064" h="193675">
                <a:moveTo>
                  <a:pt x="184480" y="110413"/>
                </a:moveTo>
                <a:lnTo>
                  <a:pt x="168186" y="110413"/>
                </a:lnTo>
                <a:lnTo>
                  <a:pt x="168186" y="179476"/>
                </a:lnTo>
                <a:lnTo>
                  <a:pt x="237312" y="179476"/>
                </a:lnTo>
                <a:lnTo>
                  <a:pt x="237312" y="124053"/>
                </a:lnTo>
                <a:lnTo>
                  <a:pt x="199885" y="124053"/>
                </a:lnTo>
                <a:lnTo>
                  <a:pt x="196811" y="123177"/>
                </a:lnTo>
                <a:lnTo>
                  <a:pt x="194170" y="121856"/>
                </a:lnTo>
                <a:lnTo>
                  <a:pt x="191084" y="120091"/>
                </a:lnTo>
                <a:lnTo>
                  <a:pt x="188887" y="118770"/>
                </a:lnTo>
                <a:lnTo>
                  <a:pt x="187121" y="116573"/>
                </a:lnTo>
                <a:lnTo>
                  <a:pt x="184480" y="110413"/>
                </a:lnTo>
                <a:close/>
              </a:path>
              <a:path w="266064" h="193675">
                <a:moveTo>
                  <a:pt x="264553" y="85343"/>
                </a:moveTo>
                <a:lnTo>
                  <a:pt x="202971" y="85343"/>
                </a:lnTo>
                <a:lnTo>
                  <a:pt x="206489" y="86220"/>
                </a:lnTo>
                <a:lnTo>
                  <a:pt x="210451" y="86664"/>
                </a:lnTo>
                <a:lnTo>
                  <a:pt x="213537" y="88417"/>
                </a:lnTo>
                <a:lnTo>
                  <a:pt x="216179" y="91058"/>
                </a:lnTo>
                <a:lnTo>
                  <a:pt x="220586" y="97218"/>
                </a:lnTo>
                <a:lnTo>
                  <a:pt x="221462" y="100736"/>
                </a:lnTo>
                <a:lnTo>
                  <a:pt x="222338" y="104698"/>
                </a:lnTo>
                <a:lnTo>
                  <a:pt x="221462" y="108216"/>
                </a:lnTo>
                <a:lnTo>
                  <a:pt x="220586" y="112179"/>
                </a:lnTo>
                <a:lnTo>
                  <a:pt x="218376" y="115696"/>
                </a:lnTo>
                <a:lnTo>
                  <a:pt x="216179" y="118770"/>
                </a:lnTo>
                <a:lnTo>
                  <a:pt x="213537" y="120967"/>
                </a:lnTo>
                <a:lnTo>
                  <a:pt x="210451" y="122288"/>
                </a:lnTo>
                <a:lnTo>
                  <a:pt x="206489" y="124053"/>
                </a:lnTo>
                <a:lnTo>
                  <a:pt x="237312" y="124053"/>
                </a:lnTo>
                <a:lnTo>
                  <a:pt x="237312" y="98539"/>
                </a:lnTo>
                <a:lnTo>
                  <a:pt x="265938" y="98539"/>
                </a:lnTo>
                <a:lnTo>
                  <a:pt x="265911" y="95897"/>
                </a:lnTo>
                <a:lnTo>
                  <a:pt x="265493" y="88861"/>
                </a:lnTo>
                <a:lnTo>
                  <a:pt x="264553" y="85343"/>
                </a:lnTo>
                <a:close/>
              </a:path>
              <a:path w="266064" h="193675">
                <a:moveTo>
                  <a:pt x="234238" y="60705"/>
                </a:moveTo>
                <a:lnTo>
                  <a:pt x="171716" y="60705"/>
                </a:lnTo>
                <a:lnTo>
                  <a:pt x="164223" y="61594"/>
                </a:lnTo>
                <a:lnTo>
                  <a:pt x="139675" y="96342"/>
                </a:lnTo>
                <a:lnTo>
                  <a:pt x="139573" y="98539"/>
                </a:lnTo>
                <a:lnTo>
                  <a:pt x="184480" y="98539"/>
                </a:lnTo>
                <a:lnTo>
                  <a:pt x="185801" y="95897"/>
                </a:lnTo>
                <a:lnTo>
                  <a:pt x="187121" y="93700"/>
                </a:lnTo>
                <a:lnTo>
                  <a:pt x="188887" y="91058"/>
                </a:lnTo>
                <a:lnTo>
                  <a:pt x="191084" y="88861"/>
                </a:lnTo>
                <a:lnTo>
                  <a:pt x="194170" y="87541"/>
                </a:lnTo>
                <a:lnTo>
                  <a:pt x="196811" y="86220"/>
                </a:lnTo>
                <a:lnTo>
                  <a:pt x="199885" y="85343"/>
                </a:lnTo>
                <a:lnTo>
                  <a:pt x="264553" y="85343"/>
                </a:lnTo>
                <a:lnTo>
                  <a:pt x="263728" y="82257"/>
                </a:lnTo>
                <a:lnTo>
                  <a:pt x="240842" y="61594"/>
                </a:lnTo>
                <a:lnTo>
                  <a:pt x="234238" y="60705"/>
                </a:lnTo>
                <a:close/>
              </a:path>
            </a:pathLst>
          </a:custGeom>
          <a:solidFill>
            <a:srgbClr val="0097A9"/>
          </a:solidFill>
        </p:spPr>
        <p:txBody>
          <a:bodyPr wrap="square" lIns="0" tIns="0" rIns="0" bIns="0" rtlCol="0"/>
          <a:lstStyle/>
          <a:p>
            <a:endParaRPr>
              <a:solidFill>
                <a:prstClr val="black"/>
              </a:solidFill>
              <a:latin typeface="+mj-lt"/>
            </a:endParaRPr>
          </a:p>
        </p:txBody>
      </p:sp>
      <p:sp>
        <p:nvSpPr>
          <p:cNvPr id="383" name="object 169"/>
          <p:cNvSpPr/>
          <p:nvPr/>
        </p:nvSpPr>
        <p:spPr>
          <a:xfrm>
            <a:off x="432844" y="5164366"/>
            <a:ext cx="243412" cy="168642"/>
          </a:xfrm>
          <a:custGeom>
            <a:avLst/>
            <a:gdLst/>
            <a:ahLst/>
            <a:cxnLst/>
            <a:rect l="l" t="t" r="r" b="b"/>
            <a:pathLst>
              <a:path w="283210" h="196214">
                <a:moveTo>
                  <a:pt x="36601" y="86944"/>
                </a:moveTo>
                <a:lnTo>
                  <a:pt x="25133" y="86944"/>
                </a:lnTo>
                <a:lnTo>
                  <a:pt x="25133" y="140957"/>
                </a:lnTo>
                <a:lnTo>
                  <a:pt x="26898" y="143141"/>
                </a:lnTo>
                <a:lnTo>
                  <a:pt x="28219" y="144030"/>
                </a:lnTo>
                <a:lnTo>
                  <a:pt x="30429" y="144462"/>
                </a:lnTo>
                <a:lnTo>
                  <a:pt x="170243" y="144462"/>
                </a:lnTo>
                <a:lnTo>
                  <a:pt x="171119" y="149733"/>
                </a:lnTo>
                <a:lnTo>
                  <a:pt x="172885" y="155003"/>
                </a:lnTo>
                <a:lnTo>
                  <a:pt x="174205" y="160274"/>
                </a:lnTo>
                <a:lnTo>
                  <a:pt x="178612" y="169049"/>
                </a:lnTo>
                <a:lnTo>
                  <a:pt x="210807" y="192760"/>
                </a:lnTo>
                <a:lnTo>
                  <a:pt x="215658" y="194525"/>
                </a:lnTo>
                <a:lnTo>
                  <a:pt x="220954" y="194957"/>
                </a:lnTo>
                <a:lnTo>
                  <a:pt x="227126" y="195834"/>
                </a:lnTo>
                <a:lnTo>
                  <a:pt x="232422" y="194957"/>
                </a:lnTo>
                <a:lnTo>
                  <a:pt x="238150" y="194525"/>
                </a:lnTo>
                <a:lnTo>
                  <a:pt x="243446" y="192760"/>
                </a:lnTo>
                <a:lnTo>
                  <a:pt x="248742" y="191452"/>
                </a:lnTo>
                <a:lnTo>
                  <a:pt x="254038" y="188379"/>
                </a:lnTo>
                <a:lnTo>
                  <a:pt x="258444" y="186182"/>
                </a:lnTo>
                <a:lnTo>
                  <a:pt x="262851" y="182664"/>
                </a:lnTo>
                <a:lnTo>
                  <a:pt x="266382" y="178714"/>
                </a:lnTo>
                <a:lnTo>
                  <a:pt x="270357" y="175196"/>
                </a:lnTo>
                <a:lnTo>
                  <a:pt x="273528" y="171246"/>
                </a:lnTo>
                <a:lnTo>
                  <a:pt x="233743" y="171246"/>
                </a:lnTo>
                <a:lnTo>
                  <a:pt x="227571" y="170815"/>
                </a:lnTo>
                <a:lnTo>
                  <a:pt x="223164" y="169049"/>
                </a:lnTo>
                <a:lnTo>
                  <a:pt x="218744" y="167741"/>
                </a:lnTo>
                <a:lnTo>
                  <a:pt x="205524" y="148412"/>
                </a:lnTo>
                <a:lnTo>
                  <a:pt x="197142" y="148412"/>
                </a:lnTo>
                <a:lnTo>
                  <a:pt x="198907" y="142265"/>
                </a:lnTo>
                <a:lnTo>
                  <a:pt x="204635" y="142265"/>
                </a:lnTo>
                <a:lnTo>
                  <a:pt x="204635" y="136563"/>
                </a:lnTo>
                <a:lnTo>
                  <a:pt x="197142" y="136563"/>
                </a:lnTo>
                <a:lnTo>
                  <a:pt x="198024" y="133489"/>
                </a:lnTo>
                <a:lnTo>
                  <a:pt x="36601" y="133489"/>
                </a:lnTo>
                <a:lnTo>
                  <a:pt x="36601" y="86944"/>
                </a:lnTo>
                <a:close/>
              </a:path>
              <a:path w="283210" h="196214">
                <a:moveTo>
                  <a:pt x="279210" y="158953"/>
                </a:moveTo>
                <a:lnTo>
                  <a:pt x="244335" y="158953"/>
                </a:lnTo>
                <a:lnTo>
                  <a:pt x="244767" y="169049"/>
                </a:lnTo>
                <a:lnTo>
                  <a:pt x="242125" y="169926"/>
                </a:lnTo>
                <a:lnTo>
                  <a:pt x="239039" y="170815"/>
                </a:lnTo>
                <a:lnTo>
                  <a:pt x="233743" y="171246"/>
                </a:lnTo>
                <a:lnTo>
                  <a:pt x="273528" y="171246"/>
                </a:lnTo>
                <a:lnTo>
                  <a:pt x="273875" y="170815"/>
                </a:lnTo>
                <a:lnTo>
                  <a:pt x="278295" y="161150"/>
                </a:lnTo>
                <a:lnTo>
                  <a:pt x="279210" y="158953"/>
                </a:lnTo>
                <a:close/>
              </a:path>
              <a:path w="283210" h="196214">
                <a:moveTo>
                  <a:pt x="239483" y="118122"/>
                </a:moveTo>
                <a:lnTo>
                  <a:pt x="232422" y="118122"/>
                </a:lnTo>
                <a:lnTo>
                  <a:pt x="229781" y="118554"/>
                </a:lnTo>
                <a:lnTo>
                  <a:pt x="227571" y="120319"/>
                </a:lnTo>
                <a:lnTo>
                  <a:pt x="225361" y="121627"/>
                </a:lnTo>
                <a:lnTo>
                  <a:pt x="221843" y="125590"/>
                </a:lnTo>
                <a:lnTo>
                  <a:pt x="219633" y="130416"/>
                </a:lnTo>
                <a:lnTo>
                  <a:pt x="242125" y="130416"/>
                </a:lnTo>
                <a:lnTo>
                  <a:pt x="240360" y="136563"/>
                </a:lnTo>
                <a:lnTo>
                  <a:pt x="217868" y="136563"/>
                </a:lnTo>
                <a:lnTo>
                  <a:pt x="217868" y="142265"/>
                </a:lnTo>
                <a:lnTo>
                  <a:pt x="239039" y="142265"/>
                </a:lnTo>
                <a:lnTo>
                  <a:pt x="238150" y="148412"/>
                </a:lnTo>
                <a:lnTo>
                  <a:pt x="219633" y="148412"/>
                </a:lnTo>
                <a:lnTo>
                  <a:pt x="221843" y="153682"/>
                </a:lnTo>
                <a:lnTo>
                  <a:pt x="227126" y="158953"/>
                </a:lnTo>
                <a:lnTo>
                  <a:pt x="229781" y="160274"/>
                </a:lnTo>
                <a:lnTo>
                  <a:pt x="232422" y="161150"/>
                </a:lnTo>
                <a:lnTo>
                  <a:pt x="235064" y="161150"/>
                </a:lnTo>
                <a:lnTo>
                  <a:pt x="239483" y="160274"/>
                </a:lnTo>
                <a:lnTo>
                  <a:pt x="244335" y="158953"/>
                </a:lnTo>
                <a:lnTo>
                  <a:pt x="279210" y="158953"/>
                </a:lnTo>
                <a:lnTo>
                  <a:pt x="280492" y="155879"/>
                </a:lnTo>
                <a:lnTo>
                  <a:pt x="282257" y="150609"/>
                </a:lnTo>
                <a:lnTo>
                  <a:pt x="282701" y="145338"/>
                </a:lnTo>
                <a:lnTo>
                  <a:pt x="282628" y="133489"/>
                </a:lnTo>
                <a:lnTo>
                  <a:pt x="282257" y="129095"/>
                </a:lnTo>
                <a:lnTo>
                  <a:pt x="280492" y="123825"/>
                </a:lnTo>
                <a:lnTo>
                  <a:pt x="279391" y="119430"/>
                </a:lnTo>
                <a:lnTo>
                  <a:pt x="244335" y="119430"/>
                </a:lnTo>
                <a:lnTo>
                  <a:pt x="239483" y="118122"/>
                </a:lnTo>
                <a:close/>
              </a:path>
              <a:path w="283210" h="196214">
                <a:moveTo>
                  <a:pt x="131864" y="144462"/>
                </a:moveTo>
                <a:lnTo>
                  <a:pt x="71450" y="144462"/>
                </a:lnTo>
                <a:lnTo>
                  <a:pt x="71450" y="158076"/>
                </a:lnTo>
                <a:lnTo>
                  <a:pt x="131864" y="158076"/>
                </a:lnTo>
                <a:lnTo>
                  <a:pt x="131864" y="144462"/>
                </a:lnTo>
                <a:close/>
              </a:path>
              <a:path w="283210" h="196214">
                <a:moveTo>
                  <a:pt x="131864" y="120319"/>
                </a:moveTo>
                <a:lnTo>
                  <a:pt x="71450" y="120319"/>
                </a:lnTo>
                <a:lnTo>
                  <a:pt x="71450" y="133489"/>
                </a:lnTo>
                <a:lnTo>
                  <a:pt x="131864" y="133489"/>
                </a:lnTo>
                <a:lnTo>
                  <a:pt x="131864" y="120319"/>
                </a:lnTo>
                <a:close/>
              </a:path>
              <a:path w="283210" h="196214">
                <a:moveTo>
                  <a:pt x="232422" y="39966"/>
                </a:moveTo>
                <a:lnTo>
                  <a:pt x="220954" y="39966"/>
                </a:lnTo>
                <a:lnTo>
                  <a:pt x="220954" y="83870"/>
                </a:lnTo>
                <a:lnTo>
                  <a:pt x="211251" y="85191"/>
                </a:lnTo>
                <a:lnTo>
                  <a:pt x="176415" y="115049"/>
                </a:lnTo>
                <a:lnTo>
                  <a:pt x="170243" y="133489"/>
                </a:lnTo>
                <a:lnTo>
                  <a:pt x="198024" y="133489"/>
                </a:lnTo>
                <a:lnTo>
                  <a:pt x="198907" y="130416"/>
                </a:lnTo>
                <a:lnTo>
                  <a:pt x="205524" y="130416"/>
                </a:lnTo>
                <a:lnTo>
                  <a:pt x="206844" y="126022"/>
                </a:lnTo>
                <a:lnTo>
                  <a:pt x="209041" y="121627"/>
                </a:lnTo>
                <a:lnTo>
                  <a:pt x="212140" y="118122"/>
                </a:lnTo>
                <a:lnTo>
                  <a:pt x="215226" y="114173"/>
                </a:lnTo>
                <a:lnTo>
                  <a:pt x="219633" y="111975"/>
                </a:lnTo>
                <a:lnTo>
                  <a:pt x="223164" y="109778"/>
                </a:lnTo>
                <a:lnTo>
                  <a:pt x="228447" y="108458"/>
                </a:lnTo>
                <a:lnTo>
                  <a:pt x="273605" y="108458"/>
                </a:lnTo>
                <a:lnTo>
                  <a:pt x="271678" y="106260"/>
                </a:lnTo>
                <a:lnTo>
                  <a:pt x="268592" y="101879"/>
                </a:lnTo>
                <a:lnTo>
                  <a:pt x="232422" y="83870"/>
                </a:lnTo>
                <a:lnTo>
                  <a:pt x="232422" y="39966"/>
                </a:lnTo>
                <a:close/>
              </a:path>
              <a:path w="283210" h="196214">
                <a:moveTo>
                  <a:pt x="143776" y="0"/>
                </a:moveTo>
                <a:lnTo>
                  <a:pt x="93941" y="34251"/>
                </a:lnTo>
                <a:lnTo>
                  <a:pt x="137604" y="64554"/>
                </a:lnTo>
                <a:lnTo>
                  <a:pt x="137604" y="81673"/>
                </a:lnTo>
                <a:lnTo>
                  <a:pt x="98793" y="81673"/>
                </a:lnTo>
                <a:lnTo>
                  <a:pt x="97472" y="82994"/>
                </a:lnTo>
                <a:lnTo>
                  <a:pt x="96138" y="84747"/>
                </a:lnTo>
                <a:lnTo>
                  <a:pt x="96138" y="120319"/>
                </a:lnTo>
                <a:lnTo>
                  <a:pt x="107175" y="120319"/>
                </a:lnTo>
                <a:lnTo>
                  <a:pt x="107175" y="92646"/>
                </a:lnTo>
                <a:lnTo>
                  <a:pt x="143776" y="92646"/>
                </a:lnTo>
                <a:lnTo>
                  <a:pt x="145986" y="92214"/>
                </a:lnTo>
                <a:lnTo>
                  <a:pt x="148183" y="91338"/>
                </a:lnTo>
                <a:lnTo>
                  <a:pt x="148628" y="89141"/>
                </a:lnTo>
                <a:lnTo>
                  <a:pt x="149504" y="86944"/>
                </a:lnTo>
                <a:lnTo>
                  <a:pt x="149504" y="64554"/>
                </a:lnTo>
                <a:lnTo>
                  <a:pt x="185229" y="39966"/>
                </a:lnTo>
                <a:lnTo>
                  <a:pt x="232422" y="39966"/>
                </a:lnTo>
                <a:lnTo>
                  <a:pt x="232422" y="32054"/>
                </a:lnTo>
                <a:lnTo>
                  <a:pt x="230657" y="30746"/>
                </a:lnTo>
                <a:lnTo>
                  <a:pt x="229336" y="28981"/>
                </a:lnTo>
                <a:lnTo>
                  <a:pt x="185229" y="28981"/>
                </a:lnTo>
                <a:lnTo>
                  <a:pt x="143776" y="0"/>
                </a:lnTo>
                <a:close/>
              </a:path>
              <a:path w="283210" h="196214">
                <a:moveTo>
                  <a:pt x="273605" y="108458"/>
                </a:moveTo>
                <a:lnTo>
                  <a:pt x="239483" y="108458"/>
                </a:lnTo>
                <a:lnTo>
                  <a:pt x="246532" y="110655"/>
                </a:lnTo>
                <a:lnTo>
                  <a:pt x="244335" y="119430"/>
                </a:lnTo>
                <a:lnTo>
                  <a:pt x="279391" y="119430"/>
                </a:lnTo>
                <a:lnTo>
                  <a:pt x="279171" y="118554"/>
                </a:lnTo>
                <a:lnTo>
                  <a:pt x="274764" y="109778"/>
                </a:lnTo>
                <a:lnTo>
                  <a:pt x="273605" y="108458"/>
                </a:lnTo>
                <a:close/>
              </a:path>
              <a:path w="283210" h="196214">
                <a:moveTo>
                  <a:pt x="60858" y="1765"/>
                </a:moveTo>
                <a:lnTo>
                  <a:pt x="0" y="1765"/>
                </a:lnTo>
                <a:lnTo>
                  <a:pt x="0" y="86944"/>
                </a:lnTo>
                <a:lnTo>
                  <a:pt x="60858" y="86944"/>
                </a:lnTo>
                <a:lnTo>
                  <a:pt x="60858" y="1765"/>
                </a:lnTo>
                <a:close/>
              </a:path>
            </a:pathLst>
          </a:custGeom>
          <a:solidFill>
            <a:srgbClr val="44546A"/>
          </a:solidFill>
        </p:spPr>
        <p:txBody>
          <a:bodyPr wrap="square" lIns="0" tIns="0" rIns="0" bIns="0" rtlCol="0"/>
          <a:lstStyle/>
          <a:p>
            <a:endParaRPr>
              <a:latin typeface="+mj-lt"/>
            </a:endParaRPr>
          </a:p>
        </p:txBody>
      </p:sp>
      <p:sp>
        <p:nvSpPr>
          <p:cNvPr id="384" name="object 170"/>
          <p:cNvSpPr/>
          <p:nvPr/>
        </p:nvSpPr>
        <p:spPr>
          <a:xfrm>
            <a:off x="2455286" y="5159846"/>
            <a:ext cx="256644" cy="165268"/>
          </a:xfrm>
          <a:custGeom>
            <a:avLst/>
            <a:gdLst/>
            <a:ahLst/>
            <a:cxnLst/>
            <a:rect l="l" t="t" r="r" b="b"/>
            <a:pathLst>
              <a:path w="288925" h="186054">
                <a:moveTo>
                  <a:pt x="52197" y="84594"/>
                </a:moveTo>
                <a:lnTo>
                  <a:pt x="46888" y="84594"/>
                </a:lnTo>
                <a:lnTo>
                  <a:pt x="42024" y="85483"/>
                </a:lnTo>
                <a:lnTo>
                  <a:pt x="8851" y="107073"/>
                </a:lnTo>
                <a:lnTo>
                  <a:pt x="1778" y="124688"/>
                </a:lnTo>
                <a:lnTo>
                  <a:pt x="0" y="129971"/>
                </a:lnTo>
                <a:lnTo>
                  <a:pt x="0" y="140550"/>
                </a:lnTo>
                <a:lnTo>
                  <a:pt x="1778" y="145834"/>
                </a:lnTo>
                <a:lnTo>
                  <a:pt x="2209" y="150240"/>
                </a:lnTo>
                <a:lnTo>
                  <a:pt x="15925" y="170954"/>
                </a:lnTo>
                <a:lnTo>
                  <a:pt x="19469" y="174917"/>
                </a:lnTo>
                <a:lnTo>
                  <a:pt x="22999" y="177558"/>
                </a:lnTo>
                <a:lnTo>
                  <a:pt x="27863" y="179768"/>
                </a:lnTo>
                <a:lnTo>
                  <a:pt x="32296" y="181965"/>
                </a:lnTo>
                <a:lnTo>
                  <a:pt x="36715" y="183730"/>
                </a:lnTo>
                <a:lnTo>
                  <a:pt x="42024" y="185051"/>
                </a:lnTo>
                <a:lnTo>
                  <a:pt x="46888" y="185927"/>
                </a:lnTo>
                <a:lnTo>
                  <a:pt x="115874" y="185927"/>
                </a:lnTo>
                <a:lnTo>
                  <a:pt x="115874" y="128650"/>
                </a:lnTo>
                <a:lnTo>
                  <a:pt x="79171" y="128650"/>
                </a:lnTo>
                <a:lnTo>
                  <a:pt x="119028" y="85483"/>
                </a:lnTo>
                <a:lnTo>
                  <a:pt x="58381" y="85483"/>
                </a:lnTo>
                <a:lnTo>
                  <a:pt x="52197" y="84594"/>
                </a:lnTo>
                <a:close/>
              </a:path>
              <a:path w="288925" h="186054">
                <a:moveTo>
                  <a:pt x="246341" y="57276"/>
                </a:moveTo>
                <a:lnTo>
                  <a:pt x="145072" y="57276"/>
                </a:lnTo>
                <a:lnTo>
                  <a:pt x="210083" y="128650"/>
                </a:lnTo>
                <a:lnTo>
                  <a:pt x="173367" y="128650"/>
                </a:lnTo>
                <a:lnTo>
                  <a:pt x="173367" y="185927"/>
                </a:lnTo>
                <a:lnTo>
                  <a:pt x="226885" y="185927"/>
                </a:lnTo>
                <a:lnTo>
                  <a:pt x="233959" y="184607"/>
                </a:lnTo>
                <a:lnTo>
                  <a:pt x="240601" y="182854"/>
                </a:lnTo>
                <a:lnTo>
                  <a:pt x="246341" y="180644"/>
                </a:lnTo>
                <a:lnTo>
                  <a:pt x="252539" y="177558"/>
                </a:lnTo>
                <a:lnTo>
                  <a:pt x="258292" y="174917"/>
                </a:lnTo>
                <a:lnTo>
                  <a:pt x="283933" y="144957"/>
                </a:lnTo>
                <a:lnTo>
                  <a:pt x="288798" y="118960"/>
                </a:lnTo>
                <a:lnTo>
                  <a:pt x="288366" y="112356"/>
                </a:lnTo>
                <a:lnTo>
                  <a:pt x="276860" y="81953"/>
                </a:lnTo>
                <a:lnTo>
                  <a:pt x="273329" y="76669"/>
                </a:lnTo>
                <a:lnTo>
                  <a:pt x="268897" y="71373"/>
                </a:lnTo>
                <a:lnTo>
                  <a:pt x="263588" y="67411"/>
                </a:lnTo>
                <a:lnTo>
                  <a:pt x="258292" y="63004"/>
                </a:lnTo>
                <a:lnTo>
                  <a:pt x="252539" y="60363"/>
                </a:lnTo>
                <a:lnTo>
                  <a:pt x="246341" y="57276"/>
                </a:lnTo>
                <a:close/>
              </a:path>
              <a:path w="288925" h="186054">
                <a:moveTo>
                  <a:pt x="141084" y="0"/>
                </a:moveTo>
                <a:lnTo>
                  <a:pt x="126936" y="0"/>
                </a:lnTo>
                <a:lnTo>
                  <a:pt x="118973" y="1320"/>
                </a:lnTo>
                <a:lnTo>
                  <a:pt x="80048" y="21589"/>
                </a:lnTo>
                <a:lnTo>
                  <a:pt x="59270" y="59486"/>
                </a:lnTo>
                <a:lnTo>
                  <a:pt x="57492" y="74460"/>
                </a:lnTo>
                <a:lnTo>
                  <a:pt x="58381" y="85483"/>
                </a:lnTo>
                <a:lnTo>
                  <a:pt x="119028" y="85483"/>
                </a:lnTo>
                <a:lnTo>
                  <a:pt x="145072" y="57276"/>
                </a:lnTo>
                <a:lnTo>
                  <a:pt x="246341" y="57276"/>
                </a:lnTo>
                <a:lnTo>
                  <a:pt x="240601" y="55079"/>
                </a:lnTo>
                <a:lnTo>
                  <a:pt x="233959" y="53314"/>
                </a:lnTo>
                <a:lnTo>
                  <a:pt x="226885" y="52870"/>
                </a:lnTo>
                <a:lnTo>
                  <a:pt x="208305" y="52870"/>
                </a:lnTo>
                <a:lnTo>
                  <a:pt x="206095" y="47586"/>
                </a:lnTo>
                <a:lnTo>
                  <a:pt x="203885" y="41414"/>
                </a:lnTo>
                <a:lnTo>
                  <a:pt x="200787" y="36575"/>
                </a:lnTo>
                <a:lnTo>
                  <a:pt x="197256" y="31724"/>
                </a:lnTo>
                <a:lnTo>
                  <a:pt x="194157" y="26885"/>
                </a:lnTo>
                <a:lnTo>
                  <a:pt x="189738" y="22910"/>
                </a:lnTo>
                <a:lnTo>
                  <a:pt x="185318" y="18503"/>
                </a:lnTo>
                <a:lnTo>
                  <a:pt x="180886" y="14985"/>
                </a:lnTo>
                <a:lnTo>
                  <a:pt x="164973" y="5727"/>
                </a:lnTo>
                <a:lnTo>
                  <a:pt x="159219" y="3530"/>
                </a:lnTo>
                <a:lnTo>
                  <a:pt x="153022" y="2209"/>
                </a:lnTo>
                <a:lnTo>
                  <a:pt x="147281" y="888"/>
                </a:lnTo>
                <a:lnTo>
                  <a:pt x="141084" y="0"/>
                </a:lnTo>
                <a:close/>
              </a:path>
              <a:path w="288925" h="186054">
                <a:moveTo>
                  <a:pt x="219367" y="51993"/>
                </a:moveTo>
                <a:lnTo>
                  <a:pt x="213614" y="51993"/>
                </a:lnTo>
                <a:lnTo>
                  <a:pt x="208305" y="52870"/>
                </a:lnTo>
                <a:lnTo>
                  <a:pt x="226885" y="52870"/>
                </a:lnTo>
                <a:lnTo>
                  <a:pt x="219367" y="51993"/>
                </a:lnTo>
                <a:close/>
              </a:path>
            </a:pathLst>
          </a:custGeom>
          <a:solidFill>
            <a:srgbClr val="44546A"/>
          </a:solidFill>
        </p:spPr>
        <p:txBody>
          <a:bodyPr wrap="square" lIns="0" tIns="0" rIns="0" bIns="0" rtlCol="0"/>
          <a:lstStyle/>
          <a:p>
            <a:endParaRPr>
              <a:solidFill>
                <a:prstClr val="black"/>
              </a:solidFill>
              <a:latin typeface="+mj-lt"/>
            </a:endParaRPr>
          </a:p>
        </p:txBody>
      </p:sp>
      <p:sp>
        <p:nvSpPr>
          <p:cNvPr id="385" name="object 171"/>
          <p:cNvSpPr/>
          <p:nvPr/>
        </p:nvSpPr>
        <p:spPr>
          <a:xfrm>
            <a:off x="432196" y="4313242"/>
            <a:ext cx="244708" cy="245114"/>
          </a:xfrm>
          <a:prstGeom prst="rect">
            <a:avLst/>
          </a:prstGeom>
          <a:blipFill>
            <a:blip r:embed="rId3" cstate="print"/>
            <a:stretch>
              <a:fillRect/>
            </a:stretch>
          </a:blipFill>
        </p:spPr>
        <p:txBody>
          <a:bodyPr wrap="square" lIns="0" tIns="0" rIns="0" bIns="0" rtlCol="0"/>
          <a:lstStyle/>
          <a:p>
            <a:endParaRPr>
              <a:solidFill>
                <a:prstClr val="black"/>
              </a:solidFill>
              <a:latin typeface="+mj-lt"/>
            </a:endParaRPr>
          </a:p>
        </p:txBody>
      </p:sp>
      <p:sp>
        <p:nvSpPr>
          <p:cNvPr id="388" name="object 174"/>
          <p:cNvSpPr/>
          <p:nvPr/>
        </p:nvSpPr>
        <p:spPr>
          <a:xfrm>
            <a:off x="2472224" y="2570137"/>
            <a:ext cx="222768" cy="252672"/>
          </a:xfrm>
          <a:custGeom>
            <a:avLst/>
            <a:gdLst/>
            <a:ahLst/>
            <a:cxnLst/>
            <a:rect l="l" t="t" r="r" b="b"/>
            <a:pathLst>
              <a:path w="283845" h="321945">
                <a:moveTo>
                  <a:pt x="27330" y="170713"/>
                </a:moveTo>
                <a:lnTo>
                  <a:pt x="23799" y="171145"/>
                </a:lnTo>
                <a:lnTo>
                  <a:pt x="20713" y="173355"/>
                </a:lnTo>
                <a:lnTo>
                  <a:pt x="19392" y="177330"/>
                </a:lnTo>
                <a:lnTo>
                  <a:pt x="431" y="233781"/>
                </a:lnTo>
                <a:lnTo>
                  <a:pt x="0" y="235115"/>
                </a:lnTo>
                <a:lnTo>
                  <a:pt x="0" y="238201"/>
                </a:lnTo>
                <a:lnTo>
                  <a:pt x="1320" y="241287"/>
                </a:lnTo>
                <a:lnTo>
                  <a:pt x="2641" y="243497"/>
                </a:lnTo>
                <a:lnTo>
                  <a:pt x="5727" y="244817"/>
                </a:lnTo>
                <a:lnTo>
                  <a:pt x="7492" y="245694"/>
                </a:lnTo>
                <a:lnTo>
                  <a:pt x="66116" y="257606"/>
                </a:lnTo>
                <a:lnTo>
                  <a:pt x="69646" y="257606"/>
                </a:lnTo>
                <a:lnTo>
                  <a:pt x="73621" y="256730"/>
                </a:lnTo>
                <a:lnTo>
                  <a:pt x="75818" y="254076"/>
                </a:lnTo>
                <a:lnTo>
                  <a:pt x="77139" y="250990"/>
                </a:lnTo>
                <a:lnTo>
                  <a:pt x="77139" y="247015"/>
                </a:lnTo>
                <a:lnTo>
                  <a:pt x="75818" y="243497"/>
                </a:lnTo>
                <a:lnTo>
                  <a:pt x="73621" y="241287"/>
                </a:lnTo>
                <a:lnTo>
                  <a:pt x="69646" y="239966"/>
                </a:lnTo>
                <a:lnTo>
                  <a:pt x="35699" y="232460"/>
                </a:lnTo>
                <a:lnTo>
                  <a:pt x="64184" y="216141"/>
                </a:lnTo>
                <a:lnTo>
                  <a:pt x="26009" y="216141"/>
                </a:lnTo>
                <a:lnTo>
                  <a:pt x="37020" y="182613"/>
                </a:lnTo>
                <a:lnTo>
                  <a:pt x="37020" y="178650"/>
                </a:lnTo>
                <a:lnTo>
                  <a:pt x="36144" y="175120"/>
                </a:lnTo>
                <a:lnTo>
                  <a:pt x="33934" y="172910"/>
                </a:lnTo>
                <a:lnTo>
                  <a:pt x="31292" y="171145"/>
                </a:lnTo>
                <a:lnTo>
                  <a:pt x="27330" y="170713"/>
                </a:lnTo>
                <a:close/>
              </a:path>
              <a:path w="283845" h="321945">
                <a:moveTo>
                  <a:pt x="81546" y="187477"/>
                </a:moveTo>
                <a:lnTo>
                  <a:pt x="78028" y="187477"/>
                </a:lnTo>
                <a:lnTo>
                  <a:pt x="74498" y="188353"/>
                </a:lnTo>
                <a:lnTo>
                  <a:pt x="26009" y="216141"/>
                </a:lnTo>
                <a:lnTo>
                  <a:pt x="64184" y="216141"/>
                </a:lnTo>
                <a:lnTo>
                  <a:pt x="84200" y="204673"/>
                </a:lnTo>
                <a:lnTo>
                  <a:pt x="86398" y="202463"/>
                </a:lnTo>
                <a:lnTo>
                  <a:pt x="87718" y="198945"/>
                </a:lnTo>
                <a:lnTo>
                  <a:pt x="88607" y="194970"/>
                </a:lnTo>
                <a:lnTo>
                  <a:pt x="86842" y="192328"/>
                </a:lnTo>
                <a:lnTo>
                  <a:pt x="84632" y="189230"/>
                </a:lnTo>
                <a:lnTo>
                  <a:pt x="81546" y="187477"/>
                </a:lnTo>
                <a:close/>
              </a:path>
              <a:path w="283845" h="321945">
                <a:moveTo>
                  <a:pt x="276974" y="104990"/>
                </a:moveTo>
                <a:lnTo>
                  <a:pt x="257454" y="104990"/>
                </a:lnTo>
                <a:lnTo>
                  <a:pt x="246430" y="139395"/>
                </a:lnTo>
                <a:lnTo>
                  <a:pt x="245541" y="142925"/>
                </a:lnTo>
                <a:lnTo>
                  <a:pt x="246875" y="146888"/>
                </a:lnTo>
                <a:lnTo>
                  <a:pt x="249072" y="149098"/>
                </a:lnTo>
                <a:lnTo>
                  <a:pt x="252158" y="150418"/>
                </a:lnTo>
                <a:lnTo>
                  <a:pt x="255689" y="151295"/>
                </a:lnTo>
                <a:lnTo>
                  <a:pt x="258775" y="150418"/>
                </a:lnTo>
                <a:lnTo>
                  <a:pt x="261861" y="148209"/>
                </a:lnTo>
                <a:lnTo>
                  <a:pt x="264058" y="144678"/>
                </a:lnTo>
                <a:lnTo>
                  <a:pt x="276974" y="104990"/>
                </a:lnTo>
                <a:close/>
              </a:path>
              <a:path w="283845" h="321945">
                <a:moveTo>
                  <a:pt x="216446" y="63957"/>
                </a:moveTo>
                <a:lnTo>
                  <a:pt x="212928" y="63957"/>
                </a:lnTo>
                <a:lnTo>
                  <a:pt x="209842" y="64846"/>
                </a:lnTo>
                <a:lnTo>
                  <a:pt x="206755" y="67932"/>
                </a:lnTo>
                <a:lnTo>
                  <a:pt x="205435" y="70573"/>
                </a:lnTo>
                <a:lnTo>
                  <a:pt x="205435" y="74549"/>
                </a:lnTo>
                <a:lnTo>
                  <a:pt x="206755" y="78079"/>
                </a:lnTo>
                <a:lnTo>
                  <a:pt x="209842" y="80289"/>
                </a:lnTo>
                <a:lnTo>
                  <a:pt x="212928" y="82042"/>
                </a:lnTo>
                <a:lnTo>
                  <a:pt x="247751" y="89547"/>
                </a:lnTo>
                <a:lnTo>
                  <a:pt x="199262" y="116890"/>
                </a:lnTo>
                <a:lnTo>
                  <a:pt x="196176" y="119100"/>
                </a:lnTo>
                <a:lnTo>
                  <a:pt x="194843" y="123075"/>
                </a:lnTo>
                <a:lnTo>
                  <a:pt x="194843" y="125717"/>
                </a:lnTo>
                <a:lnTo>
                  <a:pt x="195732" y="129692"/>
                </a:lnTo>
                <a:lnTo>
                  <a:pt x="198818" y="132334"/>
                </a:lnTo>
                <a:lnTo>
                  <a:pt x="201460" y="134099"/>
                </a:lnTo>
                <a:lnTo>
                  <a:pt x="205435" y="134099"/>
                </a:lnTo>
                <a:lnTo>
                  <a:pt x="208953" y="133210"/>
                </a:lnTo>
                <a:lnTo>
                  <a:pt x="257454" y="104990"/>
                </a:lnTo>
                <a:lnTo>
                  <a:pt x="276974" y="104990"/>
                </a:lnTo>
                <a:lnTo>
                  <a:pt x="282574" y="87782"/>
                </a:lnTo>
                <a:lnTo>
                  <a:pt x="283463" y="86461"/>
                </a:lnTo>
                <a:lnTo>
                  <a:pt x="282574" y="83375"/>
                </a:lnTo>
                <a:lnTo>
                  <a:pt x="282130" y="80289"/>
                </a:lnTo>
                <a:lnTo>
                  <a:pt x="279933" y="78079"/>
                </a:lnTo>
                <a:lnTo>
                  <a:pt x="277291" y="76758"/>
                </a:lnTo>
                <a:lnTo>
                  <a:pt x="275970" y="75869"/>
                </a:lnTo>
                <a:lnTo>
                  <a:pt x="216446" y="63957"/>
                </a:lnTo>
                <a:close/>
              </a:path>
              <a:path w="283845" h="321945">
                <a:moveTo>
                  <a:pt x="69646" y="63957"/>
                </a:moveTo>
                <a:lnTo>
                  <a:pt x="66116" y="63957"/>
                </a:lnTo>
                <a:lnTo>
                  <a:pt x="7492" y="75869"/>
                </a:lnTo>
                <a:lnTo>
                  <a:pt x="5727" y="76758"/>
                </a:lnTo>
                <a:lnTo>
                  <a:pt x="2641" y="78079"/>
                </a:lnTo>
                <a:lnTo>
                  <a:pt x="1320" y="80289"/>
                </a:lnTo>
                <a:lnTo>
                  <a:pt x="0" y="83375"/>
                </a:lnTo>
                <a:lnTo>
                  <a:pt x="0" y="86461"/>
                </a:lnTo>
                <a:lnTo>
                  <a:pt x="19392" y="144678"/>
                </a:lnTo>
                <a:lnTo>
                  <a:pt x="20713" y="148209"/>
                </a:lnTo>
                <a:lnTo>
                  <a:pt x="23799" y="150418"/>
                </a:lnTo>
                <a:lnTo>
                  <a:pt x="27330" y="151295"/>
                </a:lnTo>
                <a:lnTo>
                  <a:pt x="31292" y="150418"/>
                </a:lnTo>
                <a:lnTo>
                  <a:pt x="33934" y="149098"/>
                </a:lnTo>
                <a:lnTo>
                  <a:pt x="36144" y="146011"/>
                </a:lnTo>
                <a:lnTo>
                  <a:pt x="37909" y="142036"/>
                </a:lnTo>
                <a:lnTo>
                  <a:pt x="37020" y="139395"/>
                </a:lnTo>
                <a:lnTo>
                  <a:pt x="26009" y="104990"/>
                </a:lnTo>
                <a:lnTo>
                  <a:pt x="63092" y="104990"/>
                </a:lnTo>
                <a:lnTo>
                  <a:pt x="35699" y="89547"/>
                </a:lnTo>
                <a:lnTo>
                  <a:pt x="69646" y="82042"/>
                </a:lnTo>
                <a:lnTo>
                  <a:pt x="73621" y="80289"/>
                </a:lnTo>
                <a:lnTo>
                  <a:pt x="76707" y="77635"/>
                </a:lnTo>
                <a:lnTo>
                  <a:pt x="77139" y="74549"/>
                </a:lnTo>
                <a:lnTo>
                  <a:pt x="77139" y="70573"/>
                </a:lnTo>
                <a:lnTo>
                  <a:pt x="75818" y="67932"/>
                </a:lnTo>
                <a:lnTo>
                  <a:pt x="73621" y="64846"/>
                </a:lnTo>
                <a:lnTo>
                  <a:pt x="69646" y="63957"/>
                </a:lnTo>
                <a:close/>
              </a:path>
              <a:path w="283845" h="321945">
                <a:moveTo>
                  <a:pt x="63092" y="104990"/>
                </a:moveTo>
                <a:lnTo>
                  <a:pt x="26009" y="104990"/>
                </a:lnTo>
                <a:lnTo>
                  <a:pt x="74498" y="133210"/>
                </a:lnTo>
                <a:lnTo>
                  <a:pt x="78028" y="134099"/>
                </a:lnTo>
                <a:lnTo>
                  <a:pt x="81546" y="134099"/>
                </a:lnTo>
                <a:lnTo>
                  <a:pt x="84632" y="132334"/>
                </a:lnTo>
                <a:lnTo>
                  <a:pt x="86842" y="129692"/>
                </a:lnTo>
                <a:lnTo>
                  <a:pt x="88607" y="125717"/>
                </a:lnTo>
                <a:lnTo>
                  <a:pt x="86398" y="119100"/>
                </a:lnTo>
                <a:lnTo>
                  <a:pt x="84200" y="116890"/>
                </a:lnTo>
                <a:lnTo>
                  <a:pt x="63092" y="104990"/>
                </a:lnTo>
                <a:close/>
              </a:path>
              <a:path w="283845" h="321945">
                <a:moveTo>
                  <a:pt x="150761" y="33528"/>
                </a:moveTo>
                <a:lnTo>
                  <a:pt x="132245" y="33528"/>
                </a:lnTo>
                <a:lnTo>
                  <a:pt x="132245" y="89547"/>
                </a:lnTo>
                <a:lnTo>
                  <a:pt x="133134" y="93078"/>
                </a:lnTo>
                <a:lnTo>
                  <a:pt x="134454" y="96164"/>
                </a:lnTo>
                <a:lnTo>
                  <a:pt x="137540" y="97485"/>
                </a:lnTo>
                <a:lnTo>
                  <a:pt x="141503" y="98374"/>
                </a:lnTo>
                <a:lnTo>
                  <a:pt x="145033" y="97485"/>
                </a:lnTo>
                <a:lnTo>
                  <a:pt x="148120" y="96164"/>
                </a:lnTo>
                <a:lnTo>
                  <a:pt x="150329" y="93078"/>
                </a:lnTo>
                <a:lnTo>
                  <a:pt x="150761" y="89547"/>
                </a:lnTo>
                <a:lnTo>
                  <a:pt x="150761" y="33528"/>
                </a:lnTo>
                <a:close/>
              </a:path>
              <a:path w="283845" h="321945">
                <a:moveTo>
                  <a:pt x="141503" y="0"/>
                </a:moveTo>
                <a:lnTo>
                  <a:pt x="138417" y="889"/>
                </a:lnTo>
                <a:lnTo>
                  <a:pt x="136220" y="1320"/>
                </a:lnTo>
                <a:lnTo>
                  <a:pt x="134454" y="3086"/>
                </a:lnTo>
                <a:lnTo>
                  <a:pt x="94335" y="47637"/>
                </a:lnTo>
                <a:lnTo>
                  <a:pt x="92138" y="50723"/>
                </a:lnTo>
                <a:lnTo>
                  <a:pt x="92138" y="54254"/>
                </a:lnTo>
                <a:lnTo>
                  <a:pt x="93014" y="58229"/>
                </a:lnTo>
                <a:lnTo>
                  <a:pt x="95224" y="60871"/>
                </a:lnTo>
                <a:lnTo>
                  <a:pt x="98297" y="62636"/>
                </a:lnTo>
                <a:lnTo>
                  <a:pt x="101828" y="63080"/>
                </a:lnTo>
                <a:lnTo>
                  <a:pt x="105359" y="62636"/>
                </a:lnTo>
                <a:lnTo>
                  <a:pt x="108445" y="60439"/>
                </a:lnTo>
                <a:lnTo>
                  <a:pt x="132245" y="33528"/>
                </a:lnTo>
                <a:lnTo>
                  <a:pt x="176272" y="33528"/>
                </a:lnTo>
                <a:lnTo>
                  <a:pt x="148564" y="3086"/>
                </a:lnTo>
                <a:lnTo>
                  <a:pt x="147243" y="1320"/>
                </a:lnTo>
                <a:lnTo>
                  <a:pt x="144157" y="889"/>
                </a:lnTo>
                <a:lnTo>
                  <a:pt x="141503" y="0"/>
                </a:lnTo>
                <a:close/>
              </a:path>
              <a:path w="283845" h="321945">
                <a:moveTo>
                  <a:pt x="176272" y="33528"/>
                </a:moveTo>
                <a:lnTo>
                  <a:pt x="150761" y="33528"/>
                </a:lnTo>
                <a:lnTo>
                  <a:pt x="174574" y="60439"/>
                </a:lnTo>
                <a:lnTo>
                  <a:pt x="177660" y="62636"/>
                </a:lnTo>
                <a:lnTo>
                  <a:pt x="181622" y="63080"/>
                </a:lnTo>
                <a:lnTo>
                  <a:pt x="185153" y="62636"/>
                </a:lnTo>
                <a:lnTo>
                  <a:pt x="188239" y="60871"/>
                </a:lnTo>
                <a:lnTo>
                  <a:pt x="190436" y="58229"/>
                </a:lnTo>
                <a:lnTo>
                  <a:pt x="191325" y="54254"/>
                </a:lnTo>
                <a:lnTo>
                  <a:pt x="190436" y="50723"/>
                </a:lnTo>
                <a:lnTo>
                  <a:pt x="189115" y="47637"/>
                </a:lnTo>
                <a:lnTo>
                  <a:pt x="176272" y="33528"/>
                </a:lnTo>
                <a:close/>
              </a:path>
              <a:path w="283845" h="321945">
                <a:moveTo>
                  <a:pt x="205435" y="187477"/>
                </a:moveTo>
                <a:lnTo>
                  <a:pt x="201460" y="187477"/>
                </a:lnTo>
                <a:lnTo>
                  <a:pt x="198818" y="189230"/>
                </a:lnTo>
                <a:lnTo>
                  <a:pt x="195732" y="192328"/>
                </a:lnTo>
                <a:lnTo>
                  <a:pt x="194843" y="194970"/>
                </a:lnTo>
                <a:lnTo>
                  <a:pt x="194843" y="198945"/>
                </a:lnTo>
                <a:lnTo>
                  <a:pt x="196176" y="202463"/>
                </a:lnTo>
                <a:lnTo>
                  <a:pt x="199262" y="204673"/>
                </a:lnTo>
                <a:lnTo>
                  <a:pt x="247751" y="232460"/>
                </a:lnTo>
                <a:lnTo>
                  <a:pt x="212928" y="239966"/>
                </a:lnTo>
                <a:lnTo>
                  <a:pt x="208953" y="241287"/>
                </a:lnTo>
                <a:lnTo>
                  <a:pt x="206755" y="244373"/>
                </a:lnTo>
                <a:lnTo>
                  <a:pt x="205435" y="247015"/>
                </a:lnTo>
                <a:lnTo>
                  <a:pt x="205435" y="250990"/>
                </a:lnTo>
                <a:lnTo>
                  <a:pt x="206755" y="254076"/>
                </a:lnTo>
                <a:lnTo>
                  <a:pt x="209842" y="256730"/>
                </a:lnTo>
                <a:lnTo>
                  <a:pt x="212928" y="257606"/>
                </a:lnTo>
                <a:lnTo>
                  <a:pt x="216446" y="257606"/>
                </a:lnTo>
                <a:lnTo>
                  <a:pt x="275970" y="245694"/>
                </a:lnTo>
                <a:lnTo>
                  <a:pt x="277291" y="244817"/>
                </a:lnTo>
                <a:lnTo>
                  <a:pt x="279933" y="243497"/>
                </a:lnTo>
                <a:lnTo>
                  <a:pt x="282130" y="241287"/>
                </a:lnTo>
                <a:lnTo>
                  <a:pt x="282574" y="238201"/>
                </a:lnTo>
                <a:lnTo>
                  <a:pt x="283463" y="235115"/>
                </a:lnTo>
                <a:lnTo>
                  <a:pt x="282574" y="233781"/>
                </a:lnTo>
                <a:lnTo>
                  <a:pt x="276788" y="216141"/>
                </a:lnTo>
                <a:lnTo>
                  <a:pt x="257454" y="216141"/>
                </a:lnTo>
                <a:lnTo>
                  <a:pt x="208953" y="188353"/>
                </a:lnTo>
                <a:lnTo>
                  <a:pt x="205435" y="187477"/>
                </a:lnTo>
                <a:close/>
              </a:path>
              <a:path w="283845" h="321945">
                <a:moveTo>
                  <a:pt x="255689" y="170713"/>
                </a:moveTo>
                <a:lnTo>
                  <a:pt x="252158" y="171145"/>
                </a:lnTo>
                <a:lnTo>
                  <a:pt x="248627" y="172910"/>
                </a:lnTo>
                <a:lnTo>
                  <a:pt x="246430" y="175564"/>
                </a:lnTo>
                <a:lnTo>
                  <a:pt x="245541" y="178650"/>
                </a:lnTo>
                <a:lnTo>
                  <a:pt x="246430" y="182613"/>
                </a:lnTo>
                <a:lnTo>
                  <a:pt x="257454" y="216141"/>
                </a:lnTo>
                <a:lnTo>
                  <a:pt x="276788" y="216141"/>
                </a:lnTo>
                <a:lnTo>
                  <a:pt x="264058" y="177330"/>
                </a:lnTo>
                <a:lnTo>
                  <a:pt x="261861" y="173355"/>
                </a:lnTo>
                <a:lnTo>
                  <a:pt x="258775" y="171145"/>
                </a:lnTo>
                <a:lnTo>
                  <a:pt x="255689" y="170713"/>
                </a:lnTo>
                <a:close/>
              </a:path>
              <a:path w="283845" h="321945">
                <a:moveTo>
                  <a:pt x="100952" y="258483"/>
                </a:moveTo>
                <a:lnTo>
                  <a:pt x="98297" y="258927"/>
                </a:lnTo>
                <a:lnTo>
                  <a:pt x="95224" y="260692"/>
                </a:lnTo>
                <a:lnTo>
                  <a:pt x="93014" y="263779"/>
                </a:lnTo>
                <a:lnTo>
                  <a:pt x="92138" y="267309"/>
                </a:lnTo>
                <a:lnTo>
                  <a:pt x="92138" y="270840"/>
                </a:lnTo>
                <a:lnTo>
                  <a:pt x="94335" y="273926"/>
                </a:lnTo>
                <a:lnTo>
                  <a:pt x="134454" y="318922"/>
                </a:lnTo>
                <a:lnTo>
                  <a:pt x="136220" y="319366"/>
                </a:lnTo>
                <a:lnTo>
                  <a:pt x="138417" y="321119"/>
                </a:lnTo>
                <a:lnTo>
                  <a:pt x="141503" y="321564"/>
                </a:lnTo>
                <a:lnTo>
                  <a:pt x="144157" y="321119"/>
                </a:lnTo>
                <a:lnTo>
                  <a:pt x="147243" y="319366"/>
                </a:lnTo>
                <a:lnTo>
                  <a:pt x="148564" y="318922"/>
                </a:lnTo>
                <a:lnTo>
                  <a:pt x="176388" y="288048"/>
                </a:lnTo>
                <a:lnTo>
                  <a:pt x="132245" y="288048"/>
                </a:lnTo>
                <a:lnTo>
                  <a:pt x="108445" y="261581"/>
                </a:lnTo>
                <a:lnTo>
                  <a:pt x="104914" y="258927"/>
                </a:lnTo>
                <a:lnTo>
                  <a:pt x="100952" y="258483"/>
                </a:lnTo>
                <a:close/>
              </a:path>
              <a:path w="283845" h="321945">
                <a:moveTo>
                  <a:pt x="141503" y="223202"/>
                </a:moveTo>
                <a:lnTo>
                  <a:pt x="137540" y="224078"/>
                </a:lnTo>
                <a:lnTo>
                  <a:pt x="134454" y="225844"/>
                </a:lnTo>
                <a:lnTo>
                  <a:pt x="133134" y="228498"/>
                </a:lnTo>
                <a:lnTo>
                  <a:pt x="132245" y="232460"/>
                </a:lnTo>
                <a:lnTo>
                  <a:pt x="132245" y="288048"/>
                </a:lnTo>
                <a:lnTo>
                  <a:pt x="150761" y="288048"/>
                </a:lnTo>
                <a:lnTo>
                  <a:pt x="150761" y="232460"/>
                </a:lnTo>
                <a:lnTo>
                  <a:pt x="150329" y="228498"/>
                </a:lnTo>
                <a:lnTo>
                  <a:pt x="148120" y="225844"/>
                </a:lnTo>
                <a:lnTo>
                  <a:pt x="145033" y="224078"/>
                </a:lnTo>
                <a:lnTo>
                  <a:pt x="141503" y="223202"/>
                </a:lnTo>
                <a:close/>
              </a:path>
              <a:path w="283845" h="321945">
                <a:moveTo>
                  <a:pt x="181622" y="258483"/>
                </a:moveTo>
                <a:lnTo>
                  <a:pt x="177660" y="258927"/>
                </a:lnTo>
                <a:lnTo>
                  <a:pt x="174574" y="261581"/>
                </a:lnTo>
                <a:lnTo>
                  <a:pt x="150761" y="288048"/>
                </a:lnTo>
                <a:lnTo>
                  <a:pt x="176388" y="288048"/>
                </a:lnTo>
                <a:lnTo>
                  <a:pt x="189115" y="273926"/>
                </a:lnTo>
                <a:lnTo>
                  <a:pt x="190436" y="270840"/>
                </a:lnTo>
                <a:lnTo>
                  <a:pt x="191325" y="267309"/>
                </a:lnTo>
                <a:lnTo>
                  <a:pt x="190436" y="263779"/>
                </a:lnTo>
                <a:lnTo>
                  <a:pt x="188239" y="260692"/>
                </a:lnTo>
                <a:lnTo>
                  <a:pt x="184264" y="258927"/>
                </a:lnTo>
                <a:lnTo>
                  <a:pt x="181622" y="258483"/>
                </a:lnTo>
                <a:close/>
              </a:path>
            </a:pathLst>
          </a:custGeom>
          <a:solidFill>
            <a:srgbClr val="62B5E5"/>
          </a:solidFill>
        </p:spPr>
        <p:txBody>
          <a:bodyPr wrap="square" lIns="0" tIns="0" rIns="0" bIns="0" rtlCol="0"/>
          <a:lstStyle/>
          <a:p>
            <a:endParaRPr>
              <a:solidFill>
                <a:prstClr val="black"/>
              </a:solidFill>
              <a:latin typeface="+mj-lt"/>
            </a:endParaRPr>
          </a:p>
        </p:txBody>
      </p:sp>
      <p:sp>
        <p:nvSpPr>
          <p:cNvPr id="389" name="object 175"/>
          <p:cNvSpPr/>
          <p:nvPr/>
        </p:nvSpPr>
        <p:spPr>
          <a:xfrm>
            <a:off x="430678" y="2572906"/>
            <a:ext cx="247745" cy="247135"/>
          </a:xfrm>
          <a:custGeom>
            <a:avLst/>
            <a:gdLst/>
            <a:ahLst/>
            <a:cxnLst/>
            <a:rect l="l" t="t" r="r" b="b"/>
            <a:pathLst>
              <a:path w="257810" h="257175">
                <a:moveTo>
                  <a:pt x="177863" y="185000"/>
                </a:moveTo>
                <a:lnTo>
                  <a:pt x="132511" y="214071"/>
                </a:lnTo>
                <a:lnTo>
                  <a:pt x="105664" y="242252"/>
                </a:lnTo>
                <a:lnTo>
                  <a:pt x="97739" y="252831"/>
                </a:lnTo>
                <a:lnTo>
                  <a:pt x="104775" y="254152"/>
                </a:lnTo>
                <a:lnTo>
                  <a:pt x="113144" y="255917"/>
                </a:lnTo>
                <a:lnTo>
                  <a:pt x="120624" y="256793"/>
                </a:lnTo>
                <a:lnTo>
                  <a:pt x="128549" y="256793"/>
                </a:lnTo>
                <a:lnTo>
                  <a:pt x="170383" y="249745"/>
                </a:lnTo>
                <a:lnTo>
                  <a:pt x="186664" y="190284"/>
                </a:lnTo>
                <a:lnTo>
                  <a:pt x="181381" y="188074"/>
                </a:lnTo>
                <a:lnTo>
                  <a:pt x="177863" y="185000"/>
                </a:lnTo>
                <a:close/>
              </a:path>
              <a:path w="257810" h="257175">
                <a:moveTo>
                  <a:pt x="57226" y="139191"/>
                </a:moveTo>
                <a:lnTo>
                  <a:pt x="48425" y="156806"/>
                </a:lnTo>
                <a:lnTo>
                  <a:pt x="45339" y="166496"/>
                </a:lnTo>
                <a:lnTo>
                  <a:pt x="42697" y="176187"/>
                </a:lnTo>
                <a:lnTo>
                  <a:pt x="39624" y="185877"/>
                </a:lnTo>
                <a:lnTo>
                  <a:pt x="37414" y="195567"/>
                </a:lnTo>
                <a:lnTo>
                  <a:pt x="35661" y="206133"/>
                </a:lnTo>
                <a:lnTo>
                  <a:pt x="35217" y="215823"/>
                </a:lnTo>
                <a:lnTo>
                  <a:pt x="44907" y="225513"/>
                </a:lnTo>
                <a:lnTo>
                  <a:pt x="55029" y="233451"/>
                </a:lnTo>
                <a:lnTo>
                  <a:pt x="66471" y="240931"/>
                </a:lnTo>
                <a:lnTo>
                  <a:pt x="78803" y="247103"/>
                </a:lnTo>
                <a:lnTo>
                  <a:pt x="87172" y="235203"/>
                </a:lnTo>
                <a:lnTo>
                  <a:pt x="95973" y="223761"/>
                </a:lnTo>
                <a:lnTo>
                  <a:pt x="105664" y="213626"/>
                </a:lnTo>
                <a:lnTo>
                  <a:pt x="116230" y="203060"/>
                </a:lnTo>
                <a:lnTo>
                  <a:pt x="127228" y="194246"/>
                </a:lnTo>
                <a:lnTo>
                  <a:pt x="138239" y="185000"/>
                </a:lnTo>
                <a:lnTo>
                  <a:pt x="151003" y="177952"/>
                </a:lnTo>
                <a:lnTo>
                  <a:pt x="163779" y="170459"/>
                </a:lnTo>
                <a:lnTo>
                  <a:pt x="151892" y="168262"/>
                </a:lnTo>
                <a:lnTo>
                  <a:pt x="128549" y="162090"/>
                </a:lnTo>
                <a:lnTo>
                  <a:pt x="118427" y="157683"/>
                </a:lnTo>
                <a:lnTo>
                  <a:pt x="106984" y="153276"/>
                </a:lnTo>
                <a:lnTo>
                  <a:pt x="96850" y="147993"/>
                </a:lnTo>
                <a:lnTo>
                  <a:pt x="83403" y="140068"/>
                </a:lnTo>
                <a:lnTo>
                  <a:pt x="62509" y="140068"/>
                </a:lnTo>
                <a:lnTo>
                  <a:pt x="57226" y="139191"/>
                </a:lnTo>
                <a:close/>
              </a:path>
              <a:path w="257810" h="257175">
                <a:moveTo>
                  <a:pt x="251383" y="167373"/>
                </a:moveTo>
                <a:lnTo>
                  <a:pt x="236423" y="170459"/>
                </a:lnTo>
                <a:lnTo>
                  <a:pt x="221005" y="172669"/>
                </a:lnTo>
                <a:lnTo>
                  <a:pt x="218808" y="177952"/>
                </a:lnTo>
                <a:lnTo>
                  <a:pt x="214845" y="182359"/>
                </a:lnTo>
                <a:lnTo>
                  <a:pt x="210439" y="185877"/>
                </a:lnTo>
                <a:lnTo>
                  <a:pt x="205155" y="188963"/>
                </a:lnTo>
                <a:lnTo>
                  <a:pt x="205968" y="203060"/>
                </a:lnTo>
                <a:lnTo>
                  <a:pt x="206044" y="218478"/>
                </a:lnTo>
                <a:lnTo>
                  <a:pt x="204724" y="232130"/>
                </a:lnTo>
                <a:lnTo>
                  <a:pt x="212648" y="225958"/>
                </a:lnTo>
                <a:lnTo>
                  <a:pt x="226733" y="211861"/>
                </a:lnTo>
                <a:lnTo>
                  <a:pt x="232892" y="203936"/>
                </a:lnTo>
                <a:lnTo>
                  <a:pt x="238620" y="195567"/>
                </a:lnTo>
                <a:lnTo>
                  <a:pt x="247865" y="177063"/>
                </a:lnTo>
                <a:lnTo>
                  <a:pt x="251383" y="167373"/>
                </a:lnTo>
                <a:close/>
              </a:path>
              <a:path w="257810" h="257175">
                <a:moveTo>
                  <a:pt x="14084" y="70916"/>
                </a:moveTo>
                <a:lnTo>
                  <a:pt x="876" y="113195"/>
                </a:lnTo>
                <a:lnTo>
                  <a:pt x="0" y="120688"/>
                </a:lnTo>
                <a:lnTo>
                  <a:pt x="88" y="129501"/>
                </a:lnTo>
                <a:lnTo>
                  <a:pt x="7480" y="170903"/>
                </a:lnTo>
                <a:lnTo>
                  <a:pt x="18923" y="194246"/>
                </a:lnTo>
                <a:lnTo>
                  <a:pt x="22453" y="177063"/>
                </a:lnTo>
                <a:lnTo>
                  <a:pt x="26847" y="160769"/>
                </a:lnTo>
                <a:lnTo>
                  <a:pt x="33451" y="144475"/>
                </a:lnTo>
                <a:lnTo>
                  <a:pt x="40944" y="129501"/>
                </a:lnTo>
                <a:lnTo>
                  <a:pt x="38735" y="125526"/>
                </a:lnTo>
                <a:lnTo>
                  <a:pt x="36537" y="121132"/>
                </a:lnTo>
                <a:lnTo>
                  <a:pt x="35661" y="116725"/>
                </a:lnTo>
                <a:lnTo>
                  <a:pt x="35217" y="112318"/>
                </a:lnTo>
                <a:lnTo>
                  <a:pt x="35661" y="107035"/>
                </a:lnTo>
                <a:lnTo>
                  <a:pt x="37414" y="101752"/>
                </a:lnTo>
                <a:lnTo>
                  <a:pt x="25527" y="87210"/>
                </a:lnTo>
                <a:lnTo>
                  <a:pt x="14084" y="70916"/>
                </a:lnTo>
                <a:close/>
              </a:path>
              <a:path w="257810" h="257175">
                <a:moveTo>
                  <a:pt x="214845" y="32588"/>
                </a:moveTo>
                <a:lnTo>
                  <a:pt x="200317" y="34797"/>
                </a:lnTo>
                <a:lnTo>
                  <a:pt x="185343" y="38760"/>
                </a:lnTo>
                <a:lnTo>
                  <a:pt x="170383" y="42278"/>
                </a:lnTo>
                <a:lnTo>
                  <a:pt x="156286" y="47574"/>
                </a:lnTo>
                <a:lnTo>
                  <a:pt x="156286" y="50647"/>
                </a:lnTo>
                <a:lnTo>
                  <a:pt x="155409" y="57264"/>
                </a:lnTo>
                <a:lnTo>
                  <a:pt x="154089" y="62547"/>
                </a:lnTo>
                <a:lnTo>
                  <a:pt x="160693" y="70916"/>
                </a:lnTo>
                <a:lnTo>
                  <a:pt x="166852" y="79717"/>
                </a:lnTo>
                <a:lnTo>
                  <a:pt x="191947" y="126415"/>
                </a:lnTo>
                <a:lnTo>
                  <a:pt x="195478" y="136982"/>
                </a:lnTo>
                <a:lnTo>
                  <a:pt x="199440" y="136982"/>
                </a:lnTo>
                <a:lnTo>
                  <a:pt x="202958" y="138302"/>
                </a:lnTo>
                <a:lnTo>
                  <a:pt x="206921" y="140068"/>
                </a:lnTo>
                <a:lnTo>
                  <a:pt x="210439" y="141389"/>
                </a:lnTo>
                <a:lnTo>
                  <a:pt x="213525" y="143586"/>
                </a:lnTo>
                <a:lnTo>
                  <a:pt x="215722" y="146672"/>
                </a:lnTo>
                <a:lnTo>
                  <a:pt x="217932" y="149313"/>
                </a:lnTo>
                <a:lnTo>
                  <a:pt x="220129" y="153276"/>
                </a:lnTo>
                <a:lnTo>
                  <a:pt x="238175" y="151079"/>
                </a:lnTo>
                <a:lnTo>
                  <a:pt x="255790" y="146672"/>
                </a:lnTo>
                <a:lnTo>
                  <a:pt x="256800" y="136105"/>
                </a:lnTo>
                <a:lnTo>
                  <a:pt x="257556" y="128612"/>
                </a:lnTo>
                <a:lnTo>
                  <a:pt x="250507" y="87655"/>
                </a:lnTo>
                <a:lnTo>
                  <a:pt x="232892" y="52857"/>
                </a:lnTo>
                <a:lnTo>
                  <a:pt x="224536" y="42278"/>
                </a:lnTo>
                <a:lnTo>
                  <a:pt x="214845" y="32588"/>
                </a:lnTo>
                <a:close/>
              </a:path>
              <a:path w="257810" h="257175">
                <a:moveTo>
                  <a:pt x="113144" y="73113"/>
                </a:moveTo>
                <a:lnTo>
                  <a:pt x="99060" y="85013"/>
                </a:lnTo>
                <a:lnTo>
                  <a:pt x="85852" y="98221"/>
                </a:lnTo>
                <a:lnTo>
                  <a:pt x="88049" y="101307"/>
                </a:lnTo>
                <a:lnTo>
                  <a:pt x="89369" y="104825"/>
                </a:lnTo>
                <a:lnTo>
                  <a:pt x="90246" y="108800"/>
                </a:lnTo>
                <a:lnTo>
                  <a:pt x="90246" y="116725"/>
                </a:lnTo>
                <a:lnTo>
                  <a:pt x="88493" y="120688"/>
                </a:lnTo>
                <a:lnTo>
                  <a:pt x="106984" y="131698"/>
                </a:lnTo>
                <a:lnTo>
                  <a:pt x="117551" y="136982"/>
                </a:lnTo>
                <a:lnTo>
                  <a:pt x="127228" y="140512"/>
                </a:lnTo>
                <a:lnTo>
                  <a:pt x="137795" y="144475"/>
                </a:lnTo>
                <a:lnTo>
                  <a:pt x="147929" y="147993"/>
                </a:lnTo>
                <a:lnTo>
                  <a:pt x="170383" y="152399"/>
                </a:lnTo>
                <a:lnTo>
                  <a:pt x="173456" y="147116"/>
                </a:lnTo>
                <a:lnTo>
                  <a:pt x="176987" y="142709"/>
                </a:lnTo>
                <a:lnTo>
                  <a:pt x="173901" y="133896"/>
                </a:lnTo>
                <a:lnTo>
                  <a:pt x="170383" y="125094"/>
                </a:lnTo>
                <a:lnTo>
                  <a:pt x="165976" y="115836"/>
                </a:lnTo>
                <a:lnTo>
                  <a:pt x="161569" y="107911"/>
                </a:lnTo>
                <a:lnTo>
                  <a:pt x="157175" y="99110"/>
                </a:lnTo>
                <a:lnTo>
                  <a:pt x="151892" y="91617"/>
                </a:lnTo>
                <a:lnTo>
                  <a:pt x="145719" y="83248"/>
                </a:lnTo>
                <a:lnTo>
                  <a:pt x="141690" y="77965"/>
                </a:lnTo>
                <a:lnTo>
                  <a:pt x="129438" y="77965"/>
                </a:lnTo>
                <a:lnTo>
                  <a:pt x="125031" y="77520"/>
                </a:lnTo>
                <a:lnTo>
                  <a:pt x="120624" y="76644"/>
                </a:lnTo>
                <a:lnTo>
                  <a:pt x="116662" y="75323"/>
                </a:lnTo>
                <a:lnTo>
                  <a:pt x="113144" y="73113"/>
                </a:lnTo>
                <a:close/>
              </a:path>
              <a:path w="257810" h="257175">
                <a:moveTo>
                  <a:pt x="76606" y="136105"/>
                </a:moveTo>
                <a:lnTo>
                  <a:pt x="73964" y="137426"/>
                </a:lnTo>
                <a:lnTo>
                  <a:pt x="70002" y="139191"/>
                </a:lnTo>
                <a:lnTo>
                  <a:pt x="66471" y="140068"/>
                </a:lnTo>
                <a:lnTo>
                  <a:pt x="83403" y="140068"/>
                </a:lnTo>
                <a:lnTo>
                  <a:pt x="76606" y="136105"/>
                </a:lnTo>
                <a:close/>
              </a:path>
              <a:path w="257810" h="257175">
                <a:moveTo>
                  <a:pt x="61188" y="18503"/>
                </a:moveTo>
                <a:lnTo>
                  <a:pt x="41821" y="33477"/>
                </a:lnTo>
                <a:lnTo>
                  <a:pt x="33020" y="42278"/>
                </a:lnTo>
                <a:lnTo>
                  <a:pt x="25527" y="51968"/>
                </a:lnTo>
                <a:lnTo>
                  <a:pt x="30810" y="61658"/>
                </a:lnTo>
                <a:lnTo>
                  <a:pt x="37414" y="70916"/>
                </a:lnTo>
                <a:lnTo>
                  <a:pt x="44018" y="79717"/>
                </a:lnTo>
                <a:lnTo>
                  <a:pt x="50622" y="87655"/>
                </a:lnTo>
                <a:lnTo>
                  <a:pt x="56794" y="86334"/>
                </a:lnTo>
                <a:lnTo>
                  <a:pt x="62509" y="85445"/>
                </a:lnTo>
                <a:lnTo>
                  <a:pt x="71766" y="85445"/>
                </a:lnTo>
                <a:lnTo>
                  <a:pt x="86283" y="70916"/>
                </a:lnTo>
                <a:lnTo>
                  <a:pt x="102577" y="57264"/>
                </a:lnTo>
                <a:lnTo>
                  <a:pt x="102222" y="51968"/>
                </a:lnTo>
                <a:lnTo>
                  <a:pt x="102133" y="46253"/>
                </a:lnTo>
                <a:lnTo>
                  <a:pt x="103454" y="41846"/>
                </a:lnTo>
                <a:lnTo>
                  <a:pt x="92887" y="35674"/>
                </a:lnTo>
                <a:lnTo>
                  <a:pt x="83210" y="29070"/>
                </a:lnTo>
                <a:lnTo>
                  <a:pt x="61188" y="18503"/>
                </a:lnTo>
                <a:close/>
              </a:path>
              <a:path w="257810" h="257175">
                <a:moveTo>
                  <a:pt x="71766" y="85445"/>
                </a:moveTo>
                <a:lnTo>
                  <a:pt x="66916" y="85445"/>
                </a:lnTo>
                <a:lnTo>
                  <a:pt x="70878" y="86334"/>
                </a:lnTo>
                <a:lnTo>
                  <a:pt x="71766" y="85445"/>
                </a:lnTo>
                <a:close/>
              </a:path>
              <a:path w="257810" h="257175">
                <a:moveTo>
                  <a:pt x="140004" y="75755"/>
                </a:moveTo>
                <a:lnTo>
                  <a:pt x="134721" y="77520"/>
                </a:lnTo>
                <a:lnTo>
                  <a:pt x="129438" y="77965"/>
                </a:lnTo>
                <a:lnTo>
                  <a:pt x="141690" y="77965"/>
                </a:lnTo>
                <a:lnTo>
                  <a:pt x="140004" y="75755"/>
                </a:lnTo>
                <a:close/>
              </a:path>
              <a:path w="257810" h="257175">
                <a:moveTo>
                  <a:pt x="168416" y="22898"/>
                </a:moveTo>
                <a:lnTo>
                  <a:pt x="129438" y="22898"/>
                </a:lnTo>
                <a:lnTo>
                  <a:pt x="134721" y="23787"/>
                </a:lnTo>
                <a:lnTo>
                  <a:pt x="139115" y="25552"/>
                </a:lnTo>
                <a:lnTo>
                  <a:pt x="143522" y="27749"/>
                </a:lnTo>
                <a:lnTo>
                  <a:pt x="147929" y="30391"/>
                </a:lnTo>
                <a:lnTo>
                  <a:pt x="158496" y="26873"/>
                </a:lnTo>
                <a:lnTo>
                  <a:pt x="168416" y="22898"/>
                </a:lnTo>
                <a:close/>
              </a:path>
              <a:path w="257810" h="257175">
                <a:moveTo>
                  <a:pt x="137795" y="0"/>
                </a:moveTo>
                <a:lnTo>
                  <a:pt x="116662" y="0"/>
                </a:lnTo>
                <a:lnTo>
                  <a:pt x="94653" y="4406"/>
                </a:lnTo>
                <a:lnTo>
                  <a:pt x="83210" y="8369"/>
                </a:lnTo>
                <a:lnTo>
                  <a:pt x="99936" y="17183"/>
                </a:lnTo>
                <a:lnTo>
                  <a:pt x="115341" y="27749"/>
                </a:lnTo>
                <a:lnTo>
                  <a:pt x="118427" y="25552"/>
                </a:lnTo>
                <a:lnTo>
                  <a:pt x="121945" y="24663"/>
                </a:lnTo>
                <a:lnTo>
                  <a:pt x="125907" y="23787"/>
                </a:lnTo>
                <a:lnTo>
                  <a:pt x="129438" y="22898"/>
                </a:lnTo>
                <a:lnTo>
                  <a:pt x="168416" y="22898"/>
                </a:lnTo>
                <a:lnTo>
                  <a:pt x="169494" y="22466"/>
                </a:lnTo>
                <a:lnTo>
                  <a:pt x="181381" y="19380"/>
                </a:lnTo>
                <a:lnTo>
                  <a:pt x="192836" y="17183"/>
                </a:lnTo>
                <a:lnTo>
                  <a:pt x="177863" y="9690"/>
                </a:lnTo>
                <a:lnTo>
                  <a:pt x="170383" y="6603"/>
                </a:lnTo>
                <a:lnTo>
                  <a:pt x="162013" y="4406"/>
                </a:lnTo>
                <a:lnTo>
                  <a:pt x="154089" y="2197"/>
                </a:lnTo>
                <a:lnTo>
                  <a:pt x="145719" y="876"/>
                </a:lnTo>
                <a:lnTo>
                  <a:pt x="137795" y="0"/>
                </a:lnTo>
                <a:close/>
              </a:path>
            </a:pathLst>
          </a:custGeom>
          <a:solidFill>
            <a:srgbClr val="62B5E5"/>
          </a:solidFill>
        </p:spPr>
        <p:txBody>
          <a:bodyPr wrap="square" lIns="0" tIns="0" rIns="0" bIns="0" rtlCol="0"/>
          <a:lstStyle/>
          <a:p>
            <a:endParaRPr>
              <a:solidFill>
                <a:prstClr val="black"/>
              </a:solidFill>
              <a:latin typeface="+mj-lt"/>
            </a:endParaRPr>
          </a:p>
        </p:txBody>
      </p:sp>
      <p:sp>
        <p:nvSpPr>
          <p:cNvPr id="391" name="object 24"/>
          <p:cNvSpPr txBox="1"/>
          <p:nvPr/>
        </p:nvSpPr>
        <p:spPr>
          <a:xfrm>
            <a:off x="828693" y="1752600"/>
            <a:ext cx="1514613" cy="338554"/>
          </a:xfrm>
          <a:prstGeom prst="rect">
            <a:avLst/>
          </a:prstGeom>
        </p:spPr>
        <p:txBody>
          <a:bodyPr vert="horz" wrap="square" lIns="0" tIns="0" rIns="0" bIns="0" rtlCol="0">
            <a:spAutoFit/>
          </a:bodyPr>
          <a:lstStyle/>
          <a:p>
            <a:pPr marL="12700">
              <a:tabLst>
                <a:tab pos="184785" algn="l"/>
                <a:tab pos="185420" algn="l"/>
              </a:tabLst>
            </a:pPr>
            <a:r>
              <a:rPr lang="fr-FR" sz="1100" dirty="0">
                <a:solidFill>
                  <a:prstClr val="black"/>
                </a:solidFill>
                <a:latin typeface="+mj-lt"/>
                <a:cs typeface="Verdana"/>
              </a:rPr>
              <a:t>Modes de paiement non traditionnels</a:t>
            </a:r>
          </a:p>
        </p:txBody>
      </p:sp>
      <p:sp>
        <p:nvSpPr>
          <p:cNvPr id="392" name="object 25"/>
          <p:cNvSpPr txBox="1"/>
          <p:nvPr/>
        </p:nvSpPr>
        <p:spPr>
          <a:xfrm>
            <a:off x="2803699" y="1752600"/>
            <a:ext cx="1438266" cy="338554"/>
          </a:xfrm>
          <a:prstGeom prst="rect">
            <a:avLst/>
          </a:prstGeom>
        </p:spPr>
        <p:txBody>
          <a:bodyPr vert="horz" wrap="square" lIns="0" tIns="0" rIns="0" bIns="0" rtlCol="0">
            <a:spAutoFit/>
          </a:bodyPr>
          <a:lstStyle/>
          <a:p>
            <a:pPr marL="12700">
              <a:tabLst>
                <a:tab pos="184785" algn="l"/>
                <a:tab pos="185420" algn="l"/>
              </a:tabLst>
            </a:pPr>
            <a:r>
              <a:rPr lang="fr-FR" sz="1100" dirty="0">
                <a:solidFill>
                  <a:prstClr val="black"/>
                </a:solidFill>
                <a:latin typeface="+mj-lt"/>
                <a:cs typeface="Verdana"/>
              </a:rPr>
              <a:t>Monde sans espèces</a:t>
            </a:r>
          </a:p>
        </p:txBody>
      </p:sp>
      <p:sp>
        <p:nvSpPr>
          <p:cNvPr id="393" name="object 138"/>
          <p:cNvSpPr txBox="1"/>
          <p:nvPr/>
        </p:nvSpPr>
        <p:spPr>
          <a:xfrm>
            <a:off x="2803699" y="2612371"/>
            <a:ext cx="1391280" cy="169277"/>
          </a:xfrm>
          <a:prstGeom prst="rect">
            <a:avLst/>
          </a:prstGeom>
        </p:spPr>
        <p:txBody>
          <a:bodyPr vert="horz" wrap="square" lIns="0" tIns="0" rIns="0" bIns="0" rtlCol="0">
            <a:spAutoFit/>
          </a:bodyPr>
          <a:lstStyle/>
          <a:p>
            <a:pPr marL="12700">
              <a:tabLst>
                <a:tab pos="184785" algn="l"/>
                <a:tab pos="185420" algn="l"/>
              </a:tabLst>
            </a:pPr>
            <a:r>
              <a:rPr lang="fr-FR" sz="1100" dirty="0">
                <a:solidFill>
                  <a:prstClr val="black"/>
                </a:solidFill>
                <a:latin typeface="+mj-lt"/>
                <a:cs typeface="Verdana"/>
              </a:rPr>
              <a:t>Monde connecté</a:t>
            </a:r>
            <a:endParaRPr sz="1100" dirty="0">
              <a:solidFill>
                <a:prstClr val="black"/>
              </a:solidFill>
              <a:latin typeface="+mj-lt"/>
              <a:cs typeface="Verdana"/>
            </a:endParaRPr>
          </a:p>
        </p:txBody>
      </p:sp>
      <p:sp>
        <p:nvSpPr>
          <p:cNvPr id="394" name="object 139"/>
          <p:cNvSpPr txBox="1"/>
          <p:nvPr/>
        </p:nvSpPr>
        <p:spPr>
          <a:xfrm>
            <a:off x="828693" y="2531036"/>
            <a:ext cx="1618965" cy="338554"/>
          </a:xfrm>
          <a:prstGeom prst="rect">
            <a:avLst/>
          </a:prstGeom>
        </p:spPr>
        <p:txBody>
          <a:bodyPr vert="horz" wrap="square" lIns="0" tIns="0" rIns="0" bIns="0" rtlCol="0">
            <a:spAutoFit/>
          </a:bodyPr>
          <a:lstStyle>
            <a:defPPr>
              <a:defRPr lang="fr-FR"/>
            </a:defPPr>
            <a:lvl1pPr marL="12700">
              <a:tabLst>
                <a:tab pos="184785" algn="l"/>
                <a:tab pos="185420" algn="l"/>
              </a:tabLst>
              <a:defRPr sz="1400">
                <a:solidFill>
                  <a:prstClr val="black"/>
                </a:solidFill>
                <a:latin typeface="Verdana"/>
                <a:cs typeface="Verdana"/>
              </a:defRPr>
            </a:lvl1pPr>
          </a:lstStyle>
          <a:p>
            <a:r>
              <a:rPr lang="fr-FR" sz="1100" dirty="0">
                <a:latin typeface="+mj-lt"/>
              </a:rPr>
              <a:t>Nouveaux modèles disruptifs</a:t>
            </a:r>
            <a:endParaRPr sz="1100" dirty="0">
              <a:latin typeface="+mj-lt"/>
            </a:endParaRPr>
          </a:p>
        </p:txBody>
      </p:sp>
      <p:sp>
        <p:nvSpPr>
          <p:cNvPr id="395" name="object 144"/>
          <p:cNvSpPr txBox="1"/>
          <p:nvPr/>
        </p:nvSpPr>
        <p:spPr>
          <a:xfrm>
            <a:off x="828693" y="4353128"/>
            <a:ext cx="1596117" cy="169277"/>
          </a:xfrm>
          <a:prstGeom prst="rect">
            <a:avLst/>
          </a:prstGeom>
        </p:spPr>
        <p:txBody>
          <a:bodyPr vert="horz" wrap="square" lIns="0" tIns="0" rIns="0" bIns="0" rtlCol="0">
            <a:spAutoFit/>
          </a:bodyPr>
          <a:lstStyle/>
          <a:p>
            <a:pPr marL="12700">
              <a:tabLst>
                <a:tab pos="184785" algn="l"/>
                <a:tab pos="185420" algn="l"/>
              </a:tabLst>
            </a:pPr>
            <a:r>
              <a:rPr lang="fr-FR" sz="1100" dirty="0">
                <a:solidFill>
                  <a:prstClr val="black"/>
                </a:solidFill>
                <a:latin typeface="+mj-lt"/>
                <a:cs typeface="Verdana"/>
              </a:rPr>
              <a:t>Levée de fonds</a:t>
            </a:r>
            <a:endParaRPr sz="1100" dirty="0">
              <a:solidFill>
                <a:prstClr val="black"/>
              </a:solidFill>
              <a:latin typeface="+mj-lt"/>
              <a:cs typeface="Verdana"/>
            </a:endParaRPr>
          </a:p>
        </p:txBody>
      </p:sp>
      <p:sp>
        <p:nvSpPr>
          <p:cNvPr id="396" name="object 145"/>
          <p:cNvSpPr txBox="1"/>
          <p:nvPr/>
        </p:nvSpPr>
        <p:spPr>
          <a:xfrm>
            <a:off x="2803699" y="4353128"/>
            <a:ext cx="1220716" cy="169277"/>
          </a:xfrm>
          <a:prstGeom prst="rect">
            <a:avLst/>
          </a:prstGeom>
        </p:spPr>
        <p:txBody>
          <a:bodyPr vert="horz" wrap="square" lIns="0" tIns="0" rIns="0" bIns="0" rtlCol="0">
            <a:spAutoFit/>
          </a:bodyPr>
          <a:lstStyle/>
          <a:p>
            <a:pPr marL="12700">
              <a:tabLst>
                <a:tab pos="184785" algn="l"/>
                <a:tab pos="185420" algn="l"/>
              </a:tabLst>
            </a:pPr>
            <a:r>
              <a:rPr lang="fr-FR" sz="1100" dirty="0">
                <a:solidFill>
                  <a:prstClr val="black"/>
                </a:solidFill>
                <a:latin typeface="+mj-lt"/>
                <a:cs typeface="Verdana"/>
              </a:rPr>
              <a:t>Participation</a:t>
            </a:r>
            <a:endParaRPr sz="1100" dirty="0">
              <a:solidFill>
                <a:prstClr val="black"/>
              </a:solidFill>
              <a:latin typeface="+mj-lt"/>
              <a:cs typeface="Verdana"/>
            </a:endParaRPr>
          </a:p>
        </p:txBody>
      </p:sp>
      <p:sp>
        <p:nvSpPr>
          <p:cNvPr id="397" name="object 150"/>
          <p:cNvSpPr txBox="1"/>
          <p:nvPr/>
        </p:nvSpPr>
        <p:spPr>
          <a:xfrm>
            <a:off x="828693" y="3407134"/>
            <a:ext cx="1691454" cy="338554"/>
          </a:xfrm>
          <a:prstGeom prst="rect">
            <a:avLst/>
          </a:prstGeom>
        </p:spPr>
        <p:txBody>
          <a:bodyPr vert="horz" wrap="square" lIns="0" tIns="0" rIns="0" bIns="0" rtlCol="0">
            <a:spAutoFit/>
          </a:bodyPr>
          <a:lstStyle/>
          <a:p>
            <a:pPr marL="12700">
              <a:tabLst>
                <a:tab pos="184785" algn="l"/>
                <a:tab pos="185420" algn="l"/>
              </a:tabLst>
            </a:pPr>
            <a:r>
              <a:rPr lang="fr-FR" sz="1100" dirty="0">
                <a:solidFill>
                  <a:prstClr val="black"/>
                </a:solidFill>
                <a:latin typeface="+mj-lt"/>
                <a:cs typeface="Verdana"/>
              </a:rPr>
              <a:t>Plateformes </a:t>
            </a:r>
            <a:br>
              <a:rPr lang="fr-FR" sz="1100" dirty="0">
                <a:solidFill>
                  <a:prstClr val="black"/>
                </a:solidFill>
                <a:latin typeface="+mj-lt"/>
                <a:cs typeface="Verdana"/>
              </a:rPr>
            </a:br>
            <a:r>
              <a:rPr lang="fr-FR" sz="1100" dirty="0">
                <a:solidFill>
                  <a:prstClr val="black"/>
                </a:solidFill>
                <a:latin typeface="+mj-lt"/>
                <a:cs typeface="Verdana"/>
              </a:rPr>
              <a:t>alternatives de prêts</a:t>
            </a:r>
            <a:endParaRPr sz="1100" dirty="0">
              <a:solidFill>
                <a:prstClr val="black"/>
              </a:solidFill>
              <a:latin typeface="+mj-lt"/>
              <a:cs typeface="Verdana"/>
            </a:endParaRPr>
          </a:p>
        </p:txBody>
      </p:sp>
      <p:sp>
        <p:nvSpPr>
          <p:cNvPr id="398" name="object 159"/>
          <p:cNvSpPr txBox="1"/>
          <p:nvPr/>
        </p:nvSpPr>
        <p:spPr>
          <a:xfrm>
            <a:off x="2803699" y="5865184"/>
            <a:ext cx="2103407" cy="169277"/>
          </a:xfrm>
          <a:prstGeom prst="rect">
            <a:avLst/>
          </a:prstGeom>
        </p:spPr>
        <p:txBody>
          <a:bodyPr vert="horz" wrap="square" lIns="0" tIns="0" rIns="0" bIns="0" rtlCol="0">
            <a:spAutoFit/>
          </a:bodyPr>
          <a:lstStyle>
            <a:defPPr>
              <a:defRPr lang="fr-FR"/>
            </a:defPPr>
            <a:lvl1pPr marL="12700" marR="794385">
              <a:tabLst>
                <a:tab pos="184785" algn="l"/>
                <a:tab pos="185420" algn="l"/>
              </a:tabLst>
              <a:defRPr sz="1400">
                <a:solidFill>
                  <a:prstClr val="black"/>
                </a:solidFill>
                <a:latin typeface="Verdana"/>
                <a:cs typeface="Verdana"/>
              </a:defRPr>
            </a:lvl1pPr>
          </a:lstStyle>
          <a:p>
            <a:r>
              <a:rPr lang="fr-FR" sz="1100" dirty="0">
                <a:latin typeface="+mj-lt"/>
              </a:rPr>
              <a:t>Automatisation</a:t>
            </a:r>
          </a:p>
        </p:txBody>
      </p:sp>
      <p:sp>
        <p:nvSpPr>
          <p:cNvPr id="399" name="object 160"/>
          <p:cNvSpPr txBox="1"/>
          <p:nvPr/>
        </p:nvSpPr>
        <p:spPr>
          <a:xfrm>
            <a:off x="828693" y="5783849"/>
            <a:ext cx="2158177" cy="507831"/>
          </a:xfrm>
          <a:prstGeom prst="rect">
            <a:avLst/>
          </a:prstGeom>
        </p:spPr>
        <p:txBody>
          <a:bodyPr vert="horz" wrap="square" lIns="0" tIns="0" rIns="0" bIns="0" rtlCol="0">
            <a:spAutoFit/>
          </a:bodyPr>
          <a:lstStyle/>
          <a:p>
            <a:pPr marL="12700" marR="794385">
              <a:tabLst>
                <a:tab pos="184785" algn="l"/>
                <a:tab pos="185420" algn="l"/>
              </a:tabLst>
            </a:pPr>
            <a:r>
              <a:rPr lang="fr-FR" sz="1100" dirty="0">
                <a:solidFill>
                  <a:prstClr val="black"/>
                </a:solidFill>
                <a:latin typeface="+mj-lt"/>
                <a:cs typeface="Verdana"/>
              </a:rPr>
              <a:t>Connexions acheteurs-vendeurs</a:t>
            </a:r>
          </a:p>
        </p:txBody>
      </p:sp>
      <p:sp>
        <p:nvSpPr>
          <p:cNvPr id="400" name="object 153"/>
          <p:cNvSpPr txBox="1"/>
          <p:nvPr/>
        </p:nvSpPr>
        <p:spPr>
          <a:xfrm>
            <a:off x="828693" y="5091454"/>
            <a:ext cx="1890763" cy="338554"/>
          </a:xfrm>
          <a:prstGeom prst="rect">
            <a:avLst/>
          </a:prstGeom>
        </p:spPr>
        <p:txBody>
          <a:bodyPr vert="horz" wrap="square" lIns="0" tIns="0" rIns="0" bIns="0" rtlCol="0">
            <a:spAutoFit/>
          </a:bodyPr>
          <a:lstStyle/>
          <a:p>
            <a:pPr marL="12700">
              <a:tabLst>
                <a:tab pos="184785" algn="l"/>
                <a:tab pos="185420" algn="l"/>
              </a:tabLst>
            </a:pPr>
            <a:r>
              <a:rPr lang="fr-FR" sz="1100" dirty="0">
                <a:solidFill>
                  <a:prstClr val="black"/>
                </a:solidFill>
                <a:latin typeface="+mj-lt"/>
                <a:cs typeface="Verdana"/>
              </a:rPr>
              <a:t>Investisseurs </a:t>
            </a:r>
            <a:br>
              <a:rPr lang="fr-FR" sz="1100" dirty="0">
                <a:solidFill>
                  <a:prstClr val="black"/>
                </a:solidFill>
                <a:latin typeface="+mj-lt"/>
                <a:cs typeface="Verdana"/>
              </a:rPr>
            </a:br>
            <a:r>
              <a:rPr lang="fr-FR" sz="1100" dirty="0">
                <a:solidFill>
                  <a:prstClr val="black"/>
                </a:solidFill>
                <a:latin typeface="+mj-lt"/>
                <a:cs typeface="Verdana"/>
              </a:rPr>
              <a:t>autonomisés</a:t>
            </a:r>
          </a:p>
        </p:txBody>
      </p:sp>
      <p:sp>
        <p:nvSpPr>
          <p:cNvPr id="401" name="object 154"/>
          <p:cNvSpPr txBox="1"/>
          <p:nvPr/>
        </p:nvSpPr>
        <p:spPr>
          <a:xfrm>
            <a:off x="2803699" y="5091454"/>
            <a:ext cx="1466336" cy="338554"/>
          </a:xfrm>
          <a:prstGeom prst="rect">
            <a:avLst/>
          </a:prstGeom>
        </p:spPr>
        <p:txBody>
          <a:bodyPr vert="horz" wrap="square" lIns="0" tIns="0" rIns="0" bIns="0" rtlCol="0">
            <a:spAutoFit/>
          </a:bodyPr>
          <a:lstStyle/>
          <a:p>
            <a:pPr marL="12700">
              <a:tabLst>
                <a:tab pos="184785" algn="l"/>
                <a:tab pos="185420" algn="l"/>
              </a:tabLst>
            </a:pPr>
            <a:r>
              <a:rPr lang="fr-FR" sz="1100" dirty="0">
                <a:solidFill>
                  <a:prstClr val="black"/>
                </a:solidFill>
                <a:latin typeface="+mj-lt"/>
                <a:cs typeface="Verdana"/>
              </a:rPr>
              <a:t>Externalisation </a:t>
            </a:r>
            <a:br>
              <a:rPr lang="fr-FR" sz="1100" dirty="0">
                <a:solidFill>
                  <a:prstClr val="black"/>
                </a:solidFill>
                <a:latin typeface="+mj-lt"/>
                <a:cs typeface="Verdana"/>
              </a:rPr>
            </a:br>
            <a:r>
              <a:rPr lang="fr-FR" sz="1100" dirty="0">
                <a:solidFill>
                  <a:prstClr val="black"/>
                </a:solidFill>
                <a:latin typeface="+mj-lt"/>
                <a:cs typeface="Verdana"/>
              </a:rPr>
              <a:t>de processus</a:t>
            </a:r>
            <a:endParaRPr sz="1100" dirty="0">
              <a:solidFill>
                <a:prstClr val="black"/>
              </a:solidFill>
              <a:latin typeface="+mj-lt"/>
              <a:cs typeface="Verdana"/>
            </a:endParaRPr>
          </a:p>
        </p:txBody>
      </p:sp>
      <p:cxnSp>
        <p:nvCxnSpPr>
          <p:cNvPr id="14" name="Straight Connector 13"/>
          <p:cNvCxnSpPr/>
          <p:nvPr/>
        </p:nvCxnSpPr>
        <p:spPr>
          <a:xfrm>
            <a:off x="351146" y="2278253"/>
            <a:ext cx="4497299" cy="0"/>
          </a:xfrm>
          <a:prstGeom prst="line">
            <a:avLst/>
          </a:prstGeom>
          <a:ln>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a:off x="362366" y="3128641"/>
            <a:ext cx="3909191" cy="0"/>
          </a:xfrm>
          <a:prstGeom prst="line">
            <a:avLst/>
          </a:prstGeom>
          <a:ln>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3" name="Straight Connector 402"/>
          <p:cNvCxnSpPr/>
          <p:nvPr/>
        </p:nvCxnSpPr>
        <p:spPr>
          <a:xfrm>
            <a:off x="362366" y="4017440"/>
            <a:ext cx="3384000" cy="0"/>
          </a:xfrm>
          <a:prstGeom prst="line">
            <a:avLst/>
          </a:prstGeom>
          <a:ln>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p:nvPr/>
        </p:nvCxnSpPr>
        <p:spPr>
          <a:xfrm>
            <a:off x="362366" y="4864511"/>
            <a:ext cx="3909191" cy="0"/>
          </a:xfrm>
          <a:prstGeom prst="line">
            <a:avLst/>
          </a:prstGeom>
          <a:ln>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5" name="Straight Connector 404"/>
          <p:cNvCxnSpPr/>
          <p:nvPr/>
        </p:nvCxnSpPr>
        <p:spPr>
          <a:xfrm>
            <a:off x="362366" y="5660493"/>
            <a:ext cx="4497299" cy="0"/>
          </a:xfrm>
          <a:prstGeom prst="line">
            <a:avLst/>
          </a:prstGeom>
          <a:ln>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414" name="object 173"/>
          <p:cNvSpPr/>
          <p:nvPr/>
        </p:nvSpPr>
        <p:spPr>
          <a:xfrm>
            <a:off x="447214" y="3480675"/>
            <a:ext cx="214672" cy="194227"/>
          </a:xfrm>
          <a:custGeom>
            <a:avLst/>
            <a:gdLst/>
            <a:ahLst/>
            <a:cxnLst/>
            <a:rect l="l" t="t" r="r" b="b"/>
            <a:pathLst>
              <a:path w="266700" h="241300">
                <a:moveTo>
                  <a:pt x="219541" y="217017"/>
                </a:moveTo>
                <a:lnTo>
                  <a:pt x="48844" y="217017"/>
                </a:lnTo>
                <a:lnTo>
                  <a:pt x="54127" y="217893"/>
                </a:lnTo>
                <a:lnTo>
                  <a:pt x="63804" y="220979"/>
                </a:lnTo>
                <a:lnTo>
                  <a:pt x="100774" y="233298"/>
                </a:lnTo>
                <a:lnTo>
                  <a:pt x="147866" y="240347"/>
                </a:lnTo>
                <a:lnTo>
                  <a:pt x="159753" y="240791"/>
                </a:lnTo>
                <a:lnTo>
                  <a:pt x="167678" y="240347"/>
                </a:lnTo>
                <a:lnTo>
                  <a:pt x="176034" y="238582"/>
                </a:lnTo>
                <a:lnTo>
                  <a:pt x="184835" y="235940"/>
                </a:lnTo>
                <a:lnTo>
                  <a:pt x="193205" y="231978"/>
                </a:lnTo>
                <a:lnTo>
                  <a:pt x="201117" y="228460"/>
                </a:lnTo>
                <a:lnTo>
                  <a:pt x="209486" y="223177"/>
                </a:lnTo>
                <a:lnTo>
                  <a:pt x="217398" y="218782"/>
                </a:lnTo>
                <a:lnTo>
                  <a:pt x="219541" y="217017"/>
                </a:lnTo>
                <a:close/>
              </a:path>
              <a:path w="266700" h="241300">
                <a:moveTo>
                  <a:pt x="53251" y="141300"/>
                </a:moveTo>
                <a:lnTo>
                  <a:pt x="39166" y="141300"/>
                </a:lnTo>
                <a:lnTo>
                  <a:pt x="27279" y="142176"/>
                </a:lnTo>
                <a:lnTo>
                  <a:pt x="0" y="149669"/>
                </a:lnTo>
                <a:lnTo>
                  <a:pt x="0" y="230657"/>
                </a:lnTo>
                <a:lnTo>
                  <a:pt x="3517" y="228460"/>
                </a:lnTo>
                <a:lnTo>
                  <a:pt x="14084" y="224066"/>
                </a:lnTo>
                <a:lnTo>
                  <a:pt x="20675" y="221424"/>
                </a:lnTo>
                <a:lnTo>
                  <a:pt x="28168" y="219214"/>
                </a:lnTo>
                <a:lnTo>
                  <a:pt x="36080" y="217893"/>
                </a:lnTo>
                <a:lnTo>
                  <a:pt x="45326" y="217017"/>
                </a:lnTo>
                <a:lnTo>
                  <a:pt x="219541" y="217017"/>
                </a:lnTo>
                <a:lnTo>
                  <a:pt x="224891" y="212610"/>
                </a:lnTo>
                <a:lnTo>
                  <a:pt x="237655" y="202488"/>
                </a:lnTo>
                <a:lnTo>
                  <a:pt x="242487" y="197650"/>
                </a:lnTo>
                <a:lnTo>
                  <a:pt x="148310" y="197650"/>
                </a:lnTo>
                <a:lnTo>
                  <a:pt x="140385" y="197205"/>
                </a:lnTo>
                <a:lnTo>
                  <a:pt x="97256" y="181355"/>
                </a:lnTo>
                <a:lnTo>
                  <a:pt x="93294" y="179158"/>
                </a:lnTo>
                <a:lnTo>
                  <a:pt x="172209" y="179158"/>
                </a:lnTo>
                <a:lnTo>
                  <a:pt x="172948" y="178714"/>
                </a:lnTo>
                <a:lnTo>
                  <a:pt x="173837" y="176961"/>
                </a:lnTo>
                <a:lnTo>
                  <a:pt x="173837" y="176072"/>
                </a:lnTo>
                <a:lnTo>
                  <a:pt x="128943" y="153187"/>
                </a:lnTo>
                <a:lnTo>
                  <a:pt x="89776" y="144386"/>
                </a:lnTo>
                <a:lnTo>
                  <a:pt x="70408" y="142176"/>
                </a:lnTo>
                <a:lnTo>
                  <a:pt x="53251" y="141300"/>
                </a:lnTo>
                <a:close/>
              </a:path>
              <a:path w="266700" h="241300">
                <a:moveTo>
                  <a:pt x="252615" y="170357"/>
                </a:moveTo>
                <a:lnTo>
                  <a:pt x="247332" y="170357"/>
                </a:lnTo>
                <a:lnTo>
                  <a:pt x="242049" y="171678"/>
                </a:lnTo>
                <a:lnTo>
                  <a:pt x="233248" y="174751"/>
                </a:lnTo>
                <a:lnTo>
                  <a:pt x="221361" y="180035"/>
                </a:lnTo>
                <a:lnTo>
                  <a:pt x="207276" y="185762"/>
                </a:lnTo>
                <a:lnTo>
                  <a:pt x="191439" y="191046"/>
                </a:lnTo>
                <a:lnTo>
                  <a:pt x="174269" y="195452"/>
                </a:lnTo>
                <a:lnTo>
                  <a:pt x="165468" y="197205"/>
                </a:lnTo>
                <a:lnTo>
                  <a:pt x="157556" y="197650"/>
                </a:lnTo>
                <a:lnTo>
                  <a:pt x="242487" y="197650"/>
                </a:lnTo>
                <a:lnTo>
                  <a:pt x="248208" y="191922"/>
                </a:lnTo>
                <a:lnTo>
                  <a:pt x="254812" y="183121"/>
                </a:lnTo>
                <a:lnTo>
                  <a:pt x="257009" y="180035"/>
                </a:lnTo>
                <a:lnTo>
                  <a:pt x="257454" y="176961"/>
                </a:lnTo>
                <a:lnTo>
                  <a:pt x="257009" y="174751"/>
                </a:lnTo>
                <a:lnTo>
                  <a:pt x="255257" y="172554"/>
                </a:lnTo>
                <a:lnTo>
                  <a:pt x="252615" y="170357"/>
                </a:lnTo>
                <a:close/>
              </a:path>
              <a:path w="266700" h="241300">
                <a:moveTo>
                  <a:pt x="172209" y="179158"/>
                </a:moveTo>
                <a:lnTo>
                  <a:pt x="93294" y="179158"/>
                </a:lnTo>
                <a:lnTo>
                  <a:pt x="106057" y="180924"/>
                </a:lnTo>
                <a:lnTo>
                  <a:pt x="118821" y="182244"/>
                </a:lnTo>
                <a:lnTo>
                  <a:pt x="133781" y="183121"/>
                </a:lnTo>
                <a:lnTo>
                  <a:pt x="148310" y="183121"/>
                </a:lnTo>
                <a:lnTo>
                  <a:pt x="161074" y="182244"/>
                </a:lnTo>
                <a:lnTo>
                  <a:pt x="166357" y="181355"/>
                </a:lnTo>
                <a:lnTo>
                  <a:pt x="170751" y="180035"/>
                </a:lnTo>
                <a:lnTo>
                  <a:pt x="172209" y="179158"/>
                </a:lnTo>
                <a:close/>
              </a:path>
              <a:path w="266700" h="241300">
                <a:moveTo>
                  <a:pt x="190119" y="0"/>
                </a:moveTo>
                <a:lnTo>
                  <a:pt x="147866" y="13639"/>
                </a:lnTo>
                <a:lnTo>
                  <a:pt x="123228" y="40500"/>
                </a:lnTo>
                <a:lnTo>
                  <a:pt x="119265" y="47104"/>
                </a:lnTo>
                <a:lnTo>
                  <a:pt x="117068" y="54584"/>
                </a:lnTo>
                <a:lnTo>
                  <a:pt x="114858" y="61188"/>
                </a:lnTo>
                <a:lnTo>
                  <a:pt x="114427" y="69113"/>
                </a:lnTo>
                <a:lnTo>
                  <a:pt x="113538" y="76593"/>
                </a:lnTo>
                <a:lnTo>
                  <a:pt x="114427" y="84950"/>
                </a:lnTo>
                <a:lnTo>
                  <a:pt x="114858" y="92443"/>
                </a:lnTo>
                <a:lnTo>
                  <a:pt x="117068" y="99923"/>
                </a:lnTo>
                <a:lnTo>
                  <a:pt x="119265" y="106527"/>
                </a:lnTo>
                <a:lnTo>
                  <a:pt x="123228" y="113131"/>
                </a:lnTo>
                <a:lnTo>
                  <a:pt x="126746" y="119735"/>
                </a:lnTo>
                <a:lnTo>
                  <a:pt x="160197" y="147459"/>
                </a:lnTo>
                <a:lnTo>
                  <a:pt x="181762" y="153187"/>
                </a:lnTo>
                <a:lnTo>
                  <a:pt x="197599" y="153187"/>
                </a:lnTo>
                <a:lnTo>
                  <a:pt x="238531" y="136016"/>
                </a:lnTo>
                <a:lnTo>
                  <a:pt x="253047" y="119735"/>
                </a:lnTo>
                <a:lnTo>
                  <a:pt x="191439" y="119735"/>
                </a:lnTo>
                <a:lnTo>
                  <a:pt x="185712" y="117525"/>
                </a:lnTo>
                <a:lnTo>
                  <a:pt x="161950" y="89357"/>
                </a:lnTo>
                <a:lnTo>
                  <a:pt x="150507" y="89357"/>
                </a:lnTo>
                <a:lnTo>
                  <a:pt x="152273" y="80987"/>
                </a:lnTo>
                <a:lnTo>
                  <a:pt x="160197" y="80987"/>
                </a:lnTo>
                <a:lnTo>
                  <a:pt x="160197" y="72186"/>
                </a:lnTo>
                <a:lnTo>
                  <a:pt x="150507" y="72186"/>
                </a:lnTo>
                <a:lnTo>
                  <a:pt x="152273" y="64706"/>
                </a:lnTo>
                <a:lnTo>
                  <a:pt x="161950" y="64706"/>
                </a:lnTo>
                <a:lnTo>
                  <a:pt x="163271" y="58102"/>
                </a:lnTo>
                <a:lnTo>
                  <a:pt x="198920" y="33451"/>
                </a:lnTo>
                <a:lnTo>
                  <a:pt x="252373" y="33451"/>
                </a:lnTo>
                <a:lnTo>
                  <a:pt x="248653" y="28613"/>
                </a:lnTo>
                <a:lnTo>
                  <a:pt x="213004" y="3962"/>
                </a:lnTo>
                <a:lnTo>
                  <a:pt x="205524" y="1752"/>
                </a:lnTo>
                <a:lnTo>
                  <a:pt x="190119" y="0"/>
                </a:lnTo>
                <a:close/>
              </a:path>
              <a:path w="266700" h="241300">
                <a:moveTo>
                  <a:pt x="261567" y="103441"/>
                </a:moveTo>
                <a:lnTo>
                  <a:pt x="213880" y="103441"/>
                </a:lnTo>
                <a:lnTo>
                  <a:pt x="214769" y="117525"/>
                </a:lnTo>
                <a:lnTo>
                  <a:pt x="210807" y="118414"/>
                </a:lnTo>
                <a:lnTo>
                  <a:pt x="207276" y="119735"/>
                </a:lnTo>
                <a:lnTo>
                  <a:pt x="253047" y="119735"/>
                </a:lnTo>
                <a:lnTo>
                  <a:pt x="257009" y="113131"/>
                </a:lnTo>
                <a:lnTo>
                  <a:pt x="260540" y="106527"/>
                </a:lnTo>
                <a:lnTo>
                  <a:pt x="261567" y="103441"/>
                </a:lnTo>
                <a:close/>
              </a:path>
              <a:path w="266700" h="241300">
                <a:moveTo>
                  <a:pt x="202006" y="47104"/>
                </a:moveTo>
                <a:lnTo>
                  <a:pt x="180441" y="64706"/>
                </a:lnTo>
                <a:lnTo>
                  <a:pt x="210807" y="64706"/>
                </a:lnTo>
                <a:lnTo>
                  <a:pt x="208597" y="72186"/>
                </a:lnTo>
                <a:lnTo>
                  <a:pt x="178676" y="72186"/>
                </a:lnTo>
                <a:lnTo>
                  <a:pt x="178231" y="76593"/>
                </a:lnTo>
                <a:lnTo>
                  <a:pt x="178676" y="80987"/>
                </a:lnTo>
                <a:lnTo>
                  <a:pt x="207276" y="80987"/>
                </a:lnTo>
                <a:lnTo>
                  <a:pt x="205079" y="89357"/>
                </a:lnTo>
                <a:lnTo>
                  <a:pt x="180441" y="89357"/>
                </a:lnTo>
                <a:lnTo>
                  <a:pt x="181762" y="92443"/>
                </a:lnTo>
                <a:lnTo>
                  <a:pt x="197599" y="105651"/>
                </a:lnTo>
                <a:lnTo>
                  <a:pt x="201117" y="106527"/>
                </a:lnTo>
                <a:lnTo>
                  <a:pt x="207721" y="105651"/>
                </a:lnTo>
                <a:lnTo>
                  <a:pt x="210807" y="104762"/>
                </a:lnTo>
                <a:lnTo>
                  <a:pt x="213880" y="103441"/>
                </a:lnTo>
                <a:lnTo>
                  <a:pt x="261567" y="103441"/>
                </a:lnTo>
                <a:lnTo>
                  <a:pt x="262737" y="99923"/>
                </a:lnTo>
                <a:lnTo>
                  <a:pt x="264934" y="92443"/>
                </a:lnTo>
                <a:lnTo>
                  <a:pt x="265811" y="84950"/>
                </a:lnTo>
                <a:lnTo>
                  <a:pt x="266700" y="76593"/>
                </a:lnTo>
                <a:lnTo>
                  <a:pt x="265811" y="69113"/>
                </a:lnTo>
                <a:lnTo>
                  <a:pt x="264934" y="61188"/>
                </a:lnTo>
                <a:lnTo>
                  <a:pt x="262737" y="54584"/>
                </a:lnTo>
                <a:lnTo>
                  <a:pt x="261312" y="49733"/>
                </a:lnTo>
                <a:lnTo>
                  <a:pt x="213880" y="49733"/>
                </a:lnTo>
                <a:lnTo>
                  <a:pt x="207721" y="47536"/>
                </a:lnTo>
                <a:lnTo>
                  <a:pt x="202006" y="47104"/>
                </a:lnTo>
                <a:close/>
              </a:path>
              <a:path w="266700" h="241300">
                <a:moveTo>
                  <a:pt x="252373" y="33451"/>
                </a:moveTo>
                <a:lnTo>
                  <a:pt x="198920" y="33451"/>
                </a:lnTo>
                <a:lnTo>
                  <a:pt x="207721" y="34328"/>
                </a:lnTo>
                <a:lnTo>
                  <a:pt x="216966" y="36537"/>
                </a:lnTo>
                <a:lnTo>
                  <a:pt x="213880" y="49733"/>
                </a:lnTo>
                <a:lnTo>
                  <a:pt x="261312" y="49733"/>
                </a:lnTo>
                <a:lnTo>
                  <a:pt x="260540" y="47104"/>
                </a:lnTo>
                <a:lnTo>
                  <a:pt x="257009" y="40500"/>
                </a:lnTo>
                <a:lnTo>
                  <a:pt x="253047" y="34328"/>
                </a:lnTo>
                <a:lnTo>
                  <a:pt x="252373" y="33451"/>
                </a:lnTo>
                <a:close/>
              </a:path>
            </a:pathLst>
          </a:custGeom>
          <a:solidFill>
            <a:srgbClr val="43B02A"/>
          </a:solidFill>
        </p:spPr>
        <p:txBody>
          <a:bodyPr wrap="square" lIns="0" tIns="0" rIns="0" bIns="0" rtlCol="0"/>
          <a:lstStyle/>
          <a:p>
            <a:endParaRPr>
              <a:solidFill>
                <a:prstClr val="black"/>
              </a:solidFill>
              <a:latin typeface="+mj-lt"/>
            </a:endParaRPr>
          </a:p>
        </p:txBody>
      </p:sp>
      <p:sp>
        <p:nvSpPr>
          <p:cNvPr id="415" name="object 172"/>
          <p:cNvSpPr/>
          <p:nvPr/>
        </p:nvSpPr>
        <p:spPr>
          <a:xfrm>
            <a:off x="2485566" y="3501485"/>
            <a:ext cx="196085" cy="180706"/>
          </a:xfrm>
          <a:custGeom>
            <a:avLst/>
            <a:gdLst/>
            <a:ahLst/>
            <a:cxnLst/>
            <a:rect l="l" t="t" r="r" b="b"/>
            <a:pathLst>
              <a:path w="259079" h="238760">
                <a:moveTo>
                  <a:pt x="124904" y="121018"/>
                </a:moveTo>
                <a:lnTo>
                  <a:pt x="120484" y="121018"/>
                </a:lnTo>
                <a:lnTo>
                  <a:pt x="120484" y="179984"/>
                </a:lnTo>
                <a:lnTo>
                  <a:pt x="148297" y="214744"/>
                </a:lnTo>
                <a:lnTo>
                  <a:pt x="148297" y="238506"/>
                </a:lnTo>
                <a:lnTo>
                  <a:pt x="211416" y="238506"/>
                </a:lnTo>
                <a:lnTo>
                  <a:pt x="212293" y="189661"/>
                </a:lnTo>
                <a:lnTo>
                  <a:pt x="239217" y="189661"/>
                </a:lnTo>
                <a:lnTo>
                  <a:pt x="258191" y="173380"/>
                </a:lnTo>
                <a:lnTo>
                  <a:pt x="259080" y="168973"/>
                </a:lnTo>
                <a:lnTo>
                  <a:pt x="259080" y="165023"/>
                </a:lnTo>
                <a:lnTo>
                  <a:pt x="212293" y="165023"/>
                </a:lnTo>
                <a:lnTo>
                  <a:pt x="212293" y="162814"/>
                </a:lnTo>
                <a:lnTo>
                  <a:pt x="138582" y="162814"/>
                </a:lnTo>
                <a:lnTo>
                  <a:pt x="136385" y="161937"/>
                </a:lnTo>
                <a:lnTo>
                  <a:pt x="135496" y="159740"/>
                </a:lnTo>
                <a:lnTo>
                  <a:pt x="135496" y="135978"/>
                </a:lnTo>
                <a:lnTo>
                  <a:pt x="134620" y="130695"/>
                </a:lnTo>
                <a:lnTo>
                  <a:pt x="132410" y="127177"/>
                </a:lnTo>
                <a:lnTo>
                  <a:pt x="128879" y="123647"/>
                </a:lnTo>
                <a:lnTo>
                  <a:pt x="124904" y="121018"/>
                </a:lnTo>
                <a:close/>
              </a:path>
              <a:path w="259079" h="238760">
                <a:moveTo>
                  <a:pt x="242747" y="0"/>
                </a:moveTo>
                <a:lnTo>
                  <a:pt x="15443" y="0"/>
                </a:lnTo>
                <a:lnTo>
                  <a:pt x="11912" y="1765"/>
                </a:lnTo>
                <a:lnTo>
                  <a:pt x="7937" y="3086"/>
                </a:lnTo>
                <a:lnTo>
                  <a:pt x="4851" y="6159"/>
                </a:lnTo>
                <a:lnTo>
                  <a:pt x="2641" y="9245"/>
                </a:lnTo>
                <a:lnTo>
                  <a:pt x="1320" y="11887"/>
                </a:lnTo>
                <a:lnTo>
                  <a:pt x="0" y="15836"/>
                </a:lnTo>
                <a:lnTo>
                  <a:pt x="0" y="173380"/>
                </a:lnTo>
                <a:lnTo>
                  <a:pt x="1320" y="176898"/>
                </a:lnTo>
                <a:lnTo>
                  <a:pt x="2641" y="180860"/>
                </a:lnTo>
                <a:lnTo>
                  <a:pt x="19862" y="189661"/>
                </a:lnTo>
                <a:lnTo>
                  <a:pt x="108572" y="189661"/>
                </a:lnTo>
                <a:lnTo>
                  <a:pt x="107251" y="184378"/>
                </a:lnTo>
                <a:lnTo>
                  <a:pt x="107251" y="165023"/>
                </a:lnTo>
                <a:lnTo>
                  <a:pt x="25158" y="165023"/>
                </a:lnTo>
                <a:lnTo>
                  <a:pt x="25158" y="23761"/>
                </a:lnTo>
                <a:lnTo>
                  <a:pt x="259080" y="23761"/>
                </a:lnTo>
                <a:lnTo>
                  <a:pt x="259080" y="20243"/>
                </a:lnTo>
                <a:lnTo>
                  <a:pt x="258191" y="15836"/>
                </a:lnTo>
                <a:lnTo>
                  <a:pt x="257759" y="11887"/>
                </a:lnTo>
                <a:lnTo>
                  <a:pt x="255549" y="9245"/>
                </a:lnTo>
                <a:lnTo>
                  <a:pt x="253339" y="6159"/>
                </a:lnTo>
                <a:lnTo>
                  <a:pt x="250253" y="3086"/>
                </a:lnTo>
                <a:lnTo>
                  <a:pt x="246278" y="1765"/>
                </a:lnTo>
                <a:lnTo>
                  <a:pt x="242747" y="0"/>
                </a:lnTo>
                <a:close/>
              </a:path>
              <a:path w="259079" h="238760">
                <a:moveTo>
                  <a:pt x="259080" y="23761"/>
                </a:moveTo>
                <a:lnTo>
                  <a:pt x="233921" y="23761"/>
                </a:lnTo>
                <a:lnTo>
                  <a:pt x="233921" y="165023"/>
                </a:lnTo>
                <a:lnTo>
                  <a:pt x="259080" y="165023"/>
                </a:lnTo>
                <a:lnTo>
                  <a:pt x="259080" y="100330"/>
                </a:lnTo>
                <a:lnTo>
                  <a:pt x="244957" y="100330"/>
                </a:lnTo>
                <a:lnTo>
                  <a:pt x="243636" y="99009"/>
                </a:lnTo>
                <a:lnTo>
                  <a:pt x="241871" y="96812"/>
                </a:lnTo>
                <a:lnTo>
                  <a:pt x="241427" y="94615"/>
                </a:lnTo>
                <a:lnTo>
                  <a:pt x="241871" y="92405"/>
                </a:lnTo>
                <a:lnTo>
                  <a:pt x="243636" y="90208"/>
                </a:lnTo>
                <a:lnTo>
                  <a:pt x="244957" y="88455"/>
                </a:lnTo>
                <a:lnTo>
                  <a:pt x="259080" y="88455"/>
                </a:lnTo>
                <a:lnTo>
                  <a:pt x="259080" y="23761"/>
                </a:lnTo>
                <a:close/>
              </a:path>
              <a:path w="259079" h="238760">
                <a:moveTo>
                  <a:pt x="148297" y="66890"/>
                </a:moveTo>
                <a:lnTo>
                  <a:pt x="146088" y="67767"/>
                </a:lnTo>
                <a:lnTo>
                  <a:pt x="143446" y="69088"/>
                </a:lnTo>
                <a:lnTo>
                  <a:pt x="142113" y="71285"/>
                </a:lnTo>
                <a:lnTo>
                  <a:pt x="141236" y="73482"/>
                </a:lnTo>
                <a:lnTo>
                  <a:pt x="141236" y="159740"/>
                </a:lnTo>
                <a:lnTo>
                  <a:pt x="140792" y="161937"/>
                </a:lnTo>
                <a:lnTo>
                  <a:pt x="138582" y="162814"/>
                </a:lnTo>
                <a:lnTo>
                  <a:pt x="212293" y="162814"/>
                </a:lnTo>
                <a:lnTo>
                  <a:pt x="212293" y="144335"/>
                </a:lnTo>
                <a:lnTo>
                  <a:pt x="155359" y="144335"/>
                </a:lnTo>
                <a:lnTo>
                  <a:pt x="155359" y="73482"/>
                </a:lnTo>
                <a:lnTo>
                  <a:pt x="154914" y="71285"/>
                </a:lnTo>
                <a:lnTo>
                  <a:pt x="153149" y="69088"/>
                </a:lnTo>
                <a:lnTo>
                  <a:pt x="150939" y="67767"/>
                </a:lnTo>
                <a:lnTo>
                  <a:pt x="148297" y="66890"/>
                </a:lnTo>
                <a:close/>
              </a:path>
              <a:path w="259079" h="238760">
                <a:moveTo>
                  <a:pt x="169926" y="101206"/>
                </a:moveTo>
                <a:lnTo>
                  <a:pt x="164630" y="101206"/>
                </a:lnTo>
                <a:lnTo>
                  <a:pt x="162420" y="102527"/>
                </a:lnTo>
                <a:lnTo>
                  <a:pt x="160655" y="104736"/>
                </a:lnTo>
                <a:lnTo>
                  <a:pt x="160210" y="107810"/>
                </a:lnTo>
                <a:lnTo>
                  <a:pt x="160210" y="144335"/>
                </a:lnTo>
                <a:lnTo>
                  <a:pt x="174332" y="144335"/>
                </a:lnTo>
                <a:lnTo>
                  <a:pt x="174332" y="107810"/>
                </a:lnTo>
                <a:lnTo>
                  <a:pt x="173456" y="104736"/>
                </a:lnTo>
                <a:lnTo>
                  <a:pt x="172135" y="102527"/>
                </a:lnTo>
                <a:lnTo>
                  <a:pt x="169926" y="101206"/>
                </a:lnTo>
                <a:close/>
              </a:path>
              <a:path w="259079" h="238760">
                <a:moveTo>
                  <a:pt x="186258" y="111772"/>
                </a:moveTo>
                <a:lnTo>
                  <a:pt x="183159" y="112217"/>
                </a:lnTo>
                <a:lnTo>
                  <a:pt x="180962" y="113969"/>
                </a:lnTo>
                <a:lnTo>
                  <a:pt x="179628" y="116166"/>
                </a:lnTo>
                <a:lnTo>
                  <a:pt x="178752" y="118808"/>
                </a:lnTo>
                <a:lnTo>
                  <a:pt x="178752" y="144335"/>
                </a:lnTo>
                <a:lnTo>
                  <a:pt x="192874" y="144335"/>
                </a:lnTo>
                <a:lnTo>
                  <a:pt x="192874" y="116166"/>
                </a:lnTo>
                <a:lnTo>
                  <a:pt x="191554" y="113969"/>
                </a:lnTo>
                <a:lnTo>
                  <a:pt x="188899" y="112217"/>
                </a:lnTo>
                <a:lnTo>
                  <a:pt x="186258" y="111772"/>
                </a:lnTo>
                <a:close/>
              </a:path>
              <a:path w="259079" h="238760">
                <a:moveTo>
                  <a:pt x="204787" y="121018"/>
                </a:moveTo>
                <a:lnTo>
                  <a:pt x="201701" y="121894"/>
                </a:lnTo>
                <a:lnTo>
                  <a:pt x="199491" y="123647"/>
                </a:lnTo>
                <a:lnTo>
                  <a:pt x="198170" y="125857"/>
                </a:lnTo>
                <a:lnTo>
                  <a:pt x="198170" y="144335"/>
                </a:lnTo>
                <a:lnTo>
                  <a:pt x="212293" y="144335"/>
                </a:lnTo>
                <a:lnTo>
                  <a:pt x="212293" y="128498"/>
                </a:lnTo>
                <a:lnTo>
                  <a:pt x="211416" y="125857"/>
                </a:lnTo>
                <a:lnTo>
                  <a:pt x="210083" y="123647"/>
                </a:lnTo>
                <a:lnTo>
                  <a:pt x="207886" y="121894"/>
                </a:lnTo>
                <a:lnTo>
                  <a:pt x="204787" y="121018"/>
                </a:lnTo>
                <a:close/>
              </a:path>
              <a:path w="259079" h="238760">
                <a:moveTo>
                  <a:pt x="259080" y="88455"/>
                </a:moveTo>
                <a:lnTo>
                  <a:pt x="250253" y="88455"/>
                </a:lnTo>
                <a:lnTo>
                  <a:pt x="251574" y="90208"/>
                </a:lnTo>
                <a:lnTo>
                  <a:pt x="253339" y="92405"/>
                </a:lnTo>
                <a:lnTo>
                  <a:pt x="253784" y="94615"/>
                </a:lnTo>
                <a:lnTo>
                  <a:pt x="253339" y="96812"/>
                </a:lnTo>
                <a:lnTo>
                  <a:pt x="251574" y="99009"/>
                </a:lnTo>
                <a:lnTo>
                  <a:pt x="250253" y="100330"/>
                </a:lnTo>
                <a:lnTo>
                  <a:pt x="259080" y="100330"/>
                </a:lnTo>
                <a:lnTo>
                  <a:pt x="259080" y="88455"/>
                </a:lnTo>
                <a:close/>
              </a:path>
              <a:path w="259079" h="238760">
                <a:moveTo>
                  <a:pt x="124460" y="65570"/>
                </a:moveTo>
                <a:lnTo>
                  <a:pt x="122250" y="66446"/>
                </a:lnTo>
                <a:lnTo>
                  <a:pt x="119608" y="67767"/>
                </a:lnTo>
                <a:lnTo>
                  <a:pt x="118287" y="69088"/>
                </a:lnTo>
                <a:lnTo>
                  <a:pt x="118287" y="73482"/>
                </a:lnTo>
                <a:lnTo>
                  <a:pt x="119608" y="76123"/>
                </a:lnTo>
                <a:lnTo>
                  <a:pt x="121373" y="77444"/>
                </a:lnTo>
                <a:lnTo>
                  <a:pt x="126669" y="77444"/>
                </a:lnTo>
                <a:lnTo>
                  <a:pt x="127990" y="76123"/>
                </a:lnTo>
                <a:lnTo>
                  <a:pt x="129311" y="74371"/>
                </a:lnTo>
                <a:lnTo>
                  <a:pt x="129311" y="69088"/>
                </a:lnTo>
                <a:lnTo>
                  <a:pt x="126669" y="66446"/>
                </a:lnTo>
                <a:lnTo>
                  <a:pt x="124460" y="65570"/>
                </a:lnTo>
                <a:close/>
              </a:path>
              <a:path w="259079" h="238760">
                <a:moveTo>
                  <a:pt x="172567" y="65570"/>
                </a:moveTo>
                <a:lnTo>
                  <a:pt x="170370" y="66446"/>
                </a:lnTo>
                <a:lnTo>
                  <a:pt x="169037" y="67767"/>
                </a:lnTo>
                <a:lnTo>
                  <a:pt x="167271" y="69088"/>
                </a:lnTo>
                <a:lnTo>
                  <a:pt x="166839" y="71285"/>
                </a:lnTo>
                <a:lnTo>
                  <a:pt x="167271" y="73482"/>
                </a:lnTo>
                <a:lnTo>
                  <a:pt x="169037" y="76123"/>
                </a:lnTo>
                <a:lnTo>
                  <a:pt x="170370" y="77444"/>
                </a:lnTo>
                <a:lnTo>
                  <a:pt x="172567" y="77444"/>
                </a:lnTo>
                <a:lnTo>
                  <a:pt x="174777" y="76568"/>
                </a:lnTo>
                <a:lnTo>
                  <a:pt x="176987" y="76123"/>
                </a:lnTo>
                <a:lnTo>
                  <a:pt x="177863" y="73482"/>
                </a:lnTo>
                <a:lnTo>
                  <a:pt x="178752" y="71285"/>
                </a:lnTo>
                <a:lnTo>
                  <a:pt x="177863" y="69088"/>
                </a:lnTo>
                <a:lnTo>
                  <a:pt x="176987" y="67767"/>
                </a:lnTo>
                <a:lnTo>
                  <a:pt x="174777" y="66446"/>
                </a:lnTo>
                <a:lnTo>
                  <a:pt x="172567" y="65570"/>
                </a:lnTo>
                <a:close/>
              </a:path>
              <a:path w="259079" h="238760">
                <a:moveTo>
                  <a:pt x="133286" y="49288"/>
                </a:moveTo>
                <a:lnTo>
                  <a:pt x="129311" y="49288"/>
                </a:lnTo>
                <a:lnTo>
                  <a:pt x="127114" y="50609"/>
                </a:lnTo>
                <a:lnTo>
                  <a:pt x="125780" y="51930"/>
                </a:lnTo>
                <a:lnTo>
                  <a:pt x="125780" y="56769"/>
                </a:lnTo>
                <a:lnTo>
                  <a:pt x="127114" y="58966"/>
                </a:lnTo>
                <a:lnTo>
                  <a:pt x="128879" y="60286"/>
                </a:lnTo>
                <a:lnTo>
                  <a:pt x="133286" y="60286"/>
                </a:lnTo>
                <a:lnTo>
                  <a:pt x="135496" y="58966"/>
                </a:lnTo>
                <a:lnTo>
                  <a:pt x="136817" y="57200"/>
                </a:lnTo>
                <a:lnTo>
                  <a:pt x="136817" y="52806"/>
                </a:lnTo>
                <a:lnTo>
                  <a:pt x="135496" y="50609"/>
                </a:lnTo>
                <a:lnTo>
                  <a:pt x="133286" y="49288"/>
                </a:lnTo>
                <a:close/>
              </a:path>
              <a:path w="259079" h="238760">
                <a:moveTo>
                  <a:pt x="167271" y="49288"/>
                </a:moveTo>
                <a:lnTo>
                  <a:pt x="162864" y="49288"/>
                </a:lnTo>
                <a:lnTo>
                  <a:pt x="161531" y="50609"/>
                </a:lnTo>
                <a:lnTo>
                  <a:pt x="160210" y="52806"/>
                </a:lnTo>
                <a:lnTo>
                  <a:pt x="160210" y="57200"/>
                </a:lnTo>
                <a:lnTo>
                  <a:pt x="161531" y="58966"/>
                </a:lnTo>
                <a:lnTo>
                  <a:pt x="162864" y="60286"/>
                </a:lnTo>
                <a:lnTo>
                  <a:pt x="167271" y="60286"/>
                </a:lnTo>
                <a:lnTo>
                  <a:pt x="169926" y="58966"/>
                </a:lnTo>
                <a:lnTo>
                  <a:pt x="171246" y="56769"/>
                </a:lnTo>
                <a:lnTo>
                  <a:pt x="171246" y="51930"/>
                </a:lnTo>
                <a:lnTo>
                  <a:pt x="169926" y="50609"/>
                </a:lnTo>
                <a:lnTo>
                  <a:pt x="167271" y="49288"/>
                </a:lnTo>
                <a:close/>
              </a:path>
              <a:path w="259079" h="238760">
                <a:moveTo>
                  <a:pt x="148297" y="41808"/>
                </a:moveTo>
                <a:lnTo>
                  <a:pt x="146088" y="42684"/>
                </a:lnTo>
                <a:lnTo>
                  <a:pt x="144322" y="44005"/>
                </a:lnTo>
                <a:lnTo>
                  <a:pt x="143002" y="45326"/>
                </a:lnTo>
                <a:lnTo>
                  <a:pt x="143002" y="49720"/>
                </a:lnTo>
                <a:lnTo>
                  <a:pt x="144322" y="51930"/>
                </a:lnTo>
                <a:lnTo>
                  <a:pt x="146088" y="52806"/>
                </a:lnTo>
                <a:lnTo>
                  <a:pt x="148297" y="53682"/>
                </a:lnTo>
                <a:lnTo>
                  <a:pt x="152704" y="51930"/>
                </a:lnTo>
                <a:lnTo>
                  <a:pt x="154038" y="49720"/>
                </a:lnTo>
                <a:lnTo>
                  <a:pt x="154038" y="45326"/>
                </a:lnTo>
                <a:lnTo>
                  <a:pt x="152704" y="44005"/>
                </a:lnTo>
                <a:lnTo>
                  <a:pt x="150507" y="42684"/>
                </a:lnTo>
                <a:lnTo>
                  <a:pt x="148297" y="41808"/>
                </a:lnTo>
                <a:close/>
              </a:path>
            </a:pathLst>
          </a:custGeom>
          <a:solidFill>
            <a:srgbClr val="43B02A"/>
          </a:solidFill>
        </p:spPr>
        <p:txBody>
          <a:bodyPr wrap="square" lIns="0" tIns="0" rIns="0" bIns="0" rtlCol="0"/>
          <a:lstStyle/>
          <a:p>
            <a:endParaRPr>
              <a:solidFill>
                <a:prstClr val="black"/>
              </a:solidFill>
              <a:latin typeface="+mj-lt"/>
            </a:endParaRPr>
          </a:p>
        </p:txBody>
      </p:sp>
      <p:sp>
        <p:nvSpPr>
          <p:cNvPr id="132" name="object 145"/>
          <p:cNvSpPr txBox="1"/>
          <p:nvPr/>
        </p:nvSpPr>
        <p:spPr>
          <a:xfrm>
            <a:off x="2803699" y="3325800"/>
            <a:ext cx="1260053" cy="507831"/>
          </a:xfrm>
          <a:prstGeom prst="rect">
            <a:avLst/>
          </a:prstGeom>
        </p:spPr>
        <p:txBody>
          <a:bodyPr vert="horz" wrap="square" lIns="0" tIns="0" rIns="0" bIns="0" rtlCol="0">
            <a:spAutoFit/>
          </a:bodyPr>
          <a:lstStyle/>
          <a:p>
            <a:pPr marL="12700">
              <a:tabLst>
                <a:tab pos="184785" algn="l"/>
                <a:tab pos="185420" algn="l"/>
              </a:tabLst>
            </a:pPr>
            <a:r>
              <a:rPr lang="fr-FR" sz="1100" dirty="0">
                <a:solidFill>
                  <a:prstClr val="black"/>
                </a:solidFill>
                <a:latin typeface="+mj-lt"/>
                <a:cs typeface="Verdana"/>
              </a:rPr>
              <a:t>Evolution des préférences clients</a:t>
            </a:r>
            <a:endParaRPr sz="1100" dirty="0">
              <a:solidFill>
                <a:prstClr val="black"/>
              </a:solidFill>
              <a:latin typeface="+mj-lt"/>
              <a:cs typeface="Verdana"/>
            </a:endParaRPr>
          </a:p>
        </p:txBody>
      </p:sp>
      <p:sp>
        <p:nvSpPr>
          <p:cNvPr id="136" name="object 133"/>
          <p:cNvSpPr/>
          <p:nvPr/>
        </p:nvSpPr>
        <p:spPr>
          <a:xfrm>
            <a:off x="5807705" y="5069643"/>
            <a:ext cx="1158790" cy="0"/>
          </a:xfrm>
          <a:custGeom>
            <a:avLst/>
            <a:gdLst/>
            <a:ahLst/>
            <a:cxnLst/>
            <a:rect l="l" t="t" r="r" b="b"/>
            <a:pathLst>
              <a:path w="1205864">
                <a:moveTo>
                  <a:pt x="0" y="0"/>
                </a:moveTo>
                <a:lnTo>
                  <a:pt x="1205445" y="0"/>
                </a:lnTo>
              </a:path>
            </a:pathLst>
          </a:custGeom>
          <a:ln w="9906">
            <a:solidFill>
              <a:srgbClr val="0097A9"/>
            </a:solidFill>
            <a:prstDash val="dash"/>
          </a:ln>
        </p:spPr>
        <p:txBody>
          <a:bodyPr wrap="square" lIns="0" tIns="0" rIns="0" bIns="0" rtlCol="0"/>
          <a:lstStyle/>
          <a:p>
            <a:endParaRPr>
              <a:solidFill>
                <a:prstClr val="black"/>
              </a:solidFill>
              <a:latin typeface="+mj-lt"/>
            </a:endParaRPr>
          </a:p>
        </p:txBody>
      </p:sp>
      <p:sp>
        <p:nvSpPr>
          <p:cNvPr id="137" name="object 7"/>
          <p:cNvSpPr/>
          <p:nvPr/>
        </p:nvSpPr>
        <p:spPr>
          <a:xfrm>
            <a:off x="2459800" y="4355569"/>
            <a:ext cx="247616" cy="160228"/>
          </a:xfrm>
          <a:custGeom>
            <a:avLst/>
            <a:gdLst/>
            <a:ahLst/>
            <a:cxnLst/>
            <a:rect l="l" t="t" r="r" b="b"/>
            <a:pathLst>
              <a:path w="569594" h="419735">
                <a:moveTo>
                  <a:pt x="24424" y="151278"/>
                </a:moveTo>
                <a:lnTo>
                  <a:pt x="14385" y="152103"/>
                </a:lnTo>
                <a:lnTo>
                  <a:pt x="5951" y="157606"/>
                </a:lnTo>
                <a:lnTo>
                  <a:pt x="1282" y="167043"/>
                </a:lnTo>
                <a:lnTo>
                  <a:pt x="0" y="173951"/>
                </a:lnTo>
                <a:lnTo>
                  <a:pt x="3200" y="180657"/>
                </a:lnTo>
                <a:lnTo>
                  <a:pt x="5397" y="187045"/>
                </a:lnTo>
                <a:lnTo>
                  <a:pt x="7378" y="194005"/>
                </a:lnTo>
                <a:lnTo>
                  <a:pt x="12128" y="200634"/>
                </a:lnTo>
                <a:lnTo>
                  <a:pt x="16217" y="206502"/>
                </a:lnTo>
                <a:lnTo>
                  <a:pt x="28526" y="219892"/>
                </a:lnTo>
                <a:lnTo>
                  <a:pt x="43738" y="229909"/>
                </a:lnTo>
                <a:lnTo>
                  <a:pt x="60884" y="236643"/>
                </a:lnTo>
                <a:lnTo>
                  <a:pt x="78993" y="240182"/>
                </a:lnTo>
                <a:lnTo>
                  <a:pt x="89195" y="262147"/>
                </a:lnTo>
                <a:lnTo>
                  <a:pt x="102657" y="282684"/>
                </a:lnTo>
                <a:lnTo>
                  <a:pt x="119124" y="301595"/>
                </a:lnTo>
                <a:lnTo>
                  <a:pt x="138341" y="318681"/>
                </a:lnTo>
                <a:lnTo>
                  <a:pt x="107899" y="381762"/>
                </a:lnTo>
                <a:lnTo>
                  <a:pt x="186461" y="419684"/>
                </a:lnTo>
                <a:lnTo>
                  <a:pt x="215861" y="358762"/>
                </a:lnTo>
                <a:lnTo>
                  <a:pt x="478836" y="358762"/>
                </a:lnTo>
                <a:lnTo>
                  <a:pt x="459486" y="318681"/>
                </a:lnTo>
                <a:lnTo>
                  <a:pt x="474632" y="305590"/>
                </a:lnTo>
                <a:lnTo>
                  <a:pt x="488157" y="291372"/>
                </a:lnTo>
                <a:lnTo>
                  <a:pt x="499942" y="276122"/>
                </a:lnTo>
                <a:lnTo>
                  <a:pt x="509866" y="259930"/>
                </a:lnTo>
                <a:lnTo>
                  <a:pt x="559151" y="259930"/>
                </a:lnTo>
                <a:lnTo>
                  <a:pt x="561043" y="258267"/>
                </a:lnTo>
                <a:lnTo>
                  <a:pt x="567288" y="246651"/>
                </a:lnTo>
                <a:lnTo>
                  <a:pt x="569582" y="234518"/>
                </a:lnTo>
                <a:lnTo>
                  <a:pt x="569582" y="188747"/>
                </a:lnTo>
                <a:lnTo>
                  <a:pt x="568524" y="183159"/>
                </a:lnTo>
                <a:lnTo>
                  <a:pt x="69392" y="183159"/>
                </a:lnTo>
                <a:lnTo>
                  <a:pt x="65074" y="182956"/>
                </a:lnTo>
                <a:lnTo>
                  <a:pt x="39282" y="162224"/>
                </a:lnTo>
                <a:lnTo>
                  <a:pt x="33909" y="155879"/>
                </a:lnTo>
                <a:lnTo>
                  <a:pt x="24424" y="151278"/>
                </a:lnTo>
                <a:close/>
              </a:path>
              <a:path w="569594" h="419735">
                <a:moveTo>
                  <a:pt x="478836" y="358762"/>
                </a:moveTo>
                <a:lnTo>
                  <a:pt x="381977" y="358762"/>
                </a:lnTo>
                <a:lnTo>
                  <a:pt x="411365" y="419684"/>
                </a:lnTo>
                <a:lnTo>
                  <a:pt x="489940" y="381762"/>
                </a:lnTo>
                <a:lnTo>
                  <a:pt x="478836" y="358762"/>
                </a:lnTo>
                <a:close/>
              </a:path>
              <a:path w="569594" h="419735">
                <a:moveTo>
                  <a:pt x="381977" y="358762"/>
                </a:moveTo>
                <a:lnTo>
                  <a:pt x="215861" y="358762"/>
                </a:lnTo>
                <a:lnTo>
                  <a:pt x="235590" y="364089"/>
                </a:lnTo>
                <a:lnTo>
                  <a:pt x="256065" y="367996"/>
                </a:lnTo>
                <a:lnTo>
                  <a:pt x="277199" y="370401"/>
                </a:lnTo>
                <a:lnTo>
                  <a:pt x="298907" y="371221"/>
                </a:lnTo>
                <a:lnTo>
                  <a:pt x="320629" y="370401"/>
                </a:lnTo>
                <a:lnTo>
                  <a:pt x="341771" y="367996"/>
                </a:lnTo>
                <a:lnTo>
                  <a:pt x="362249" y="364089"/>
                </a:lnTo>
                <a:lnTo>
                  <a:pt x="381977" y="358762"/>
                </a:lnTo>
                <a:close/>
              </a:path>
              <a:path w="569594" h="419735">
                <a:moveTo>
                  <a:pt x="559151" y="259930"/>
                </a:moveTo>
                <a:lnTo>
                  <a:pt x="509866" y="259930"/>
                </a:lnTo>
                <a:lnTo>
                  <a:pt x="517525" y="261910"/>
                </a:lnTo>
                <a:lnTo>
                  <a:pt x="525184" y="264172"/>
                </a:lnTo>
                <a:lnTo>
                  <a:pt x="532846" y="266349"/>
                </a:lnTo>
                <a:lnTo>
                  <a:pt x="540512" y="268071"/>
                </a:lnTo>
                <a:lnTo>
                  <a:pt x="551799" y="266397"/>
                </a:lnTo>
                <a:lnTo>
                  <a:pt x="559151" y="259930"/>
                </a:lnTo>
                <a:close/>
              </a:path>
              <a:path w="569594" h="419735">
                <a:moveTo>
                  <a:pt x="298907" y="2971"/>
                </a:moveTo>
                <a:lnTo>
                  <a:pt x="246918" y="7711"/>
                </a:lnTo>
                <a:lnTo>
                  <a:pt x="199123" y="21223"/>
                </a:lnTo>
                <a:lnTo>
                  <a:pt x="156847" y="42444"/>
                </a:lnTo>
                <a:lnTo>
                  <a:pt x="121412" y="70310"/>
                </a:lnTo>
                <a:lnTo>
                  <a:pt x="94142" y="103760"/>
                </a:lnTo>
                <a:lnTo>
                  <a:pt x="76361" y="141731"/>
                </a:lnTo>
                <a:lnTo>
                  <a:pt x="69392" y="183159"/>
                </a:lnTo>
                <a:lnTo>
                  <a:pt x="568524" y="183159"/>
                </a:lnTo>
                <a:lnTo>
                  <a:pt x="567288" y="176627"/>
                </a:lnTo>
                <a:lnTo>
                  <a:pt x="562394" y="167525"/>
                </a:lnTo>
                <a:lnTo>
                  <a:pt x="435876" y="167525"/>
                </a:lnTo>
                <a:lnTo>
                  <a:pt x="424874" y="165303"/>
                </a:lnTo>
                <a:lnTo>
                  <a:pt x="415888" y="159242"/>
                </a:lnTo>
                <a:lnTo>
                  <a:pt x="409828" y="150252"/>
                </a:lnTo>
                <a:lnTo>
                  <a:pt x="407606" y="139242"/>
                </a:lnTo>
                <a:lnTo>
                  <a:pt x="409828" y="128240"/>
                </a:lnTo>
                <a:lnTo>
                  <a:pt x="415888" y="119254"/>
                </a:lnTo>
                <a:lnTo>
                  <a:pt x="424874" y="113194"/>
                </a:lnTo>
                <a:lnTo>
                  <a:pt x="435876" y="110972"/>
                </a:lnTo>
                <a:lnTo>
                  <a:pt x="507682" y="110972"/>
                </a:lnTo>
                <a:lnTo>
                  <a:pt x="505610" y="106789"/>
                </a:lnTo>
                <a:lnTo>
                  <a:pt x="488791" y="83533"/>
                </a:lnTo>
                <a:lnTo>
                  <a:pt x="471917" y="66484"/>
                </a:lnTo>
                <a:lnTo>
                  <a:pt x="224066" y="66484"/>
                </a:lnTo>
                <a:lnTo>
                  <a:pt x="218363" y="63385"/>
                </a:lnTo>
                <a:lnTo>
                  <a:pt x="215214" y="52514"/>
                </a:lnTo>
                <a:lnTo>
                  <a:pt x="218338" y="46824"/>
                </a:lnTo>
                <a:lnTo>
                  <a:pt x="223774" y="45250"/>
                </a:lnTo>
                <a:lnTo>
                  <a:pt x="259376" y="37577"/>
                </a:lnTo>
                <a:lnTo>
                  <a:pt x="295479" y="35020"/>
                </a:lnTo>
                <a:lnTo>
                  <a:pt x="473404" y="35020"/>
                </a:lnTo>
                <a:lnTo>
                  <a:pt x="475317" y="25158"/>
                </a:lnTo>
                <a:lnTo>
                  <a:pt x="408266" y="25158"/>
                </a:lnTo>
                <a:lnTo>
                  <a:pt x="383032" y="15718"/>
                </a:lnTo>
                <a:lnTo>
                  <a:pt x="356244" y="8755"/>
                </a:lnTo>
                <a:lnTo>
                  <a:pt x="328128" y="4447"/>
                </a:lnTo>
                <a:lnTo>
                  <a:pt x="298907" y="2971"/>
                </a:lnTo>
                <a:close/>
              </a:path>
              <a:path w="569594" h="419735">
                <a:moveTo>
                  <a:pt x="507682" y="110972"/>
                </a:moveTo>
                <a:lnTo>
                  <a:pt x="435876" y="110972"/>
                </a:lnTo>
                <a:lnTo>
                  <a:pt x="446880" y="113194"/>
                </a:lnTo>
                <a:lnTo>
                  <a:pt x="455871" y="119254"/>
                </a:lnTo>
                <a:lnTo>
                  <a:pt x="461935" y="128240"/>
                </a:lnTo>
                <a:lnTo>
                  <a:pt x="464159" y="139242"/>
                </a:lnTo>
                <a:lnTo>
                  <a:pt x="461935" y="150252"/>
                </a:lnTo>
                <a:lnTo>
                  <a:pt x="455871" y="159242"/>
                </a:lnTo>
                <a:lnTo>
                  <a:pt x="446880" y="165303"/>
                </a:lnTo>
                <a:lnTo>
                  <a:pt x="435876" y="167525"/>
                </a:lnTo>
                <a:lnTo>
                  <a:pt x="562394" y="167525"/>
                </a:lnTo>
                <a:lnTo>
                  <a:pt x="561043" y="165012"/>
                </a:lnTo>
                <a:lnTo>
                  <a:pt x="554172" y="158965"/>
                </a:lnTo>
                <a:lnTo>
                  <a:pt x="525894" y="158965"/>
                </a:lnTo>
                <a:lnTo>
                  <a:pt x="518112" y="132038"/>
                </a:lnTo>
                <a:lnTo>
                  <a:pt x="507682" y="110972"/>
                </a:lnTo>
                <a:close/>
              </a:path>
              <a:path w="569594" h="419735">
                <a:moveTo>
                  <a:pt x="540512" y="155194"/>
                </a:moveTo>
                <a:lnTo>
                  <a:pt x="535635" y="156070"/>
                </a:lnTo>
                <a:lnTo>
                  <a:pt x="530771" y="157480"/>
                </a:lnTo>
                <a:lnTo>
                  <a:pt x="525894" y="158965"/>
                </a:lnTo>
                <a:lnTo>
                  <a:pt x="554172" y="158965"/>
                </a:lnTo>
                <a:lnTo>
                  <a:pt x="551799" y="156877"/>
                </a:lnTo>
                <a:lnTo>
                  <a:pt x="540512" y="155194"/>
                </a:lnTo>
                <a:close/>
              </a:path>
              <a:path w="569594" h="419735">
                <a:moveTo>
                  <a:pt x="295484" y="55521"/>
                </a:moveTo>
                <a:lnTo>
                  <a:pt x="262262" y="57871"/>
                </a:lnTo>
                <a:lnTo>
                  <a:pt x="229501" y="64922"/>
                </a:lnTo>
                <a:lnTo>
                  <a:pt x="224066" y="66484"/>
                </a:lnTo>
                <a:lnTo>
                  <a:pt x="471917" y="66484"/>
                </a:lnTo>
                <a:lnTo>
                  <a:pt x="470786" y="65341"/>
                </a:lnTo>
                <a:lnTo>
                  <a:pt x="368769" y="65341"/>
                </a:lnTo>
                <a:lnTo>
                  <a:pt x="362419" y="65214"/>
                </a:lnTo>
                <a:lnTo>
                  <a:pt x="361467" y="64922"/>
                </a:lnTo>
                <a:lnTo>
                  <a:pt x="328706" y="57871"/>
                </a:lnTo>
                <a:lnTo>
                  <a:pt x="295484" y="55521"/>
                </a:lnTo>
                <a:close/>
              </a:path>
              <a:path w="569594" h="419735">
                <a:moveTo>
                  <a:pt x="473404" y="35020"/>
                </a:moveTo>
                <a:lnTo>
                  <a:pt x="295479" y="35020"/>
                </a:lnTo>
                <a:lnTo>
                  <a:pt x="331585" y="37577"/>
                </a:lnTo>
                <a:lnTo>
                  <a:pt x="367195" y="45250"/>
                </a:lnTo>
                <a:lnTo>
                  <a:pt x="372618" y="46824"/>
                </a:lnTo>
                <a:lnTo>
                  <a:pt x="375754" y="52514"/>
                </a:lnTo>
                <a:lnTo>
                  <a:pt x="372872" y="62433"/>
                </a:lnTo>
                <a:lnTo>
                  <a:pt x="368769" y="65341"/>
                </a:lnTo>
                <a:lnTo>
                  <a:pt x="470786" y="65341"/>
                </a:lnTo>
                <a:lnTo>
                  <a:pt x="468058" y="62585"/>
                </a:lnTo>
                <a:lnTo>
                  <a:pt x="473404" y="35020"/>
                </a:lnTo>
                <a:close/>
              </a:path>
              <a:path w="569594" h="419735">
                <a:moveTo>
                  <a:pt x="466267" y="0"/>
                </a:moveTo>
                <a:lnTo>
                  <a:pt x="408266" y="25158"/>
                </a:lnTo>
                <a:lnTo>
                  <a:pt x="475317" y="25158"/>
                </a:lnTo>
                <a:lnTo>
                  <a:pt x="478320" y="9677"/>
                </a:lnTo>
                <a:lnTo>
                  <a:pt x="476846" y="5613"/>
                </a:lnTo>
                <a:lnTo>
                  <a:pt x="470547" y="571"/>
                </a:lnTo>
                <a:lnTo>
                  <a:pt x="466267" y="0"/>
                </a:lnTo>
                <a:close/>
              </a:path>
            </a:pathLst>
          </a:custGeom>
          <a:solidFill>
            <a:schemeClr val="accent1"/>
          </a:solidFill>
        </p:spPr>
        <p:txBody>
          <a:bodyPr wrap="square" lIns="0" tIns="0" rIns="0" bIns="0" rtlCol="0"/>
          <a:lstStyle/>
          <a:p>
            <a:endParaRPr>
              <a:solidFill>
                <a:prstClr val="black"/>
              </a:solidFill>
              <a:latin typeface="+mj-lt"/>
            </a:endParaRPr>
          </a:p>
        </p:txBody>
      </p:sp>
      <p:sp>
        <p:nvSpPr>
          <p:cNvPr id="139" name="object 120"/>
          <p:cNvSpPr txBox="1"/>
          <p:nvPr/>
        </p:nvSpPr>
        <p:spPr>
          <a:xfrm rot="3632036">
            <a:off x="7410038" y="2998482"/>
            <a:ext cx="1242858" cy="215444"/>
          </a:xfrm>
          <a:prstGeom prst="rect">
            <a:avLst/>
          </a:prstGeom>
        </p:spPr>
        <p:txBody>
          <a:bodyPr vert="horz" wrap="square" lIns="0" tIns="0" rIns="0" bIns="0" rtlCol="0">
            <a:spAutoFit/>
          </a:bodyPr>
          <a:lstStyle/>
          <a:p>
            <a:pPr marL="12700" algn="ctr"/>
            <a:r>
              <a:rPr lang="fr-FR" sz="1400" spc="-10" dirty="0">
                <a:solidFill>
                  <a:srgbClr val="FFFFFF"/>
                </a:solidFill>
                <a:latin typeface="+mj-lt"/>
                <a:cs typeface="Verdana"/>
              </a:rPr>
              <a:t>Assurances</a:t>
            </a:r>
            <a:endParaRPr sz="1400" dirty="0">
              <a:solidFill>
                <a:prstClr val="black"/>
              </a:solidFill>
              <a:latin typeface="+mj-lt"/>
              <a:cs typeface="Verdana"/>
            </a:endParaRPr>
          </a:p>
        </p:txBody>
      </p:sp>
      <p:sp>
        <p:nvSpPr>
          <p:cNvPr id="140" name="object 120"/>
          <p:cNvSpPr txBox="1"/>
          <p:nvPr/>
        </p:nvSpPr>
        <p:spPr>
          <a:xfrm rot="17970827">
            <a:off x="3920829" y="2943785"/>
            <a:ext cx="1597862" cy="430887"/>
          </a:xfrm>
          <a:prstGeom prst="rect">
            <a:avLst/>
          </a:prstGeom>
        </p:spPr>
        <p:txBody>
          <a:bodyPr vert="horz" wrap="square" lIns="0" tIns="0" rIns="0" bIns="0" rtlCol="0">
            <a:spAutoFit/>
          </a:bodyPr>
          <a:lstStyle/>
          <a:p>
            <a:pPr marL="12700" algn="ctr"/>
            <a:r>
              <a:rPr lang="fr-FR" sz="1400" spc="-10" dirty="0">
                <a:solidFill>
                  <a:srgbClr val="FFFFFF"/>
                </a:solidFill>
                <a:latin typeface="+mj-lt"/>
                <a:cs typeface="Verdana"/>
              </a:rPr>
              <a:t>Provisionnement du marché</a:t>
            </a:r>
            <a:endParaRPr sz="1400" dirty="0">
              <a:solidFill>
                <a:prstClr val="black"/>
              </a:solidFill>
              <a:latin typeface="+mj-lt"/>
              <a:cs typeface="Verdana"/>
            </a:endParaRPr>
          </a:p>
        </p:txBody>
      </p:sp>
      <p:sp>
        <p:nvSpPr>
          <p:cNvPr id="141" name="object 120"/>
          <p:cNvSpPr txBox="1"/>
          <p:nvPr/>
        </p:nvSpPr>
        <p:spPr>
          <a:xfrm rot="3646936">
            <a:off x="3952735" y="4670657"/>
            <a:ext cx="1585838" cy="430887"/>
          </a:xfrm>
          <a:prstGeom prst="rect">
            <a:avLst/>
          </a:prstGeom>
        </p:spPr>
        <p:txBody>
          <a:bodyPr vert="horz" wrap="square" lIns="0" tIns="0" rIns="0" bIns="0" rtlCol="0">
            <a:spAutoFit/>
          </a:bodyPr>
          <a:lstStyle/>
          <a:p>
            <a:pPr marL="12700" algn="ctr"/>
            <a:r>
              <a:rPr lang="fr-FR" sz="1400" spc="-10" dirty="0">
                <a:solidFill>
                  <a:srgbClr val="FFFFFF"/>
                </a:solidFill>
                <a:latin typeface="+mj-lt"/>
                <a:cs typeface="Verdana"/>
              </a:rPr>
              <a:t>Gestion des investissements</a:t>
            </a:r>
            <a:endParaRPr sz="1400" dirty="0">
              <a:solidFill>
                <a:prstClr val="black"/>
              </a:solidFill>
              <a:latin typeface="+mj-lt"/>
              <a:cs typeface="Verdana"/>
            </a:endParaRPr>
          </a:p>
        </p:txBody>
      </p:sp>
      <p:sp>
        <p:nvSpPr>
          <p:cNvPr id="142" name="object 120"/>
          <p:cNvSpPr txBox="1"/>
          <p:nvPr/>
        </p:nvSpPr>
        <p:spPr>
          <a:xfrm rot="17970827">
            <a:off x="7173982" y="4898952"/>
            <a:ext cx="1597862" cy="215444"/>
          </a:xfrm>
          <a:prstGeom prst="rect">
            <a:avLst/>
          </a:prstGeom>
        </p:spPr>
        <p:txBody>
          <a:bodyPr vert="horz" wrap="square" lIns="0" tIns="0" rIns="0" bIns="0" rtlCol="0">
            <a:spAutoFit/>
          </a:bodyPr>
          <a:lstStyle/>
          <a:p>
            <a:pPr marL="12700" algn="ctr"/>
            <a:r>
              <a:rPr lang="fr-FR" sz="1400" spc="-10" dirty="0">
                <a:solidFill>
                  <a:srgbClr val="FFFFFF"/>
                </a:solidFill>
                <a:latin typeface="+mj-lt"/>
                <a:cs typeface="Verdana"/>
              </a:rPr>
              <a:t>Dépôts et prêts</a:t>
            </a:r>
            <a:endParaRPr sz="1400" dirty="0">
              <a:solidFill>
                <a:prstClr val="black"/>
              </a:solidFill>
              <a:latin typeface="+mj-lt"/>
              <a:cs typeface="Verdana"/>
            </a:endParaRPr>
          </a:p>
        </p:txBody>
      </p:sp>
      <p:sp>
        <p:nvSpPr>
          <p:cNvPr id="134" name="Date Placeholder 5"/>
          <p:cNvSpPr>
            <a:spLocks noGrp="1"/>
          </p:cNvSpPr>
          <p:nvPr>
            <p:ph type="dt" sz="half" idx="2"/>
          </p:nvPr>
        </p:nvSpPr>
        <p:spPr>
          <a:xfrm>
            <a:off x="4751388" y="6477000"/>
            <a:ext cx="3672420" cy="100156"/>
          </a:xfrm>
        </p:spPr>
        <p:txBody>
          <a:bodyPr/>
          <a:lstStyle/>
          <a:p>
            <a:pPr algn="r">
              <a:buSzPct val="100000"/>
              <a:buFont typeface="Arial"/>
              <a:buNone/>
            </a:pPr>
            <a:r>
              <a:rPr lang="fr-FR" dirty="0">
                <a:solidFill>
                  <a:prstClr val="black"/>
                </a:solidFill>
                <a:latin typeface="+mj-lt"/>
              </a:rPr>
              <a:t>Afrique : conduire l’innovation </a:t>
            </a:r>
            <a:r>
              <a:rPr lang="fr-FR" dirty="0" err="1">
                <a:solidFill>
                  <a:prstClr val="black"/>
                </a:solidFill>
                <a:latin typeface="+mj-lt"/>
              </a:rPr>
              <a:t>FinTech</a:t>
            </a:r>
            <a:endParaRPr lang="fr-FR" dirty="0">
              <a:solidFill>
                <a:prstClr val="black"/>
              </a:solidFill>
              <a:latin typeface="+mj-lt"/>
            </a:endParaRPr>
          </a:p>
        </p:txBody>
      </p:sp>
      <p:grpSp>
        <p:nvGrpSpPr>
          <p:cNvPr id="7" name="Group 6"/>
          <p:cNvGrpSpPr/>
          <p:nvPr/>
        </p:nvGrpSpPr>
        <p:grpSpPr>
          <a:xfrm>
            <a:off x="2414408" y="1765496"/>
            <a:ext cx="338400" cy="338400"/>
            <a:chOff x="2414408" y="1765496"/>
            <a:chExt cx="338400" cy="338400"/>
          </a:xfrm>
        </p:grpSpPr>
        <p:sp>
          <p:nvSpPr>
            <p:cNvPr id="380" name="object 165"/>
            <p:cNvSpPr/>
            <p:nvPr/>
          </p:nvSpPr>
          <p:spPr>
            <a:xfrm>
              <a:off x="2501798" y="1808433"/>
              <a:ext cx="159265" cy="267272"/>
            </a:xfrm>
            <a:custGeom>
              <a:avLst/>
              <a:gdLst/>
              <a:ahLst/>
              <a:cxnLst/>
              <a:rect l="l" t="t" r="r" b="b"/>
              <a:pathLst>
                <a:path w="165735" h="278129">
                  <a:moveTo>
                    <a:pt x="138087" y="0"/>
                  </a:moveTo>
                  <a:lnTo>
                    <a:pt x="27266" y="0"/>
                  </a:lnTo>
                  <a:lnTo>
                    <a:pt x="21983" y="444"/>
                  </a:lnTo>
                  <a:lnTo>
                    <a:pt x="0" y="27330"/>
                  </a:lnTo>
                  <a:lnTo>
                    <a:pt x="0" y="251244"/>
                  </a:lnTo>
                  <a:lnTo>
                    <a:pt x="21983" y="278130"/>
                  </a:lnTo>
                  <a:lnTo>
                    <a:pt x="142925" y="278130"/>
                  </a:lnTo>
                  <a:lnTo>
                    <a:pt x="148196" y="276809"/>
                  </a:lnTo>
                  <a:lnTo>
                    <a:pt x="153479" y="273723"/>
                  </a:lnTo>
                  <a:lnTo>
                    <a:pt x="156997" y="270637"/>
                  </a:lnTo>
                  <a:lnTo>
                    <a:pt x="157785" y="269760"/>
                  </a:lnTo>
                  <a:lnTo>
                    <a:pt x="80035" y="269760"/>
                  </a:lnTo>
                  <a:lnTo>
                    <a:pt x="77838" y="269316"/>
                  </a:lnTo>
                  <a:lnTo>
                    <a:pt x="75641" y="267550"/>
                  </a:lnTo>
                  <a:lnTo>
                    <a:pt x="73444" y="266230"/>
                  </a:lnTo>
                  <a:lnTo>
                    <a:pt x="71678" y="264020"/>
                  </a:lnTo>
                  <a:lnTo>
                    <a:pt x="70357" y="261823"/>
                  </a:lnTo>
                  <a:lnTo>
                    <a:pt x="69481" y="259613"/>
                  </a:lnTo>
                  <a:lnTo>
                    <a:pt x="69481" y="254330"/>
                  </a:lnTo>
                  <a:lnTo>
                    <a:pt x="70357" y="251244"/>
                  </a:lnTo>
                  <a:lnTo>
                    <a:pt x="71678" y="249034"/>
                  </a:lnTo>
                  <a:lnTo>
                    <a:pt x="73444" y="247713"/>
                  </a:lnTo>
                  <a:lnTo>
                    <a:pt x="75641" y="245948"/>
                  </a:lnTo>
                  <a:lnTo>
                    <a:pt x="77838" y="244627"/>
                  </a:lnTo>
                  <a:lnTo>
                    <a:pt x="80035" y="243751"/>
                  </a:lnTo>
                  <a:lnTo>
                    <a:pt x="165353" y="243751"/>
                  </a:lnTo>
                  <a:lnTo>
                    <a:pt x="165353" y="234048"/>
                  </a:lnTo>
                  <a:lnTo>
                    <a:pt x="13195" y="234048"/>
                  </a:lnTo>
                  <a:lnTo>
                    <a:pt x="13195" y="29527"/>
                  </a:lnTo>
                  <a:lnTo>
                    <a:pt x="165353" y="29527"/>
                  </a:lnTo>
                  <a:lnTo>
                    <a:pt x="165353" y="27330"/>
                  </a:lnTo>
                  <a:lnTo>
                    <a:pt x="164477" y="22034"/>
                  </a:lnTo>
                  <a:lnTo>
                    <a:pt x="164147" y="20713"/>
                  </a:lnTo>
                  <a:lnTo>
                    <a:pt x="64211" y="20713"/>
                  </a:lnTo>
                  <a:lnTo>
                    <a:pt x="62890" y="19837"/>
                  </a:lnTo>
                  <a:lnTo>
                    <a:pt x="60693" y="19392"/>
                  </a:lnTo>
                  <a:lnTo>
                    <a:pt x="59372" y="15430"/>
                  </a:lnTo>
                  <a:lnTo>
                    <a:pt x="59804" y="13220"/>
                  </a:lnTo>
                  <a:lnTo>
                    <a:pt x="60693" y="11899"/>
                  </a:lnTo>
                  <a:lnTo>
                    <a:pt x="62890" y="10134"/>
                  </a:lnTo>
                  <a:lnTo>
                    <a:pt x="159197" y="10134"/>
                  </a:lnTo>
                  <a:lnTo>
                    <a:pt x="153479" y="4406"/>
                  </a:lnTo>
                  <a:lnTo>
                    <a:pt x="148196" y="2209"/>
                  </a:lnTo>
                  <a:lnTo>
                    <a:pt x="142925" y="444"/>
                  </a:lnTo>
                  <a:lnTo>
                    <a:pt x="138087" y="0"/>
                  </a:lnTo>
                  <a:close/>
                </a:path>
                <a:path w="165735" h="278129">
                  <a:moveTo>
                    <a:pt x="165353" y="243751"/>
                  </a:moveTo>
                  <a:lnTo>
                    <a:pt x="85318" y="243751"/>
                  </a:lnTo>
                  <a:lnTo>
                    <a:pt x="87947" y="244627"/>
                  </a:lnTo>
                  <a:lnTo>
                    <a:pt x="90157" y="245948"/>
                  </a:lnTo>
                  <a:lnTo>
                    <a:pt x="91909" y="247713"/>
                  </a:lnTo>
                  <a:lnTo>
                    <a:pt x="94106" y="249034"/>
                  </a:lnTo>
                  <a:lnTo>
                    <a:pt x="94995" y="251244"/>
                  </a:lnTo>
                  <a:lnTo>
                    <a:pt x="95427" y="254330"/>
                  </a:lnTo>
                  <a:lnTo>
                    <a:pt x="96304" y="256527"/>
                  </a:lnTo>
                  <a:lnTo>
                    <a:pt x="95427" y="259613"/>
                  </a:lnTo>
                  <a:lnTo>
                    <a:pt x="94995" y="261823"/>
                  </a:lnTo>
                  <a:lnTo>
                    <a:pt x="94106" y="264020"/>
                  </a:lnTo>
                  <a:lnTo>
                    <a:pt x="91909" y="266230"/>
                  </a:lnTo>
                  <a:lnTo>
                    <a:pt x="90157" y="267550"/>
                  </a:lnTo>
                  <a:lnTo>
                    <a:pt x="87947" y="269316"/>
                  </a:lnTo>
                  <a:lnTo>
                    <a:pt x="85318" y="269760"/>
                  </a:lnTo>
                  <a:lnTo>
                    <a:pt x="157785" y="269760"/>
                  </a:lnTo>
                  <a:lnTo>
                    <a:pt x="160959" y="266230"/>
                  </a:lnTo>
                  <a:lnTo>
                    <a:pt x="163156" y="261823"/>
                  </a:lnTo>
                  <a:lnTo>
                    <a:pt x="164477" y="256527"/>
                  </a:lnTo>
                  <a:lnTo>
                    <a:pt x="165353" y="251244"/>
                  </a:lnTo>
                  <a:lnTo>
                    <a:pt x="165353" y="243751"/>
                  </a:lnTo>
                  <a:close/>
                </a:path>
                <a:path w="165735" h="278129">
                  <a:moveTo>
                    <a:pt x="165353" y="29527"/>
                  </a:moveTo>
                  <a:lnTo>
                    <a:pt x="152158" y="29527"/>
                  </a:lnTo>
                  <a:lnTo>
                    <a:pt x="152158" y="234048"/>
                  </a:lnTo>
                  <a:lnTo>
                    <a:pt x="165353" y="234048"/>
                  </a:lnTo>
                  <a:lnTo>
                    <a:pt x="165353" y="29527"/>
                  </a:lnTo>
                  <a:close/>
                </a:path>
                <a:path w="165735" h="278129">
                  <a:moveTo>
                    <a:pt x="83121" y="72732"/>
                  </a:moveTo>
                  <a:lnTo>
                    <a:pt x="76085" y="73609"/>
                  </a:lnTo>
                  <a:lnTo>
                    <a:pt x="70357" y="74053"/>
                  </a:lnTo>
                  <a:lnTo>
                    <a:pt x="65087" y="75819"/>
                  </a:lnTo>
                  <a:lnTo>
                    <a:pt x="59372" y="77139"/>
                  </a:lnTo>
                  <a:lnTo>
                    <a:pt x="54089" y="80225"/>
                  </a:lnTo>
                  <a:lnTo>
                    <a:pt x="49695" y="83312"/>
                  </a:lnTo>
                  <a:lnTo>
                    <a:pt x="45300" y="85953"/>
                  </a:lnTo>
                  <a:lnTo>
                    <a:pt x="40462" y="89916"/>
                  </a:lnTo>
                  <a:lnTo>
                    <a:pt x="36944" y="94322"/>
                  </a:lnTo>
                  <a:lnTo>
                    <a:pt x="32981" y="98729"/>
                  </a:lnTo>
                  <a:lnTo>
                    <a:pt x="30340" y="104025"/>
                  </a:lnTo>
                  <a:lnTo>
                    <a:pt x="25946" y="114604"/>
                  </a:lnTo>
                  <a:lnTo>
                    <a:pt x="24180" y="120332"/>
                  </a:lnTo>
                  <a:lnTo>
                    <a:pt x="23748" y="126504"/>
                  </a:lnTo>
                  <a:lnTo>
                    <a:pt x="22872" y="132232"/>
                  </a:lnTo>
                  <a:lnTo>
                    <a:pt x="23748" y="138404"/>
                  </a:lnTo>
                  <a:lnTo>
                    <a:pt x="24180" y="144132"/>
                  </a:lnTo>
                  <a:lnTo>
                    <a:pt x="25946" y="149428"/>
                  </a:lnTo>
                  <a:lnTo>
                    <a:pt x="28143" y="155155"/>
                  </a:lnTo>
                  <a:lnTo>
                    <a:pt x="30340" y="160439"/>
                  </a:lnTo>
                  <a:lnTo>
                    <a:pt x="32981" y="164846"/>
                  </a:lnTo>
                  <a:lnTo>
                    <a:pt x="36944" y="169697"/>
                  </a:lnTo>
                  <a:lnTo>
                    <a:pt x="40462" y="174104"/>
                  </a:lnTo>
                  <a:lnTo>
                    <a:pt x="45300" y="177634"/>
                  </a:lnTo>
                  <a:lnTo>
                    <a:pt x="49695" y="181597"/>
                  </a:lnTo>
                  <a:lnTo>
                    <a:pt x="54089" y="184238"/>
                  </a:lnTo>
                  <a:lnTo>
                    <a:pt x="59372" y="186448"/>
                  </a:lnTo>
                  <a:lnTo>
                    <a:pt x="65087" y="188658"/>
                  </a:lnTo>
                  <a:lnTo>
                    <a:pt x="70357" y="190411"/>
                  </a:lnTo>
                  <a:lnTo>
                    <a:pt x="76085" y="190855"/>
                  </a:lnTo>
                  <a:lnTo>
                    <a:pt x="88836" y="190855"/>
                  </a:lnTo>
                  <a:lnTo>
                    <a:pt x="128854" y="169697"/>
                  </a:lnTo>
                  <a:lnTo>
                    <a:pt x="131364" y="165735"/>
                  </a:lnTo>
                  <a:lnTo>
                    <a:pt x="89712" y="165735"/>
                  </a:lnTo>
                  <a:lnTo>
                    <a:pt x="83553" y="164846"/>
                  </a:lnTo>
                  <a:lnTo>
                    <a:pt x="79159" y="163525"/>
                  </a:lnTo>
                  <a:lnTo>
                    <a:pt x="73875" y="162204"/>
                  </a:lnTo>
                  <a:lnTo>
                    <a:pt x="70357" y="159118"/>
                  </a:lnTo>
                  <a:lnTo>
                    <a:pt x="66408" y="155155"/>
                  </a:lnTo>
                  <a:lnTo>
                    <a:pt x="64211" y="151625"/>
                  </a:lnTo>
                  <a:lnTo>
                    <a:pt x="62001" y="147218"/>
                  </a:lnTo>
                  <a:lnTo>
                    <a:pt x="60693" y="141046"/>
                  </a:lnTo>
                  <a:lnTo>
                    <a:pt x="51892" y="141046"/>
                  </a:lnTo>
                  <a:lnTo>
                    <a:pt x="53212" y="135318"/>
                  </a:lnTo>
                  <a:lnTo>
                    <a:pt x="59372" y="135318"/>
                  </a:lnTo>
                  <a:lnTo>
                    <a:pt x="59372" y="128701"/>
                  </a:lnTo>
                  <a:lnTo>
                    <a:pt x="51892" y="128701"/>
                  </a:lnTo>
                  <a:lnTo>
                    <a:pt x="53212" y="122529"/>
                  </a:lnTo>
                  <a:lnTo>
                    <a:pt x="60693" y="122529"/>
                  </a:lnTo>
                  <a:lnTo>
                    <a:pt x="62001" y="117246"/>
                  </a:lnTo>
                  <a:lnTo>
                    <a:pt x="64211" y="112839"/>
                  </a:lnTo>
                  <a:lnTo>
                    <a:pt x="67284" y="109308"/>
                  </a:lnTo>
                  <a:lnTo>
                    <a:pt x="70357" y="105346"/>
                  </a:lnTo>
                  <a:lnTo>
                    <a:pt x="74764" y="102704"/>
                  </a:lnTo>
                  <a:lnTo>
                    <a:pt x="79159" y="100495"/>
                  </a:lnTo>
                  <a:lnTo>
                    <a:pt x="89712" y="98729"/>
                  </a:lnTo>
                  <a:lnTo>
                    <a:pt x="131927" y="98729"/>
                  </a:lnTo>
                  <a:lnTo>
                    <a:pt x="128854" y="94322"/>
                  </a:lnTo>
                  <a:lnTo>
                    <a:pt x="124459" y="89916"/>
                  </a:lnTo>
                  <a:lnTo>
                    <a:pt x="120942" y="85953"/>
                  </a:lnTo>
                  <a:lnTo>
                    <a:pt x="116535" y="83312"/>
                  </a:lnTo>
                  <a:lnTo>
                    <a:pt x="105981" y="77139"/>
                  </a:lnTo>
                  <a:lnTo>
                    <a:pt x="99821" y="75819"/>
                  </a:lnTo>
                  <a:lnTo>
                    <a:pt x="94995" y="74053"/>
                  </a:lnTo>
                  <a:lnTo>
                    <a:pt x="88836" y="73609"/>
                  </a:lnTo>
                  <a:lnTo>
                    <a:pt x="83121" y="72732"/>
                  </a:lnTo>
                  <a:close/>
                </a:path>
                <a:path w="165735" h="278129">
                  <a:moveTo>
                    <a:pt x="138596" y="152946"/>
                  </a:moveTo>
                  <a:lnTo>
                    <a:pt x="100710" y="152946"/>
                  </a:lnTo>
                  <a:lnTo>
                    <a:pt x="101587" y="163525"/>
                  </a:lnTo>
                  <a:lnTo>
                    <a:pt x="98513" y="164414"/>
                  </a:lnTo>
                  <a:lnTo>
                    <a:pt x="95427" y="164846"/>
                  </a:lnTo>
                  <a:lnTo>
                    <a:pt x="89712" y="165735"/>
                  </a:lnTo>
                  <a:lnTo>
                    <a:pt x="131364" y="165735"/>
                  </a:lnTo>
                  <a:lnTo>
                    <a:pt x="131927" y="164846"/>
                  </a:lnTo>
                  <a:lnTo>
                    <a:pt x="135013" y="160439"/>
                  </a:lnTo>
                  <a:lnTo>
                    <a:pt x="138087" y="155155"/>
                  </a:lnTo>
                  <a:lnTo>
                    <a:pt x="138596" y="152946"/>
                  </a:lnTo>
                  <a:close/>
                </a:path>
                <a:path w="165735" h="278129">
                  <a:moveTo>
                    <a:pt x="91909" y="109308"/>
                  </a:moveTo>
                  <a:lnTo>
                    <a:pt x="88836" y="109308"/>
                  </a:lnTo>
                  <a:lnTo>
                    <a:pt x="85750" y="109753"/>
                  </a:lnTo>
                  <a:lnTo>
                    <a:pt x="83553" y="111518"/>
                  </a:lnTo>
                  <a:lnTo>
                    <a:pt x="81356" y="112839"/>
                  </a:lnTo>
                  <a:lnTo>
                    <a:pt x="77838" y="117246"/>
                  </a:lnTo>
                  <a:lnTo>
                    <a:pt x="75641" y="122529"/>
                  </a:lnTo>
                  <a:lnTo>
                    <a:pt x="98513" y="122529"/>
                  </a:lnTo>
                  <a:lnTo>
                    <a:pt x="97193" y="128701"/>
                  </a:lnTo>
                  <a:lnTo>
                    <a:pt x="73875" y="128701"/>
                  </a:lnTo>
                  <a:lnTo>
                    <a:pt x="73444" y="132232"/>
                  </a:lnTo>
                  <a:lnTo>
                    <a:pt x="73875" y="135318"/>
                  </a:lnTo>
                  <a:lnTo>
                    <a:pt x="95427" y="135318"/>
                  </a:lnTo>
                  <a:lnTo>
                    <a:pt x="94106" y="141046"/>
                  </a:lnTo>
                  <a:lnTo>
                    <a:pt x="74764" y="141046"/>
                  </a:lnTo>
                  <a:lnTo>
                    <a:pt x="77838" y="147218"/>
                  </a:lnTo>
                  <a:lnTo>
                    <a:pt x="79159" y="149428"/>
                  </a:lnTo>
                  <a:lnTo>
                    <a:pt x="80911" y="150749"/>
                  </a:lnTo>
                  <a:lnTo>
                    <a:pt x="83121" y="152514"/>
                  </a:lnTo>
                  <a:lnTo>
                    <a:pt x="85750" y="153835"/>
                  </a:lnTo>
                  <a:lnTo>
                    <a:pt x="87947" y="154711"/>
                  </a:lnTo>
                  <a:lnTo>
                    <a:pt x="96304" y="154711"/>
                  </a:lnTo>
                  <a:lnTo>
                    <a:pt x="100710" y="152946"/>
                  </a:lnTo>
                  <a:lnTo>
                    <a:pt x="138596" y="152946"/>
                  </a:lnTo>
                  <a:lnTo>
                    <a:pt x="139407" y="149428"/>
                  </a:lnTo>
                  <a:lnTo>
                    <a:pt x="140728" y="144132"/>
                  </a:lnTo>
                  <a:lnTo>
                    <a:pt x="141604" y="138404"/>
                  </a:lnTo>
                  <a:lnTo>
                    <a:pt x="142481" y="132232"/>
                  </a:lnTo>
                  <a:lnTo>
                    <a:pt x="141604" y="126504"/>
                  </a:lnTo>
                  <a:lnTo>
                    <a:pt x="140728" y="120332"/>
                  </a:lnTo>
                  <a:lnTo>
                    <a:pt x="139407" y="114604"/>
                  </a:lnTo>
                  <a:lnTo>
                    <a:pt x="138416" y="110629"/>
                  </a:lnTo>
                  <a:lnTo>
                    <a:pt x="100710" y="110629"/>
                  </a:lnTo>
                  <a:lnTo>
                    <a:pt x="96304" y="109753"/>
                  </a:lnTo>
                  <a:lnTo>
                    <a:pt x="91909" y="109308"/>
                  </a:lnTo>
                  <a:close/>
                </a:path>
                <a:path w="165735" h="278129">
                  <a:moveTo>
                    <a:pt x="131927" y="98729"/>
                  </a:moveTo>
                  <a:lnTo>
                    <a:pt x="89712" y="98729"/>
                  </a:lnTo>
                  <a:lnTo>
                    <a:pt x="96304" y="99618"/>
                  </a:lnTo>
                  <a:lnTo>
                    <a:pt x="103784" y="100939"/>
                  </a:lnTo>
                  <a:lnTo>
                    <a:pt x="100710" y="110629"/>
                  </a:lnTo>
                  <a:lnTo>
                    <a:pt x="138416" y="110629"/>
                  </a:lnTo>
                  <a:lnTo>
                    <a:pt x="138087" y="109308"/>
                  </a:lnTo>
                  <a:lnTo>
                    <a:pt x="131927" y="98729"/>
                  </a:lnTo>
                  <a:close/>
                </a:path>
                <a:path w="165735" h="278129">
                  <a:moveTo>
                    <a:pt x="159197" y="10134"/>
                  </a:moveTo>
                  <a:lnTo>
                    <a:pt x="102908" y="10134"/>
                  </a:lnTo>
                  <a:lnTo>
                    <a:pt x="104660" y="11899"/>
                  </a:lnTo>
                  <a:lnTo>
                    <a:pt x="105105" y="13220"/>
                  </a:lnTo>
                  <a:lnTo>
                    <a:pt x="105981" y="15430"/>
                  </a:lnTo>
                  <a:lnTo>
                    <a:pt x="105105" y="16751"/>
                  </a:lnTo>
                  <a:lnTo>
                    <a:pt x="104660" y="19392"/>
                  </a:lnTo>
                  <a:lnTo>
                    <a:pt x="102908" y="19837"/>
                  </a:lnTo>
                  <a:lnTo>
                    <a:pt x="100710" y="20713"/>
                  </a:lnTo>
                  <a:lnTo>
                    <a:pt x="164147" y="20713"/>
                  </a:lnTo>
                  <a:lnTo>
                    <a:pt x="163156" y="16751"/>
                  </a:lnTo>
                  <a:lnTo>
                    <a:pt x="160959" y="11899"/>
                  </a:lnTo>
                  <a:lnTo>
                    <a:pt x="159197" y="10134"/>
                  </a:lnTo>
                  <a:close/>
                </a:path>
              </a:pathLst>
            </a:custGeom>
            <a:solidFill>
              <a:srgbClr val="041E42"/>
            </a:solidFill>
          </p:spPr>
          <p:txBody>
            <a:bodyPr wrap="square" lIns="0" tIns="0" rIns="0" bIns="0" rtlCol="0"/>
            <a:lstStyle/>
            <a:p>
              <a:endParaRPr>
                <a:solidFill>
                  <a:prstClr val="black"/>
                </a:solidFill>
                <a:latin typeface="+mj-lt"/>
              </a:endParaRPr>
            </a:p>
          </p:txBody>
        </p:sp>
        <p:sp>
          <p:nvSpPr>
            <p:cNvPr id="143" name="Oval 142"/>
            <p:cNvSpPr/>
            <p:nvPr/>
          </p:nvSpPr>
          <p:spPr bwMode="gray">
            <a:xfrm>
              <a:off x="2414408" y="1765496"/>
              <a:ext cx="338400" cy="338400"/>
            </a:xfrm>
            <a:prstGeom prst="ellipse">
              <a:avLst/>
            </a:prstGeom>
            <a:noFill/>
            <a:ln w="9525" algn="ctr">
              <a:solidFill>
                <a:srgbClr val="041E4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sp>
        <p:nvSpPr>
          <p:cNvPr id="144" name="Oval 143"/>
          <p:cNvSpPr/>
          <p:nvPr/>
        </p:nvSpPr>
        <p:spPr bwMode="gray">
          <a:xfrm>
            <a:off x="2414408" y="2527273"/>
            <a:ext cx="338400" cy="338400"/>
          </a:xfrm>
          <a:prstGeom prst="ellipse">
            <a:avLst/>
          </a:prstGeom>
          <a:noFill/>
          <a:ln w="9525" algn="ctr">
            <a:solidFill>
              <a:srgbClr val="62B5E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45" name="Oval 144"/>
          <p:cNvSpPr/>
          <p:nvPr/>
        </p:nvSpPr>
        <p:spPr bwMode="gray">
          <a:xfrm>
            <a:off x="385350" y="2527273"/>
            <a:ext cx="338400" cy="338400"/>
          </a:xfrm>
          <a:prstGeom prst="ellipse">
            <a:avLst/>
          </a:prstGeom>
          <a:noFill/>
          <a:ln w="9525" algn="ctr">
            <a:solidFill>
              <a:srgbClr val="62B5E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46" name="Oval 145"/>
          <p:cNvSpPr/>
          <p:nvPr/>
        </p:nvSpPr>
        <p:spPr bwMode="gray">
          <a:xfrm>
            <a:off x="2414408" y="3422638"/>
            <a:ext cx="338400" cy="338400"/>
          </a:xfrm>
          <a:prstGeom prst="ellipse">
            <a:avLst/>
          </a:prstGeom>
          <a:noFill/>
          <a:ln w="9525"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47" name="Oval 146"/>
          <p:cNvSpPr/>
          <p:nvPr/>
        </p:nvSpPr>
        <p:spPr bwMode="gray">
          <a:xfrm>
            <a:off x="385350" y="3422638"/>
            <a:ext cx="338400" cy="338400"/>
          </a:xfrm>
          <a:prstGeom prst="ellipse">
            <a:avLst/>
          </a:prstGeom>
          <a:noFill/>
          <a:ln w="9525"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48" name="Oval 147"/>
          <p:cNvSpPr/>
          <p:nvPr/>
        </p:nvSpPr>
        <p:spPr bwMode="gray">
          <a:xfrm>
            <a:off x="2414408" y="4266599"/>
            <a:ext cx="338400" cy="338400"/>
          </a:xfrm>
          <a:prstGeom prst="ellipse">
            <a:avLst/>
          </a:prstGeom>
          <a:noFill/>
          <a:ln w="9525"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49" name="Oval 148"/>
          <p:cNvSpPr/>
          <p:nvPr/>
        </p:nvSpPr>
        <p:spPr bwMode="gray">
          <a:xfrm>
            <a:off x="385350" y="4266599"/>
            <a:ext cx="338400" cy="338400"/>
          </a:xfrm>
          <a:prstGeom prst="ellipse">
            <a:avLst/>
          </a:prstGeom>
          <a:noFill/>
          <a:ln w="9525"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50" name="Oval 149"/>
          <p:cNvSpPr/>
          <p:nvPr/>
        </p:nvSpPr>
        <p:spPr bwMode="gray">
          <a:xfrm>
            <a:off x="2414408" y="5086737"/>
            <a:ext cx="338400" cy="338400"/>
          </a:xfrm>
          <a:prstGeom prst="ellipse">
            <a:avLst/>
          </a:prstGeom>
          <a:noFill/>
          <a:ln w="9525" algn="ctr">
            <a:solidFill>
              <a:srgbClr val="44546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51" name="Oval 150"/>
          <p:cNvSpPr/>
          <p:nvPr/>
        </p:nvSpPr>
        <p:spPr bwMode="gray">
          <a:xfrm>
            <a:off x="385350" y="5086737"/>
            <a:ext cx="338400" cy="338400"/>
          </a:xfrm>
          <a:prstGeom prst="ellipse">
            <a:avLst/>
          </a:prstGeom>
          <a:noFill/>
          <a:ln w="9525" algn="ctr">
            <a:solidFill>
              <a:srgbClr val="44546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dirty="0">
              <a:latin typeface="+mj-lt"/>
            </a:endParaRPr>
          </a:p>
        </p:txBody>
      </p:sp>
      <p:sp>
        <p:nvSpPr>
          <p:cNvPr id="152" name="Oval 151"/>
          <p:cNvSpPr/>
          <p:nvPr/>
        </p:nvSpPr>
        <p:spPr bwMode="gray">
          <a:xfrm>
            <a:off x="2414408" y="5792667"/>
            <a:ext cx="338400" cy="338400"/>
          </a:xfrm>
          <a:prstGeom prst="ellipse">
            <a:avLst/>
          </a:prstGeom>
          <a:noFill/>
          <a:ln w="9525" algn="ctr">
            <a:solidFill>
              <a:srgbClr val="0097A9"/>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53" name="Oval 152"/>
          <p:cNvSpPr/>
          <p:nvPr/>
        </p:nvSpPr>
        <p:spPr bwMode="gray">
          <a:xfrm>
            <a:off x="385350" y="5792667"/>
            <a:ext cx="338400" cy="338400"/>
          </a:xfrm>
          <a:prstGeom prst="ellipse">
            <a:avLst/>
          </a:prstGeom>
          <a:noFill/>
          <a:ln w="9525" algn="ctr">
            <a:solidFill>
              <a:srgbClr val="0097A9"/>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56" name="object 174"/>
          <p:cNvSpPr/>
          <p:nvPr/>
        </p:nvSpPr>
        <p:spPr>
          <a:xfrm>
            <a:off x="7441844" y="3207703"/>
            <a:ext cx="222768" cy="252672"/>
          </a:xfrm>
          <a:custGeom>
            <a:avLst/>
            <a:gdLst/>
            <a:ahLst/>
            <a:cxnLst/>
            <a:rect l="l" t="t" r="r" b="b"/>
            <a:pathLst>
              <a:path w="283845" h="321945">
                <a:moveTo>
                  <a:pt x="27330" y="170713"/>
                </a:moveTo>
                <a:lnTo>
                  <a:pt x="23799" y="171145"/>
                </a:lnTo>
                <a:lnTo>
                  <a:pt x="20713" y="173355"/>
                </a:lnTo>
                <a:lnTo>
                  <a:pt x="19392" y="177330"/>
                </a:lnTo>
                <a:lnTo>
                  <a:pt x="431" y="233781"/>
                </a:lnTo>
                <a:lnTo>
                  <a:pt x="0" y="235115"/>
                </a:lnTo>
                <a:lnTo>
                  <a:pt x="0" y="238201"/>
                </a:lnTo>
                <a:lnTo>
                  <a:pt x="1320" y="241287"/>
                </a:lnTo>
                <a:lnTo>
                  <a:pt x="2641" y="243497"/>
                </a:lnTo>
                <a:lnTo>
                  <a:pt x="5727" y="244817"/>
                </a:lnTo>
                <a:lnTo>
                  <a:pt x="7492" y="245694"/>
                </a:lnTo>
                <a:lnTo>
                  <a:pt x="66116" y="257606"/>
                </a:lnTo>
                <a:lnTo>
                  <a:pt x="69646" y="257606"/>
                </a:lnTo>
                <a:lnTo>
                  <a:pt x="73621" y="256730"/>
                </a:lnTo>
                <a:lnTo>
                  <a:pt x="75818" y="254076"/>
                </a:lnTo>
                <a:lnTo>
                  <a:pt x="77139" y="250990"/>
                </a:lnTo>
                <a:lnTo>
                  <a:pt x="77139" y="247015"/>
                </a:lnTo>
                <a:lnTo>
                  <a:pt x="75818" y="243497"/>
                </a:lnTo>
                <a:lnTo>
                  <a:pt x="73621" y="241287"/>
                </a:lnTo>
                <a:lnTo>
                  <a:pt x="69646" y="239966"/>
                </a:lnTo>
                <a:lnTo>
                  <a:pt x="35699" y="232460"/>
                </a:lnTo>
                <a:lnTo>
                  <a:pt x="64184" y="216141"/>
                </a:lnTo>
                <a:lnTo>
                  <a:pt x="26009" y="216141"/>
                </a:lnTo>
                <a:lnTo>
                  <a:pt x="37020" y="182613"/>
                </a:lnTo>
                <a:lnTo>
                  <a:pt x="37020" y="178650"/>
                </a:lnTo>
                <a:lnTo>
                  <a:pt x="36144" y="175120"/>
                </a:lnTo>
                <a:lnTo>
                  <a:pt x="33934" y="172910"/>
                </a:lnTo>
                <a:lnTo>
                  <a:pt x="31292" y="171145"/>
                </a:lnTo>
                <a:lnTo>
                  <a:pt x="27330" y="170713"/>
                </a:lnTo>
                <a:close/>
              </a:path>
              <a:path w="283845" h="321945">
                <a:moveTo>
                  <a:pt x="81546" y="187477"/>
                </a:moveTo>
                <a:lnTo>
                  <a:pt x="78028" y="187477"/>
                </a:lnTo>
                <a:lnTo>
                  <a:pt x="74498" y="188353"/>
                </a:lnTo>
                <a:lnTo>
                  <a:pt x="26009" y="216141"/>
                </a:lnTo>
                <a:lnTo>
                  <a:pt x="64184" y="216141"/>
                </a:lnTo>
                <a:lnTo>
                  <a:pt x="84200" y="204673"/>
                </a:lnTo>
                <a:lnTo>
                  <a:pt x="86398" y="202463"/>
                </a:lnTo>
                <a:lnTo>
                  <a:pt x="87718" y="198945"/>
                </a:lnTo>
                <a:lnTo>
                  <a:pt x="88607" y="194970"/>
                </a:lnTo>
                <a:lnTo>
                  <a:pt x="86842" y="192328"/>
                </a:lnTo>
                <a:lnTo>
                  <a:pt x="84632" y="189230"/>
                </a:lnTo>
                <a:lnTo>
                  <a:pt x="81546" y="187477"/>
                </a:lnTo>
                <a:close/>
              </a:path>
              <a:path w="283845" h="321945">
                <a:moveTo>
                  <a:pt x="276974" y="104990"/>
                </a:moveTo>
                <a:lnTo>
                  <a:pt x="257454" y="104990"/>
                </a:lnTo>
                <a:lnTo>
                  <a:pt x="246430" y="139395"/>
                </a:lnTo>
                <a:lnTo>
                  <a:pt x="245541" y="142925"/>
                </a:lnTo>
                <a:lnTo>
                  <a:pt x="246875" y="146888"/>
                </a:lnTo>
                <a:lnTo>
                  <a:pt x="249072" y="149098"/>
                </a:lnTo>
                <a:lnTo>
                  <a:pt x="252158" y="150418"/>
                </a:lnTo>
                <a:lnTo>
                  <a:pt x="255689" y="151295"/>
                </a:lnTo>
                <a:lnTo>
                  <a:pt x="258775" y="150418"/>
                </a:lnTo>
                <a:lnTo>
                  <a:pt x="261861" y="148209"/>
                </a:lnTo>
                <a:lnTo>
                  <a:pt x="264058" y="144678"/>
                </a:lnTo>
                <a:lnTo>
                  <a:pt x="276974" y="104990"/>
                </a:lnTo>
                <a:close/>
              </a:path>
              <a:path w="283845" h="321945">
                <a:moveTo>
                  <a:pt x="216446" y="63957"/>
                </a:moveTo>
                <a:lnTo>
                  <a:pt x="212928" y="63957"/>
                </a:lnTo>
                <a:lnTo>
                  <a:pt x="209842" y="64846"/>
                </a:lnTo>
                <a:lnTo>
                  <a:pt x="206755" y="67932"/>
                </a:lnTo>
                <a:lnTo>
                  <a:pt x="205435" y="70573"/>
                </a:lnTo>
                <a:lnTo>
                  <a:pt x="205435" y="74549"/>
                </a:lnTo>
                <a:lnTo>
                  <a:pt x="206755" y="78079"/>
                </a:lnTo>
                <a:lnTo>
                  <a:pt x="209842" y="80289"/>
                </a:lnTo>
                <a:lnTo>
                  <a:pt x="212928" y="82042"/>
                </a:lnTo>
                <a:lnTo>
                  <a:pt x="247751" y="89547"/>
                </a:lnTo>
                <a:lnTo>
                  <a:pt x="199262" y="116890"/>
                </a:lnTo>
                <a:lnTo>
                  <a:pt x="196176" y="119100"/>
                </a:lnTo>
                <a:lnTo>
                  <a:pt x="194843" y="123075"/>
                </a:lnTo>
                <a:lnTo>
                  <a:pt x="194843" y="125717"/>
                </a:lnTo>
                <a:lnTo>
                  <a:pt x="195732" y="129692"/>
                </a:lnTo>
                <a:lnTo>
                  <a:pt x="198818" y="132334"/>
                </a:lnTo>
                <a:lnTo>
                  <a:pt x="201460" y="134099"/>
                </a:lnTo>
                <a:lnTo>
                  <a:pt x="205435" y="134099"/>
                </a:lnTo>
                <a:lnTo>
                  <a:pt x="208953" y="133210"/>
                </a:lnTo>
                <a:lnTo>
                  <a:pt x="257454" y="104990"/>
                </a:lnTo>
                <a:lnTo>
                  <a:pt x="276974" y="104990"/>
                </a:lnTo>
                <a:lnTo>
                  <a:pt x="282574" y="87782"/>
                </a:lnTo>
                <a:lnTo>
                  <a:pt x="283463" y="86461"/>
                </a:lnTo>
                <a:lnTo>
                  <a:pt x="282574" y="83375"/>
                </a:lnTo>
                <a:lnTo>
                  <a:pt x="282130" y="80289"/>
                </a:lnTo>
                <a:lnTo>
                  <a:pt x="279933" y="78079"/>
                </a:lnTo>
                <a:lnTo>
                  <a:pt x="277291" y="76758"/>
                </a:lnTo>
                <a:lnTo>
                  <a:pt x="275970" y="75869"/>
                </a:lnTo>
                <a:lnTo>
                  <a:pt x="216446" y="63957"/>
                </a:lnTo>
                <a:close/>
              </a:path>
              <a:path w="283845" h="321945">
                <a:moveTo>
                  <a:pt x="69646" y="63957"/>
                </a:moveTo>
                <a:lnTo>
                  <a:pt x="66116" y="63957"/>
                </a:lnTo>
                <a:lnTo>
                  <a:pt x="7492" y="75869"/>
                </a:lnTo>
                <a:lnTo>
                  <a:pt x="5727" y="76758"/>
                </a:lnTo>
                <a:lnTo>
                  <a:pt x="2641" y="78079"/>
                </a:lnTo>
                <a:lnTo>
                  <a:pt x="1320" y="80289"/>
                </a:lnTo>
                <a:lnTo>
                  <a:pt x="0" y="83375"/>
                </a:lnTo>
                <a:lnTo>
                  <a:pt x="0" y="86461"/>
                </a:lnTo>
                <a:lnTo>
                  <a:pt x="19392" y="144678"/>
                </a:lnTo>
                <a:lnTo>
                  <a:pt x="20713" y="148209"/>
                </a:lnTo>
                <a:lnTo>
                  <a:pt x="23799" y="150418"/>
                </a:lnTo>
                <a:lnTo>
                  <a:pt x="27330" y="151295"/>
                </a:lnTo>
                <a:lnTo>
                  <a:pt x="31292" y="150418"/>
                </a:lnTo>
                <a:lnTo>
                  <a:pt x="33934" y="149098"/>
                </a:lnTo>
                <a:lnTo>
                  <a:pt x="36144" y="146011"/>
                </a:lnTo>
                <a:lnTo>
                  <a:pt x="37909" y="142036"/>
                </a:lnTo>
                <a:lnTo>
                  <a:pt x="37020" y="139395"/>
                </a:lnTo>
                <a:lnTo>
                  <a:pt x="26009" y="104990"/>
                </a:lnTo>
                <a:lnTo>
                  <a:pt x="63092" y="104990"/>
                </a:lnTo>
                <a:lnTo>
                  <a:pt x="35699" y="89547"/>
                </a:lnTo>
                <a:lnTo>
                  <a:pt x="69646" y="82042"/>
                </a:lnTo>
                <a:lnTo>
                  <a:pt x="73621" y="80289"/>
                </a:lnTo>
                <a:lnTo>
                  <a:pt x="76707" y="77635"/>
                </a:lnTo>
                <a:lnTo>
                  <a:pt x="77139" y="74549"/>
                </a:lnTo>
                <a:lnTo>
                  <a:pt x="77139" y="70573"/>
                </a:lnTo>
                <a:lnTo>
                  <a:pt x="75818" y="67932"/>
                </a:lnTo>
                <a:lnTo>
                  <a:pt x="73621" y="64846"/>
                </a:lnTo>
                <a:lnTo>
                  <a:pt x="69646" y="63957"/>
                </a:lnTo>
                <a:close/>
              </a:path>
              <a:path w="283845" h="321945">
                <a:moveTo>
                  <a:pt x="63092" y="104990"/>
                </a:moveTo>
                <a:lnTo>
                  <a:pt x="26009" y="104990"/>
                </a:lnTo>
                <a:lnTo>
                  <a:pt x="74498" y="133210"/>
                </a:lnTo>
                <a:lnTo>
                  <a:pt x="78028" y="134099"/>
                </a:lnTo>
                <a:lnTo>
                  <a:pt x="81546" y="134099"/>
                </a:lnTo>
                <a:lnTo>
                  <a:pt x="84632" y="132334"/>
                </a:lnTo>
                <a:lnTo>
                  <a:pt x="86842" y="129692"/>
                </a:lnTo>
                <a:lnTo>
                  <a:pt x="88607" y="125717"/>
                </a:lnTo>
                <a:lnTo>
                  <a:pt x="86398" y="119100"/>
                </a:lnTo>
                <a:lnTo>
                  <a:pt x="84200" y="116890"/>
                </a:lnTo>
                <a:lnTo>
                  <a:pt x="63092" y="104990"/>
                </a:lnTo>
                <a:close/>
              </a:path>
              <a:path w="283845" h="321945">
                <a:moveTo>
                  <a:pt x="150761" y="33528"/>
                </a:moveTo>
                <a:lnTo>
                  <a:pt x="132245" y="33528"/>
                </a:lnTo>
                <a:lnTo>
                  <a:pt x="132245" y="89547"/>
                </a:lnTo>
                <a:lnTo>
                  <a:pt x="133134" y="93078"/>
                </a:lnTo>
                <a:lnTo>
                  <a:pt x="134454" y="96164"/>
                </a:lnTo>
                <a:lnTo>
                  <a:pt x="137540" y="97485"/>
                </a:lnTo>
                <a:lnTo>
                  <a:pt x="141503" y="98374"/>
                </a:lnTo>
                <a:lnTo>
                  <a:pt x="145033" y="97485"/>
                </a:lnTo>
                <a:lnTo>
                  <a:pt x="148120" y="96164"/>
                </a:lnTo>
                <a:lnTo>
                  <a:pt x="150329" y="93078"/>
                </a:lnTo>
                <a:lnTo>
                  <a:pt x="150761" y="89547"/>
                </a:lnTo>
                <a:lnTo>
                  <a:pt x="150761" y="33528"/>
                </a:lnTo>
                <a:close/>
              </a:path>
              <a:path w="283845" h="321945">
                <a:moveTo>
                  <a:pt x="141503" y="0"/>
                </a:moveTo>
                <a:lnTo>
                  <a:pt x="138417" y="889"/>
                </a:lnTo>
                <a:lnTo>
                  <a:pt x="136220" y="1320"/>
                </a:lnTo>
                <a:lnTo>
                  <a:pt x="134454" y="3086"/>
                </a:lnTo>
                <a:lnTo>
                  <a:pt x="94335" y="47637"/>
                </a:lnTo>
                <a:lnTo>
                  <a:pt x="92138" y="50723"/>
                </a:lnTo>
                <a:lnTo>
                  <a:pt x="92138" y="54254"/>
                </a:lnTo>
                <a:lnTo>
                  <a:pt x="93014" y="58229"/>
                </a:lnTo>
                <a:lnTo>
                  <a:pt x="95224" y="60871"/>
                </a:lnTo>
                <a:lnTo>
                  <a:pt x="98297" y="62636"/>
                </a:lnTo>
                <a:lnTo>
                  <a:pt x="101828" y="63080"/>
                </a:lnTo>
                <a:lnTo>
                  <a:pt x="105359" y="62636"/>
                </a:lnTo>
                <a:lnTo>
                  <a:pt x="108445" y="60439"/>
                </a:lnTo>
                <a:lnTo>
                  <a:pt x="132245" y="33528"/>
                </a:lnTo>
                <a:lnTo>
                  <a:pt x="176272" y="33528"/>
                </a:lnTo>
                <a:lnTo>
                  <a:pt x="148564" y="3086"/>
                </a:lnTo>
                <a:lnTo>
                  <a:pt x="147243" y="1320"/>
                </a:lnTo>
                <a:lnTo>
                  <a:pt x="144157" y="889"/>
                </a:lnTo>
                <a:lnTo>
                  <a:pt x="141503" y="0"/>
                </a:lnTo>
                <a:close/>
              </a:path>
              <a:path w="283845" h="321945">
                <a:moveTo>
                  <a:pt x="176272" y="33528"/>
                </a:moveTo>
                <a:lnTo>
                  <a:pt x="150761" y="33528"/>
                </a:lnTo>
                <a:lnTo>
                  <a:pt x="174574" y="60439"/>
                </a:lnTo>
                <a:lnTo>
                  <a:pt x="177660" y="62636"/>
                </a:lnTo>
                <a:lnTo>
                  <a:pt x="181622" y="63080"/>
                </a:lnTo>
                <a:lnTo>
                  <a:pt x="185153" y="62636"/>
                </a:lnTo>
                <a:lnTo>
                  <a:pt x="188239" y="60871"/>
                </a:lnTo>
                <a:lnTo>
                  <a:pt x="190436" y="58229"/>
                </a:lnTo>
                <a:lnTo>
                  <a:pt x="191325" y="54254"/>
                </a:lnTo>
                <a:lnTo>
                  <a:pt x="190436" y="50723"/>
                </a:lnTo>
                <a:lnTo>
                  <a:pt x="189115" y="47637"/>
                </a:lnTo>
                <a:lnTo>
                  <a:pt x="176272" y="33528"/>
                </a:lnTo>
                <a:close/>
              </a:path>
              <a:path w="283845" h="321945">
                <a:moveTo>
                  <a:pt x="205435" y="187477"/>
                </a:moveTo>
                <a:lnTo>
                  <a:pt x="201460" y="187477"/>
                </a:lnTo>
                <a:lnTo>
                  <a:pt x="198818" y="189230"/>
                </a:lnTo>
                <a:lnTo>
                  <a:pt x="195732" y="192328"/>
                </a:lnTo>
                <a:lnTo>
                  <a:pt x="194843" y="194970"/>
                </a:lnTo>
                <a:lnTo>
                  <a:pt x="194843" y="198945"/>
                </a:lnTo>
                <a:lnTo>
                  <a:pt x="196176" y="202463"/>
                </a:lnTo>
                <a:lnTo>
                  <a:pt x="199262" y="204673"/>
                </a:lnTo>
                <a:lnTo>
                  <a:pt x="247751" y="232460"/>
                </a:lnTo>
                <a:lnTo>
                  <a:pt x="212928" y="239966"/>
                </a:lnTo>
                <a:lnTo>
                  <a:pt x="208953" y="241287"/>
                </a:lnTo>
                <a:lnTo>
                  <a:pt x="206755" y="244373"/>
                </a:lnTo>
                <a:lnTo>
                  <a:pt x="205435" y="247015"/>
                </a:lnTo>
                <a:lnTo>
                  <a:pt x="205435" y="250990"/>
                </a:lnTo>
                <a:lnTo>
                  <a:pt x="206755" y="254076"/>
                </a:lnTo>
                <a:lnTo>
                  <a:pt x="209842" y="256730"/>
                </a:lnTo>
                <a:lnTo>
                  <a:pt x="212928" y="257606"/>
                </a:lnTo>
                <a:lnTo>
                  <a:pt x="216446" y="257606"/>
                </a:lnTo>
                <a:lnTo>
                  <a:pt x="275970" y="245694"/>
                </a:lnTo>
                <a:lnTo>
                  <a:pt x="277291" y="244817"/>
                </a:lnTo>
                <a:lnTo>
                  <a:pt x="279933" y="243497"/>
                </a:lnTo>
                <a:lnTo>
                  <a:pt x="282130" y="241287"/>
                </a:lnTo>
                <a:lnTo>
                  <a:pt x="282574" y="238201"/>
                </a:lnTo>
                <a:lnTo>
                  <a:pt x="283463" y="235115"/>
                </a:lnTo>
                <a:lnTo>
                  <a:pt x="282574" y="233781"/>
                </a:lnTo>
                <a:lnTo>
                  <a:pt x="276788" y="216141"/>
                </a:lnTo>
                <a:lnTo>
                  <a:pt x="257454" y="216141"/>
                </a:lnTo>
                <a:lnTo>
                  <a:pt x="208953" y="188353"/>
                </a:lnTo>
                <a:lnTo>
                  <a:pt x="205435" y="187477"/>
                </a:lnTo>
                <a:close/>
              </a:path>
              <a:path w="283845" h="321945">
                <a:moveTo>
                  <a:pt x="255689" y="170713"/>
                </a:moveTo>
                <a:lnTo>
                  <a:pt x="252158" y="171145"/>
                </a:lnTo>
                <a:lnTo>
                  <a:pt x="248627" y="172910"/>
                </a:lnTo>
                <a:lnTo>
                  <a:pt x="246430" y="175564"/>
                </a:lnTo>
                <a:lnTo>
                  <a:pt x="245541" y="178650"/>
                </a:lnTo>
                <a:lnTo>
                  <a:pt x="246430" y="182613"/>
                </a:lnTo>
                <a:lnTo>
                  <a:pt x="257454" y="216141"/>
                </a:lnTo>
                <a:lnTo>
                  <a:pt x="276788" y="216141"/>
                </a:lnTo>
                <a:lnTo>
                  <a:pt x="264058" y="177330"/>
                </a:lnTo>
                <a:lnTo>
                  <a:pt x="261861" y="173355"/>
                </a:lnTo>
                <a:lnTo>
                  <a:pt x="258775" y="171145"/>
                </a:lnTo>
                <a:lnTo>
                  <a:pt x="255689" y="170713"/>
                </a:lnTo>
                <a:close/>
              </a:path>
              <a:path w="283845" h="321945">
                <a:moveTo>
                  <a:pt x="100952" y="258483"/>
                </a:moveTo>
                <a:lnTo>
                  <a:pt x="98297" y="258927"/>
                </a:lnTo>
                <a:lnTo>
                  <a:pt x="95224" y="260692"/>
                </a:lnTo>
                <a:lnTo>
                  <a:pt x="93014" y="263779"/>
                </a:lnTo>
                <a:lnTo>
                  <a:pt x="92138" y="267309"/>
                </a:lnTo>
                <a:lnTo>
                  <a:pt x="92138" y="270840"/>
                </a:lnTo>
                <a:lnTo>
                  <a:pt x="94335" y="273926"/>
                </a:lnTo>
                <a:lnTo>
                  <a:pt x="134454" y="318922"/>
                </a:lnTo>
                <a:lnTo>
                  <a:pt x="136220" y="319366"/>
                </a:lnTo>
                <a:lnTo>
                  <a:pt x="138417" y="321119"/>
                </a:lnTo>
                <a:lnTo>
                  <a:pt x="141503" y="321564"/>
                </a:lnTo>
                <a:lnTo>
                  <a:pt x="144157" y="321119"/>
                </a:lnTo>
                <a:lnTo>
                  <a:pt x="147243" y="319366"/>
                </a:lnTo>
                <a:lnTo>
                  <a:pt x="148564" y="318922"/>
                </a:lnTo>
                <a:lnTo>
                  <a:pt x="176388" y="288048"/>
                </a:lnTo>
                <a:lnTo>
                  <a:pt x="132245" y="288048"/>
                </a:lnTo>
                <a:lnTo>
                  <a:pt x="108445" y="261581"/>
                </a:lnTo>
                <a:lnTo>
                  <a:pt x="104914" y="258927"/>
                </a:lnTo>
                <a:lnTo>
                  <a:pt x="100952" y="258483"/>
                </a:lnTo>
                <a:close/>
              </a:path>
              <a:path w="283845" h="321945">
                <a:moveTo>
                  <a:pt x="141503" y="223202"/>
                </a:moveTo>
                <a:lnTo>
                  <a:pt x="137540" y="224078"/>
                </a:lnTo>
                <a:lnTo>
                  <a:pt x="134454" y="225844"/>
                </a:lnTo>
                <a:lnTo>
                  <a:pt x="133134" y="228498"/>
                </a:lnTo>
                <a:lnTo>
                  <a:pt x="132245" y="232460"/>
                </a:lnTo>
                <a:lnTo>
                  <a:pt x="132245" y="288048"/>
                </a:lnTo>
                <a:lnTo>
                  <a:pt x="150761" y="288048"/>
                </a:lnTo>
                <a:lnTo>
                  <a:pt x="150761" y="232460"/>
                </a:lnTo>
                <a:lnTo>
                  <a:pt x="150329" y="228498"/>
                </a:lnTo>
                <a:lnTo>
                  <a:pt x="148120" y="225844"/>
                </a:lnTo>
                <a:lnTo>
                  <a:pt x="145033" y="224078"/>
                </a:lnTo>
                <a:lnTo>
                  <a:pt x="141503" y="223202"/>
                </a:lnTo>
                <a:close/>
              </a:path>
              <a:path w="283845" h="321945">
                <a:moveTo>
                  <a:pt x="181622" y="258483"/>
                </a:moveTo>
                <a:lnTo>
                  <a:pt x="177660" y="258927"/>
                </a:lnTo>
                <a:lnTo>
                  <a:pt x="174574" y="261581"/>
                </a:lnTo>
                <a:lnTo>
                  <a:pt x="150761" y="288048"/>
                </a:lnTo>
                <a:lnTo>
                  <a:pt x="176388" y="288048"/>
                </a:lnTo>
                <a:lnTo>
                  <a:pt x="189115" y="273926"/>
                </a:lnTo>
                <a:lnTo>
                  <a:pt x="190436" y="270840"/>
                </a:lnTo>
                <a:lnTo>
                  <a:pt x="191325" y="267309"/>
                </a:lnTo>
                <a:lnTo>
                  <a:pt x="190436" y="263779"/>
                </a:lnTo>
                <a:lnTo>
                  <a:pt x="188239" y="260692"/>
                </a:lnTo>
                <a:lnTo>
                  <a:pt x="184264" y="258927"/>
                </a:lnTo>
                <a:lnTo>
                  <a:pt x="181622" y="258483"/>
                </a:lnTo>
                <a:close/>
              </a:path>
            </a:pathLst>
          </a:custGeom>
          <a:solidFill>
            <a:srgbClr val="62B5E5"/>
          </a:solidFill>
        </p:spPr>
        <p:txBody>
          <a:bodyPr wrap="square" lIns="0" tIns="0" rIns="0" bIns="0" rtlCol="0"/>
          <a:lstStyle/>
          <a:p>
            <a:endParaRPr>
              <a:solidFill>
                <a:prstClr val="black"/>
              </a:solidFill>
              <a:latin typeface="+mj-lt"/>
            </a:endParaRPr>
          </a:p>
        </p:txBody>
      </p:sp>
      <p:sp>
        <p:nvSpPr>
          <p:cNvPr id="157" name="Oval 156"/>
          <p:cNvSpPr/>
          <p:nvPr/>
        </p:nvSpPr>
        <p:spPr bwMode="gray">
          <a:xfrm>
            <a:off x="7384061" y="3164839"/>
            <a:ext cx="338400" cy="338400"/>
          </a:xfrm>
          <a:prstGeom prst="ellipse">
            <a:avLst/>
          </a:prstGeom>
          <a:noFill/>
          <a:ln w="9525" algn="ctr">
            <a:solidFill>
              <a:srgbClr val="62B5E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58" name="object 175"/>
          <p:cNvSpPr/>
          <p:nvPr/>
        </p:nvSpPr>
        <p:spPr>
          <a:xfrm>
            <a:off x="6878394" y="3560470"/>
            <a:ext cx="247745" cy="247135"/>
          </a:xfrm>
          <a:custGeom>
            <a:avLst/>
            <a:gdLst/>
            <a:ahLst/>
            <a:cxnLst/>
            <a:rect l="l" t="t" r="r" b="b"/>
            <a:pathLst>
              <a:path w="257810" h="257175">
                <a:moveTo>
                  <a:pt x="177863" y="185000"/>
                </a:moveTo>
                <a:lnTo>
                  <a:pt x="132511" y="214071"/>
                </a:lnTo>
                <a:lnTo>
                  <a:pt x="105664" y="242252"/>
                </a:lnTo>
                <a:lnTo>
                  <a:pt x="97739" y="252831"/>
                </a:lnTo>
                <a:lnTo>
                  <a:pt x="104775" y="254152"/>
                </a:lnTo>
                <a:lnTo>
                  <a:pt x="113144" y="255917"/>
                </a:lnTo>
                <a:lnTo>
                  <a:pt x="120624" y="256793"/>
                </a:lnTo>
                <a:lnTo>
                  <a:pt x="128549" y="256793"/>
                </a:lnTo>
                <a:lnTo>
                  <a:pt x="170383" y="249745"/>
                </a:lnTo>
                <a:lnTo>
                  <a:pt x="186664" y="190284"/>
                </a:lnTo>
                <a:lnTo>
                  <a:pt x="181381" y="188074"/>
                </a:lnTo>
                <a:lnTo>
                  <a:pt x="177863" y="185000"/>
                </a:lnTo>
                <a:close/>
              </a:path>
              <a:path w="257810" h="257175">
                <a:moveTo>
                  <a:pt x="57226" y="139191"/>
                </a:moveTo>
                <a:lnTo>
                  <a:pt x="48425" y="156806"/>
                </a:lnTo>
                <a:lnTo>
                  <a:pt x="45339" y="166496"/>
                </a:lnTo>
                <a:lnTo>
                  <a:pt x="42697" y="176187"/>
                </a:lnTo>
                <a:lnTo>
                  <a:pt x="39624" y="185877"/>
                </a:lnTo>
                <a:lnTo>
                  <a:pt x="37414" y="195567"/>
                </a:lnTo>
                <a:lnTo>
                  <a:pt x="35661" y="206133"/>
                </a:lnTo>
                <a:lnTo>
                  <a:pt x="35217" y="215823"/>
                </a:lnTo>
                <a:lnTo>
                  <a:pt x="44907" y="225513"/>
                </a:lnTo>
                <a:lnTo>
                  <a:pt x="55029" y="233451"/>
                </a:lnTo>
                <a:lnTo>
                  <a:pt x="66471" y="240931"/>
                </a:lnTo>
                <a:lnTo>
                  <a:pt x="78803" y="247103"/>
                </a:lnTo>
                <a:lnTo>
                  <a:pt x="87172" y="235203"/>
                </a:lnTo>
                <a:lnTo>
                  <a:pt x="95973" y="223761"/>
                </a:lnTo>
                <a:lnTo>
                  <a:pt x="105664" y="213626"/>
                </a:lnTo>
                <a:lnTo>
                  <a:pt x="116230" y="203060"/>
                </a:lnTo>
                <a:lnTo>
                  <a:pt x="127228" y="194246"/>
                </a:lnTo>
                <a:lnTo>
                  <a:pt x="138239" y="185000"/>
                </a:lnTo>
                <a:lnTo>
                  <a:pt x="151003" y="177952"/>
                </a:lnTo>
                <a:lnTo>
                  <a:pt x="163779" y="170459"/>
                </a:lnTo>
                <a:lnTo>
                  <a:pt x="151892" y="168262"/>
                </a:lnTo>
                <a:lnTo>
                  <a:pt x="128549" y="162090"/>
                </a:lnTo>
                <a:lnTo>
                  <a:pt x="118427" y="157683"/>
                </a:lnTo>
                <a:lnTo>
                  <a:pt x="106984" y="153276"/>
                </a:lnTo>
                <a:lnTo>
                  <a:pt x="96850" y="147993"/>
                </a:lnTo>
                <a:lnTo>
                  <a:pt x="83403" y="140068"/>
                </a:lnTo>
                <a:lnTo>
                  <a:pt x="62509" y="140068"/>
                </a:lnTo>
                <a:lnTo>
                  <a:pt x="57226" y="139191"/>
                </a:lnTo>
                <a:close/>
              </a:path>
              <a:path w="257810" h="257175">
                <a:moveTo>
                  <a:pt x="251383" y="167373"/>
                </a:moveTo>
                <a:lnTo>
                  <a:pt x="236423" y="170459"/>
                </a:lnTo>
                <a:lnTo>
                  <a:pt x="221005" y="172669"/>
                </a:lnTo>
                <a:lnTo>
                  <a:pt x="218808" y="177952"/>
                </a:lnTo>
                <a:lnTo>
                  <a:pt x="214845" y="182359"/>
                </a:lnTo>
                <a:lnTo>
                  <a:pt x="210439" y="185877"/>
                </a:lnTo>
                <a:lnTo>
                  <a:pt x="205155" y="188963"/>
                </a:lnTo>
                <a:lnTo>
                  <a:pt x="205968" y="203060"/>
                </a:lnTo>
                <a:lnTo>
                  <a:pt x="206044" y="218478"/>
                </a:lnTo>
                <a:lnTo>
                  <a:pt x="204724" y="232130"/>
                </a:lnTo>
                <a:lnTo>
                  <a:pt x="212648" y="225958"/>
                </a:lnTo>
                <a:lnTo>
                  <a:pt x="226733" y="211861"/>
                </a:lnTo>
                <a:lnTo>
                  <a:pt x="232892" y="203936"/>
                </a:lnTo>
                <a:lnTo>
                  <a:pt x="238620" y="195567"/>
                </a:lnTo>
                <a:lnTo>
                  <a:pt x="247865" y="177063"/>
                </a:lnTo>
                <a:lnTo>
                  <a:pt x="251383" y="167373"/>
                </a:lnTo>
                <a:close/>
              </a:path>
              <a:path w="257810" h="257175">
                <a:moveTo>
                  <a:pt x="14084" y="70916"/>
                </a:moveTo>
                <a:lnTo>
                  <a:pt x="876" y="113195"/>
                </a:lnTo>
                <a:lnTo>
                  <a:pt x="0" y="120688"/>
                </a:lnTo>
                <a:lnTo>
                  <a:pt x="88" y="129501"/>
                </a:lnTo>
                <a:lnTo>
                  <a:pt x="7480" y="170903"/>
                </a:lnTo>
                <a:lnTo>
                  <a:pt x="18923" y="194246"/>
                </a:lnTo>
                <a:lnTo>
                  <a:pt x="22453" y="177063"/>
                </a:lnTo>
                <a:lnTo>
                  <a:pt x="26847" y="160769"/>
                </a:lnTo>
                <a:lnTo>
                  <a:pt x="33451" y="144475"/>
                </a:lnTo>
                <a:lnTo>
                  <a:pt x="40944" y="129501"/>
                </a:lnTo>
                <a:lnTo>
                  <a:pt x="38735" y="125526"/>
                </a:lnTo>
                <a:lnTo>
                  <a:pt x="36537" y="121132"/>
                </a:lnTo>
                <a:lnTo>
                  <a:pt x="35661" y="116725"/>
                </a:lnTo>
                <a:lnTo>
                  <a:pt x="35217" y="112318"/>
                </a:lnTo>
                <a:lnTo>
                  <a:pt x="35661" y="107035"/>
                </a:lnTo>
                <a:lnTo>
                  <a:pt x="37414" y="101752"/>
                </a:lnTo>
                <a:lnTo>
                  <a:pt x="25527" y="87210"/>
                </a:lnTo>
                <a:lnTo>
                  <a:pt x="14084" y="70916"/>
                </a:lnTo>
                <a:close/>
              </a:path>
              <a:path w="257810" h="257175">
                <a:moveTo>
                  <a:pt x="214845" y="32588"/>
                </a:moveTo>
                <a:lnTo>
                  <a:pt x="200317" y="34797"/>
                </a:lnTo>
                <a:lnTo>
                  <a:pt x="185343" y="38760"/>
                </a:lnTo>
                <a:lnTo>
                  <a:pt x="170383" y="42278"/>
                </a:lnTo>
                <a:lnTo>
                  <a:pt x="156286" y="47574"/>
                </a:lnTo>
                <a:lnTo>
                  <a:pt x="156286" y="50647"/>
                </a:lnTo>
                <a:lnTo>
                  <a:pt x="155409" y="57264"/>
                </a:lnTo>
                <a:lnTo>
                  <a:pt x="154089" y="62547"/>
                </a:lnTo>
                <a:lnTo>
                  <a:pt x="160693" y="70916"/>
                </a:lnTo>
                <a:lnTo>
                  <a:pt x="166852" y="79717"/>
                </a:lnTo>
                <a:lnTo>
                  <a:pt x="191947" y="126415"/>
                </a:lnTo>
                <a:lnTo>
                  <a:pt x="195478" y="136982"/>
                </a:lnTo>
                <a:lnTo>
                  <a:pt x="199440" y="136982"/>
                </a:lnTo>
                <a:lnTo>
                  <a:pt x="202958" y="138302"/>
                </a:lnTo>
                <a:lnTo>
                  <a:pt x="206921" y="140068"/>
                </a:lnTo>
                <a:lnTo>
                  <a:pt x="210439" y="141389"/>
                </a:lnTo>
                <a:lnTo>
                  <a:pt x="213525" y="143586"/>
                </a:lnTo>
                <a:lnTo>
                  <a:pt x="215722" y="146672"/>
                </a:lnTo>
                <a:lnTo>
                  <a:pt x="217932" y="149313"/>
                </a:lnTo>
                <a:lnTo>
                  <a:pt x="220129" y="153276"/>
                </a:lnTo>
                <a:lnTo>
                  <a:pt x="238175" y="151079"/>
                </a:lnTo>
                <a:lnTo>
                  <a:pt x="255790" y="146672"/>
                </a:lnTo>
                <a:lnTo>
                  <a:pt x="256800" y="136105"/>
                </a:lnTo>
                <a:lnTo>
                  <a:pt x="257556" y="128612"/>
                </a:lnTo>
                <a:lnTo>
                  <a:pt x="250507" y="87655"/>
                </a:lnTo>
                <a:lnTo>
                  <a:pt x="232892" y="52857"/>
                </a:lnTo>
                <a:lnTo>
                  <a:pt x="224536" y="42278"/>
                </a:lnTo>
                <a:lnTo>
                  <a:pt x="214845" y="32588"/>
                </a:lnTo>
                <a:close/>
              </a:path>
              <a:path w="257810" h="257175">
                <a:moveTo>
                  <a:pt x="113144" y="73113"/>
                </a:moveTo>
                <a:lnTo>
                  <a:pt x="99060" y="85013"/>
                </a:lnTo>
                <a:lnTo>
                  <a:pt x="85852" y="98221"/>
                </a:lnTo>
                <a:lnTo>
                  <a:pt x="88049" y="101307"/>
                </a:lnTo>
                <a:lnTo>
                  <a:pt x="89369" y="104825"/>
                </a:lnTo>
                <a:lnTo>
                  <a:pt x="90246" y="108800"/>
                </a:lnTo>
                <a:lnTo>
                  <a:pt x="90246" y="116725"/>
                </a:lnTo>
                <a:lnTo>
                  <a:pt x="88493" y="120688"/>
                </a:lnTo>
                <a:lnTo>
                  <a:pt x="106984" y="131698"/>
                </a:lnTo>
                <a:lnTo>
                  <a:pt x="117551" y="136982"/>
                </a:lnTo>
                <a:lnTo>
                  <a:pt x="127228" y="140512"/>
                </a:lnTo>
                <a:lnTo>
                  <a:pt x="137795" y="144475"/>
                </a:lnTo>
                <a:lnTo>
                  <a:pt x="147929" y="147993"/>
                </a:lnTo>
                <a:lnTo>
                  <a:pt x="170383" y="152399"/>
                </a:lnTo>
                <a:lnTo>
                  <a:pt x="173456" y="147116"/>
                </a:lnTo>
                <a:lnTo>
                  <a:pt x="176987" y="142709"/>
                </a:lnTo>
                <a:lnTo>
                  <a:pt x="173901" y="133896"/>
                </a:lnTo>
                <a:lnTo>
                  <a:pt x="170383" y="125094"/>
                </a:lnTo>
                <a:lnTo>
                  <a:pt x="165976" y="115836"/>
                </a:lnTo>
                <a:lnTo>
                  <a:pt x="161569" y="107911"/>
                </a:lnTo>
                <a:lnTo>
                  <a:pt x="157175" y="99110"/>
                </a:lnTo>
                <a:lnTo>
                  <a:pt x="151892" y="91617"/>
                </a:lnTo>
                <a:lnTo>
                  <a:pt x="145719" y="83248"/>
                </a:lnTo>
                <a:lnTo>
                  <a:pt x="141690" y="77965"/>
                </a:lnTo>
                <a:lnTo>
                  <a:pt x="129438" y="77965"/>
                </a:lnTo>
                <a:lnTo>
                  <a:pt x="125031" y="77520"/>
                </a:lnTo>
                <a:lnTo>
                  <a:pt x="120624" y="76644"/>
                </a:lnTo>
                <a:lnTo>
                  <a:pt x="116662" y="75323"/>
                </a:lnTo>
                <a:lnTo>
                  <a:pt x="113144" y="73113"/>
                </a:lnTo>
                <a:close/>
              </a:path>
              <a:path w="257810" h="257175">
                <a:moveTo>
                  <a:pt x="76606" y="136105"/>
                </a:moveTo>
                <a:lnTo>
                  <a:pt x="73964" y="137426"/>
                </a:lnTo>
                <a:lnTo>
                  <a:pt x="70002" y="139191"/>
                </a:lnTo>
                <a:lnTo>
                  <a:pt x="66471" y="140068"/>
                </a:lnTo>
                <a:lnTo>
                  <a:pt x="83403" y="140068"/>
                </a:lnTo>
                <a:lnTo>
                  <a:pt x="76606" y="136105"/>
                </a:lnTo>
                <a:close/>
              </a:path>
              <a:path w="257810" h="257175">
                <a:moveTo>
                  <a:pt x="61188" y="18503"/>
                </a:moveTo>
                <a:lnTo>
                  <a:pt x="41821" y="33477"/>
                </a:lnTo>
                <a:lnTo>
                  <a:pt x="33020" y="42278"/>
                </a:lnTo>
                <a:lnTo>
                  <a:pt x="25527" y="51968"/>
                </a:lnTo>
                <a:lnTo>
                  <a:pt x="30810" y="61658"/>
                </a:lnTo>
                <a:lnTo>
                  <a:pt x="37414" y="70916"/>
                </a:lnTo>
                <a:lnTo>
                  <a:pt x="44018" y="79717"/>
                </a:lnTo>
                <a:lnTo>
                  <a:pt x="50622" y="87655"/>
                </a:lnTo>
                <a:lnTo>
                  <a:pt x="56794" y="86334"/>
                </a:lnTo>
                <a:lnTo>
                  <a:pt x="62509" y="85445"/>
                </a:lnTo>
                <a:lnTo>
                  <a:pt x="71766" y="85445"/>
                </a:lnTo>
                <a:lnTo>
                  <a:pt x="86283" y="70916"/>
                </a:lnTo>
                <a:lnTo>
                  <a:pt x="102577" y="57264"/>
                </a:lnTo>
                <a:lnTo>
                  <a:pt x="102222" y="51968"/>
                </a:lnTo>
                <a:lnTo>
                  <a:pt x="102133" y="46253"/>
                </a:lnTo>
                <a:lnTo>
                  <a:pt x="103454" y="41846"/>
                </a:lnTo>
                <a:lnTo>
                  <a:pt x="92887" y="35674"/>
                </a:lnTo>
                <a:lnTo>
                  <a:pt x="83210" y="29070"/>
                </a:lnTo>
                <a:lnTo>
                  <a:pt x="61188" y="18503"/>
                </a:lnTo>
                <a:close/>
              </a:path>
              <a:path w="257810" h="257175">
                <a:moveTo>
                  <a:pt x="71766" y="85445"/>
                </a:moveTo>
                <a:lnTo>
                  <a:pt x="66916" y="85445"/>
                </a:lnTo>
                <a:lnTo>
                  <a:pt x="70878" y="86334"/>
                </a:lnTo>
                <a:lnTo>
                  <a:pt x="71766" y="85445"/>
                </a:lnTo>
                <a:close/>
              </a:path>
              <a:path w="257810" h="257175">
                <a:moveTo>
                  <a:pt x="140004" y="75755"/>
                </a:moveTo>
                <a:lnTo>
                  <a:pt x="134721" y="77520"/>
                </a:lnTo>
                <a:lnTo>
                  <a:pt x="129438" y="77965"/>
                </a:lnTo>
                <a:lnTo>
                  <a:pt x="141690" y="77965"/>
                </a:lnTo>
                <a:lnTo>
                  <a:pt x="140004" y="75755"/>
                </a:lnTo>
                <a:close/>
              </a:path>
              <a:path w="257810" h="257175">
                <a:moveTo>
                  <a:pt x="168416" y="22898"/>
                </a:moveTo>
                <a:lnTo>
                  <a:pt x="129438" y="22898"/>
                </a:lnTo>
                <a:lnTo>
                  <a:pt x="134721" y="23787"/>
                </a:lnTo>
                <a:lnTo>
                  <a:pt x="139115" y="25552"/>
                </a:lnTo>
                <a:lnTo>
                  <a:pt x="143522" y="27749"/>
                </a:lnTo>
                <a:lnTo>
                  <a:pt x="147929" y="30391"/>
                </a:lnTo>
                <a:lnTo>
                  <a:pt x="158496" y="26873"/>
                </a:lnTo>
                <a:lnTo>
                  <a:pt x="168416" y="22898"/>
                </a:lnTo>
                <a:close/>
              </a:path>
              <a:path w="257810" h="257175">
                <a:moveTo>
                  <a:pt x="137795" y="0"/>
                </a:moveTo>
                <a:lnTo>
                  <a:pt x="116662" y="0"/>
                </a:lnTo>
                <a:lnTo>
                  <a:pt x="94653" y="4406"/>
                </a:lnTo>
                <a:lnTo>
                  <a:pt x="83210" y="8369"/>
                </a:lnTo>
                <a:lnTo>
                  <a:pt x="99936" y="17183"/>
                </a:lnTo>
                <a:lnTo>
                  <a:pt x="115341" y="27749"/>
                </a:lnTo>
                <a:lnTo>
                  <a:pt x="118427" y="25552"/>
                </a:lnTo>
                <a:lnTo>
                  <a:pt x="121945" y="24663"/>
                </a:lnTo>
                <a:lnTo>
                  <a:pt x="125907" y="23787"/>
                </a:lnTo>
                <a:lnTo>
                  <a:pt x="129438" y="22898"/>
                </a:lnTo>
                <a:lnTo>
                  <a:pt x="168416" y="22898"/>
                </a:lnTo>
                <a:lnTo>
                  <a:pt x="169494" y="22466"/>
                </a:lnTo>
                <a:lnTo>
                  <a:pt x="181381" y="19380"/>
                </a:lnTo>
                <a:lnTo>
                  <a:pt x="192836" y="17183"/>
                </a:lnTo>
                <a:lnTo>
                  <a:pt x="177863" y="9690"/>
                </a:lnTo>
                <a:lnTo>
                  <a:pt x="170383" y="6603"/>
                </a:lnTo>
                <a:lnTo>
                  <a:pt x="162013" y="4406"/>
                </a:lnTo>
                <a:lnTo>
                  <a:pt x="154089" y="2197"/>
                </a:lnTo>
                <a:lnTo>
                  <a:pt x="145719" y="876"/>
                </a:lnTo>
                <a:lnTo>
                  <a:pt x="137795" y="0"/>
                </a:lnTo>
                <a:close/>
              </a:path>
            </a:pathLst>
          </a:custGeom>
          <a:solidFill>
            <a:srgbClr val="62B5E5"/>
          </a:solidFill>
        </p:spPr>
        <p:txBody>
          <a:bodyPr wrap="square" lIns="0" tIns="0" rIns="0" bIns="0" rtlCol="0"/>
          <a:lstStyle/>
          <a:p>
            <a:endParaRPr>
              <a:solidFill>
                <a:prstClr val="black"/>
              </a:solidFill>
              <a:latin typeface="+mj-lt"/>
            </a:endParaRPr>
          </a:p>
        </p:txBody>
      </p:sp>
      <p:sp>
        <p:nvSpPr>
          <p:cNvPr id="159" name="Oval 158"/>
          <p:cNvSpPr/>
          <p:nvPr/>
        </p:nvSpPr>
        <p:spPr bwMode="gray">
          <a:xfrm>
            <a:off x="6826123" y="3512878"/>
            <a:ext cx="338400" cy="338400"/>
          </a:xfrm>
          <a:prstGeom prst="ellipse">
            <a:avLst/>
          </a:prstGeom>
          <a:noFill/>
          <a:ln w="9525" algn="ctr">
            <a:solidFill>
              <a:srgbClr val="62B5E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63" name="object 167"/>
          <p:cNvSpPr/>
          <p:nvPr/>
        </p:nvSpPr>
        <p:spPr>
          <a:xfrm>
            <a:off x="5104337" y="3244822"/>
            <a:ext cx="192315" cy="218363"/>
          </a:xfrm>
          <a:custGeom>
            <a:avLst/>
            <a:gdLst/>
            <a:ahLst/>
            <a:cxnLst/>
            <a:rect l="l" t="t" r="r" b="b"/>
            <a:pathLst>
              <a:path w="220344" h="250189">
                <a:moveTo>
                  <a:pt x="187312" y="227329"/>
                </a:moveTo>
                <a:lnTo>
                  <a:pt x="32905" y="227329"/>
                </a:lnTo>
                <a:lnTo>
                  <a:pt x="32905" y="238759"/>
                </a:lnTo>
                <a:lnTo>
                  <a:pt x="33337" y="243839"/>
                </a:lnTo>
                <a:lnTo>
                  <a:pt x="35534" y="247649"/>
                </a:lnTo>
                <a:lnTo>
                  <a:pt x="38607" y="250189"/>
                </a:lnTo>
                <a:lnTo>
                  <a:pt x="180733" y="250189"/>
                </a:lnTo>
                <a:lnTo>
                  <a:pt x="183807" y="247649"/>
                </a:lnTo>
                <a:lnTo>
                  <a:pt x="186004" y="243839"/>
                </a:lnTo>
                <a:lnTo>
                  <a:pt x="187312" y="238759"/>
                </a:lnTo>
                <a:lnTo>
                  <a:pt x="187312" y="227329"/>
                </a:lnTo>
                <a:close/>
              </a:path>
              <a:path w="220344" h="250189">
                <a:moveTo>
                  <a:pt x="203111" y="106679"/>
                </a:moveTo>
                <a:lnTo>
                  <a:pt x="16230" y="106679"/>
                </a:lnTo>
                <a:lnTo>
                  <a:pt x="9207" y="109219"/>
                </a:lnTo>
                <a:lnTo>
                  <a:pt x="6146" y="113029"/>
                </a:lnTo>
                <a:lnTo>
                  <a:pt x="3949" y="115569"/>
                </a:lnTo>
                <a:lnTo>
                  <a:pt x="1752" y="119379"/>
                </a:lnTo>
                <a:lnTo>
                  <a:pt x="0" y="123189"/>
                </a:lnTo>
                <a:lnTo>
                  <a:pt x="0" y="209549"/>
                </a:lnTo>
                <a:lnTo>
                  <a:pt x="1752" y="213359"/>
                </a:lnTo>
                <a:lnTo>
                  <a:pt x="3949" y="217169"/>
                </a:lnTo>
                <a:lnTo>
                  <a:pt x="6146" y="219709"/>
                </a:lnTo>
                <a:lnTo>
                  <a:pt x="9207" y="223519"/>
                </a:lnTo>
                <a:lnTo>
                  <a:pt x="16230" y="226059"/>
                </a:lnTo>
                <a:lnTo>
                  <a:pt x="21056" y="227329"/>
                </a:lnTo>
                <a:lnTo>
                  <a:pt x="198729" y="227329"/>
                </a:lnTo>
                <a:lnTo>
                  <a:pt x="203111" y="226059"/>
                </a:lnTo>
                <a:lnTo>
                  <a:pt x="206616" y="224789"/>
                </a:lnTo>
                <a:lnTo>
                  <a:pt x="210565" y="223519"/>
                </a:lnTo>
                <a:lnTo>
                  <a:pt x="216268" y="217169"/>
                </a:lnTo>
                <a:lnTo>
                  <a:pt x="216852" y="215899"/>
                </a:lnTo>
                <a:lnTo>
                  <a:pt x="83794" y="215899"/>
                </a:lnTo>
                <a:lnTo>
                  <a:pt x="79400" y="214629"/>
                </a:lnTo>
                <a:lnTo>
                  <a:pt x="75895" y="212089"/>
                </a:lnTo>
                <a:lnTo>
                  <a:pt x="71945" y="209549"/>
                </a:lnTo>
                <a:lnTo>
                  <a:pt x="67563" y="201929"/>
                </a:lnTo>
                <a:lnTo>
                  <a:pt x="66243" y="198119"/>
                </a:lnTo>
                <a:lnTo>
                  <a:pt x="65366" y="193039"/>
                </a:lnTo>
                <a:lnTo>
                  <a:pt x="220217" y="193039"/>
                </a:lnTo>
                <a:lnTo>
                  <a:pt x="220217" y="170179"/>
                </a:lnTo>
                <a:lnTo>
                  <a:pt x="54838" y="170179"/>
                </a:lnTo>
                <a:lnTo>
                  <a:pt x="46062" y="167639"/>
                </a:lnTo>
                <a:lnTo>
                  <a:pt x="42557" y="165099"/>
                </a:lnTo>
                <a:lnTo>
                  <a:pt x="38607" y="162559"/>
                </a:lnTo>
                <a:lnTo>
                  <a:pt x="36410" y="160019"/>
                </a:lnTo>
                <a:lnTo>
                  <a:pt x="34213" y="156209"/>
                </a:lnTo>
                <a:lnTo>
                  <a:pt x="32905" y="151129"/>
                </a:lnTo>
                <a:lnTo>
                  <a:pt x="32905" y="142239"/>
                </a:lnTo>
                <a:lnTo>
                  <a:pt x="54838" y="124459"/>
                </a:lnTo>
                <a:lnTo>
                  <a:pt x="219560" y="124459"/>
                </a:lnTo>
                <a:lnTo>
                  <a:pt x="219341" y="123189"/>
                </a:lnTo>
                <a:lnTo>
                  <a:pt x="218020" y="119379"/>
                </a:lnTo>
                <a:lnTo>
                  <a:pt x="216268" y="115569"/>
                </a:lnTo>
                <a:lnTo>
                  <a:pt x="213639" y="113029"/>
                </a:lnTo>
                <a:lnTo>
                  <a:pt x="210565" y="109219"/>
                </a:lnTo>
                <a:lnTo>
                  <a:pt x="206616" y="107949"/>
                </a:lnTo>
                <a:lnTo>
                  <a:pt x="203111" y="106679"/>
                </a:lnTo>
                <a:close/>
              </a:path>
              <a:path w="220344" h="250189">
                <a:moveTo>
                  <a:pt x="220217" y="193039"/>
                </a:moveTo>
                <a:lnTo>
                  <a:pt x="154419" y="193039"/>
                </a:lnTo>
                <a:lnTo>
                  <a:pt x="153542" y="198119"/>
                </a:lnTo>
                <a:lnTo>
                  <a:pt x="151790" y="201929"/>
                </a:lnTo>
                <a:lnTo>
                  <a:pt x="136436" y="215899"/>
                </a:lnTo>
                <a:lnTo>
                  <a:pt x="216852" y="215899"/>
                </a:lnTo>
                <a:lnTo>
                  <a:pt x="218020" y="213359"/>
                </a:lnTo>
                <a:lnTo>
                  <a:pt x="219341" y="209549"/>
                </a:lnTo>
                <a:lnTo>
                  <a:pt x="220217" y="205739"/>
                </a:lnTo>
                <a:lnTo>
                  <a:pt x="220217" y="193039"/>
                </a:lnTo>
                <a:close/>
              </a:path>
              <a:path w="220344" h="250189">
                <a:moveTo>
                  <a:pt x="165379" y="124459"/>
                </a:moveTo>
                <a:lnTo>
                  <a:pt x="54838" y="124459"/>
                </a:lnTo>
                <a:lnTo>
                  <a:pt x="59220" y="125729"/>
                </a:lnTo>
                <a:lnTo>
                  <a:pt x="63169" y="126999"/>
                </a:lnTo>
                <a:lnTo>
                  <a:pt x="66674" y="128269"/>
                </a:lnTo>
                <a:lnTo>
                  <a:pt x="70624" y="130809"/>
                </a:lnTo>
                <a:lnTo>
                  <a:pt x="75018" y="138429"/>
                </a:lnTo>
                <a:lnTo>
                  <a:pt x="76326" y="142239"/>
                </a:lnTo>
                <a:lnTo>
                  <a:pt x="76326" y="151129"/>
                </a:lnTo>
                <a:lnTo>
                  <a:pt x="75018" y="156209"/>
                </a:lnTo>
                <a:lnTo>
                  <a:pt x="72821" y="160019"/>
                </a:lnTo>
                <a:lnTo>
                  <a:pt x="70624" y="162559"/>
                </a:lnTo>
                <a:lnTo>
                  <a:pt x="66674" y="165099"/>
                </a:lnTo>
                <a:lnTo>
                  <a:pt x="63169" y="167639"/>
                </a:lnTo>
                <a:lnTo>
                  <a:pt x="59220" y="168909"/>
                </a:lnTo>
                <a:lnTo>
                  <a:pt x="54838" y="170179"/>
                </a:lnTo>
                <a:lnTo>
                  <a:pt x="165379" y="170179"/>
                </a:lnTo>
                <a:lnTo>
                  <a:pt x="143014" y="151129"/>
                </a:lnTo>
                <a:lnTo>
                  <a:pt x="143014" y="142239"/>
                </a:lnTo>
                <a:lnTo>
                  <a:pt x="144767" y="138429"/>
                </a:lnTo>
                <a:lnTo>
                  <a:pt x="149148" y="130809"/>
                </a:lnTo>
                <a:lnTo>
                  <a:pt x="152666" y="128269"/>
                </a:lnTo>
                <a:lnTo>
                  <a:pt x="156616" y="126999"/>
                </a:lnTo>
                <a:lnTo>
                  <a:pt x="165379" y="124459"/>
                </a:lnTo>
                <a:close/>
              </a:path>
              <a:path w="220344" h="250189">
                <a:moveTo>
                  <a:pt x="219560" y="124459"/>
                </a:moveTo>
                <a:lnTo>
                  <a:pt x="165379" y="124459"/>
                </a:lnTo>
                <a:lnTo>
                  <a:pt x="169773" y="125729"/>
                </a:lnTo>
                <a:lnTo>
                  <a:pt x="173278" y="126999"/>
                </a:lnTo>
                <a:lnTo>
                  <a:pt x="177228" y="128269"/>
                </a:lnTo>
                <a:lnTo>
                  <a:pt x="180733" y="130809"/>
                </a:lnTo>
                <a:lnTo>
                  <a:pt x="185127" y="138429"/>
                </a:lnTo>
                <a:lnTo>
                  <a:pt x="186880" y="142239"/>
                </a:lnTo>
                <a:lnTo>
                  <a:pt x="186880" y="151129"/>
                </a:lnTo>
                <a:lnTo>
                  <a:pt x="165379" y="170179"/>
                </a:lnTo>
                <a:lnTo>
                  <a:pt x="220217" y="170179"/>
                </a:lnTo>
                <a:lnTo>
                  <a:pt x="220217" y="128269"/>
                </a:lnTo>
                <a:lnTo>
                  <a:pt x="219560" y="124459"/>
                </a:lnTo>
                <a:close/>
              </a:path>
              <a:path w="220344" h="250189">
                <a:moveTo>
                  <a:pt x="50767" y="67309"/>
                </a:moveTo>
                <a:lnTo>
                  <a:pt x="28955" y="67309"/>
                </a:lnTo>
                <a:lnTo>
                  <a:pt x="46062" y="83819"/>
                </a:lnTo>
                <a:lnTo>
                  <a:pt x="44742" y="88899"/>
                </a:lnTo>
                <a:lnTo>
                  <a:pt x="43865" y="93979"/>
                </a:lnTo>
                <a:lnTo>
                  <a:pt x="43865" y="106679"/>
                </a:lnTo>
                <a:lnTo>
                  <a:pt x="175475" y="106679"/>
                </a:lnTo>
                <a:lnTo>
                  <a:pt x="175475" y="93979"/>
                </a:lnTo>
                <a:lnTo>
                  <a:pt x="175031" y="88899"/>
                </a:lnTo>
                <a:lnTo>
                  <a:pt x="173278" y="83819"/>
                </a:lnTo>
                <a:lnTo>
                  <a:pt x="183806" y="73659"/>
                </a:lnTo>
                <a:lnTo>
                  <a:pt x="57035" y="73659"/>
                </a:lnTo>
                <a:lnTo>
                  <a:pt x="50767" y="67309"/>
                </a:lnTo>
                <a:close/>
              </a:path>
              <a:path w="220344" h="250189">
                <a:moveTo>
                  <a:pt x="154851" y="72389"/>
                </a:moveTo>
                <a:lnTo>
                  <a:pt x="65366" y="72389"/>
                </a:lnTo>
                <a:lnTo>
                  <a:pt x="60972" y="73659"/>
                </a:lnTo>
                <a:lnTo>
                  <a:pt x="158800" y="73659"/>
                </a:lnTo>
                <a:lnTo>
                  <a:pt x="154851" y="72389"/>
                </a:lnTo>
                <a:close/>
              </a:path>
              <a:path w="220344" h="250189">
                <a:moveTo>
                  <a:pt x="201790" y="29209"/>
                </a:moveTo>
                <a:lnTo>
                  <a:pt x="194335" y="29209"/>
                </a:lnTo>
                <a:lnTo>
                  <a:pt x="190385" y="30479"/>
                </a:lnTo>
                <a:lnTo>
                  <a:pt x="186880" y="31749"/>
                </a:lnTo>
                <a:lnTo>
                  <a:pt x="183807" y="34289"/>
                </a:lnTo>
                <a:lnTo>
                  <a:pt x="182486" y="36829"/>
                </a:lnTo>
                <a:lnTo>
                  <a:pt x="180301" y="39369"/>
                </a:lnTo>
                <a:lnTo>
                  <a:pt x="178549" y="45719"/>
                </a:lnTo>
                <a:lnTo>
                  <a:pt x="178549" y="50799"/>
                </a:lnTo>
                <a:lnTo>
                  <a:pt x="179425" y="55879"/>
                </a:lnTo>
                <a:lnTo>
                  <a:pt x="162318" y="73659"/>
                </a:lnTo>
                <a:lnTo>
                  <a:pt x="183806" y="73659"/>
                </a:lnTo>
                <a:lnTo>
                  <a:pt x="190385" y="67309"/>
                </a:lnTo>
                <a:lnTo>
                  <a:pt x="204203" y="67309"/>
                </a:lnTo>
                <a:lnTo>
                  <a:pt x="217144" y="52069"/>
                </a:lnTo>
                <a:lnTo>
                  <a:pt x="217144" y="45719"/>
                </a:lnTo>
                <a:lnTo>
                  <a:pt x="215836" y="40639"/>
                </a:lnTo>
                <a:lnTo>
                  <a:pt x="211442" y="34289"/>
                </a:lnTo>
                <a:lnTo>
                  <a:pt x="208368" y="31749"/>
                </a:lnTo>
                <a:lnTo>
                  <a:pt x="205308" y="30479"/>
                </a:lnTo>
                <a:lnTo>
                  <a:pt x="201790" y="29209"/>
                </a:lnTo>
                <a:close/>
              </a:path>
              <a:path w="220344" h="250189">
                <a:moveTo>
                  <a:pt x="25450" y="29209"/>
                </a:moveTo>
                <a:lnTo>
                  <a:pt x="17983" y="29209"/>
                </a:lnTo>
                <a:lnTo>
                  <a:pt x="14033" y="30479"/>
                </a:lnTo>
                <a:lnTo>
                  <a:pt x="2197" y="45719"/>
                </a:lnTo>
                <a:lnTo>
                  <a:pt x="2197" y="52069"/>
                </a:lnTo>
                <a:lnTo>
                  <a:pt x="3949" y="55879"/>
                </a:lnTo>
                <a:lnTo>
                  <a:pt x="5270" y="59689"/>
                </a:lnTo>
                <a:lnTo>
                  <a:pt x="7454" y="62229"/>
                </a:lnTo>
                <a:lnTo>
                  <a:pt x="10528" y="64769"/>
                </a:lnTo>
                <a:lnTo>
                  <a:pt x="12725" y="66039"/>
                </a:lnTo>
                <a:lnTo>
                  <a:pt x="17983" y="68579"/>
                </a:lnTo>
                <a:lnTo>
                  <a:pt x="23685" y="68579"/>
                </a:lnTo>
                <a:lnTo>
                  <a:pt x="28955" y="67309"/>
                </a:lnTo>
                <a:lnTo>
                  <a:pt x="50767" y="67309"/>
                </a:lnTo>
                <a:lnTo>
                  <a:pt x="39484" y="55879"/>
                </a:lnTo>
                <a:lnTo>
                  <a:pt x="40792" y="50799"/>
                </a:lnTo>
                <a:lnTo>
                  <a:pt x="40792" y="45719"/>
                </a:lnTo>
                <a:lnTo>
                  <a:pt x="28955" y="30479"/>
                </a:lnTo>
                <a:lnTo>
                  <a:pt x="25450" y="29209"/>
                </a:lnTo>
                <a:close/>
              </a:path>
              <a:path w="220344" h="250189">
                <a:moveTo>
                  <a:pt x="204203" y="67309"/>
                </a:moveTo>
                <a:lnTo>
                  <a:pt x="190385" y="67309"/>
                </a:lnTo>
                <a:lnTo>
                  <a:pt x="195656" y="68579"/>
                </a:lnTo>
                <a:lnTo>
                  <a:pt x="201790" y="68579"/>
                </a:lnTo>
                <a:lnTo>
                  <a:pt x="204203" y="67309"/>
                </a:lnTo>
                <a:close/>
              </a:path>
              <a:path w="220344" h="250189">
                <a:moveTo>
                  <a:pt x="105282" y="11429"/>
                </a:moveTo>
                <a:lnTo>
                  <a:pt x="89928" y="11429"/>
                </a:lnTo>
                <a:lnTo>
                  <a:pt x="92557" y="13969"/>
                </a:lnTo>
                <a:lnTo>
                  <a:pt x="95630" y="16509"/>
                </a:lnTo>
                <a:lnTo>
                  <a:pt x="97828" y="20319"/>
                </a:lnTo>
                <a:lnTo>
                  <a:pt x="106159" y="40639"/>
                </a:lnTo>
                <a:lnTo>
                  <a:pt x="108356" y="43179"/>
                </a:lnTo>
                <a:lnTo>
                  <a:pt x="111429" y="46989"/>
                </a:lnTo>
                <a:lnTo>
                  <a:pt x="118440" y="49529"/>
                </a:lnTo>
                <a:lnTo>
                  <a:pt x="119316" y="49529"/>
                </a:lnTo>
                <a:lnTo>
                  <a:pt x="123266" y="48259"/>
                </a:lnTo>
                <a:lnTo>
                  <a:pt x="125907" y="46989"/>
                </a:lnTo>
                <a:lnTo>
                  <a:pt x="128968" y="45719"/>
                </a:lnTo>
                <a:lnTo>
                  <a:pt x="131165" y="40639"/>
                </a:lnTo>
                <a:lnTo>
                  <a:pt x="132680" y="38099"/>
                </a:lnTo>
                <a:lnTo>
                  <a:pt x="117132" y="38099"/>
                </a:lnTo>
                <a:lnTo>
                  <a:pt x="114934" y="35559"/>
                </a:lnTo>
                <a:lnTo>
                  <a:pt x="106603" y="16509"/>
                </a:lnTo>
                <a:lnTo>
                  <a:pt x="105282" y="11429"/>
                </a:lnTo>
                <a:close/>
              </a:path>
              <a:path w="220344" h="250189">
                <a:moveTo>
                  <a:pt x="92125" y="1269"/>
                </a:moveTo>
                <a:lnTo>
                  <a:pt x="78524" y="1269"/>
                </a:lnTo>
                <a:lnTo>
                  <a:pt x="75895" y="2539"/>
                </a:lnTo>
                <a:lnTo>
                  <a:pt x="72821" y="3809"/>
                </a:lnTo>
                <a:lnTo>
                  <a:pt x="66243" y="11429"/>
                </a:lnTo>
                <a:lnTo>
                  <a:pt x="64046" y="15239"/>
                </a:lnTo>
                <a:lnTo>
                  <a:pt x="54394" y="36829"/>
                </a:lnTo>
                <a:lnTo>
                  <a:pt x="53517" y="39369"/>
                </a:lnTo>
                <a:lnTo>
                  <a:pt x="54394" y="40639"/>
                </a:lnTo>
                <a:lnTo>
                  <a:pt x="54838" y="43179"/>
                </a:lnTo>
                <a:lnTo>
                  <a:pt x="56591" y="45719"/>
                </a:lnTo>
                <a:lnTo>
                  <a:pt x="60096" y="45719"/>
                </a:lnTo>
                <a:lnTo>
                  <a:pt x="61417" y="44449"/>
                </a:lnTo>
                <a:lnTo>
                  <a:pt x="63169" y="41909"/>
                </a:lnTo>
                <a:lnTo>
                  <a:pt x="72821" y="20319"/>
                </a:lnTo>
                <a:lnTo>
                  <a:pt x="75018" y="16509"/>
                </a:lnTo>
                <a:lnTo>
                  <a:pt x="78092" y="13969"/>
                </a:lnTo>
                <a:lnTo>
                  <a:pt x="81597" y="11429"/>
                </a:lnTo>
                <a:lnTo>
                  <a:pt x="105282" y="11429"/>
                </a:lnTo>
                <a:lnTo>
                  <a:pt x="103085" y="8889"/>
                </a:lnTo>
                <a:lnTo>
                  <a:pt x="100901" y="7619"/>
                </a:lnTo>
                <a:lnTo>
                  <a:pt x="97828" y="5079"/>
                </a:lnTo>
                <a:lnTo>
                  <a:pt x="95630" y="3809"/>
                </a:lnTo>
                <a:lnTo>
                  <a:pt x="92125" y="1269"/>
                </a:lnTo>
                <a:close/>
              </a:path>
              <a:path w="220344" h="250189">
                <a:moveTo>
                  <a:pt x="158360" y="25399"/>
                </a:moveTo>
                <a:lnTo>
                  <a:pt x="145199" y="25399"/>
                </a:lnTo>
                <a:lnTo>
                  <a:pt x="146964" y="26669"/>
                </a:lnTo>
                <a:lnTo>
                  <a:pt x="157048" y="43179"/>
                </a:lnTo>
                <a:lnTo>
                  <a:pt x="158800" y="44449"/>
                </a:lnTo>
                <a:lnTo>
                  <a:pt x="160121" y="45719"/>
                </a:lnTo>
                <a:lnTo>
                  <a:pt x="162318" y="45719"/>
                </a:lnTo>
                <a:lnTo>
                  <a:pt x="163626" y="44449"/>
                </a:lnTo>
                <a:lnTo>
                  <a:pt x="165379" y="43179"/>
                </a:lnTo>
                <a:lnTo>
                  <a:pt x="166255" y="40639"/>
                </a:lnTo>
                <a:lnTo>
                  <a:pt x="166255" y="38099"/>
                </a:lnTo>
                <a:lnTo>
                  <a:pt x="165379" y="35559"/>
                </a:lnTo>
                <a:lnTo>
                  <a:pt x="158360" y="25399"/>
                </a:lnTo>
                <a:close/>
              </a:path>
              <a:path w="220344" h="250189">
                <a:moveTo>
                  <a:pt x="146088" y="13969"/>
                </a:moveTo>
                <a:lnTo>
                  <a:pt x="139496" y="13969"/>
                </a:lnTo>
                <a:lnTo>
                  <a:pt x="135559" y="16509"/>
                </a:lnTo>
                <a:lnTo>
                  <a:pt x="133362" y="17779"/>
                </a:lnTo>
                <a:lnTo>
                  <a:pt x="131165" y="21589"/>
                </a:lnTo>
                <a:lnTo>
                  <a:pt x="123266" y="35559"/>
                </a:lnTo>
                <a:lnTo>
                  <a:pt x="122389" y="36829"/>
                </a:lnTo>
                <a:lnTo>
                  <a:pt x="121081" y="38099"/>
                </a:lnTo>
                <a:lnTo>
                  <a:pt x="132680" y="38099"/>
                </a:lnTo>
                <a:lnTo>
                  <a:pt x="139496" y="26669"/>
                </a:lnTo>
                <a:lnTo>
                  <a:pt x="140817" y="25399"/>
                </a:lnTo>
                <a:lnTo>
                  <a:pt x="158360" y="25399"/>
                </a:lnTo>
                <a:lnTo>
                  <a:pt x="154851" y="20319"/>
                </a:lnTo>
                <a:lnTo>
                  <a:pt x="152666" y="17779"/>
                </a:lnTo>
                <a:lnTo>
                  <a:pt x="149593" y="15239"/>
                </a:lnTo>
                <a:lnTo>
                  <a:pt x="146088" y="13969"/>
                </a:lnTo>
                <a:close/>
              </a:path>
              <a:path w="220344" h="250189">
                <a:moveTo>
                  <a:pt x="85547" y="0"/>
                </a:moveTo>
                <a:lnTo>
                  <a:pt x="82473" y="1269"/>
                </a:lnTo>
                <a:lnTo>
                  <a:pt x="89052" y="1269"/>
                </a:lnTo>
                <a:lnTo>
                  <a:pt x="85547" y="0"/>
                </a:lnTo>
                <a:close/>
              </a:path>
            </a:pathLst>
          </a:custGeom>
          <a:solidFill>
            <a:srgbClr val="0097A9"/>
          </a:solidFill>
        </p:spPr>
        <p:txBody>
          <a:bodyPr wrap="square" lIns="0" tIns="0" rIns="0" bIns="0" rtlCol="0"/>
          <a:lstStyle/>
          <a:p>
            <a:endParaRPr>
              <a:solidFill>
                <a:prstClr val="black"/>
              </a:solidFill>
              <a:latin typeface="+mj-lt"/>
            </a:endParaRPr>
          </a:p>
        </p:txBody>
      </p:sp>
      <p:sp>
        <p:nvSpPr>
          <p:cNvPr id="164" name="Oval 163"/>
          <p:cNvSpPr/>
          <p:nvPr/>
        </p:nvSpPr>
        <p:spPr bwMode="gray">
          <a:xfrm>
            <a:off x="5029409" y="3192133"/>
            <a:ext cx="338400" cy="338400"/>
          </a:xfrm>
          <a:prstGeom prst="ellipse">
            <a:avLst/>
          </a:prstGeom>
          <a:noFill/>
          <a:ln w="9525" algn="ctr">
            <a:solidFill>
              <a:srgbClr val="0097A9"/>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65" name="object 168"/>
          <p:cNvSpPr/>
          <p:nvPr/>
        </p:nvSpPr>
        <p:spPr>
          <a:xfrm>
            <a:off x="5652345" y="3586213"/>
            <a:ext cx="235174" cy="171189"/>
          </a:xfrm>
          <a:custGeom>
            <a:avLst/>
            <a:gdLst/>
            <a:ahLst/>
            <a:cxnLst/>
            <a:rect l="l" t="t" r="r" b="b"/>
            <a:pathLst>
              <a:path w="266064" h="193675">
                <a:moveTo>
                  <a:pt x="68237" y="0"/>
                </a:moveTo>
                <a:lnTo>
                  <a:pt x="57238" y="0"/>
                </a:lnTo>
                <a:lnTo>
                  <a:pt x="51955" y="2209"/>
                </a:lnTo>
                <a:lnTo>
                  <a:pt x="35661" y="21564"/>
                </a:lnTo>
                <a:lnTo>
                  <a:pt x="35661" y="32562"/>
                </a:lnTo>
                <a:lnTo>
                  <a:pt x="40068" y="43116"/>
                </a:lnTo>
                <a:lnTo>
                  <a:pt x="44030" y="46634"/>
                </a:lnTo>
                <a:lnTo>
                  <a:pt x="47548" y="50596"/>
                </a:lnTo>
                <a:lnTo>
                  <a:pt x="51955" y="52793"/>
                </a:lnTo>
                <a:lnTo>
                  <a:pt x="57238" y="54114"/>
                </a:lnTo>
                <a:lnTo>
                  <a:pt x="63398" y="54990"/>
                </a:lnTo>
                <a:lnTo>
                  <a:pt x="68237" y="54114"/>
                </a:lnTo>
                <a:lnTo>
                  <a:pt x="73520" y="52793"/>
                </a:lnTo>
                <a:lnTo>
                  <a:pt x="78803" y="50596"/>
                </a:lnTo>
                <a:lnTo>
                  <a:pt x="82334" y="46634"/>
                </a:lnTo>
                <a:lnTo>
                  <a:pt x="86296" y="43116"/>
                </a:lnTo>
                <a:lnTo>
                  <a:pt x="88493" y="37833"/>
                </a:lnTo>
                <a:lnTo>
                  <a:pt x="89814" y="32562"/>
                </a:lnTo>
                <a:lnTo>
                  <a:pt x="90690" y="27279"/>
                </a:lnTo>
                <a:lnTo>
                  <a:pt x="89814" y="21564"/>
                </a:lnTo>
                <a:lnTo>
                  <a:pt x="88493" y="16281"/>
                </a:lnTo>
                <a:lnTo>
                  <a:pt x="86296" y="11887"/>
                </a:lnTo>
                <a:lnTo>
                  <a:pt x="82334" y="7480"/>
                </a:lnTo>
                <a:lnTo>
                  <a:pt x="78803" y="4406"/>
                </a:lnTo>
                <a:lnTo>
                  <a:pt x="68237" y="0"/>
                </a:lnTo>
                <a:close/>
              </a:path>
              <a:path w="266064" h="193675">
                <a:moveTo>
                  <a:pt x="208254" y="0"/>
                </a:moveTo>
                <a:lnTo>
                  <a:pt x="196811" y="0"/>
                </a:lnTo>
                <a:lnTo>
                  <a:pt x="187121" y="4406"/>
                </a:lnTo>
                <a:lnTo>
                  <a:pt x="183603" y="7480"/>
                </a:lnTo>
                <a:lnTo>
                  <a:pt x="180073" y="11887"/>
                </a:lnTo>
                <a:lnTo>
                  <a:pt x="177431" y="16281"/>
                </a:lnTo>
                <a:lnTo>
                  <a:pt x="175234" y="21564"/>
                </a:lnTo>
                <a:lnTo>
                  <a:pt x="175234" y="32562"/>
                </a:lnTo>
                <a:lnTo>
                  <a:pt x="177431" y="37833"/>
                </a:lnTo>
                <a:lnTo>
                  <a:pt x="180073" y="43116"/>
                </a:lnTo>
                <a:lnTo>
                  <a:pt x="183603" y="46634"/>
                </a:lnTo>
                <a:lnTo>
                  <a:pt x="187121" y="50596"/>
                </a:lnTo>
                <a:lnTo>
                  <a:pt x="191960" y="52793"/>
                </a:lnTo>
                <a:lnTo>
                  <a:pt x="196811" y="54114"/>
                </a:lnTo>
                <a:lnTo>
                  <a:pt x="202971" y="54990"/>
                </a:lnTo>
                <a:lnTo>
                  <a:pt x="208254" y="54114"/>
                </a:lnTo>
                <a:lnTo>
                  <a:pt x="230276" y="27279"/>
                </a:lnTo>
                <a:lnTo>
                  <a:pt x="229831" y="21564"/>
                </a:lnTo>
                <a:lnTo>
                  <a:pt x="213537" y="2209"/>
                </a:lnTo>
                <a:lnTo>
                  <a:pt x="208254" y="0"/>
                </a:lnTo>
                <a:close/>
              </a:path>
              <a:path w="266064" h="193675">
                <a:moveTo>
                  <a:pt x="93776" y="60705"/>
                </a:moveTo>
                <a:lnTo>
                  <a:pt x="32143" y="60705"/>
                </a:lnTo>
                <a:lnTo>
                  <a:pt x="25095" y="61594"/>
                </a:lnTo>
                <a:lnTo>
                  <a:pt x="52" y="95897"/>
                </a:lnTo>
                <a:lnTo>
                  <a:pt x="0" y="183870"/>
                </a:lnTo>
                <a:lnTo>
                  <a:pt x="876" y="186512"/>
                </a:lnTo>
                <a:lnTo>
                  <a:pt x="3517" y="190919"/>
                </a:lnTo>
                <a:lnTo>
                  <a:pt x="6604" y="193116"/>
                </a:lnTo>
                <a:lnTo>
                  <a:pt x="10998" y="193547"/>
                </a:lnTo>
                <a:lnTo>
                  <a:pt x="14960" y="193116"/>
                </a:lnTo>
                <a:lnTo>
                  <a:pt x="18491" y="190919"/>
                </a:lnTo>
                <a:lnTo>
                  <a:pt x="20243" y="188709"/>
                </a:lnTo>
                <a:lnTo>
                  <a:pt x="20688" y="186512"/>
                </a:lnTo>
                <a:lnTo>
                  <a:pt x="21564" y="183870"/>
                </a:lnTo>
                <a:lnTo>
                  <a:pt x="21564" y="98539"/>
                </a:lnTo>
                <a:lnTo>
                  <a:pt x="44855" y="98539"/>
                </a:lnTo>
                <a:lnTo>
                  <a:pt x="45351" y="97218"/>
                </a:lnTo>
                <a:lnTo>
                  <a:pt x="59436" y="86220"/>
                </a:lnTo>
                <a:lnTo>
                  <a:pt x="63398" y="85343"/>
                </a:lnTo>
                <a:lnTo>
                  <a:pt x="124460" y="85343"/>
                </a:lnTo>
                <a:lnTo>
                  <a:pt x="124155" y="84023"/>
                </a:lnTo>
                <a:lnTo>
                  <a:pt x="101269" y="61594"/>
                </a:lnTo>
                <a:lnTo>
                  <a:pt x="93776" y="60705"/>
                </a:lnTo>
                <a:close/>
              </a:path>
              <a:path w="266064" h="193675">
                <a:moveTo>
                  <a:pt x="126365" y="110413"/>
                </a:moveTo>
                <a:lnTo>
                  <a:pt x="104787" y="110413"/>
                </a:lnTo>
                <a:lnTo>
                  <a:pt x="104787" y="183870"/>
                </a:lnTo>
                <a:lnTo>
                  <a:pt x="105664" y="186512"/>
                </a:lnTo>
                <a:lnTo>
                  <a:pt x="107873" y="190030"/>
                </a:lnTo>
                <a:lnTo>
                  <a:pt x="110947" y="192239"/>
                </a:lnTo>
                <a:lnTo>
                  <a:pt x="113588" y="193547"/>
                </a:lnTo>
                <a:lnTo>
                  <a:pt x="117551" y="193547"/>
                </a:lnTo>
                <a:lnTo>
                  <a:pt x="120192" y="192239"/>
                </a:lnTo>
                <a:lnTo>
                  <a:pt x="123278" y="190030"/>
                </a:lnTo>
                <a:lnTo>
                  <a:pt x="125476" y="186512"/>
                </a:lnTo>
                <a:lnTo>
                  <a:pt x="126365" y="181241"/>
                </a:lnTo>
                <a:lnTo>
                  <a:pt x="126365" y="110413"/>
                </a:lnTo>
                <a:close/>
              </a:path>
              <a:path w="266064" h="193675">
                <a:moveTo>
                  <a:pt x="44855" y="98539"/>
                </a:moveTo>
                <a:lnTo>
                  <a:pt x="29057" y="98539"/>
                </a:lnTo>
                <a:lnTo>
                  <a:pt x="29057" y="179476"/>
                </a:lnTo>
                <a:lnTo>
                  <a:pt x="97307" y="179476"/>
                </a:lnTo>
                <a:lnTo>
                  <a:pt x="97307" y="124053"/>
                </a:lnTo>
                <a:lnTo>
                  <a:pt x="59436" y="124053"/>
                </a:lnTo>
                <a:lnTo>
                  <a:pt x="55918" y="122288"/>
                </a:lnTo>
                <a:lnTo>
                  <a:pt x="44030" y="108216"/>
                </a:lnTo>
                <a:lnTo>
                  <a:pt x="44030" y="100736"/>
                </a:lnTo>
                <a:lnTo>
                  <a:pt x="44855" y="98539"/>
                </a:lnTo>
                <a:close/>
              </a:path>
              <a:path w="266064" h="193675">
                <a:moveTo>
                  <a:pt x="97307" y="110413"/>
                </a:moveTo>
                <a:lnTo>
                  <a:pt x="81889" y="110413"/>
                </a:lnTo>
                <a:lnTo>
                  <a:pt x="80124" y="113499"/>
                </a:lnTo>
                <a:lnTo>
                  <a:pt x="78803" y="116573"/>
                </a:lnTo>
                <a:lnTo>
                  <a:pt x="76606" y="118770"/>
                </a:lnTo>
                <a:lnTo>
                  <a:pt x="74409" y="120091"/>
                </a:lnTo>
                <a:lnTo>
                  <a:pt x="72199" y="121856"/>
                </a:lnTo>
                <a:lnTo>
                  <a:pt x="69126" y="123177"/>
                </a:lnTo>
                <a:lnTo>
                  <a:pt x="66040" y="124053"/>
                </a:lnTo>
                <a:lnTo>
                  <a:pt x="97307" y="124053"/>
                </a:lnTo>
                <a:lnTo>
                  <a:pt x="97307" y="110413"/>
                </a:lnTo>
                <a:close/>
              </a:path>
              <a:path w="266064" h="193675">
                <a:moveTo>
                  <a:pt x="124460" y="85343"/>
                </a:moveTo>
                <a:lnTo>
                  <a:pt x="66040" y="85343"/>
                </a:lnTo>
                <a:lnTo>
                  <a:pt x="69126" y="86220"/>
                </a:lnTo>
                <a:lnTo>
                  <a:pt x="72199" y="87541"/>
                </a:lnTo>
                <a:lnTo>
                  <a:pt x="74409" y="88861"/>
                </a:lnTo>
                <a:lnTo>
                  <a:pt x="76606" y="91058"/>
                </a:lnTo>
                <a:lnTo>
                  <a:pt x="78803" y="93700"/>
                </a:lnTo>
                <a:lnTo>
                  <a:pt x="80124" y="95897"/>
                </a:lnTo>
                <a:lnTo>
                  <a:pt x="81889" y="98539"/>
                </a:lnTo>
                <a:lnTo>
                  <a:pt x="126365" y="98539"/>
                </a:lnTo>
                <a:lnTo>
                  <a:pt x="126260" y="96342"/>
                </a:lnTo>
                <a:lnTo>
                  <a:pt x="125476" y="89738"/>
                </a:lnTo>
                <a:lnTo>
                  <a:pt x="124460" y="85343"/>
                </a:lnTo>
                <a:close/>
              </a:path>
              <a:path w="266064" h="193675">
                <a:moveTo>
                  <a:pt x="161150" y="110413"/>
                </a:moveTo>
                <a:lnTo>
                  <a:pt x="139573" y="110413"/>
                </a:lnTo>
                <a:lnTo>
                  <a:pt x="139573" y="181241"/>
                </a:lnTo>
                <a:lnTo>
                  <a:pt x="140449" y="186512"/>
                </a:lnTo>
                <a:lnTo>
                  <a:pt x="142646" y="190030"/>
                </a:lnTo>
                <a:lnTo>
                  <a:pt x="144856" y="192239"/>
                </a:lnTo>
                <a:lnTo>
                  <a:pt x="148818" y="193547"/>
                </a:lnTo>
                <a:lnTo>
                  <a:pt x="152336" y="193547"/>
                </a:lnTo>
                <a:lnTo>
                  <a:pt x="155422" y="192239"/>
                </a:lnTo>
                <a:lnTo>
                  <a:pt x="158496" y="190030"/>
                </a:lnTo>
                <a:lnTo>
                  <a:pt x="160705" y="186512"/>
                </a:lnTo>
                <a:lnTo>
                  <a:pt x="161150" y="183870"/>
                </a:lnTo>
                <a:lnTo>
                  <a:pt x="161150" y="110413"/>
                </a:lnTo>
                <a:close/>
              </a:path>
              <a:path w="266064" h="193675">
                <a:moveTo>
                  <a:pt x="265938" y="98539"/>
                </a:moveTo>
                <a:lnTo>
                  <a:pt x="243916" y="98539"/>
                </a:lnTo>
                <a:lnTo>
                  <a:pt x="243916" y="181241"/>
                </a:lnTo>
                <a:lnTo>
                  <a:pt x="244360" y="183870"/>
                </a:lnTo>
                <a:lnTo>
                  <a:pt x="244360" y="186512"/>
                </a:lnTo>
                <a:lnTo>
                  <a:pt x="246126" y="188709"/>
                </a:lnTo>
                <a:lnTo>
                  <a:pt x="247446" y="190919"/>
                </a:lnTo>
                <a:lnTo>
                  <a:pt x="250520" y="193116"/>
                </a:lnTo>
                <a:lnTo>
                  <a:pt x="254927" y="193547"/>
                </a:lnTo>
                <a:lnTo>
                  <a:pt x="258889" y="193116"/>
                </a:lnTo>
                <a:lnTo>
                  <a:pt x="262407" y="190919"/>
                </a:lnTo>
                <a:lnTo>
                  <a:pt x="263728" y="188709"/>
                </a:lnTo>
                <a:lnTo>
                  <a:pt x="264617" y="186512"/>
                </a:lnTo>
                <a:lnTo>
                  <a:pt x="265493" y="183870"/>
                </a:lnTo>
                <a:lnTo>
                  <a:pt x="265938" y="181241"/>
                </a:lnTo>
                <a:lnTo>
                  <a:pt x="265938" y="98539"/>
                </a:lnTo>
                <a:close/>
              </a:path>
              <a:path w="266064" h="193675">
                <a:moveTo>
                  <a:pt x="184480" y="110413"/>
                </a:moveTo>
                <a:lnTo>
                  <a:pt x="168186" y="110413"/>
                </a:lnTo>
                <a:lnTo>
                  <a:pt x="168186" y="179476"/>
                </a:lnTo>
                <a:lnTo>
                  <a:pt x="237312" y="179476"/>
                </a:lnTo>
                <a:lnTo>
                  <a:pt x="237312" y="124053"/>
                </a:lnTo>
                <a:lnTo>
                  <a:pt x="199885" y="124053"/>
                </a:lnTo>
                <a:lnTo>
                  <a:pt x="196811" y="123177"/>
                </a:lnTo>
                <a:lnTo>
                  <a:pt x="194170" y="121856"/>
                </a:lnTo>
                <a:lnTo>
                  <a:pt x="191084" y="120091"/>
                </a:lnTo>
                <a:lnTo>
                  <a:pt x="188887" y="118770"/>
                </a:lnTo>
                <a:lnTo>
                  <a:pt x="187121" y="116573"/>
                </a:lnTo>
                <a:lnTo>
                  <a:pt x="184480" y="110413"/>
                </a:lnTo>
                <a:close/>
              </a:path>
              <a:path w="266064" h="193675">
                <a:moveTo>
                  <a:pt x="264553" y="85343"/>
                </a:moveTo>
                <a:lnTo>
                  <a:pt x="202971" y="85343"/>
                </a:lnTo>
                <a:lnTo>
                  <a:pt x="206489" y="86220"/>
                </a:lnTo>
                <a:lnTo>
                  <a:pt x="210451" y="86664"/>
                </a:lnTo>
                <a:lnTo>
                  <a:pt x="213537" y="88417"/>
                </a:lnTo>
                <a:lnTo>
                  <a:pt x="216179" y="91058"/>
                </a:lnTo>
                <a:lnTo>
                  <a:pt x="220586" y="97218"/>
                </a:lnTo>
                <a:lnTo>
                  <a:pt x="221462" y="100736"/>
                </a:lnTo>
                <a:lnTo>
                  <a:pt x="222338" y="104698"/>
                </a:lnTo>
                <a:lnTo>
                  <a:pt x="221462" y="108216"/>
                </a:lnTo>
                <a:lnTo>
                  <a:pt x="220586" y="112179"/>
                </a:lnTo>
                <a:lnTo>
                  <a:pt x="218376" y="115696"/>
                </a:lnTo>
                <a:lnTo>
                  <a:pt x="216179" y="118770"/>
                </a:lnTo>
                <a:lnTo>
                  <a:pt x="213537" y="120967"/>
                </a:lnTo>
                <a:lnTo>
                  <a:pt x="210451" y="122288"/>
                </a:lnTo>
                <a:lnTo>
                  <a:pt x="206489" y="124053"/>
                </a:lnTo>
                <a:lnTo>
                  <a:pt x="237312" y="124053"/>
                </a:lnTo>
                <a:lnTo>
                  <a:pt x="237312" y="98539"/>
                </a:lnTo>
                <a:lnTo>
                  <a:pt x="265938" y="98539"/>
                </a:lnTo>
                <a:lnTo>
                  <a:pt x="265911" y="95897"/>
                </a:lnTo>
                <a:lnTo>
                  <a:pt x="265493" y="88861"/>
                </a:lnTo>
                <a:lnTo>
                  <a:pt x="264553" y="85343"/>
                </a:lnTo>
                <a:close/>
              </a:path>
              <a:path w="266064" h="193675">
                <a:moveTo>
                  <a:pt x="234238" y="60705"/>
                </a:moveTo>
                <a:lnTo>
                  <a:pt x="171716" y="60705"/>
                </a:lnTo>
                <a:lnTo>
                  <a:pt x="164223" y="61594"/>
                </a:lnTo>
                <a:lnTo>
                  <a:pt x="139675" y="96342"/>
                </a:lnTo>
                <a:lnTo>
                  <a:pt x="139573" y="98539"/>
                </a:lnTo>
                <a:lnTo>
                  <a:pt x="184480" y="98539"/>
                </a:lnTo>
                <a:lnTo>
                  <a:pt x="185801" y="95897"/>
                </a:lnTo>
                <a:lnTo>
                  <a:pt x="187121" y="93700"/>
                </a:lnTo>
                <a:lnTo>
                  <a:pt x="188887" y="91058"/>
                </a:lnTo>
                <a:lnTo>
                  <a:pt x="191084" y="88861"/>
                </a:lnTo>
                <a:lnTo>
                  <a:pt x="194170" y="87541"/>
                </a:lnTo>
                <a:lnTo>
                  <a:pt x="196811" y="86220"/>
                </a:lnTo>
                <a:lnTo>
                  <a:pt x="199885" y="85343"/>
                </a:lnTo>
                <a:lnTo>
                  <a:pt x="264553" y="85343"/>
                </a:lnTo>
                <a:lnTo>
                  <a:pt x="263728" y="82257"/>
                </a:lnTo>
                <a:lnTo>
                  <a:pt x="240842" y="61594"/>
                </a:lnTo>
                <a:lnTo>
                  <a:pt x="234238" y="60705"/>
                </a:lnTo>
                <a:close/>
              </a:path>
            </a:pathLst>
          </a:custGeom>
          <a:solidFill>
            <a:srgbClr val="0097A9"/>
          </a:solidFill>
        </p:spPr>
        <p:txBody>
          <a:bodyPr wrap="square" lIns="0" tIns="0" rIns="0" bIns="0" rtlCol="0"/>
          <a:lstStyle/>
          <a:p>
            <a:endParaRPr>
              <a:solidFill>
                <a:prstClr val="black"/>
              </a:solidFill>
              <a:latin typeface="+mj-lt"/>
            </a:endParaRPr>
          </a:p>
        </p:txBody>
      </p:sp>
      <p:sp>
        <p:nvSpPr>
          <p:cNvPr id="166" name="Oval 165"/>
          <p:cNvSpPr/>
          <p:nvPr/>
        </p:nvSpPr>
        <p:spPr bwMode="gray">
          <a:xfrm>
            <a:off x="5596325" y="3513696"/>
            <a:ext cx="338400" cy="338400"/>
          </a:xfrm>
          <a:prstGeom prst="ellipse">
            <a:avLst/>
          </a:prstGeom>
          <a:noFill/>
          <a:ln w="9525" algn="ctr">
            <a:solidFill>
              <a:srgbClr val="0097A9"/>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67" name="object 170"/>
          <p:cNvSpPr/>
          <p:nvPr/>
        </p:nvSpPr>
        <p:spPr>
          <a:xfrm>
            <a:off x="5674239" y="4245375"/>
            <a:ext cx="256644" cy="165268"/>
          </a:xfrm>
          <a:custGeom>
            <a:avLst/>
            <a:gdLst/>
            <a:ahLst/>
            <a:cxnLst/>
            <a:rect l="l" t="t" r="r" b="b"/>
            <a:pathLst>
              <a:path w="288925" h="186054">
                <a:moveTo>
                  <a:pt x="52197" y="84594"/>
                </a:moveTo>
                <a:lnTo>
                  <a:pt x="46888" y="84594"/>
                </a:lnTo>
                <a:lnTo>
                  <a:pt x="42024" y="85483"/>
                </a:lnTo>
                <a:lnTo>
                  <a:pt x="8851" y="107073"/>
                </a:lnTo>
                <a:lnTo>
                  <a:pt x="1778" y="124688"/>
                </a:lnTo>
                <a:lnTo>
                  <a:pt x="0" y="129971"/>
                </a:lnTo>
                <a:lnTo>
                  <a:pt x="0" y="140550"/>
                </a:lnTo>
                <a:lnTo>
                  <a:pt x="1778" y="145834"/>
                </a:lnTo>
                <a:lnTo>
                  <a:pt x="2209" y="150240"/>
                </a:lnTo>
                <a:lnTo>
                  <a:pt x="15925" y="170954"/>
                </a:lnTo>
                <a:lnTo>
                  <a:pt x="19469" y="174917"/>
                </a:lnTo>
                <a:lnTo>
                  <a:pt x="22999" y="177558"/>
                </a:lnTo>
                <a:lnTo>
                  <a:pt x="27863" y="179768"/>
                </a:lnTo>
                <a:lnTo>
                  <a:pt x="32296" y="181965"/>
                </a:lnTo>
                <a:lnTo>
                  <a:pt x="36715" y="183730"/>
                </a:lnTo>
                <a:lnTo>
                  <a:pt x="42024" y="185051"/>
                </a:lnTo>
                <a:lnTo>
                  <a:pt x="46888" y="185927"/>
                </a:lnTo>
                <a:lnTo>
                  <a:pt x="115874" y="185927"/>
                </a:lnTo>
                <a:lnTo>
                  <a:pt x="115874" y="128650"/>
                </a:lnTo>
                <a:lnTo>
                  <a:pt x="79171" y="128650"/>
                </a:lnTo>
                <a:lnTo>
                  <a:pt x="119028" y="85483"/>
                </a:lnTo>
                <a:lnTo>
                  <a:pt x="58381" y="85483"/>
                </a:lnTo>
                <a:lnTo>
                  <a:pt x="52197" y="84594"/>
                </a:lnTo>
                <a:close/>
              </a:path>
              <a:path w="288925" h="186054">
                <a:moveTo>
                  <a:pt x="246341" y="57276"/>
                </a:moveTo>
                <a:lnTo>
                  <a:pt x="145072" y="57276"/>
                </a:lnTo>
                <a:lnTo>
                  <a:pt x="210083" y="128650"/>
                </a:lnTo>
                <a:lnTo>
                  <a:pt x="173367" y="128650"/>
                </a:lnTo>
                <a:lnTo>
                  <a:pt x="173367" y="185927"/>
                </a:lnTo>
                <a:lnTo>
                  <a:pt x="226885" y="185927"/>
                </a:lnTo>
                <a:lnTo>
                  <a:pt x="233959" y="184607"/>
                </a:lnTo>
                <a:lnTo>
                  <a:pt x="240601" y="182854"/>
                </a:lnTo>
                <a:lnTo>
                  <a:pt x="246341" y="180644"/>
                </a:lnTo>
                <a:lnTo>
                  <a:pt x="252539" y="177558"/>
                </a:lnTo>
                <a:lnTo>
                  <a:pt x="258292" y="174917"/>
                </a:lnTo>
                <a:lnTo>
                  <a:pt x="283933" y="144957"/>
                </a:lnTo>
                <a:lnTo>
                  <a:pt x="288798" y="118960"/>
                </a:lnTo>
                <a:lnTo>
                  <a:pt x="288366" y="112356"/>
                </a:lnTo>
                <a:lnTo>
                  <a:pt x="276860" y="81953"/>
                </a:lnTo>
                <a:lnTo>
                  <a:pt x="273329" y="76669"/>
                </a:lnTo>
                <a:lnTo>
                  <a:pt x="268897" y="71373"/>
                </a:lnTo>
                <a:lnTo>
                  <a:pt x="263588" y="67411"/>
                </a:lnTo>
                <a:lnTo>
                  <a:pt x="258292" y="63004"/>
                </a:lnTo>
                <a:lnTo>
                  <a:pt x="252539" y="60363"/>
                </a:lnTo>
                <a:lnTo>
                  <a:pt x="246341" y="57276"/>
                </a:lnTo>
                <a:close/>
              </a:path>
              <a:path w="288925" h="186054">
                <a:moveTo>
                  <a:pt x="141084" y="0"/>
                </a:moveTo>
                <a:lnTo>
                  <a:pt x="126936" y="0"/>
                </a:lnTo>
                <a:lnTo>
                  <a:pt x="118973" y="1320"/>
                </a:lnTo>
                <a:lnTo>
                  <a:pt x="80048" y="21589"/>
                </a:lnTo>
                <a:lnTo>
                  <a:pt x="59270" y="59486"/>
                </a:lnTo>
                <a:lnTo>
                  <a:pt x="57492" y="74460"/>
                </a:lnTo>
                <a:lnTo>
                  <a:pt x="58381" y="85483"/>
                </a:lnTo>
                <a:lnTo>
                  <a:pt x="119028" y="85483"/>
                </a:lnTo>
                <a:lnTo>
                  <a:pt x="145072" y="57276"/>
                </a:lnTo>
                <a:lnTo>
                  <a:pt x="246341" y="57276"/>
                </a:lnTo>
                <a:lnTo>
                  <a:pt x="240601" y="55079"/>
                </a:lnTo>
                <a:lnTo>
                  <a:pt x="233959" y="53314"/>
                </a:lnTo>
                <a:lnTo>
                  <a:pt x="226885" y="52870"/>
                </a:lnTo>
                <a:lnTo>
                  <a:pt x="208305" y="52870"/>
                </a:lnTo>
                <a:lnTo>
                  <a:pt x="206095" y="47586"/>
                </a:lnTo>
                <a:lnTo>
                  <a:pt x="203885" y="41414"/>
                </a:lnTo>
                <a:lnTo>
                  <a:pt x="200787" y="36575"/>
                </a:lnTo>
                <a:lnTo>
                  <a:pt x="197256" y="31724"/>
                </a:lnTo>
                <a:lnTo>
                  <a:pt x="194157" y="26885"/>
                </a:lnTo>
                <a:lnTo>
                  <a:pt x="189738" y="22910"/>
                </a:lnTo>
                <a:lnTo>
                  <a:pt x="185318" y="18503"/>
                </a:lnTo>
                <a:lnTo>
                  <a:pt x="180886" y="14985"/>
                </a:lnTo>
                <a:lnTo>
                  <a:pt x="164973" y="5727"/>
                </a:lnTo>
                <a:lnTo>
                  <a:pt x="159219" y="3530"/>
                </a:lnTo>
                <a:lnTo>
                  <a:pt x="153022" y="2209"/>
                </a:lnTo>
                <a:lnTo>
                  <a:pt x="147281" y="888"/>
                </a:lnTo>
                <a:lnTo>
                  <a:pt x="141084" y="0"/>
                </a:lnTo>
                <a:close/>
              </a:path>
              <a:path w="288925" h="186054">
                <a:moveTo>
                  <a:pt x="219367" y="51993"/>
                </a:moveTo>
                <a:lnTo>
                  <a:pt x="213614" y="51993"/>
                </a:lnTo>
                <a:lnTo>
                  <a:pt x="208305" y="52870"/>
                </a:lnTo>
                <a:lnTo>
                  <a:pt x="226885" y="52870"/>
                </a:lnTo>
                <a:lnTo>
                  <a:pt x="219367" y="51993"/>
                </a:lnTo>
                <a:close/>
              </a:path>
            </a:pathLst>
          </a:custGeom>
          <a:solidFill>
            <a:srgbClr val="44546A"/>
          </a:solidFill>
        </p:spPr>
        <p:txBody>
          <a:bodyPr wrap="square" lIns="0" tIns="0" rIns="0" bIns="0" rtlCol="0"/>
          <a:lstStyle/>
          <a:p>
            <a:endParaRPr>
              <a:solidFill>
                <a:prstClr val="black"/>
              </a:solidFill>
              <a:latin typeface="+mj-lt"/>
            </a:endParaRPr>
          </a:p>
        </p:txBody>
      </p:sp>
      <p:sp>
        <p:nvSpPr>
          <p:cNvPr id="168" name="Oval 167"/>
          <p:cNvSpPr/>
          <p:nvPr/>
        </p:nvSpPr>
        <p:spPr bwMode="gray">
          <a:xfrm>
            <a:off x="5631024" y="4172266"/>
            <a:ext cx="338400" cy="338400"/>
          </a:xfrm>
          <a:prstGeom prst="ellipse">
            <a:avLst/>
          </a:prstGeom>
          <a:noFill/>
          <a:ln w="9525" algn="ctr">
            <a:solidFill>
              <a:srgbClr val="44546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75" name="object 7"/>
          <p:cNvSpPr/>
          <p:nvPr/>
        </p:nvSpPr>
        <p:spPr>
          <a:xfrm>
            <a:off x="6256386" y="5264666"/>
            <a:ext cx="247616" cy="160228"/>
          </a:xfrm>
          <a:custGeom>
            <a:avLst/>
            <a:gdLst/>
            <a:ahLst/>
            <a:cxnLst/>
            <a:rect l="l" t="t" r="r" b="b"/>
            <a:pathLst>
              <a:path w="569594" h="419735">
                <a:moveTo>
                  <a:pt x="24424" y="151278"/>
                </a:moveTo>
                <a:lnTo>
                  <a:pt x="14385" y="152103"/>
                </a:lnTo>
                <a:lnTo>
                  <a:pt x="5951" y="157606"/>
                </a:lnTo>
                <a:lnTo>
                  <a:pt x="1282" y="167043"/>
                </a:lnTo>
                <a:lnTo>
                  <a:pt x="0" y="173951"/>
                </a:lnTo>
                <a:lnTo>
                  <a:pt x="3200" y="180657"/>
                </a:lnTo>
                <a:lnTo>
                  <a:pt x="5397" y="187045"/>
                </a:lnTo>
                <a:lnTo>
                  <a:pt x="7378" y="194005"/>
                </a:lnTo>
                <a:lnTo>
                  <a:pt x="12128" y="200634"/>
                </a:lnTo>
                <a:lnTo>
                  <a:pt x="16217" y="206502"/>
                </a:lnTo>
                <a:lnTo>
                  <a:pt x="28526" y="219892"/>
                </a:lnTo>
                <a:lnTo>
                  <a:pt x="43738" y="229909"/>
                </a:lnTo>
                <a:lnTo>
                  <a:pt x="60884" y="236643"/>
                </a:lnTo>
                <a:lnTo>
                  <a:pt x="78993" y="240182"/>
                </a:lnTo>
                <a:lnTo>
                  <a:pt x="89195" y="262147"/>
                </a:lnTo>
                <a:lnTo>
                  <a:pt x="102657" y="282684"/>
                </a:lnTo>
                <a:lnTo>
                  <a:pt x="119124" y="301595"/>
                </a:lnTo>
                <a:lnTo>
                  <a:pt x="138341" y="318681"/>
                </a:lnTo>
                <a:lnTo>
                  <a:pt x="107899" y="381762"/>
                </a:lnTo>
                <a:lnTo>
                  <a:pt x="186461" y="419684"/>
                </a:lnTo>
                <a:lnTo>
                  <a:pt x="215861" y="358762"/>
                </a:lnTo>
                <a:lnTo>
                  <a:pt x="478836" y="358762"/>
                </a:lnTo>
                <a:lnTo>
                  <a:pt x="459486" y="318681"/>
                </a:lnTo>
                <a:lnTo>
                  <a:pt x="474632" y="305590"/>
                </a:lnTo>
                <a:lnTo>
                  <a:pt x="488157" y="291372"/>
                </a:lnTo>
                <a:lnTo>
                  <a:pt x="499942" y="276122"/>
                </a:lnTo>
                <a:lnTo>
                  <a:pt x="509866" y="259930"/>
                </a:lnTo>
                <a:lnTo>
                  <a:pt x="559151" y="259930"/>
                </a:lnTo>
                <a:lnTo>
                  <a:pt x="561043" y="258267"/>
                </a:lnTo>
                <a:lnTo>
                  <a:pt x="567288" y="246651"/>
                </a:lnTo>
                <a:lnTo>
                  <a:pt x="569582" y="234518"/>
                </a:lnTo>
                <a:lnTo>
                  <a:pt x="569582" y="188747"/>
                </a:lnTo>
                <a:lnTo>
                  <a:pt x="568524" y="183159"/>
                </a:lnTo>
                <a:lnTo>
                  <a:pt x="69392" y="183159"/>
                </a:lnTo>
                <a:lnTo>
                  <a:pt x="65074" y="182956"/>
                </a:lnTo>
                <a:lnTo>
                  <a:pt x="39282" y="162224"/>
                </a:lnTo>
                <a:lnTo>
                  <a:pt x="33909" y="155879"/>
                </a:lnTo>
                <a:lnTo>
                  <a:pt x="24424" y="151278"/>
                </a:lnTo>
                <a:close/>
              </a:path>
              <a:path w="569594" h="419735">
                <a:moveTo>
                  <a:pt x="478836" y="358762"/>
                </a:moveTo>
                <a:lnTo>
                  <a:pt x="381977" y="358762"/>
                </a:lnTo>
                <a:lnTo>
                  <a:pt x="411365" y="419684"/>
                </a:lnTo>
                <a:lnTo>
                  <a:pt x="489940" y="381762"/>
                </a:lnTo>
                <a:lnTo>
                  <a:pt x="478836" y="358762"/>
                </a:lnTo>
                <a:close/>
              </a:path>
              <a:path w="569594" h="419735">
                <a:moveTo>
                  <a:pt x="381977" y="358762"/>
                </a:moveTo>
                <a:lnTo>
                  <a:pt x="215861" y="358762"/>
                </a:lnTo>
                <a:lnTo>
                  <a:pt x="235590" y="364089"/>
                </a:lnTo>
                <a:lnTo>
                  <a:pt x="256065" y="367996"/>
                </a:lnTo>
                <a:lnTo>
                  <a:pt x="277199" y="370401"/>
                </a:lnTo>
                <a:lnTo>
                  <a:pt x="298907" y="371221"/>
                </a:lnTo>
                <a:lnTo>
                  <a:pt x="320629" y="370401"/>
                </a:lnTo>
                <a:lnTo>
                  <a:pt x="341771" y="367996"/>
                </a:lnTo>
                <a:lnTo>
                  <a:pt x="362249" y="364089"/>
                </a:lnTo>
                <a:lnTo>
                  <a:pt x="381977" y="358762"/>
                </a:lnTo>
                <a:close/>
              </a:path>
              <a:path w="569594" h="419735">
                <a:moveTo>
                  <a:pt x="559151" y="259930"/>
                </a:moveTo>
                <a:lnTo>
                  <a:pt x="509866" y="259930"/>
                </a:lnTo>
                <a:lnTo>
                  <a:pt x="517525" y="261910"/>
                </a:lnTo>
                <a:lnTo>
                  <a:pt x="525184" y="264172"/>
                </a:lnTo>
                <a:lnTo>
                  <a:pt x="532846" y="266349"/>
                </a:lnTo>
                <a:lnTo>
                  <a:pt x="540512" y="268071"/>
                </a:lnTo>
                <a:lnTo>
                  <a:pt x="551799" y="266397"/>
                </a:lnTo>
                <a:lnTo>
                  <a:pt x="559151" y="259930"/>
                </a:lnTo>
                <a:close/>
              </a:path>
              <a:path w="569594" h="419735">
                <a:moveTo>
                  <a:pt x="298907" y="2971"/>
                </a:moveTo>
                <a:lnTo>
                  <a:pt x="246918" y="7711"/>
                </a:lnTo>
                <a:lnTo>
                  <a:pt x="199123" y="21223"/>
                </a:lnTo>
                <a:lnTo>
                  <a:pt x="156847" y="42444"/>
                </a:lnTo>
                <a:lnTo>
                  <a:pt x="121412" y="70310"/>
                </a:lnTo>
                <a:lnTo>
                  <a:pt x="94142" y="103760"/>
                </a:lnTo>
                <a:lnTo>
                  <a:pt x="76361" y="141731"/>
                </a:lnTo>
                <a:lnTo>
                  <a:pt x="69392" y="183159"/>
                </a:lnTo>
                <a:lnTo>
                  <a:pt x="568524" y="183159"/>
                </a:lnTo>
                <a:lnTo>
                  <a:pt x="567288" y="176627"/>
                </a:lnTo>
                <a:lnTo>
                  <a:pt x="562394" y="167525"/>
                </a:lnTo>
                <a:lnTo>
                  <a:pt x="435876" y="167525"/>
                </a:lnTo>
                <a:lnTo>
                  <a:pt x="424874" y="165303"/>
                </a:lnTo>
                <a:lnTo>
                  <a:pt x="415888" y="159242"/>
                </a:lnTo>
                <a:lnTo>
                  <a:pt x="409828" y="150252"/>
                </a:lnTo>
                <a:lnTo>
                  <a:pt x="407606" y="139242"/>
                </a:lnTo>
                <a:lnTo>
                  <a:pt x="409828" y="128240"/>
                </a:lnTo>
                <a:lnTo>
                  <a:pt x="415888" y="119254"/>
                </a:lnTo>
                <a:lnTo>
                  <a:pt x="424874" y="113194"/>
                </a:lnTo>
                <a:lnTo>
                  <a:pt x="435876" y="110972"/>
                </a:lnTo>
                <a:lnTo>
                  <a:pt x="507682" y="110972"/>
                </a:lnTo>
                <a:lnTo>
                  <a:pt x="505610" y="106789"/>
                </a:lnTo>
                <a:lnTo>
                  <a:pt x="488791" y="83533"/>
                </a:lnTo>
                <a:lnTo>
                  <a:pt x="471917" y="66484"/>
                </a:lnTo>
                <a:lnTo>
                  <a:pt x="224066" y="66484"/>
                </a:lnTo>
                <a:lnTo>
                  <a:pt x="218363" y="63385"/>
                </a:lnTo>
                <a:lnTo>
                  <a:pt x="215214" y="52514"/>
                </a:lnTo>
                <a:lnTo>
                  <a:pt x="218338" y="46824"/>
                </a:lnTo>
                <a:lnTo>
                  <a:pt x="223774" y="45250"/>
                </a:lnTo>
                <a:lnTo>
                  <a:pt x="259376" y="37577"/>
                </a:lnTo>
                <a:lnTo>
                  <a:pt x="295479" y="35020"/>
                </a:lnTo>
                <a:lnTo>
                  <a:pt x="473404" y="35020"/>
                </a:lnTo>
                <a:lnTo>
                  <a:pt x="475317" y="25158"/>
                </a:lnTo>
                <a:lnTo>
                  <a:pt x="408266" y="25158"/>
                </a:lnTo>
                <a:lnTo>
                  <a:pt x="383032" y="15718"/>
                </a:lnTo>
                <a:lnTo>
                  <a:pt x="356244" y="8755"/>
                </a:lnTo>
                <a:lnTo>
                  <a:pt x="328128" y="4447"/>
                </a:lnTo>
                <a:lnTo>
                  <a:pt x="298907" y="2971"/>
                </a:lnTo>
                <a:close/>
              </a:path>
              <a:path w="569594" h="419735">
                <a:moveTo>
                  <a:pt x="507682" y="110972"/>
                </a:moveTo>
                <a:lnTo>
                  <a:pt x="435876" y="110972"/>
                </a:lnTo>
                <a:lnTo>
                  <a:pt x="446880" y="113194"/>
                </a:lnTo>
                <a:lnTo>
                  <a:pt x="455871" y="119254"/>
                </a:lnTo>
                <a:lnTo>
                  <a:pt x="461935" y="128240"/>
                </a:lnTo>
                <a:lnTo>
                  <a:pt x="464159" y="139242"/>
                </a:lnTo>
                <a:lnTo>
                  <a:pt x="461935" y="150252"/>
                </a:lnTo>
                <a:lnTo>
                  <a:pt x="455871" y="159242"/>
                </a:lnTo>
                <a:lnTo>
                  <a:pt x="446880" y="165303"/>
                </a:lnTo>
                <a:lnTo>
                  <a:pt x="435876" y="167525"/>
                </a:lnTo>
                <a:lnTo>
                  <a:pt x="562394" y="167525"/>
                </a:lnTo>
                <a:lnTo>
                  <a:pt x="561043" y="165012"/>
                </a:lnTo>
                <a:lnTo>
                  <a:pt x="554172" y="158965"/>
                </a:lnTo>
                <a:lnTo>
                  <a:pt x="525894" y="158965"/>
                </a:lnTo>
                <a:lnTo>
                  <a:pt x="518112" y="132038"/>
                </a:lnTo>
                <a:lnTo>
                  <a:pt x="507682" y="110972"/>
                </a:lnTo>
                <a:close/>
              </a:path>
              <a:path w="569594" h="419735">
                <a:moveTo>
                  <a:pt x="540512" y="155194"/>
                </a:moveTo>
                <a:lnTo>
                  <a:pt x="535635" y="156070"/>
                </a:lnTo>
                <a:lnTo>
                  <a:pt x="530771" y="157480"/>
                </a:lnTo>
                <a:lnTo>
                  <a:pt x="525894" y="158965"/>
                </a:lnTo>
                <a:lnTo>
                  <a:pt x="554172" y="158965"/>
                </a:lnTo>
                <a:lnTo>
                  <a:pt x="551799" y="156877"/>
                </a:lnTo>
                <a:lnTo>
                  <a:pt x="540512" y="155194"/>
                </a:lnTo>
                <a:close/>
              </a:path>
              <a:path w="569594" h="419735">
                <a:moveTo>
                  <a:pt x="295484" y="55521"/>
                </a:moveTo>
                <a:lnTo>
                  <a:pt x="262262" y="57871"/>
                </a:lnTo>
                <a:lnTo>
                  <a:pt x="229501" y="64922"/>
                </a:lnTo>
                <a:lnTo>
                  <a:pt x="224066" y="66484"/>
                </a:lnTo>
                <a:lnTo>
                  <a:pt x="471917" y="66484"/>
                </a:lnTo>
                <a:lnTo>
                  <a:pt x="470786" y="65341"/>
                </a:lnTo>
                <a:lnTo>
                  <a:pt x="368769" y="65341"/>
                </a:lnTo>
                <a:lnTo>
                  <a:pt x="362419" y="65214"/>
                </a:lnTo>
                <a:lnTo>
                  <a:pt x="361467" y="64922"/>
                </a:lnTo>
                <a:lnTo>
                  <a:pt x="328706" y="57871"/>
                </a:lnTo>
                <a:lnTo>
                  <a:pt x="295484" y="55521"/>
                </a:lnTo>
                <a:close/>
              </a:path>
              <a:path w="569594" h="419735">
                <a:moveTo>
                  <a:pt x="473404" y="35020"/>
                </a:moveTo>
                <a:lnTo>
                  <a:pt x="295479" y="35020"/>
                </a:lnTo>
                <a:lnTo>
                  <a:pt x="331585" y="37577"/>
                </a:lnTo>
                <a:lnTo>
                  <a:pt x="367195" y="45250"/>
                </a:lnTo>
                <a:lnTo>
                  <a:pt x="372618" y="46824"/>
                </a:lnTo>
                <a:lnTo>
                  <a:pt x="375754" y="52514"/>
                </a:lnTo>
                <a:lnTo>
                  <a:pt x="372872" y="62433"/>
                </a:lnTo>
                <a:lnTo>
                  <a:pt x="368769" y="65341"/>
                </a:lnTo>
                <a:lnTo>
                  <a:pt x="470786" y="65341"/>
                </a:lnTo>
                <a:lnTo>
                  <a:pt x="468058" y="62585"/>
                </a:lnTo>
                <a:lnTo>
                  <a:pt x="473404" y="35020"/>
                </a:lnTo>
                <a:close/>
              </a:path>
              <a:path w="569594" h="419735">
                <a:moveTo>
                  <a:pt x="466267" y="0"/>
                </a:moveTo>
                <a:lnTo>
                  <a:pt x="408266" y="25158"/>
                </a:lnTo>
                <a:lnTo>
                  <a:pt x="475317" y="25158"/>
                </a:lnTo>
                <a:lnTo>
                  <a:pt x="478320" y="9677"/>
                </a:lnTo>
                <a:lnTo>
                  <a:pt x="476846" y="5613"/>
                </a:lnTo>
                <a:lnTo>
                  <a:pt x="470547" y="571"/>
                </a:lnTo>
                <a:lnTo>
                  <a:pt x="466267" y="0"/>
                </a:lnTo>
                <a:close/>
              </a:path>
            </a:pathLst>
          </a:custGeom>
          <a:solidFill>
            <a:schemeClr val="accent1"/>
          </a:solidFill>
        </p:spPr>
        <p:txBody>
          <a:bodyPr wrap="square" lIns="0" tIns="0" rIns="0" bIns="0" rtlCol="0"/>
          <a:lstStyle/>
          <a:p>
            <a:endParaRPr>
              <a:solidFill>
                <a:prstClr val="black"/>
              </a:solidFill>
              <a:latin typeface="+mj-lt"/>
            </a:endParaRPr>
          </a:p>
        </p:txBody>
      </p:sp>
      <p:sp>
        <p:nvSpPr>
          <p:cNvPr id="176" name="Oval 175"/>
          <p:cNvSpPr/>
          <p:nvPr/>
        </p:nvSpPr>
        <p:spPr bwMode="gray">
          <a:xfrm>
            <a:off x="6213938" y="5182104"/>
            <a:ext cx="338400" cy="338400"/>
          </a:xfrm>
          <a:prstGeom prst="ellipse">
            <a:avLst/>
          </a:prstGeom>
          <a:noFill/>
          <a:ln w="9525"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77" name="object 171"/>
          <p:cNvSpPr/>
          <p:nvPr/>
        </p:nvSpPr>
        <p:spPr>
          <a:xfrm>
            <a:off x="6261756" y="4610844"/>
            <a:ext cx="244708" cy="245114"/>
          </a:xfrm>
          <a:prstGeom prst="rect">
            <a:avLst/>
          </a:prstGeom>
          <a:blipFill>
            <a:blip r:embed="rId3" cstate="print"/>
            <a:stretch>
              <a:fillRect/>
            </a:stretch>
          </a:blipFill>
        </p:spPr>
        <p:txBody>
          <a:bodyPr wrap="square" lIns="0" tIns="0" rIns="0" bIns="0" rtlCol="0"/>
          <a:lstStyle/>
          <a:p>
            <a:endParaRPr>
              <a:solidFill>
                <a:prstClr val="black"/>
              </a:solidFill>
              <a:latin typeface="+mj-lt"/>
            </a:endParaRPr>
          </a:p>
        </p:txBody>
      </p:sp>
      <p:sp>
        <p:nvSpPr>
          <p:cNvPr id="178" name="Oval 177"/>
          <p:cNvSpPr/>
          <p:nvPr/>
        </p:nvSpPr>
        <p:spPr bwMode="gray">
          <a:xfrm>
            <a:off x="6214910" y="4564201"/>
            <a:ext cx="338400" cy="338400"/>
          </a:xfrm>
          <a:prstGeom prst="ellipse">
            <a:avLst/>
          </a:prstGeom>
          <a:noFill/>
          <a:ln w="9525"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79" name="object 169"/>
          <p:cNvSpPr/>
          <p:nvPr/>
        </p:nvSpPr>
        <p:spPr>
          <a:xfrm>
            <a:off x="5097117" y="4612939"/>
            <a:ext cx="243412" cy="168642"/>
          </a:xfrm>
          <a:custGeom>
            <a:avLst/>
            <a:gdLst/>
            <a:ahLst/>
            <a:cxnLst/>
            <a:rect l="l" t="t" r="r" b="b"/>
            <a:pathLst>
              <a:path w="283210" h="196214">
                <a:moveTo>
                  <a:pt x="36601" y="86944"/>
                </a:moveTo>
                <a:lnTo>
                  <a:pt x="25133" y="86944"/>
                </a:lnTo>
                <a:lnTo>
                  <a:pt x="25133" y="140957"/>
                </a:lnTo>
                <a:lnTo>
                  <a:pt x="26898" y="143141"/>
                </a:lnTo>
                <a:lnTo>
                  <a:pt x="28219" y="144030"/>
                </a:lnTo>
                <a:lnTo>
                  <a:pt x="30429" y="144462"/>
                </a:lnTo>
                <a:lnTo>
                  <a:pt x="170243" y="144462"/>
                </a:lnTo>
                <a:lnTo>
                  <a:pt x="171119" y="149733"/>
                </a:lnTo>
                <a:lnTo>
                  <a:pt x="172885" y="155003"/>
                </a:lnTo>
                <a:lnTo>
                  <a:pt x="174205" y="160274"/>
                </a:lnTo>
                <a:lnTo>
                  <a:pt x="178612" y="169049"/>
                </a:lnTo>
                <a:lnTo>
                  <a:pt x="210807" y="192760"/>
                </a:lnTo>
                <a:lnTo>
                  <a:pt x="215658" y="194525"/>
                </a:lnTo>
                <a:lnTo>
                  <a:pt x="220954" y="194957"/>
                </a:lnTo>
                <a:lnTo>
                  <a:pt x="227126" y="195834"/>
                </a:lnTo>
                <a:lnTo>
                  <a:pt x="232422" y="194957"/>
                </a:lnTo>
                <a:lnTo>
                  <a:pt x="238150" y="194525"/>
                </a:lnTo>
                <a:lnTo>
                  <a:pt x="243446" y="192760"/>
                </a:lnTo>
                <a:lnTo>
                  <a:pt x="248742" y="191452"/>
                </a:lnTo>
                <a:lnTo>
                  <a:pt x="254038" y="188379"/>
                </a:lnTo>
                <a:lnTo>
                  <a:pt x="258444" y="186182"/>
                </a:lnTo>
                <a:lnTo>
                  <a:pt x="262851" y="182664"/>
                </a:lnTo>
                <a:lnTo>
                  <a:pt x="266382" y="178714"/>
                </a:lnTo>
                <a:lnTo>
                  <a:pt x="270357" y="175196"/>
                </a:lnTo>
                <a:lnTo>
                  <a:pt x="273528" y="171246"/>
                </a:lnTo>
                <a:lnTo>
                  <a:pt x="233743" y="171246"/>
                </a:lnTo>
                <a:lnTo>
                  <a:pt x="227571" y="170815"/>
                </a:lnTo>
                <a:lnTo>
                  <a:pt x="223164" y="169049"/>
                </a:lnTo>
                <a:lnTo>
                  <a:pt x="218744" y="167741"/>
                </a:lnTo>
                <a:lnTo>
                  <a:pt x="205524" y="148412"/>
                </a:lnTo>
                <a:lnTo>
                  <a:pt x="197142" y="148412"/>
                </a:lnTo>
                <a:lnTo>
                  <a:pt x="198907" y="142265"/>
                </a:lnTo>
                <a:lnTo>
                  <a:pt x="204635" y="142265"/>
                </a:lnTo>
                <a:lnTo>
                  <a:pt x="204635" y="136563"/>
                </a:lnTo>
                <a:lnTo>
                  <a:pt x="197142" y="136563"/>
                </a:lnTo>
                <a:lnTo>
                  <a:pt x="198024" y="133489"/>
                </a:lnTo>
                <a:lnTo>
                  <a:pt x="36601" y="133489"/>
                </a:lnTo>
                <a:lnTo>
                  <a:pt x="36601" y="86944"/>
                </a:lnTo>
                <a:close/>
              </a:path>
              <a:path w="283210" h="196214">
                <a:moveTo>
                  <a:pt x="279210" y="158953"/>
                </a:moveTo>
                <a:lnTo>
                  <a:pt x="244335" y="158953"/>
                </a:lnTo>
                <a:lnTo>
                  <a:pt x="244767" y="169049"/>
                </a:lnTo>
                <a:lnTo>
                  <a:pt x="242125" y="169926"/>
                </a:lnTo>
                <a:lnTo>
                  <a:pt x="239039" y="170815"/>
                </a:lnTo>
                <a:lnTo>
                  <a:pt x="233743" y="171246"/>
                </a:lnTo>
                <a:lnTo>
                  <a:pt x="273528" y="171246"/>
                </a:lnTo>
                <a:lnTo>
                  <a:pt x="273875" y="170815"/>
                </a:lnTo>
                <a:lnTo>
                  <a:pt x="278295" y="161150"/>
                </a:lnTo>
                <a:lnTo>
                  <a:pt x="279210" y="158953"/>
                </a:lnTo>
                <a:close/>
              </a:path>
              <a:path w="283210" h="196214">
                <a:moveTo>
                  <a:pt x="239483" y="118122"/>
                </a:moveTo>
                <a:lnTo>
                  <a:pt x="232422" y="118122"/>
                </a:lnTo>
                <a:lnTo>
                  <a:pt x="229781" y="118554"/>
                </a:lnTo>
                <a:lnTo>
                  <a:pt x="227571" y="120319"/>
                </a:lnTo>
                <a:lnTo>
                  <a:pt x="225361" y="121627"/>
                </a:lnTo>
                <a:lnTo>
                  <a:pt x="221843" y="125590"/>
                </a:lnTo>
                <a:lnTo>
                  <a:pt x="219633" y="130416"/>
                </a:lnTo>
                <a:lnTo>
                  <a:pt x="242125" y="130416"/>
                </a:lnTo>
                <a:lnTo>
                  <a:pt x="240360" y="136563"/>
                </a:lnTo>
                <a:lnTo>
                  <a:pt x="217868" y="136563"/>
                </a:lnTo>
                <a:lnTo>
                  <a:pt x="217868" y="142265"/>
                </a:lnTo>
                <a:lnTo>
                  <a:pt x="239039" y="142265"/>
                </a:lnTo>
                <a:lnTo>
                  <a:pt x="238150" y="148412"/>
                </a:lnTo>
                <a:lnTo>
                  <a:pt x="219633" y="148412"/>
                </a:lnTo>
                <a:lnTo>
                  <a:pt x="221843" y="153682"/>
                </a:lnTo>
                <a:lnTo>
                  <a:pt x="227126" y="158953"/>
                </a:lnTo>
                <a:lnTo>
                  <a:pt x="229781" y="160274"/>
                </a:lnTo>
                <a:lnTo>
                  <a:pt x="232422" y="161150"/>
                </a:lnTo>
                <a:lnTo>
                  <a:pt x="235064" y="161150"/>
                </a:lnTo>
                <a:lnTo>
                  <a:pt x="239483" y="160274"/>
                </a:lnTo>
                <a:lnTo>
                  <a:pt x="244335" y="158953"/>
                </a:lnTo>
                <a:lnTo>
                  <a:pt x="279210" y="158953"/>
                </a:lnTo>
                <a:lnTo>
                  <a:pt x="280492" y="155879"/>
                </a:lnTo>
                <a:lnTo>
                  <a:pt x="282257" y="150609"/>
                </a:lnTo>
                <a:lnTo>
                  <a:pt x="282701" y="145338"/>
                </a:lnTo>
                <a:lnTo>
                  <a:pt x="282628" y="133489"/>
                </a:lnTo>
                <a:lnTo>
                  <a:pt x="282257" y="129095"/>
                </a:lnTo>
                <a:lnTo>
                  <a:pt x="280492" y="123825"/>
                </a:lnTo>
                <a:lnTo>
                  <a:pt x="279391" y="119430"/>
                </a:lnTo>
                <a:lnTo>
                  <a:pt x="244335" y="119430"/>
                </a:lnTo>
                <a:lnTo>
                  <a:pt x="239483" y="118122"/>
                </a:lnTo>
                <a:close/>
              </a:path>
              <a:path w="283210" h="196214">
                <a:moveTo>
                  <a:pt x="131864" y="144462"/>
                </a:moveTo>
                <a:lnTo>
                  <a:pt x="71450" y="144462"/>
                </a:lnTo>
                <a:lnTo>
                  <a:pt x="71450" y="158076"/>
                </a:lnTo>
                <a:lnTo>
                  <a:pt x="131864" y="158076"/>
                </a:lnTo>
                <a:lnTo>
                  <a:pt x="131864" y="144462"/>
                </a:lnTo>
                <a:close/>
              </a:path>
              <a:path w="283210" h="196214">
                <a:moveTo>
                  <a:pt x="131864" y="120319"/>
                </a:moveTo>
                <a:lnTo>
                  <a:pt x="71450" y="120319"/>
                </a:lnTo>
                <a:lnTo>
                  <a:pt x="71450" y="133489"/>
                </a:lnTo>
                <a:lnTo>
                  <a:pt x="131864" y="133489"/>
                </a:lnTo>
                <a:lnTo>
                  <a:pt x="131864" y="120319"/>
                </a:lnTo>
                <a:close/>
              </a:path>
              <a:path w="283210" h="196214">
                <a:moveTo>
                  <a:pt x="232422" y="39966"/>
                </a:moveTo>
                <a:lnTo>
                  <a:pt x="220954" y="39966"/>
                </a:lnTo>
                <a:lnTo>
                  <a:pt x="220954" y="83870"/>
                </a:lnTo>
                <a:lnTo>
                  <a:pt x="211251" y="85191"/>
                </a:lnTo>
                <a:lnTo>
                  <a:pt x="176415" y="115049"/>
                </a:lnTo>
                <a:lnTo>
                  <a:pt x="170243" y="133489"/>
                </a:lnTo>
                <a:lnTo>
                  <a:pt x="198024" y="133489"/>
                </a:lnTo>
                <a:lnTo>
                  <a:pt x="198907" y="130416"/>
                </a:lnTo>
                <a:lnTo>
                  <a:pt x="205524" y="130416"/>
                </a:lnTo>
                <a:lnTo>
                  <a:pt x="206844" y="126022"/>
                </a:lnTo>
                <a:lnTo>
                  <a:pt x="209041" y="121627"/>
                </a:lnTo>
                <a:lnTo>
                  <a:pt x="212140" y="118122"/>
                </a:lnTo>
                <a:lnTo>
                  <a:pt x="215226" y="114173"/>
                </a:lnTo>
                <a:lnTo>
                  <a:pt x="219633" y="111975"/>
                </a:lnTo>
                <a:lnTo>
                  <a:pt x="223164" y="109778"/>
                </a:lnTo>
                <a:lnTo>
                  <a:pt x="228447" y="108458"/>
                </a:lnTo>
                <a:lnTo>
                  <a:pt x="273605" y="108458"/>
                </a:lnTo>
                <a:lnTo>
                  <a:pt x="271678" y="106260"/>
                </a:lnTo>
                <a:lnTo>
                  <a:pt x="268592" y="101879"/>
                </a:lnTo>
                <a:lnTo>
                  <a:pt x="232422" y="83870"/>
                </a:lnTo>
                <a:lnTo>
                  <a:pt x="232422" y="39966"/>
                </a:lnTo>
                <a:close/>
              </a:path>
              <a:path w="283210" h="196214">
                <a:moveTo>
                  <a:pt x="143776" y="0"/>
                </a:moveTo>
                <a:lnTo>
                  <a:pt x="93941" y="34251"/>
                </a:lnTo>
                <a:lnTo>
                  <a:pt x="137604" y="64554"/>
                </a:lnTo>
                <a:lnTo>
                  <a:pt x="137604" y="81673"/>
                </a:lnTo>
                <a:lnTo>
                  <a:pt x="98793" y="81673"/>
                </a:lnTo>
                <a:lnTo>
                  <a:pt x="97472" y="82994"/>
                </a:lnTo>
                <a:lnTo>
                  <a:pt x="96138" y="84747"/>
                </a:lnTo>
                <a:lnTo>
                  <a:pt x="96138" y="120319"/>
                </a:lnTo>
                <a:lnTo>
                  <a:pt x="107175" y="120319"/>
                </a:lnTo>
                <a:lnTo>
                  <a:pt x="107175" y="92646"/>
                </a:lnTo>
                <a:lnTo>
                  <a:pt x="143776" y="92646"/>
                </a:lnTo>
                <a:lnTo>
                  <a:pt x="145986" y="92214"/>
                </a:lnTo>
                <a:lnTo>
                  <a:pt x="148183" y="91338"/>
                </a:lnTo>
                <a:lnTo>
                  <a:pt x="148628" y="89141"/>
                </a:lnTo>
                <a:lnTo>
                  <a:pt x="149504" y="86944"/>
                </a:lnTo>
                <a:lnTo>
                  <a:pt x="149504" y="64554"/>
                </a:lnTo>
                <a:lnTo>
                  <a:pt x="185229" y="39966"/>
                </a:lnTo>
                <a:lnTo>
                  <a:pt x="232422" y="39966"/>
                </a:lnTo>
                <a:lnTo>
                  <a:pt x="232422" y="32054"/>
                </a:lnTo>
                <a:lnTo>
                  <a:pt x="230657" y="30746"/>
                </a:lnTo>
                <a:lnTo>
                  <a:pt x="229336" y="28981"/>
                </a:lnTo>
                <a:lnTo>
                  <a:pt x="185229" y="28981"/>
                </a:lnTo>
                <a:lnTo>
                  <a:pt x="143776" y="0"/>
                </a:lnTo>
                <a:close/>
              </a:path>
              <a:path w="283210" h="196214">
                <a:moveTo>
                  <a:pt x="273605" y="108458"/>
                </a:moveTo>
                <a:lnTo>
                  <a:pt x="239483" y="108458"/>
                </a:lnTo>
                <a:lnTo>
                  <a:pt x="246532" y="110655"/>
                </a:lnTo>
                <a:lnTo>
                  <a:pt x="244335" y="119430"/>
                </a:lnTo>
                <a:lnTo>
                  <a:pt x="279391" y="119430"/>
                </a:lnTo>
                <a:lnTo>
                  <a:pt x="279171" y="118554"/>
                </a:lnTo>
                <a:lnTo>
                  <a:pt x="274764" y="109778"/>
                </a:lnTo>
                <a:lnTo>
                  <a:pt x="273605" y="108458"/>
                </a:lnTo>
                <a:close/>
              </a:path>
              <a:path w="283210" h="196214">
                <a:moveTo>
                  <a:pt x="60858" y="1765"/>
                </a:moveTo>
                <a:lnTo>
                  <a:pt x="0" y="1765"/>
                </a:lnTo>
                <a:lnTo>
                  <a:pt x="0" y="86944"/>
                </a:lnTo>
                <a:lnTo>
                  <a:pt x="60858" y="86944"/>
                </a:lnTo>
                <a:lnTo>
                  <a:pt x="60858" y="1765"/>
                </a:lnTo>
                <a:close/>
              </a:path>
            </a:pathLst>
          </a:custGeom>
          <a:solidFill>
            <a:srgbClr val="44546A"/>
          </a:solidFill>
        </p:spPr>
        <p:txBody>
          <a:bodyPr wrap="square" lIns="0" tIns="0" rIns="0" bIns="0" rtlCol="0"/>
          <a:lstStyle/>
          <a:p>
            <a:endParaRPr>
              <a:latin typeface="+mj-lt"/>
            </a:endParaRPr>
          </a:p>
        </p:txBody>
      </p:sp>
      <p:sp>
        <p:nvSpPr>
          <p:cNvPr id="180" name="Oval 179"/>
          <p:cNvSpPr/>
          <p:nvPr/>
        </p:nvSpPr>
        <p:spPr bwMode="gray">
          <a:xfrm>
            <a:off x="5044220" y="4528060"/>
            <a:ext cx="338400" cy="338400"/>
          </a:xfrm>
          <a:prstGeom prst="ellipse">
            <a:avLst/>
          </a:prstGeom>
          <a:noFill/>
          <a:ln w="9525" algn="ctr">
            <a:solidFill>
              <a:srgbClr val="44546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dirty="0">
              <a:latin typeface="+mj-lt"/>
            </a:endParaRPr>
          </a:p>
        </p:txBody>
      </p:sp>
      <p:sp>
        <p:nvSpPr>
          <p:cNvPr id="181" name="object 172"/>
          <p:cNvSpPr/>
          <p:nvPr/>
        </p:nvSpPr>
        <p:spPr>
          <a:xfrm>
            <a:off x="7430202" y="4606907"/>
            <a:ext cx="196085" cy="180706"/>
          </a:xfrm>
          <a:custGeom>
            <a:avLst/>
            <a:gdLst/>
            <a:ahLst/>
            <a:cxnLst/>
            <a:rect l="l" t="t" r="r" b="b"/>
            <a:pathLst>
              <a:path w="259079" h="238760">
                <a:moveTo>
                  <a:pt x="124904" y="121018"/>
                </a:moveTo>
                <a:lnTo>
                  <a:pt x="120484" y="121018"/>
                </a:lnTo>
                <a:lnTo>
                  <a:pt x="120484" y="179984"/>
                </a:lnTo>
                <a:lnTo>
                  <a:pt x="148297" y="214744"/>
                </a:lnTo>
                <a:lnTo>
                  <a:pt x="148297" y="238506"/>
                </a:lnTo>
                <a:lnTo>
                  <a:pt x="211416" y="238506"/>
                </a:lnTo>
                <a:lnTo>
                  <a:pt x="212293" y="189661"/>
                </a:lnTo>
                <a:lnTo>
                  <a:pt x="239217" y="189661"/>
                </a:lnTo>
                <a:lnTo>
                  <a:pt x="258191" y="173380"/>
                </a:lnTo>
                <a:lnTo>
                  <a:pt x="259080" y="168973"/>
                </a:lnTo>
                <a:lnTo>
                  <a:pt x="259080" y="165023"/>
                </a:lnTo>
                <a:lnTo>
                  <a:pt x="212293" y="165023"/>
                </a:lnTo>
                <a:lnTo>
                  <a:pt x="212293" y="162814"/>
                </a:lnTo>
                <a:lnTo>
                  <a:pt x="138582" y="162814"/>
                </a:lnTo>
                <a:lnTo>
                  <a:pt x="136385" y="161937"/>
                </a:lnTo>
                <a:lnTo>
                  <a:pt x="135496" y="159740"/>
                </a:lnTo>
                <a:lnTo>
                  <a:pt x="135496" y="135978"/>
                </a:lnTo>
                <a:lnTo>
                  <a:pt x="134620" y="130695"/>
                </a:lnTo>
                <a:lnTo>
                  <a:pt x="132410" y="127177"/>
                </a:lnTo>
                <a:lnTo>
                  <a:pt x="128879" y="123647"/>
                </a:lnTo>
                <a:lnTo>
                  <a:pt x="124904" y="121018"/>
                </a:lnTo>
                <a:close/>
              </a:path>
              <a:path w="259079" h="238760">
                <a:moveTo>
                  <a:pt x="242747" y="0"/>
                </a:moveTo>
                <a:lnTo>
                  <a:pt x="15443" y="0"/>
                </a:lnTo>
                <a:lnTo>
                  <a:pt x="11912" y="1765"/>
                </a:lnTo>
                <a:lnTo>
                  <a:pt x="7937" y="3086"/>
                </a:lnTo>
                <a:lnTo>
                  <a:pt x="4851" y="6159"/>
                </a:lnTo>
                <a:lnTo>
                  <a:pt x="2641" y="9245"/>
                </a:lnTo>
                <a:lnTo>
                  <a:pt x="1320" y="11887"/>
                </a:lnTo>
                <a:lnTo>
                  <a:pt x="0" y="15836"/>
                </a:lnTo>
                <a:lnTo>
                  <a:pt x="0" y="173380"/>
                </a:lnTo>
                <a:lnTo>
                  <a:pt x="1320" y="176898"/>
                </a:lnTo>
                <a:lnTo>
                  <a:pt x="2641" y="180860"/>
                </a:lnTo>
                <a:lnTo>
                  <a:pt x="19862" y="189661"/>
                </a:lnTo>
                <a:lnTo>
                  <a:pt x="108572" y="189661"/>
                </a:lnTo>
                <a:lnTo>
                  <a:pt x="107251" y="184378"/>
                </a:lnTo>
                <a:lnTo>
                  <a:pt x="107251" y="165023"/>
                </a:lnTo>
                <a:lnTo>
                  <a:pt x="25158" y="165023"/>
                </a:lnTo>
                <a:lnTo>
                  <a:pt x="25158" y="23761"/>
                </a:lnTo>
                <a:lnTo>
                  <a:pt x="259080" y="23761"/>
                </a:lnTo>
                <a:lnTo>
                  <a:pt x="259080" y="20243"/>
                </a:lnTo>
                <a:lnTo>
                  <a:pt x="258191" y="15836"/>
                </a:lnTo>
                <a:lnTo>
                  <a:pt x="257759" y="11887"/>
                </a:lnTo>
                <a:lnTo>
                  <a:pt x="255549" y="9245"/>
                </a:lnTo>
                <a:lnTo>
                  <a:pt x="253339" y="6159"/>
                </a:lnTo>
                <a:lnTo>
                  <a:pt x="250253" y="3086"/>
                </a:lnTo>
                <a:lnTo>
                  <a:pt x="246278" y="1765"/>
                </a:lnTo>
                <a:lnTo>
                  <a:pt x="242747" y="0"/>
                </a:lnTo>
                <a:close/>
              </a:path>
              <a:path w="259079" h="238760">
                <a:moveTo>
                  <a:pt x="259080" y="23761"/>
                </a:moveTo>
                <a:lnTo>
                  <a:pt x="233921" y="23761"/>
                </a:lnTo>
                <a:lnTo>
                  <a:pt x="233921" y="165023"/>
                </a:lnTo>
                <a:lnTo>
                  <a:pt x="259080" y="165023"/>
                </a:lnTo>
                <a:lnTo>
                  <a:pt x="259080" y="100330"/>
                </a:lnTo>
                <a:lnTo>
                  <a:pt x="244957" y="100330"/>
                </a:lnTo>
                <a:lnTo>
                  <a:pt x="243636" y="99009"/>
                </a:lnTo>
                <a:lnTo>
                  <a:pt x="241871" y="96812"/>
                </a:lnTo>
                <a:lnTo>
                  <a:pt x="241427" y="94615"/>
                </a:lnTo>
                <a:lnTo>
                  <a:pt x="241871" y="92405"/>
                </a:lnTo>
                <a:lnTo>
                  <a:pt x="243636" y="90208"/>
                </a:lnTo>
                <a:lnTo>
                  <a:pt x="244957" y="88455"/>
                </a:lnTo>
                <a:lnTo>
                  <a:pt x="259080" y="88455"/>
                </a:lnTo>
                <a:lnTo>
                  <a:pt x="259080" y="23761"/>
                </a:lnTo>
                <a:close/>
              </a:path>
              <a:path w="259079" h="238760">
                <a:moveTo>
                  <a:pt x="148297" y="66890"/>
                </a:moveTo>
                <a:lnTo>
                  <a:pt x="146088" y="67767"/>
                </a:lnTo>
                <a:lnTo>
                  <a:pt x="143446" y="69088"/>
                </a:lnTo>
                <a:lnTo>
                  <a:pt x="142113" y="71285"/>
                </a:lnTo>
                <a:lnTo>
                  <a:pt x="141236" y="73482"/>
                </a:lnTo>
                <a:lnTo>
                  <a:pt x="141236" y="159740"/>
                </a:lnTo>
                <a:lnTo>
                  <a:pt x="140792" y="161937"/>
                </a:lnTo>
                <a:lnTo>
                  <a:pt x="138582" y="162814"/>
                </a:lnTo>
                <a:lnTo>
                  <a:pt x="212293" y="162814"/>
                </a:lnTo>
                <a:lnTo>
                  <a:pt x="212293" y="144335"/>
                </a:lnTo>
                <a:lnTo>
                  <a:pt x="155359" y="144335"/>
                </a:lnTo>
                <a:lnTo>
                  <a:pt x="155359" y="73482"/>
                </a:lnTo>
                <a:lnTo>
                  <a:pt x="154914" y="71285"/>
                </a:lnTo>
                <a:lnTo>
                  <a:pt x="153149" y="69088"/>
                </a:lnTo>
                <a:lnTo>
                  <a:pt x="150939" y="67767"/>
                </a:lnTo>
                <a:lnTo>
                  <a:pt x="148297" y="66890"/>
                </a:lnTo>
                <a:close/>
              </a:path>
              <a:path w="259079" h="238760">
                <a:moveTo>
                  <a:pt x="169926" y="101206"/>
                </a:moveTo>
                <a:lnTo>
                  <a:pt x="164630" y="101206"/>
                </a:lnTo>
                <a:lnTo>
                  <a:pt x="162420" y="102527"/>
                </a:lnTo>
                <a:lnTo>
                  <a:pt x="160655" y="104736"/>
                </a:lnTo>
                <a:lnTo>
                  <a:pt x="160210" y="107810"/>
                </a:lnTo>
                <a:lnTo>
                  <a:pt x="160210" y="144335"/>
                </a:lnTo>
                <a:lnTo>
                  <a:pt x="174332" y="144335"/>
                </a:lnTo>
                <a:lnTo>
                  <a:pt x="174332" y="107810"/>
                </a:lnTo>
                <a:lnTo>
                  <a:pt x="173456" y="104736"/>
                </a:lnTo>
                <a:lnTo>
                  <a:pt x="172135" y="102527"/>
                </a:lnTo>
                <a:lnTo>
                  <a:pt x="169926" y="101206"/>
                </a:lnTo>
                <a:close/>
              </a:path>
              <a:path w="259079" h="238760">
                <a:moveTo>
                  <a:pt x="186258" y="111772"/>
                </a:moveTo>
                <a:lnTo>
                  <a:pt x="183159" y="112217"/>
                </a:lnTo>
                <a:lnTo>
                  <a:pt x="180962" y="113969"/>
                </a:lnTo>
                <a:lnTo>
                  <a:pt x="179628" y="116166"/>
                </a:lnTo>
                <a:lnTo>
                  <a:pt x="178752" y="118808"/>
                </a:lnTo>
                <a:lnTo>
                  <a:pt x="178752" y="144335"/>
                </a:lnTo>
                <a:lnTo>
                  <a:pt x="192874" y="144335"/>
                </a:lnTo>
                <a:lnTo>
                  <a:pt x="192874" y="116166"/>
                </a:lnTo>
                <a:lnTo>
                  <a:pt x="191554" y="113969"/>
                </a:lnTo>
                <a:lnTo>
                  <a:pt x="188899" y="112217"/>
                </a:lnTo>
                <a:lnTo>
                  <a:pt x="186258" y="111772"/>
                </a:lnTo>
                <a:close/>
              </a:path>
              <a:path w="259079" h="238760">
                <a:moveTo>
                  <a:pt x="204787" y="121018"/>
                </a:moveTo>
                <a:lnTo>
                  <a:pt x="201701" y="121894"/>
                </a:lnTo>
                <a:lnTo>
                  <a:pt x="199491" y="123647"/>
                </a:lnTo>
                <a:lnTo>
                  <a:pt x="198170" y="125857"/>
                </a:lnTo>
                <a:lnTo>
                  <a:pt x="198170" y="144335"/>
                </a:lnTo>
                <a:lnTo>
                  <a:pt x="212293" y="144335"/>
                </a:lnTo>
                <a:lnTo>
                  <a:pt x="212293" y="128498"/>
                </a:lnTo>
                <a:lnTo>
                  <a:pt x="211416" y="125857"/>
                </a:lnTo>
                <a:lnTo>
                  <a:pt x="210083" y="123647"/>
                </a:lnTo>
                <a:lnTo>
                  <a:pt x="207886" y="121894"/>
                </a:lnTo>
                <a:lnTo>
                  <a:pt x="204787" y="121018"/>
                </a:lnTo>
                <a:close/>
              </a:path>
              <a:path w="259079" h="238760">
                <a:moveTo>
                  <a:pt x="259080" y="88455"/>
                </a:moveTo>
                <a:lnTo>
                  <a:pt x="250253" y="88455"/>
                </a:lnTo>
                <a:lnTo>
                  <a:pt x="251574" y="90208"/>
                </a:lnTo>
                <a:lnTo>
                  <a:pt x="253339" y="92405"/>
                </a:lnTo>
                <a:lnTo>
                  <a:pt x="253784" y="94615"/>
                </a:lnTo>
                <a:lnTo>
                  <a:pt x="253339" y="96812"/>
                </a:lnTo>
                <a:lnTo>
                  <a:pt x="251574" y="99009"/>
                </a:lnTo>
                <a:lnTo>
                  <a:pt x="250253" y="100330"/>
                </a:lnTo>
                <a:lnTo>
                  <a:pt x="259080" y="100330"/>
                </a:lnTo>
                <a:lnTo>
                  <a:pt x="259080" y="88455"/>
                </a:lnTo>
                <a:close/>
              </a:path>
              <a:path w="259079" h="238760">
                <a:moveTo>
                  <a:pt x="124460" y="65570"/>
                </a:moveTo>
                <a:lnTo>
                  <a:pt x="122250" y="66446"/>
                </a:lnTo>
                <a:lnTo>
                  <a:pt x="119608" y="67767"/>
                </a:lnTo>
                <a:lnTo>
                  <a:pt x="118287" y="69088"/>
                </a:lnTo>
                <a:lnTo>
                  <a:pt x="118287" y="73482"/>
                </a:lnTo>
                <a:lnTo>
                  <a:pt x="119608" y="76123"/>
                </a:lnTo>
                <a:lnTo>
                  <a:pt x="121373" y="77444"/>
                </a:lnTo>
                <a:lnTo>
                  <a:pt x="126669" y="77444"/>
                </a:lnTo>
                <a:lnTo>
                  <a:pt x="127990" y="76123"/>
                </a:lnTo>
                <a:lnTo>
                  <a:pt x="129311" y="74371"/>
                </a:lnTo>
                <a:lnTo>
                  <a:pt x="129311" y="69088"/>
                </a:lnTo>
                <a:lnTo>
                  <a:pt x="126669" y="66446"/>
                </a:lnTo>
                <a:lnTo>
                  <a:pt x="124460" y="65570"/>
                </a:lnTo>
                <a:close/>
              </a:path>
              <a:path w="259079" h="238760">
                <a:moveTo>
                  <a:pt x="172567" y="65570"/>
                </a:moveTo>
                <a:lnTo>
                  <a:pt x="170370" y="66446"/>
                </a:lnTo>
                <a:lnTo>
                  <a:pt x="169037" y="67767"/>
                </a:lnTo>
                <a:lnTo>
                  <a:pt x="167271" y="69088"/>
                </a:lnTo>
                <a:lnTo>
                  <a:pt x="166839" y="71285"/>
                </a:lnTo>
                <a:lnTo>
                  <a:pt x="167271" y="73482"/>
                </a:lnTo>
                <a:lnTo>
                  <a:pt x="169037" y="76123"/>
                </a:lnTo>
                <a:lnTo>
                  <a:pt x="170370" y="77444"/>
                </a:lnTo>
                <a:lnTo>
                  <a:pt x="172567" y="77444"/>
                </a:lnTo>
                <a:lnTo>
                  <a:pt x="174777" y="76568"/>
                </a:lnTo>
                <a:lnTo>
                  <a:pt x="176987" y="76123"/>
                </a:lnTo>
                <a:lnTo>
                  <a:pt x="177863" y="73482"/>
                </a:lnTo>
                <a:lnTo>
                  <a:pt x="178752" y="71285"/>
                </a:lnTo>
                <a:lnTo>
                  <a:pt x="177863" y="69088"/>
                </a:lnTo>
                <a:lnTo>
                  <a:pt x="176987" y="67767"/>
                </a:lnTo>
                <a:lnTo>
                  <a:pt x="174777" y="66446"/>
                </a:lnTo>
                <a:lnTo>
                  <a:pt x="172567" y="65570"/>
                </a:lnTo>
                <a:close/>
              </a:path>
              <a:path w="259079" h="238760">
                <a:moveTo>
                  <a:pt x="133286" y="49288"/>
                </a:moveTo>
                <a:lnTo>
                  <a:pt x="129311" y="49288"/>
                </a:lnTo>
                <a:lnTo>
                  <a:pt x="127114" y="50609"/>
                </a:lnTo>
                <a:lnTo>
                  <a:pt x="125780" y="51930"/>
                </a:lnTo>
                <a:lnTo>
                  <a:pt x="125780" y="56769"/>
                </a:lnTo>
                <a:lnTo>
                  <a:pt x="127114" y="58966"/>
                </a:lnTo>
                <a:lnTo>
                  <a:pt x="128879" y="60286"/>
                </a:lnTo>
                <a:lnTo>
                  <a:pt x="133286" y="60286"/>
                </a:lnTo>
                <a:lnTo>
                  <a:pt x="135496" y="58966"/>
                </a:lnTo>
                <a:lnTo>
                  <a:pt x="136817" y="57200"/>
                </a:lnTo>
                <a:lnTo>
                  <a:pt x="136817" y="52806"/>
                </a:lnTo>
                <a:lnTo>
                  <a:pt x="135496" y="50609"/>
                </a:lnTo>
                <a:lnTo>
                  <a:pt x="133286" y="49288"/>
                </a:lnTo>
                <a:close/>
              </a:path>
              <a:path w="259079" h="238760">
                <a:moveTo>
                  <a:pt x="167271" y="49288"/>
                </a:moveTo>
                <a:lnTo>
                  <a:pt x="162864" y="49288"/>
                </a:lnTo>
                <a:lnTo>
                  <a:pt x="161531" y="50609"/>
                </a:lnTo>
                <a:lnTo>
                  <a:pt x="160210" y="52806"/>
                </a:lnTo>
                <a:lnTo>
                  <a:pt x="160210" y="57200"/>
                </a:lnTo>
                <a:lnTo>
                  <a:pt x="161531" y="58966"/>
                </a:lnTo>
                <a:lnTo>
                  <a:pt x="162864" y="60286"/>
                </a:lnTo>
                <a:lnTo>
                  <a:pt x="167271" y="60286"/>
                </a:lnTo>
                <a:lnTo>
                  <a:pt x="169926" y="58966"/>
                </a:lnTo>
                <a:lnTo>
                  <a:pt x="171246" y="56769"/>
                </a:lnTo>
                <a:lnTo>
                  <a:pt x="171246" y="51930"/>
                </a:lnTo>
                <a:lnTo>
                  <a:pt x="169926" y="50609"/>
                </a:lnTo>
                <a:lnTo>
                  <a:pt x="167271" y="49288"/>
                </a:lnTo>
                <a:close/>
              </a:path>
              <a:path w="259079" h="238760">
                <a:moveTo>
                  <a:pt x="148297" y="41808"/>
                </a:moveTo>
                <a:lnTo>
                  <a:pt x="146088" y="42684"/>
                </a:lnTo>
                <a:lnTo>
                  <a:pt x="144322" y="44005"/>
                </a:lnTo>
                <a:lnTo>
                  <a:pt x="143002" y="45326"/>
                </a:lnTo>
                <a:lnTo>
                  <a:pt x="143002" y="49720"/>
                </a:lnTo>
                <a:lnTo>
                  <a:pt x="144322" y="51930"/>
                </a:lnTo>
                <a:lnTo>
                  <a:pt x="146088" y="52806"/>
                </a:lnTo>
                <a:lnTo>
                  <a:pt x="148297" y="53682"/>
                </a:lnTo>
                <a:lnTo>
                  <a:pt x="152704" y="51930"/>
                </a:lnTo>
                <a:lnTo>
                  <a:pt x="154038" y="49720"/>
                </a:lnTo>
                <a:lnTo>
                  <a:pt x="154038" y="45326"/>
                </a:lnTo>
                <a:lnTo>
                  <a:pt x="152704" y="44005"/>
                </a:lnTo>
                <a:lnTo>
                  <a:pt x="150507" y="42684"/>
                </a:lnTo>
                <a:lnTo>
                  <a:pt x="148297" y="41808"/>
                </a:lnTo>
                <a:close/>
              </a:path>
            </a:pathLst>
          </a:custGeom>
          <a:solidFill>
            <a:srgbClr val="43B02A"/>
          </a:solidFill>
        </p:spPr>
        <p:txBody>
          <a:bodyPr wrap="square" lIns="0" tIns="0" rIns="0" bIns="0" rtlCol="0"/>
          <a:lstStyle/>
          <a:p>
            <a:endParaRPr>
              <a:solidFill>
                <a:prstClr val="black"/>
              </a:solidFill>
              <a:latin typeface="+mj-lt"/>
            </a:endParaRPr>
          </a:p>
        </p:txBody>
      </p:sp>
      <p:sp>
        <p:nvSpPr>
          <p:cNvPr id="182" name="Oval 181"/>
          <p:cNvSpPr/>
          <p:nvPr/>
        </p:nvSpPr>
        <p:spPr bwMode="gray">
          <a:xfrm>
            <a:off x="7359045" y="4513475"/>
            <a:ext cx="338400" cy="338400"/>
          </a:xfrm>
          <a:prstGeom prst="ellipse">
            <a:avLst/>
          </a:prstGeom>
          <a:noFill/>
          <a:ln w="9525"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83" name="object 173"/>
          <p:cNvSpPr/>
          <p:nvPr/>
        </p:nvSpPr>
        <p:spPr>
          <a:xfrm>
            <a:off x="6894931" y="4257694"/>
            <a:ext cx="214672" cy="194227"/>
          </a:xfrm>
          <a:custGeom>
            <a:avLst/>
            <a:gdLst/>
            <a:ahLst/>
            <a:cxnLst/>
            <a:rect l="l" t="t" r="r" b="b"/>
            <a:pathLst>
              <a:path w="266700" h="241300">
                <a:moveTo>
                  <a:pt x="219541" y="217017"/>
                </a:moveTo>
                <a:lnTo>
                  <a:pt x="48844" y="217017"/>
                </a:lnTo>
                <a:lnTo>
                  <a:pt x="54127" y="217893"/>
                </a:lnTo>
                <a:lnTo>
                  <a:pt x="63804" y="220979"/>
                </a:lnTo>
                <a:lnTo>
                  <a:pt x="100774" y="233298"/>
                </a:lnTo>
                <a:lnTo>
                  <a:pt x="147866" y="240347"/>
                </a:lnTo>
                <a:lnTo>
                  <a:pt x="159753" y="240791"/>
                </a:lnTo>
                <a:lnTo>
                  <a:pt x="167678" y="240347"/>
                </a:lnTo>
                <a:lnTo>
                  <a:pt x="176034" y="238582"/>
                </a:lnTo>
                <a:lnTo>
                  <a:pt x="184835" y="235940"/>
                </a:lnTo>
                <a:lnTo>
                  <a:pt x="193205" y="231978"/>
                </a:lnTo>
                <a:lnTo>
                  <a:pt x="201117" y="228460"/>
                </a:lnTo>
                <a:lnTo>
                  <a:pt x="209486" y="223177"/>
                </a:lnTo>
                <a:lnTo>
                  <a:pt x="217398" y="218782"/>
                </a:lnTo>
                <a:lnTo>
                  <a:pt x="219541" y="217017"/>
                </a:lnTo>
                <a:close/>
              </a:path>
              <a:path w="266700" h="241300">
                <a:moveTo>
                  <a:pt x="53251" y="141300"/>
                </a:moveTo>
                <a:lnTo>
                  <a:pt x="39166" y="141300"/>
                </a:lnTo>
                <a:lnTo>
                  <a:pt x="27279" y="142176"/>
                </a:lnTo>
                <a:lnTo>
                  <a:pt x="0" y="149669"/>
                </a:lnTo>
                <a:lnTo>
                  <a:pt x="0" y="230657"/>
                </a:lnTo>
                <a:lnTo>
                  <a:pt x="3517" y="228460"/>
                </a:lnTo>
                <a:lnTo>
                  <a:pt x="14084" y="224066"/>
                </a:lnTo>
                <a:lnTo>
                  <a:pt x="20675" y="221424"/>
                </a:lnTo>
                <a:lnTo>
                  <a:pt x="28168" y="219214"/>
                </a:lnTo>
                <a:lnTo>
                  <a:pt x="36080" y="217893"/>
                </a:lnTo>
                <a:lnTo>
                  <a:pt x="45326" y="217017"/>
                </a:lnTo>
                <a:lnTo>
                  <a:pt x="219541" y="217017"/>
                </a:lnTo>
                <a:lnTo>
                  <a:pt x="224891" y="212610"/>
                </a:lnTo>
                <a:lnTo>
                  <a:pt x="237655" y="202488"/>
                </a:lnTo>
                <a:lnTo>
                  <a:pt x="242487" y="197650"/>
                </a:lnTo>
                <a:lnTo>
                  <a:pt x="148310" y="197650"/>
                </a:lnTo>
                <a:lnTo>
                  <a:pt x="140385" y="197205"/>
                </a:lnTo>
                <a:lnTo>
                  <a:pt x="97256" y="181355"/>
                </a:lnTo>
                <a:lnTo>
                  <a:pt x="93294" y="179158"/>
                </a:lnTo>
                <a:lnTo>
                  <a:pt x="172209" y="179158"/>
                </a:lnTo>
                <a:lnTo>
                  <a:pt x="172948" y="178714"/>
                </a:lnTo>
                <a:lnTo>
                  <a:pt x="173837" y="176961"/>
                </a:lnTo>
                <a:lnTo>
                  <a:pt x="173837" y="176072"/>
                </a:lnTo>
                <a:lnTo>
                  <a:pt x="128943" y="153187"/>
                </a:lnTo>
                <a:lnTo>
                  <a:pt x="89776" y="144386"/>
                </a:lnTo>
                <a:lnTo>
                  <a:pt x="70408" y="142176"/>
                </a:lnTo>
                <a:lnTo>
                  <a:pt x="53251" y="141300"/>
                </a:lnTo>
                <a:close/>
              </a:path>
              <a:path w="266700" h="241300">
                <a:moveTo>
                  <a:pt x="252615" y="170357"/>
                </a:moveTo>
                <a:lnTo>
                  <a:pt x="247332" y="170357"/>
                </a:lnTo>
                <a:lnTo>
                  <a:pt x="242049" y="171678"/>
                </a:lnTo>
                <a:lnTo>
                  <a:pt x="233248" y="174751"/>
                </a:lnTo>
                <a:lnTo>
                  <a:pt x="221361" y="180035"/>
                </a:lnTo>
                <a:lnTo>
                  <a:pt x="207276" y="185762"/>
                </a:lnTo>
                <a:lnTo>
                  <a:pt x="191439" y="191046"/>
                </a:lnTo>
                <a:lnTo>
                  <a:pt x="174269" y="195452"/>
                </a:lnTo>
                <a:lnTo>
                  <a:pt x="165468" y="197205"/>
                </a:lnTo>
                <a:lnTo>
                  <a:pt x="157556" y="197650"/>
                </a:lnTo>
                <a:lnTo>
                  <a:pt x="242487" y="197650"/>
                </a:lnTo>
                <a:lnTo>
                  <a:pt x="248208" y="191922"/>
                </a:lnTo>
                <a:lnTo>
                  <a:pt x="254812" y="183121"/>
                </a:lnTo>
                <a:lnTo>
                  <a:pt x="257009" y="180035"/>
                </a:lnTo>
                <a:lnTo>
                  <a:pt x="257454" y="176961"/>
                </a:lnTo>
                <a:lnTo>
                  <a:pt x="257009" y="174751"/>
                </a:lnTo>
                <a:lnTo>
                  <a:pt x="255257" y="172554"/>
                </a:lnTo>
                <a:lnTo>
                  <a:pt x="252615" y="170357"/>
                </a:lnTo>
                <a:close/>
              </a:path>
              <a:path w="266700" h="241300">
                <a:moveTo>
                  <a:pt x="172209" y="179158"/>
                </a:moveTo>
                <a:lnTo>
                  <a:pt x="93294" y="179158"/>
                </a:lnTo>
                <a:lnTo>
                  <a:pt x="106057" y="180924"/>
                </a:lnTo>
                <a:lnTo>
                  <a:pt x="118821" y="182244"/>
                </a:lnTo>
                <a:lnTo>
                  <a:pt x="133781" y="183121"/>
                </a:lnTo>
                <a:lnTo>
                  <a:pt x="148310" y="183121"/>
                </a:lnTo>
                <a:lnTo>
                  <a:pt x="161074" y="182244"/>
                </a:lnTo>
                <a:lnTo>
                  <a:pt x="166357" y="181355"/>
                </a:lnTo>
                <a:lnTo>
                  <a:pt x="170751" y="180035"/>
                </a:lnTo>
                <a:lnTo>
                  <a:pt x="172209" y="179158"/>
                </a:lnTo>
                <a:close/>
              </a:path>
              <a:path w="266700" h="241300">
                <a:moveTo>
                  <a:pt x="190119" y="0"/>
                </a:moveTo>
                <a:lnTo>
                  <a:pt x="147866" y="13639"/>
                </a:lnTo>
                <a:lnTo>
                  <a:pt x="123228" y="40500"/>
                </a:lnTo>
                <a:lnTo>
                  <a:pt x="119265" y="47104"/>
                </a:lnTo>
                <a:lnTo>
                  <a:pt x="117068" y="54584"/>
                </a:lnTo>
                <a:lnTo>
                  <a:pt x="114858" y="61188"/>
                </a:lnTo>
                <a:lnTo>
                  <a:pt x="114427" y="69113"/>
                </a:lnTo>
                <a:lnTo>
                  <a:pt x="113538" y="76593"/>
                </a:lnTo>
                <a:lnTo>
                  <a:pt x="114427" y="84950"/>
                </a:lnTo>
                <a:lnTo>
                  <a:pt x="114858" y="92443"/>
                </a:lnTo>
                <a:lnTo>
                  <a:pt x="117068" y="99923"/>
                </a:lnTo>
                <a:lnTo>
                  <a:pt x="119265" y="106527"/>
                </a:lnTo>
                <a:lnTo>
                  <a:pt x="123228" y="113131"/>
                </a:lnTo>
                <a:lnTo>
                  <a:pt x="126746" y="119735"/>
                </a:lnTo>
                <a:lnTo>
                  <a:pt x="160197" y="147459"/>
                </a:lnTo>
                <a:lnTo>
                  <a:pt x="181762" y="153187"/>
                </a:lnTo>
                <a:lnTo>
                  <a:pt x="197599" y="153187"/>
                </a:lnTo>
                <a:lnTo>
                  <a:pt x="238531" y="136016"/>
                </a:lnTo>
                <a:lnTo>
                  <a:pt x="253047" y="119735"/>
                </a:lnTo>
                <a:lnTo>
                  <a:pt x="191439" y="119735"/>
                </a:lnTo>
                <a:lnTo>
                  <a:pt x="185712" y="117525"/>
                </a:lnTo>
                <a:lnTo>
                  <a:pt x="161950" y="89357"/>
                </a:lnTo>
                <a:lnTo>
                  <a:pt x="150507" y="89357"/>
                </a:lnTo>
                <a:lnTo>
                  <a:pt x="152273" y="80987"/>
                </a:lnTo>
                <a:lnTo>
                  <a:pt x="160197" y="80987"/>
                </a:lnTo>
                <a:lnTo>
                  <a:pt x="160197" y="72186"/>
                </a:lnTo>
                <a:lnTo>
                  <a:pt x="150507" y="72186"/>
                </a:lnTo>
                <a:lnTo>
                  <a:pt x="152273" y="64706"/>
                </a:lnTo>
                <a:lnTo>
                  <a:pt x="161950" y="64706"/>
                </a:lnTo>
                <a:lnTo>
                  <a:pt x="163271" y="58102"/>
                </a:lnTo>
                <a:lnTo>
                  <a:pt x="198920" y="33451"/>
                </a:lnTo>
                <a:lnTo>
                  <a:pt x="252373" y="33451"/>
                </a:lnTo>
                <a:lnTo>
                  <a:pt x="248653" y="28613"/>
                </a:lnTo>
                <a:lnTo>
                  <a:pt x="213004" y="3962"/>
                </a:lnTo>
                <a:lnTo>
                  <a:pt x="205524" y="1752"/>
                </a:lnTo>
                <a:lnTo>
                  <a:pt x="190119" y="0"/>
                </a:lnTo>
                <a:close/>
              </a:path>
              <a:path w="266700" h="241300">
                <a:moveTo>
                  <a:pt x="261567" y="103441"/>
                </a:moveTo>
                <a:lnTo>
                  <a:pt x="213880" y="103441"/>
                </a:lnTo>
                <a:lnTo>
                  <a:pt x="214769" y="117525"/>
                </a:lnTo>
                <a:lnTo>
                  <a:pt x="210807" y="118414"/>
                </a:lnTo>
                <a:lnTo>
                  <a:pt x="207276" y="119735"/>
                </a:lnTo>
                <a:lnTo>
                  <a:pt x="253047" y="119735"/>
                </a:lnTo>
                <a:lnTo>
                  <a:pt x="257009" y="113131"/>
                </a:lnTo>
                <a:lnTo>
                  <a:pt x="260540" y="106527"/>
                </a:lnTo>
                <a:lnTo>
                  <a:pt x="261567" y="103441"/>
                </a:lnTo>
                <a:close/>
              </a:path>
              <a:path w="266700" h="241300">
                <a:moveTo>
                  <a:pt x="202006" y="47104"/>
                </a:moveTo>
                <a:lnTo>
                  <a:pt x="180441" y="64706"/>
                </a:lnTo>
                <a:lnTo>
                  <a:pt x="210807" y="64706"/>
                </a:lnTo>
                <a:lnTo>
                  <a:pt x="208597" y="72186"/>
                </a:lnTo>
                <a:lnTo>
                  <a:pt x="178676" y="72186"/>
                </a:lnTo>
                <a:lnTo>
                  <a:pt x="178231" y="76593"/>
                </a:lnTo>
                <a:lnTo>
                  <a:pt x="178676" y="80987"/>
                </a:lnTo>
                <a:lnTo>
                  <a:pt x="207276" y="80987"/>
                </a:lnTo>
                <a:lnTo>
                  <a:pt x="205079" y="89357"/>
                </a:lnTo>
                <a:lnTo>
                  <a:pt x="180441" y="89357"/>
                </a:lnTo>
                <a:lnTo>
                  <a:pt x="181762" y="92443"/>
                </a:lnTo>
                <a:lnTo>
                  <a:pt x="197599" y="105651"/>
                </a:lnTo>
                <a:lnTo>
                  <a:pt x="201117" y="106527"/>
                </a:lnTo>
                <a:lnTo>
                  <a:pt x="207721" y="105651"/>
                </a:lnTo>
                <a:lnTo>
                  <a:pt x="210807" y="104762"/>
                </a:lnTo>
                <a:lnTo>
                  <a:pt x="213880" y="103441"/>
                </a:lnTo>
                <a:lnTo>
                  <a:pt x="261567" y="103441"/>
                </a:lnTo>
                <a:lnTo>
                  <a:pt x="262737" y="99923"/>
                </a:lnTo>
                <a:lnTo>
                  <a:pt x="264934" y="92443"/>
                </a:lnTo>
                <a:lnTo>
                  <a:pt x="265811" y="84950"/>
                </a:lnTo>
                <a:lnTo>
                  <a:pt x="266700" y="76593"/>
                </a:lnTo>
                <a:lnTo>
                  <a:pt x="265811" y="69113"/>
                </a:lnTo>
                <a:lnTo>
                  <a:pt x="264934" y="61188"/>
                </a:lnTo>
                <a:lnTo>
                  <a:pt x="262737" y="54584"/>
                </a:lnTo>
                <a:lnTo>
                  <a:pt x="261312" y="49733"/>
                </a:lnTo>
                <a:lnTo>
                  <a:pt x="213880" y="49733"/>
                </a:lnTo>
                <a:lnTo>
                  <a:pt x="207721" y="47536"/>
                </a:lnTo>
                <a:lnTo>
                  <a:pt x="202006" y="47104"/>
                </a:lnTo>
                <a:close/>
              </a:path>
              <a:path w="266700" h="241300">
                <a:moveTo>
                  <a:pt x="252373" y="33451"/>
                </a:moveTo>
                <a:lnTo>
                  <a:pt x="198920" y="33451"/>
                </a:lnTo>
                <a:lnTo>
                  <a:pt x="207721" y="34328"/>
                </a:lnTo>
                <a:lnTo>
                  <a:pt x="216966" y="36537"/>
                </a:lnTo>
                <a:lnTo>
                  <a:pt x="213880" y="49733"/>
                </a:lnTo>
                <a:lnTo>
                  <a:pt x="261312" y="49733"/>
                </a:lnTo>
                <a:lnTo>
                  <a:pt x="260540" y="47104"/>
                </a:lnTo>
                <a:lnTo>
                  <a:pt x="257009" y="40500"/>
                </a:lnTo>
                <a:lnTo>
                  <a:pt x="253047" y="34328"/>
                </a:lnTo>
                <a:lnTo>
                  <a:pt x="252373" y="33451"/>
                </a:lnTo>
                <a:close/>
              </a:path>
            </a:pathLst>
          </a:custGeom>
          <a:solidFill>
            <a:srgbClr val="43B02A"/>
          </a:solidFill>
        </p:spPr>
        <p:txBody>
          <a:bodyPr wrap="square" lIns="0" tIns="0" rIns="0" bIns="0" rtlCol="0"/>
          <a:lstStyle/>
          <a:p>
            <a:endParaRPr>
              <a:solidFill>
                <a:prstClr val="black"/>
              </a:solidFill>
              <a:latin typeface="+mj-lt"/>
            </a:endParaRPr>
          </a:p>
        </p:txBody>
      </p:sp>
      <p:sp>
        <p:nvSpPr>
          <p:cNvPr id="184" name="Oval 183"/>
          <p:cNvSpPr/>
          <p:nvPr/>
        </p:nvSpPr>
        <p:spPr bwMode="gray">
          <a:xfrm>
            <a:off x="6833067" y="4199657"/>
            <a:ext cx="338400" cy="338400"/>
          </a:xfrm>
          <a:prstGeom prst="ellipse">
            <a:avLst/>
          </a:prstGeom>
          <a:noFill/>
          <a:ln w="9525"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nvGrpSpPr>
          <p:cNvPr id="2" name="Group 1"/>
          <p:cNvGrpSpPr/>
          <p:nvPr/>
        </p:nvGrpSpPr>
        <p:grpSpPr>
          <a:xfrm>
            <a:off x="385350" y="1767480"/>
            <a:ext cx="338400" cy="338400"/>
            <a:chOff x="-67779" y="1544928"/>
            <a:chExt cx="338400" cy="338400"/>
          </a:xfrm>
        </p:grpSpPr>
        <p:sp>
          <p:nvSpPr>
            <p:cNvPr id="172" name="object 19"/>
            <p:cNvSpPr/>
            <p:nvPr/>
          </p:nvSpPr>
          <p:spPr>
            <a:xfrm>
              <a:off x="-67779" y="1544928"/>
              <a:ext cx="338400" cy="338400"/>
            </a:xfrm>
            <a:custGeom>
              <a:avLst/>
              <a:gdLst/>
              <a:ahLst/>
              <a:cxnLst/>
              <a:rect l="l" t="t" r="r" b="b"/>
              <a:pathLst>
                <a:path w="999489" h="999489">
                  <a:moveTo>
                    <a:pt x="499745" y="0"/>
                  </a:moveTo>
                  <a:lnTo>
                    <a:pt x="451617" y="2287"/>
                  </a:lnTo>
                  <a:lnTo>
                    <a:pt x="404783" y="9011"/>
                  </a:lnTo>
                  <a:lnTo>
                    <a:pt x="359453" y="19961"/>
                  </a:lnTo>
                  <a:lnTo>
                    <a:pt x="315835" y="34928"/>
                  </a:lnTo>
                  <a:lnTo>
                    <a:pt x="274141" y="53702"/>
                  </a:lnTo>
                  <a:lnTo>
                    <a:pt x="234578" y="76075"/>
                  </a:lnTo>
                  <a:lnTo>
                    <a:pt x="197357" y="101836"/>
                  </a:lnTo>
                  <a:lnTo>
                    <a:pt x="162687" y="130776"/>
                  </a:lnTo>
                  <a:lnTo>
                    <a:pt x="130776" y="162687"/>
                  </a:lnTo>
                  <a:lnTo>
                    <a:pt x="101836" y="197357"/>
                  </a:lnTo>
                  <a:lnTo>
                    <a:pt x="76075" y="234578"/>
                  </a:lnTo>
                  <a:lnTo>
                    <a:pt x="53702" y="274141"/>
                  </a:lnTo>
                  <a:lnTo>
                    <a:pt x="34928" y="315835"/>
                  </a:lnTo>
                  <a:lnTo>
                    <a:pt x="19961" y="359453"/>
                  </a:lnTo>
                  <a:lnTo>
                    <a:pt x="9011" y="404783"/>
                  </a:lnTo>
                  <a:lnTo>
                    <a:pt x="2287" y="451617"/>
                  </a:lnTo>
                  <a:lnTo>
                    <a:pt x="0" y="499744"/>
                  </a:lnTo>
                  <a:lnTo>
                    <a:pt x="2287" y="547872"/>
                  </a:lnTo>
                  <a:lnTo>
                    <a:pt x="9011" y="594706"/>
                  </a:lnTo>
                  <a:lnTo>
                    <a:pt x="19961" y="640036"/>
                  </a:lnTo>
                  <a:lnTo>
                    <a:pt x="34928" y="683654"/>
                  </a:lnTo>
                  <a:lnTo>
                    <a:pt x="53702" y="725348"/>
                  </a:lnTo>
                  <a:lnTo>
                    <a:pt x="76075" y="764911"/>
                  </a:lnTo>
                  <a:lnTo>
                    <a:pt x="101836" y="802132"/>
                  </a:lnTo>
                  <a:lnTo>
                    <a:pt x="130776" y="836802"/>
                  </a:lnTo>
                  <a:lnTo>
                    <a:pt x="162687" y="868713"/>
                  </a:lnTo>
                  <a:lnTo>
                    <a:pt x="197357" y="897653"/>
                  </a:lnTo>
                  <a:lnTo>
                    <a:pt x="234578" y="923414"/>
                  </a:lnTo>
                  <a:lnTo>
                    <a:pt x="274141" y="945787"/>
                  </a:lnTo>
                  <a:lnTo>
                    <a:pt x="315835" y="964561"/>
                  </a:lnTo>
                  <a:lnTo>
                    <a:pt x="359453" y="979528"/>
                  </a:lnTo>
                  <a:lnTo>
                    <a:pt x="404783" y="990478"/>
                  </a:lnTo>
                  <a:lnTo>
                    <a:pt x="451617" y="997202"/>
                  </a:lnTo>
                  <a:lnTo>
                    <a:pt x="499745" y="999489"/>
                  </a:lnTo>
                  <a:lnTo>
                    <a:pt x="547872" y="997202"/>
                  </a:lnTo>
                  <a:lnTo>
                    <a:pt x="594706" y="990478"/>
                  </a:lnTo>
                  <a:lnTo>
                    <a:pt x="640036" y="979528"/>
                  </a:lnTo>
                  <a:lnTo>
                    <a:pt x="683654" y="964561"/>
                  </a:lnTo>
                  <a:lnTo>
                    <a:pt x="725348" y="945787"/>
                  </a:lnTo>
                  <a:lnTo>
                    <a:pt x="764911" y="923414"/>
                  </a:lnTo>
                  <a:lnTo>
                    <a:pt x="802132" y="897653"/>
                  </a:lnTo>
                  <a:lnTo>
                    <a:pt x="836802" y="868713"/>
                  </a:lnTo>
                  <a:lnTo>
                    <a:pt x="868713" y="836802"/>
                  </a:lnTo>
                  <a:lnTo>
                    <a:pt x="897653" y="802132"/>
                  </a:lnTo>
                  <a:lnTo>
                    <a:pt x="923414" y="764911"/>
                  </a:lnTo>
                  <a:lnTo>
                    <a:pt x="945787" y="725348"/>
                  </a:lnTo>
                  <a:lnTo>
                    <a:pt x="964561" y="683654"/>
                  </a:lnTo>
                  <a:lnTo>
                    <a:pt x="979528" y="640036"/>
                  </a:lnTo>
                  <a:lnTo>
                    <a:pt x="990478" y="594706"/>
                  </a:lnTo>
                  <a:lnTo>
                    <a:pt x="997202" y="547872"/>
                  </a:lnTo>
                  <a:lnTo>
                    <a:pt x="999490" y="499744"/>
                  </a:lnTo>
                  <a:lnTo>
                    <a:pt x="997202" y="451617"/>
                  </a:lnTo>
                  <a:lnTo>
                    <a:pt x="990478" y="404783"/>
                  </a:lnTo>
                  <a:lnTo>
                    <a:pt x="979528" y="359453"/>
                  </a:lnTo>
                  <a:lnTo>
                    <a:pt x="964561" y="315835"/>
                  </a:lnTo>
                  <a:lnTo>
                    <a:pt x="945787" y="274141"/>
                  </a:lnTo>
                  <a:lnTo>
                    <a:pt x="923414" y="234578"/>
                  </a:lnTo>
                  <a:lnTo>
                    <a:pt x="897653" y="197357"/>
                  </a:lnTo>
                  <a:lnTo>
                    <a:pt x="868713" y="162687"/>
                  </a:lnTo>
                  <a:lnTo>
                    <a:pt x="836802" y="130776"/>
                  </a:lnTo>
                  <a:lnTo>
                    <a:pt x="802132" y="101836"/>
                  </a:lnTo>
                  <a:lnTo>
                    <a:pt x="764911" y="76075"/>
                  </a:lnTo>
                  <a:lnTo>
                    <a:pt x="725348" y="53702"/>
                  </a:lnTo>
                  <a:lnTo>
                    <a:pt x="683654" y="34928"/>
                  </a:lnTo>
                  <a:lnTo>
                    <a:pt x="640036" y="19961"/>
                  </a:lnTo>
                  <a:lnTo>
                    <a:pt x="594706" y="9011"/>
                  </a:lnTo>
                  <a:lnTo>
                    <a:pt x="547872" y="2287"/>
                  </a:lnTo>
                  <a:lnTo>
                    <a:pt x="499745" y="0"/>
                  </a:lnTo>
                  <a:close/>
                </a:path>
              </a:pathLst>
            </a:custGeom>
            <a:noFill/>
            <a:ln>
              <a:solidFill>
                <a:srgbClr val="041E42"/>
              </a:solidFill>
            </a:ln>
          </p:spPr>
          <p:txBody>
            <a:bodyPr wrap="square" lIns="0" tIns="0" rIns="0" bIns="0" rtlCol="0"/>
            <a:lstStyle/>
            <a:p>
              <a:endParaRPr sz="1600">
                <a:latin typeface="+mj-lt"/>
              </a:endParaRPr>
            </a:p>
          </p:txBody>
        </p:sp>
        <p:sp>
          <p:nvSpPr>
            <p:cNvPr id="174" name="Freeform 548"/>
            <p:cNvSpPr>
              <a:spLocks noEditPoints="1"/>
            </p:cNvSpPr>
            <p:nvPr/>
          </p:nvSpPr>
          <p:spPr bwMode="auto">
            <a:xfrm>
              <a:off x="56891" y="1599404"/>
              <a:ext cx="107148" cy="229448"/>
            </a:xfrm>
            <a:custGeom>
              <a:avLst/>
              <a:gdLst>
                <a:gd name="T0" fmla="*/ 132 w 149"/>
                <a:gd name="T1" fmla="*/ 179 h 320"/>
                <a:gd name="T2" fmla="*/ 95 w 149"/>
                <a:gd name="T3" fmla="*/ 159 h 320"/>
                <a:gd name="T4" fmla="*/ 121 w 149"/>
                <a:gd name="T5" fmla="*/ 143 h 320"/>
                <a:gd name="T6" fmla="*/ 141 w 149"/>
                <a:gd name="T7" fmla="*/ 97 h 320"/>
                <a:gd name="T8" fmla="*/ 122 w 149"/>
                <a:gd name="T9" fmla="*/ 54 h 320"/>
                <a:gd name="T10" fmla="*/ 96 w 149"/>
                <a:gd name="T11" fmla="*/ 39 h 320"/>
                <a:gd name="T12" fmla="*/ 96 w 149"/>
                <a:gd name="T13" fmla="*/ 10 h 320"/>
                <a:gd name="T14" fmla="*/ 85 w 149"/>
                <a:gd name="T15" fmla="*/ 0 h 320"/>
                <a:gd name="T16" fmla="*/ 74 w 149"/>
                <a:gd name="T17" fmla="*/ 10 h 320"/>
                <a:gd name="T18" fmla="*/ 74 w 149"/>
                <a:gd name="T19" fmla="*/ 34 h 320"/>
                <a:gd name="T20" fmla="*/ 53 w 149"/>
                <a:gd name="T21" fmla="*/ 31 h 320"/>
                <a:gd name="T22" fmla="*/ 53 w 149"/>
                <a:gd name="T23" fmla="*/ 10 h 320"/>
                <a:gd name="T24" fmla="*/ 42 w 149"/>
                <a:gd name="T25" fmla="*/ 0 h 320"/>
                <a:gd name="T26" fmla="*/ 32 w 149"/>
                <a:gd name="T27" fmla="*/ 10 h 320"/>
                <a:gd name="T28" fmla="*/ 32 w 149"/>
                <a:gd name="T29" fmla="*/ 30 h 320"/>
                <a:gd name="T30" fmla="*/ 9 w 149"/>
                <a:gd name="T31" fmla="*/ 31 h 320"/>
                <a:gd name="T32" fmla="*/ 0 w 149"/>
                <a:gd name="T33" fmla="*/ 42 h 320"/>
                <a:gd name="T34" fmla="*/ 0 w 149"/>
                <a:gd name="T35" fmla="*/ 277 h 320"/>
                <a:gd name="T36" fmla="*/ 9 w 149"/>
                <a:gd name="T37" fmla="*/ 288 h 320"/>
                <a:gd name="T38" fmla="*/ 32 w 149"/>
                <a:gd name="T39" fmla="*/ 289 h 320"/>
                <a:gd name="T40" fmla="*/ 32 w 149"/>
                <a:gd name="T41" fmla="*/ 309 h 320"/>
                <a:gd name="T42" fmla="*/ 42 w 149"/>
                <a:gd name="T43" fmla="*/ 320 h 320"/>
                <a:gd name="T44" fmla="*/ 53 w 149"/>
                <a:gd name="T45" fmla="*/ 309 h 320"/>
                <a:gd name="T46" fmla="*/ 53 w 149"/>
                <a:gd name="T47" fmla="*/ 288 h 320"/>
                <a:gd name="T48" fmla="*/ 74 w 149"/>
                <a:gd name="T49" fmla="*/ 286 h 320"/>
                <a:gd name="T50" fmla="*/ 74 w 149"/>
                <a:gd name="T51" fmla="*/ 309 h 320"/>
                <a:gd name="T52" fmla="*/ 85 w 149"/>
                <a:gd name="T53" fmla="*/ 320 h 320"/>
                <a:gd name="T54" fmla="*/ 96 w 149"/>
                <a:gd name="T55" fmla="*/ 309 h 320"/>
                <a:gd name="T56" fmla="*/ 96 w 149"/>
                <a:gd name="T57" fmla="*/ 281 h 320"/>
                <a:gd name="T58" fmla="*/ 130 w 149"/>
                <a:gd name="T59" fmla="*/ 263 h 320"/>
                <a:gd name="T60" fmla="*/ 149 w 149"/>
                <a:gd name="T61" fmla="*/ 219 h 320"/>
                <a:gd name="T62" fmla="*/ 132 w 149"/>
                <a:gd name="T63" fmla="*/ 179 h 320"/>
                <a:gd name="T64" fmla="*/ 21 w 149"/>
                <a:gd name="T65" fmla="*/ 52 h 320"/>
                <a:gd name="T66" fmla="*/ 108 w 149"/>
                <a:gd name="T67" fmla="*/ 70 h 320"/>
                <a:gd name="T68" fmla="*/ 119 w 149"/>
                <a:gd name="T69" fmla="*/ 97 h 320"/>
                <a:gd name="T70" fmla="*/ 107 w 149"/>
                <a:gd name="T71" fmla="*/ 127 h 320"/>
                <a:gd name="T72" fmla="*/ 33 w 149"/>
                <a:gd name="T73" fmla="*/ 149 h 320"/>
                <a:gd name="T74" fmla="*/ 21 w 149"/>
                <a:gd name="T75" fmla="*/ 149 h 320"/>
                <a:gd name="T76" fmla="*/ 21 w 149"/>
                <a:gd name="T77" fmla="*/ 52 h 320"/>
                <a:gd name="T78" fmla="*/ 115 w 149"/>
                <a:gd name="T79" fmla="*/ 247 h 320"/>
                <a:gd name="T80" fmla="*/ 21 w 149"/>
                <a:gd name="T81" fmla="*/ 268 h 320"/>
                <a:gd name="T82" fmla="*/ 21 w 149"/>
                <a:gd name="T83" fmla="*/ 171 h 320"/>
                <a:gd name="T84" fmla="*/ 33 w 149"/>
                <a:gd name="T85" fmla="*/ 171 h 320"/>
                <a:gd name="T86" fmla="*/ 117 w 149"/>
                <a:gd name="T87" fmla="*/ 195 h 320"/>
                <a:gd name="T88" fmla="*/ 128 w 149"/>
                <a:gd name="T89" fmla="*/ 219 h 320"/>
                <a:gd name="T90" fmla="*/ 115 w 149"/>
                <a:gd name="T91" fmla="*/ 2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9" h="320">
                  <a:moveTo>
                    <a:pt x="132" y="179"/>
                  </a:moveTo>
                  <a:cubicBezTo>
                    <a:pt x="122" y="170"/>
                    <a:pt x="109" y="164"/>
                    <a:pt x="95" y="159"/>
                  </a:cubicBezTo>
                  <a:cubicBezTo>
                    <a:pt x="105" y="155"/>
                    <a:pt x="114" y="150"/>
                    <a:pt x="121" y="143"/>
                  </a:cubicBezTo>
                  <a:cubicBezTo>
                    <a:pt x="134" y="131"/>
                    <a:pt x="141" y="115"/>
                    <a:pt x="141" y="97"/>
                  </a:cubicBezTo>
                  <a:cubicBezTo>
                    <a:pt x="141" y="80"/>
                    <a:pt x="134" y="65"/>
                    <a:pt x="122" y="54"/>
                  </a:cubicBezTo>
                  <a:cubicBezTo>
                    <a:pt x="114" y="47"/>
                    <a:pt x="105" y="43"/>
                    <a:pt x="96" y="39"/>
                  </a:cubicBezTo>
                  <a:cubicBezTo>
                    <a:pt x="96" y="10"/>
                    <a:pt x="96" y="10"/>
                    <a:pt x="96" y="10"/>
                  </a:cubicBezTo>
                  <a:cubicBezTo>
                    <a:pt x="96" y="4"/>
                    <a:pt x="91" y="0"/>
                    <a:pt x="85" y="0"/>
                  </a:cubicBezTo>
                  <a:cubicBezTo>
                    <a:pt x="79" y="0"/>
                    <a:pt x="74" y="4"/>
                    <a:pt x="74" y="10"/>
                  </a:cubicBezTo>
                  <a:cubicBezTo>
                    <a:pt x="74" y="34"/>
                    <a:pt x="74" y="34"/>
                    <a:pt x="74" y="34"/>
                  </a:cubicBezTo>
                  <a:cubicBezTo>
                    <a:pt x="67" y="32"/>
                    <a:pt x="60" y="31"/>
                    <a:pt x="53" y="31"/>
                  </a:cubicBezTo>
                  <a:cubicBezTo>
                    <a:pt x="53" y="10"/>
                    <a:pt x="53" y="10"/>
                    <a:pt x="53" y="10"/>
                  </a:cubicBezTo>
                  <a:cubicBezTo>
                    <a:pt x="53" y="4"/>
                    <a:pt x="48" y="0"/>
                    <a:pt x="42" y="0"/>
                  </a:cubicBezTo>
                  <a:cubicBezTo>
                    <a:pt x="36" y="0"/>
                    <a:pt x="32" y="4"/>
                    <a:pt x="32" y="10"/>
                  </a:cubicBezTo>
                  <a:cubicBezTo>
                    <a:pt x="32" y="30"/>
                    <a:pt x="32" y="30"/>
                    <a:pt x="32" y="30"/>
                  </a:cubicBezTo>
                  <a:cubicBezTo>
                    <a:pt x="19" y="30"/>
                    <a:pt x="10" y="31"/>
                    <a:pt x="9" y="31"/>
                  </a:cubicBezTo>
                  <a:cubicBezTo>
                    <a:pt x="4" y="32"/>
                    <a:pt x="0" y="37"/>
                    <a:pt x="0" y="42"/>
                  </a:cubicBezTo>
                  <a:cubicBezTo>
                    <a:pt x="0" y="277"/>
                    <a:pt x="0" y="277"/>
                    <a:pt x="0" y="277"/>
                  </a:cubicBezTo>
                  <a:cubicBezTo>
                    <a:pt x="0" y="283"/>
                    <a:pt x="4" y="287"/>
                    <a:pt x="9" y="288"/>
                  </a:cubicBezTo>
                  <a:cubicBezTo>
                    <a:pt x="10" y="288"/>
                    <a:pt x="19" y="289"/>
                    <a:pt x="32" y="289"/>
                  </a:cubicBezTo>
                  <a:cubicBezTo>
                    <a:pt x="32" y="309"/>
                    <a:pt x="32" y="309"/>
                    <a:pt x="32" y="309"/>
                  </a:cubicBezTo>
                  <a:cubicBezTo>
                    <a:pt x="32" y="315"/>
                    <a:pt x="36" y="320"/>
                    <a:pt x="42" y="320"/>
                  </a:cubicBezTo>
                  <a:cubicBezTo>
                    <a:pt x="48" y="320"/>
                    <a:pt x="53" y="315"/>
                    <a:pt x="53" y="309"/>
                  </a:cubicBezTo>
                  <a:cubicBezTo>
                    <a:pt x="53" y="288"/>
                    <a:pt x="53" y="288"/>
                    <a:pt x="53" y="288"/>
                  </a:cubicBezTo>
                  <a:cubicBezTo>
                    <a:pt x="60" y="288"/>
                    <a:pt x="67" y="287"/>
                    <a:pt x="74" y="286"/>
                  </a:cubicBezTo>
                  <a:cubicBezTo>
                    <a:pt x="74" y="309"/>
                    <a:pt x="74" y="309"/>
                    <a:pt x="74" y="309"/>
                  </a:cubicBezTo>
                  <a:cubicBezTo>
                    <a:pt x="74" y="315"/>
                    <a:pt x="79" y="320"/>
                    <a:pt x="85" y="320"/>
                  </a:cubicBezTo>
                  <a:cubicBezTo>
                    <a:pt x="91" y="320"/>
                    <a:pt x="96" y="315"/>
                    <a:pt x="96" y="309"/>
                  </a:cubicBezTo>
                  <a:cubicBezTo>
                    <a:pt x="96" y="281"/>
                    <a:pt x="96" y="281"/>
                    <a:pt x="96" y="281"/>
                  </a:cubicBezTo>
                  <a:cubicBezTo>
                    <a:pt x="108" y="277"/>
                    <a:pt x="120" y="271"/>
                    <a:pt x="130" y="263"/>
                  </a:cubicBezTo>
                  <a:cubicBezTo>
                    <a:pt x="142" y="251"/>
                    <a:pt x="149" y="237"/>
                    <a:pt x="149" y="219"/>
                  </a:cubicBezTo>
                  <a:cubicBezTo>
                    <a:pt x="149" y="203"/>
                    <a:pt x="143" y="190"/>
                    <a:pt x="132" y="179"/>
                  </a:cubicBezTo>
                  <a:close/>
                  <a:moveTo>
                    <a:pt x="21" y="52"/>
                  </a:moveTo>
                  <a:cubicBezTo>
                    <a:pt x="44" y="50"/>
                    <a:pt x="87" y="52"/>
                    <a:pt x="108" y="70"/>
                  </a:cubicBezTo>
                  <a:cubicBezTo>
                    <a:pt x="115" y="77"/>
                    <a:pt x="119" y="86"/>
                    <a:pt x="119" y="97"/>
                  </a:cubicBezTo>
                  <a:cubicBezTo>
                    <a:pt x="119" y="109"/>
                    <a:pt x="115" y="119"/>
                    <a:pt x="107" y="127"/>
                  </a:cubicBezTo>
                  <a:cubicBezTo>
                    <a:pt x="87" y="145"/>
                    <a:pt x="52" y="149"/>
                    <a:pt x="33" y="149"/>
                  </a:cubicBezTo>
                  <a:cubicBezTo>
                    <a:pt x="28" y="149"/>
                    <a:pt x="24" y="149"/>
                    <a:pt x="21" y="149"/>
                  </a:cubicBezTo>
                  <a:lnTo>
                    <a:pt x="21" y="52"/>
                  </a:lnTo>
                  <a:close/>
                  <a:moveTo>
                    <a:pt x="115" y="247"/>
                  </a:moveTo>
                  <a:cubicBezTo>
                    <a:pt x="92" y="268"/>
                    <a:pt x="42" y="269"/>
                    <a:pt x="21" y="268"/>
                  </a:cubicBezTo>
                  <a:cubicBezTo>
                    <a:pt x="21" y="171"/>
                    <a:pt x="21" y="171"/>
                    <a:pt x="21" y="171"/>
                  </a:cubicBezTo>
                  <a:cubicBezTo>
                    <a:pt x="23" y="171"/>
                    <a:pt x="27" y="171"/>
                    <a:pt x="33" y="171"/>
                  </a:cubicBezTo>
                  <a:cubicBezTo>
                    <a:pt x="61" y="172"/>
                    <a:pt x="99" y="178"/>
                    <a:pt x="117" y="195"/>
                  </a:cubicBezTo>
                  <a:cubicBezTo>
                    <a:pt x="124" y="202"/>
                    <a:pt x="128" y="209"/>
                    <a:pt x="128" y="219"/>
                  </a:cubicBezTo>
                  <a:cubicBezTo>
                    <a:pt x="128" y="230"/>
                    <a:pt x="124" y="240"/>
                    <a:pt x="115" y="247"/>
                  </a:cubicBezTo>
                  <a:close/>
                </a:path>
              </a:pathLst>
            </a:custGeom>
            <a:solidFill>
              <a:srgbClr val="041E4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5" name="Group 184"/>
          <p:cNvGrpSpPr/>
          <p:nvPr/>
        </p:nvGrpSpPr>
        <p:grpSpPr>
          <a:xfrm>
            <a:off x="6186210" y="3204082"/>
            <a:ext cx="338400" cy="338400"/>
            <a:chOff x="2414408" y="1765496"/>
            <a:chExt cx="338400" cy="338400"/>
          </a:xfrm>
        </p:grpSpPr>
        <p:sp>
          <p:nvSpPr>
            <p:cNvPr id="186" name="object 165"/>
            <p:cNvSpPr/>
            <p:nvPr/>
          </p:nvSpPr>
          <p:spPr>
            <a:xfrm>
              <a:off x="2501798" y="1808433"/>
              <a:ext cx="159265" cy="267272"/>
            </a:xfrm>
            <a:custGeom>
              <a:avLst/>
              <a:gdLst/>
              <a:ahLst/>
              <a:cxnLst/>
              <a:rect l="l" t="t" r="r" b="b"/>
              <a:pathLst>
                <a:path w="165735" h="278129">
                  <a:moveTo>
                    <a:pt x="138087" y="0"/>
                  </a:moveTo>
                  <a:lnTo>
                    <a:pt x="27266" y="0"/>
                  </a:lnTo>
                  <a:lnTo>
                    <a:pt x="21983" y="444"/>
                  </a:lnTo>
                  <a:lnTo>
                    <a:pt x="0" y="27330"/>
                  </a:lnTo>
                  <a:lnTo>
                    <a:pt x="0" y="251244"/>
                  </a:lnTo>
                  <a:lnTo>
                    <a:pt x="21983" y="278130"/>
                  </a:lnTo>
                  <a:lnTo>
                    <a:pt x="142925" y="278130"/>
                  </a:lnTo>
                  <a:lnTo>
                    <a:pt x="148196" y="276809"/>
                  </a:lnTo>
                  <a:lnTo>
                    <a:pt x="153479" y="273723"/>
                  </a:lnTo>
                  <a:lnTo>
                    <a:pt x="156997" y="270637"/>
                  </a:lnTo>
                  <a:lnTo>
                    <a:pt x="157785" y="269760"/>
                  </a:lnTo>
                  <a:lnTo>
                    <a:pt x="80035" y="269760"/>
                  </a:lnTo>
                  <a:lnTo>
                    <a:pt x="77838" y="269316"/>
                  </a:lnTo>
                  <a:lnTo>
                    <a:pt x="75641" y="267550"/>
                  </a:lnTo>
                  <a:lnTo>
                    <a:pt x="73444" y="266230"/>
                  </a:lnTo>
                  <a:lnTo>
                    <a:pt x="71678" y="264020"/>
                  </a:lnTo>
                  <a:lnTo>
                    <a:pt x="70357" y="261823"/>
                  </a:lnTo>
                  <a:lnTo>
                    <a:pt x="69481" y="259613"/>
                  </a:lnTo>
                  <a:lnTo>
                    <a:pt x="69481" y="254330"/>
                  </a:lnTo>
                  <a:lnTo>
                    <a:pt x="70357" y="251244"/>
                  </a:lnTo>
                  <a:lnTo>
                    <a:pt x="71678" y="249034"/>
                  </a:lnTo>
                  <a:lnTo>
                    <a:pt x="73444" y="247713"/>
                  </a:lnTo>
                  <a:lnTo>
                    <a:pt x="75641" y="245948"/>
                  </a:lnTo>
                  <a:lnTo>
                    <a:pt x="77838" y="244627"/>
                  </a:lnTo>
                  <a:lnTo>
                    <a:pt x="80035" y="243751"/>
                  </a:lnTo>
                  <a:lnTo>
                    <a:pt x="165353" y="243751"/>
                  </a:lnTo>
                  <a:lnTo>
                    <a:pt x="165353" y="234048"/>
                  </a:lnTo>
                  <a:lnTo>
                    <a:pt x="13195" y="234048"/>
                  </a:lnTo>
                  <a:lnTo>
                    <a:pt x="13195" y="29527"/>
                  </a:lnTo>
                  <a:lnTo>
                    <a:pt x="165353" y="29527"/>
                  </a:lnTo>
                  <a:lnTo>
                    <a:pt x="165353" y="27330"/>
                  </a:lnTo>
                  <a:lnTo>
                    <a:pt x="164477" y="22034"/>
                  </a:lnTo>
                  <a:lnTo>
                    <a:pt x="164147" y="20713"/>
                  </a:lnTo>
                  <a:lnTo>
                    <a:pt x="64211" y="20713"/>
                  </a:lnTo>
                  <a:lnTo>
                    <a:pt x="62890" y="19837"/>
                  </a:lnTo>
                  <a:lnTo>
                    <a:pt x="60693" y="19392"/>
                  </a:lnTo>
                  <a:lnTo>
                    <a:pt x="59372" y="15430"/>
                  </a:lnTo>
                  <a:lnTo>
                    <a:pt x="59804" y="13220"/>
                  </a:lnTo>
                  <a:lnTo>
                    <a:pt x="60693" y="11899"/>
                  </a:lnTo>
                  <a:lnTo>
                    <a:pt x="62890" y="10134"/>
                  </a:lnTo>
                  <a:lnTo>
                    <a:pt x="159197" y="10134"/>
                  </a:lnTo>
                  <a:lnTo>
                    <a:pt x="153479" y="4406"/>
                  </a:lnTo>
                  <a:lnTo>
                    <a:pt x="148196" y="2209"/>
                  </a:lnTo>
                  <a:lnTo>
                    <a:pt x="142925" y="444"/>
                  </a:lnTo>
                  <a:lnTo>
                    <a:pt x="138087" y="0"/>
                  </a:lnTo>
                  <a:close/>
                </a:path>
                <a:path w="165735" h="278129">
                  <a:moveTo>
                    <a:pt x="165353" y="243751"/>
                  </a:moveTo>
                  <a:lnTo>
                    <a:pt x="85318" y="243751"/>
                  </a:lnTo>
                  <a:lnTo>
                    <a:pt x="87947" y="244627"/>
                  </a:lnTo>
                  <a:lnTo>
                    <a:pt x="90157" y="245948"/>
                  </a:lnTo>
                  <a:lnTo>
                    <a:pt x="91909" y="247713"/>
                  </a:lnTo>
                  <a:lnTo>
                    <a:pt x="94106" y="249034"/>
                  </a:lnTo>
                  <a:lnTo>
                    <a:pt x="94995" y="251244"/>
                  </a:lnTo>
                  <a:lnTo>
                    <a:pt x="95427" y="254330"/>
                  </a:lnTo>
                  <a:lnTo>
                    <a:pt x="96304" y="256527"/>
                  </a:lnTo>
                  <a:lnTo>
                    <a:pt x="95427" y="259613"/>
                  </a:lnTo>
                  <a:lnTo>
                    <a:pt x="94995" y="261823"/>
                  </a:lnTo>
                  <a:lnTo>
                    <a:pt x="94106" y="264020"/>
                  </a:lnTo>
                  <a:lnTo>
                    <a:pt x="91909" y="266230"/>
                  </a:lnTo>
                  <a:lnTo>
                    <a:pt x="90157" y="267550"/>
                  </a:lnTo>
                  <a:lnTo>
                    <a:pt x="87947" y="269316"/>
                  </a:lnTo>
                  <a:lnTo>
                    <a:pt x="85318" y="269760"/>
                  </a:lnTo>
                  <a:lnTo>
                    <a:pt x="157785" y="269760"/>
                  </a:lnTo>
                  <a:lnTo>
                    <a:pt x="160959" y="266230"/>
                  </a:lnTo>
                  <a:lnTo>
                    <a:pt x="163156" y="261823"/>
                  </a:lnTo>
                  <a:lnTo>
                    <a:pt x="164477" y="256527"/>
                  </a:lnTo>
                  <a:lnTo>
                    <a:pt x="165353" y="251244"/>
                  </a:lnTo>
                  <a:lnTo>
                    <a:pt x="165353" y="243751"/>
                  </a:lnTo>
                  <a:close/>
                </a:path>
                <a:path w="165735" h="278129">
                  <a:moveTo>
                    <a:pt x="165353" y="29527"/>
                  </a:moveTo>
                  <a:lnTo>
                    <a:pt x="152158" y="29527"/>
                  </a:lnTo>
                  <a:lnTo>
                    <a:pt x="152158" y="234048"/>
                  </a:lnTo>
                  <a:lnTo>
                    <a:pt x="165353" y="234048"/>
                  </a:lnTo>
                  <a:lnTo>
                    <a:pt x="165353" y="29527"/>
                  </a:lnTo>
                  <a:close/>
                </a:path>
                <a:path w="165735" h="278129">
                  <a:moveTo>
                    <a:pt x="83121" y="72732"/>
                  </a:moveTo>
                  <a:lnTo>
                    <a:pt x="76085" y="73609"/>
                  </a:lnTo>
                  <a:lnTo>
                    <a:pt x="70357" y="74053"/>
                  </a:lnTo>
                  <a:lnTo>
                    <a:pt x="65087" y="75819"/>
                  </a:lnTo>
                  <a:lnTo>
                    <a:pt x="59372" y="77139"/>
                  </a:lnTo>
                  <a:lnTo>
                    <a:pt x="54089" y="80225"/>
                  </a:lnTo>
                  <a:lnTo>
                    <a:pt x="49695" y="83312"/>
                  </a:lnTo>
                  <a:lnTo>
                    <a:pt x="45300" y="85953"/>
                  </a:lnTo>
                  <a:lnTo>
                    <a:pt x="40462" y="89916"/>
                  </a:lnTo>
                  <a:lnTo>
                    <a:pt x="36944" y="94322"/>
                  </a:lnTo>
                  <a:lnTo>
                    <a:pt x="32981" y="98729"/>
                  </a:lnTo>
                  <a:lnTo>
                    <a:pt x="30340" y="104025"/>
                  </a:lnTo>
                  <a:lnTo>
                    <a:pt x="25946" y="114604"/>
                  </a:lnTo>
                  <a:lnTo>
                    <a:pt x="24180" y="120332"/>
                  </a:lnTo>
                  <a:lnTo>
                    <a:pt x="23748" y="126504"/>
                  </a:lnTo>
                  <a:lnTo>
                    <a:pt x="22872" y="132232"/>
                  </a:lnTo>
                  <a:lnTo>
                    <a:pt x="23748" y="138404"/>
                  </a:lnTo>
                  <a:lnTo>
                    <a:pt x="24180" y="144132"/>
                  </a:lnTo>
                  <a:lnTo>
                    <a:pt x="25946" y="149428"/>
                  </a:lnTo>
                  <a:lnTo>
                    <a:pt x="28143" y="155155"/>
                  </a:lnTo>
                  <a:lnTo>
                    <a:pt x="30340" y="160439"/>
                  </a:lnTo>
                  <a:lnTo>
                    <a:pt x="32981" y="164846"/>
                  </a:lnTo>
                  <a:lnTo>
                    <a:pt x="36944" y="169697"/>
                  </a:lnTo>
                  <a:lnTo>
                    <a:pt x="40462" y="174104"/>
                  </a:lnTo>
                  <a:lnTo>
                    <a:pt x="45300" y="177634"/>
                  </a:lnTo>
                  <a:lnTo>
                    <a:pt x="49695" y="181597"/>
                  </a:lnTo>
                  <a:lnTo>
                    <a:pt x="54089" y="184238"/>
                  </a:lnTo>
                  <a:lnTo>
                    <a:pt x="59372" y="186448"/>
                  </a:lnTo>
                  <a:lnTo>
                    <a:pt x="65087" y="188658"/>
                  </a:lnTo>
                  <a:lnTo>
                    <a:pt x="70357" y="190411"/>
                  </a:lnTo>
                  <a:lnTo>
                    <a:pt x="76085" y="190855"/>
                  </a:lnTo>
                  <a:lnTo>
                    <a:pt x="88836" y="190855"/>
                  </a:lnTo>
                  <a:lnTo>
                    <a:pt x="128854" y="169697"/>
                  </a:lnTo>
                  <a:lnTo>
                    <a:pt x="131364" y="165735"/>
                  </a:lnTo>
                  <a:lnTo>
                    <a:pt x="89712" y="165735"/>
                  </a:lnTo>
                  <a:lnTo>
                    <a:pt x="83553" y="164846"/>
                  </a:lnTo>
                  <a:lnTo>
                    <a:pt x="79159" y="163525"/>
                  </a:lnTo>
                  <a:lnTo>
                    <a:pt x="73875" y="162204"/>
                  </a:lnTo>
                  <a:lnTo>
                    <a:pt x="70357" y="159118"/>
                  </a:lnTo>
                  <a:lnTo>
                    <a:pt x="66408" y="155155"/>
                  </a:lnTo>
                  <a:lnTo>
                    <a:pt x="64211" y="151625"/>
                  </a:lnTo>
                  <a:lnTo>
                    <a:pt x="62001" y="147218"/>
                  </a:lnTo>
                  <a:lnTo>
                    <a:pt x="60693" y="141046"/>
                  </a:lnTo>
                  <a:lnTo>
                    <a:pt x="51892" y="141046"/>
                  </a:lnTo>
                  <a:lnTo>
                    <a:pt x="53212" y="135318"/>
                  </a:lnTo>
                  <a:lnTo>
                    <a:pt x="59372" y="135318"/>
                  </a:lnTo>
                  <a:lnTo>
                    <a:pt x="59372" y="128701"/>
                  </a:lnTo>
                  <a:lnTo>
                    <a:pt x="51892" y="128701"/>
                  </a:lnTo>
                  <a:lnTo>
                    <a:pt x="53212" y="122529"/>
                  </a:lnTo>
                  <a:lnTo>
                    <a:pt x="60693" y="122529"/>
                  </a:lnTo>
                  <a:lnTo>
                    <a:pt x="62001" y="117246"/>
                  </a:lnTo>
                  <a:lnTo>
                    <a:pt x="64211" y="112839"/>
                  </a:lnTo>
                  <a:lnTo>
                    <a:pt x="67284" y="109308"/>
                  </a:lnTo>
                  <a:lnTo>
                    <a:pt x="70357" y="105346"/>
                  </a:lnTo>
                  <a:lnTo>
                    <a:pt x="74764" y="102704"/>
                  </a:lnTo>
                  <a:lnTo>
                    <a:pt x="79159" y="100495"/>
                  </a:lnTo>
                  <a:lnTo>
                    <a:pt x="89712" y="98729"/>
                  </a:lnTo>
                  <a:lnTo>
                    <a:pt x="131927" y="98729"/>
                  </a:lnTo>
                  <a:lnTo>
                    <a:pt x="128854" y="94322"/>
                  </a:lnTo>
                  <a:lnTo>
                    <a:pt x="124459" y="89916"/>
                  </a:lnTo>
                  <a:lnTo>
                    <a:pt x="120942" y="85953"/>
                  </a:lnTo>
                  <a:lnTo>
                    <a:pt x="116535" y="83312"/>
                  </a:lnTo>
                  <a:lnTo>
                    <a:pt x="105981" y="77139"/>
                  </a:lnTo>
                  <a:lnTo>
                    <a:pt x="99821" y="75819"/>
                  </a:lnTo>
                  <a:lnTo>
                    <a:pt x="94995" y="74053"/>
                  </a:lnTo>
                  <a:lnTo>
                    <a:pt x="88836" y="73609"/>
                  </a:lnTo>
                  <a:lnTo>
                    <a:pt x="83121" y="72732"/>
                  </a:lnTo>
                  <a:close/>
                </a:path>
                <a:path w="165735" h="278129">
                  <a:moveTo>
                    <a:pt x="138596" y="152946"/>
                  </a:moveTo>
                  <a:lnTo>
                    <a:pt x="100710" y="152946"/>
                  </a:lnTo>
                  <a:lnTo>
                    <a:pt x="101587" y="163525"/>
                  </a:lnTo>
                  <a:lnTo>
                    <a:pt x="98513" y="164414"/>
                  </a:lnTo>
                  <a:lnTo>
                    <a:pt x="95427" y="164846"/>
                  </a:lnTo>
                  <a:lnTo>
                    <a:pt x="89712" y="165735"/>
                  </a:lnTo>
                  <a:lnTo>
                    <a:pt x="131364" y="165735"/>
                  </a:lnTo>
                  <a:lnTo>
                    <a:pt x="131927" y="164846"/>
                  </a:lnTo>
                  <a:lnTo>
                    <a:pt x="135013" y="160439"/>
                  </a:lnTo>
                  <a:lnTo>
                    <a:pt x="138087" y="155155"/>
                  </a:lnTo>
                  <a:lnTo>
                    <a:pt x="138596" y="152946"/>
                  </a:lnTo>
                  <a:close/>
                </a:path>
                <a:path w="165735" h="278129">
                  <a:moveTo>
                    <a:pt x="91909" y="109308"/>
                  </a:moveTo>
                  <a:lnTo>
                    <a:pt x="88836" y="109308"/>
                  </a:lnTo>
                  <a:lnTo>
                    <a:pt x="85750" y="109753"/>
                  </a:lnTo>
                  <a:lnTo>
                    <a:pt x="83553" y="111518"/>
                  </a:lnTo>
                  <a:lnTo>
                    <a:pt x="81356" y="112839"/>
                  </a:lnTo>
                  <a:lnTo>
                    <a:pt x="77838" y="117246"/>
                  </a:lnTo>
                  <a:lnTo>
                    <a:pt x="75641" y="122529"/>
                  </a:lnTo>
                  <a:lnTo>
                    <a:pt x="98513" y="122529"/>
                  </a:lnTo>
                  <a:lnTo>
                    <a:pt x="97193" y="128701"/>
                  </a:lnTo>
                  <a:lnTo>
                    <a:pt x="73875" y="128701"/>
                  </a:lnTo>
                  <a:lnTo>
                    <a:pt x="73444" y="132232"/>
                  </a:lnTo>
                  <a:lnTo>
                    <a:pt x="73875" y="135318"/>
                  </a:lnTo>
                  <a:lnTo>
                    <a:pt x="95427" y="135318"/>
                  </a:lnTo>
                  <a:lnTo>
                    <a:pt x="94106" y="141046"/>
                  </a:lnTo>
                  <a:lnTo>
                    <a:pt x="74764" y="141046"/>
                  </a:lnTo>
                  <a:lnTo>
                    <a:pt x="77838" y="147218"/>
                  </a:lnTo>
                  <a:lnTo>
                    <a:pt x="79159" y="149428"/>
                  </a:lnTo>
                  <a:lnTo>
                    <a:pt x="80911" y="150749"/>
                  </a:lnTo>
                  <a:lnTo>
                    <a:pt x="83121" y="152514"/>
                  </a:lnTo>
                  <a:lnTo>
                    <a:pt x="85750" y="153835"/>
                  </a:lnTo>
                  <a:lnTo>
                    <a:pt x="87947" y="154711"/>
                  </a:lnTo>
                  <a:lnTo>
                    <a:pt x="96304" y="154711"/>
                  </a:lnTo>
                  <a:lnTo>
                    <a:pt x="100710" y="152946"/>
                  </a:lnTo>
                  <a:lnTo>
                    <a:pt x="138596" y="152946"/>
                  </a:lnTo>
                  <a:lnTo>
                    <a:pt x="139407" y="149428"/>
                  </a:lnTo>
                  <a:lnTo>
                    <a:pt x="140728" y="144132"/>
                  </a:lnTo>
                  <a:lnTo>
                    <a:pt x="141604" y="138404"/>
                  </a:lnTo>
                  <a:lnTo>
                    <a:pt x="142481" y="132232"/>
                  </a:lnTo>
                  <a:lnTo>
                    <a:pt x="141604" y="126504"/>
                  </a:lnTo>
                  <a:lnTo>
                    <a:pt x="140728" y="120332"/>
                  </a:lnTo>
                  <a:lnTo>
                    <a:pt x="139407" y="114604"/>
                  </a:lnTo>
                  <a:lnTo>
                    <a:pt x="138416" y="110629"/>
                  </a:lnTo>
                  <a:lnTo>
                    <a:pt x="100710" y="110629"/>
                  </a:lnTo>
                  <a:lnTo>
                    <a:pt x="96304" y="109753"/>
                  </a:lnTo>
                  <a:lnTo>
                    <a:pt x="91909" y="109308"/>
                  </a:lnTo>
                  <a:close/>
                </a:path>
                <a:path w="165735" h="278129">
                  <a:moveTo>
                    <a:pt x="131927" y="98729"/>
                  </a:moveTo>
                  <a:lnTo>
                    <a:pt x="89712" y="98729"/>
                  </a:lnTo>
                  <a:lnTo>
                    <a:pt x="96304" y="99618"/>
                  </a:lnTo>
                  <a:lnTo>
                    <a:pt x="103784" y="100939"/>
                  </a:lnTo>
                  <a:lnTo>
                    <a:pt x="100710" y="110629"/>
                  </a:lnTo>
                  <a:lnTo>
                    <a:pt x="138416" y="110629"/>
                  </a:lnTo>
                  <a:lnTo>
                    <a:pt x="138087" y="109308"/>
                  </a:lnTo>
                  <a:lnTo>
                    <a:pt x="131927" y="98729"/>
                  </a:lnTo>
                  <a:close/>
                </a:path>
                <a:path w="165735" h="278129">
                  <a:moveTo>
                    <a:pt x="159197" y="10134"/>
                  </a:moveTo>
                  <a:lnTo>
                    <a:pt x="102908" y="10134"/>
                  </a:lnTo>
                  <a:lnTo>
                    <a:pt x="104660" y="11899"/>
                  </a:lnTo>
                  <a:lnTo>
                    <a:pt x="105105" y="13220"/>
                  </a:lnTo>
                  <a:lnTo>
                    <a:pt x="105981" y="15430"/>
                  </a:lnTo>
                  <a:lnTo>
                    <a:pt x="105105" y="16751"/>
                  </a:lnTo>
                  <a:lnTo>
                    <a:pt x="104660" y="19392"/>
                  </a:lnTo>
                  <a:lnTo>
                    <a:pt x="102908" y="19837"/>
                  </a:lnTo>
                  <a:lnTo>
                    <a:pt x="100710" y="20713"/>
                  </a:lnTo>
                  <a:lnTo>
                    <a:pt x="164147" y="20713"/>
                  </a:lnTo>
                  <a:lnTo>
                    <a:pt x="163156" y="16751"/>
                  </a:lnTo>
                  <a:lnTo>
                    <a:pt x="160959" y="11899"/>
                  </a:lnTo>
                  <a:lnTo>
                    <a:pt x="159197" y="10134"/>
                  </a:lnTo>
                  <a:close/>
                </a:path>
              </a:pathLst>
            </a:custGeom>
            <a:solidFill>
              <a:srgbClr val="041E42"/>
            </a:solidFill>
          </p:spPr>
          <p:txBody>
            <a:bodyPr wrap="square" lIns="0" tIns="0" rIns="0" bIns="0" rtlCol="0"/>
            <a:lstStyle/>
            <a:p>
              <a:endParaRPr>
                <a:solidFill>
                  <a:prstClr val="black"/>
                </a:solidFill>
                <a:latin typeface="+mj-lt"/>
              </a:endParaRPr>
            </a:p>
          </p:txBody>
        </p:sp>
        <p:sp>
          <p:nvSpPr>
            <p:cNvPr id="187" name="Oval 186"/>
            <p:cNvSpPr/>
            <p:nvPr/>
          </p:nvSpPr>
          <p:spPr bwMode="gray">
            <a:xfrm>
              <a:off x="2414408" y="1765496"/>
              <a:ext cx="338400" cy="338400"/>
            </a:xfrm>
            <a:prstGeom prst="ellipse">
              <a:avLst/>
            </a:prstGeom>
            <a:noFill/>
            <a:ln w="9525" algn="ctr">
              <a:solidFill>
                <a:srgbClr val="041E4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grpSp>
      <p:grpSp>
        <p:nvGrpSpPr>
          <p:cNvPr id="188" name="Group 187"/>
          <p:cNvGrpSpPr/>
          <p:nvPr/>
        </p:nvGrpSpPr>
        <p:grpSpPr>
          <a:xfrm>
            <a:off x="6191233" y="2518857"/>
            <a:ext cx="338400" cy="338400"/>
            <a:chOff x="-67779" y="1544928"/>
            <a:chExt cx="338400" cy="338400"/>
          </a:xfrm>
        </p:grpSpPr>
        <p:sp>
          <p:nvSpPr>
            <p:cNvPr id="189" name="object 19"/>
            <p:cNvSpPr/>
            <p:nvPr/>
          </p:nvSpPr>
          <p:spPr>
            <a:xfrm>
              <a:off x="-67779" y="1544928"/>
              <a:ext cx="338400" cy="338400"/>
            </a:xfrm>
            <a:custGeom>
              <a:avLst/>
              <a:gdLst/>
              <a:ahLst/>
              <a:cxnLst/>
              <a:rect l="l" t="t" r="r" b="b"/>
              <a:pathLst>
                <a:path w="999489" h="999489">
                  <a:moveTo>
                    <a:pt x="499745" y="0"/>
                  </a:moveTo>
                  <a:lnTo>
                    <a:pt x="451617" y="2287"/>
                  </a:lnTo>
                  <a:lnTo>
                    <a:pt x="404783" y="9011"/>
                  </a:lnTo>
                  <a:lnTo>
                    <a:pt x="359453" y="19961"/>
                  </a:lnTo>
                  <a:lnTo>
                    <a:pt x="315835" y="34928"/>
                  </a:lnTo>
                  <a:lnTo>
                    <a:pt x="274141" y="53702"/>
                  </a:lnTo>
                  <a:lnTo>
                    <a:pt x="234578" y="76075"/>
                  </a:lnTo>
                  <a:lnTo>
                    <a:pt x="197357" y="101836"/>
                  </a:lnTo>
                  <a:lnTo>
                    <a:pt x="162687" y="130776"/>
                  </a:lnTo>
                  <a:lnTo>
                    <a:pt x="130776" y="162687"/>
                  </a:lnTo>
                  <a:lnTo>
                    <a:pt x="101836" y="197357"/>
                  </a:lnTo>
                  <a:lnTo>
                    <a:pt x="76075" y="234578"/>
                  </a:lnTo>
                  <a:lnTo>
                    <a:pt x="53702" y="274141"/>
                  </a:lnTo>
                  <a:lnTo>
                    <a:pt x="34928" y="315835"/>
                  </a:lnTo>
                  <a:lnTo>
                    <a:pt x="19961" y="359453"/>
                  </a:lnTo>
                  <a:lnTo>
                    <a:pt x="9011" y="404783"/>
                  </a:lnTo>
                  <a:lnTo>
                    <a:pt x="2287" y="451617"/>
                  </a:lnTo>
                  <a:lnTo>
                    <a:pt x="0" y="499744"/>
                  </a:lnTo>
                  <a:lnTo>
                    <a:pt x="2287" y="547872"/>
                  </a:lnTo>
                  <a:lnTo>
                    <a:pt x="9011" y="594706"/>
                  </a:lnTo>
                  <a:lnTo>
                    <a:pt x="19961" y="640036"/>
                  </a:lnTo>
                  <a:lnTo>
                    <a:pt x="34928" y="683654"/>
                  </a:lnTo>
                  <a:lnTo>
                    <a:pt x="53702" y="725348"/>
                  </a:lnTo>
                  <a:lnTo>
                    <a:pt x="76075" y="764911"/>
                  </a:lnTo>
                  <a:lnTo>
                    <a:pt x="101836" y="802132"/>
                  </a:lnTo>
                  <a:lnTo>
                    <a:pt x="130776" y="836802"/>
                  </a:lnTo>
                  <a:lnTo>
                    <a:pt x="162687" y="868713"/>
                  </a:lnTo>
                  <a:lnTo>
                    <a:pt x="197357" y="897653"/>
                  </a:lnTo>
                  <a:lnTo>
                    <a:pt x="234578" y="923414"/>
                  </a:lnTo>
                  <a:lnTo>
                    <a:pt x="274141" y="945787"/>
                  </a:lnTo>
                  <a:lnTo>
                    <a:pt x="315835" y="964561"/>
                  </a:lnTo>
                  <a:lnTo>
                    <a:pt x="359453" y="979528"/>
                  </a:lnTo>
                  <a:lnTo>
                    <a:pt x="404783" y="990478"/>
                  </a:lnTo>
                  <a:lnTo>
                    <a:pt x="451617" y="997202"/>
                  </a:lnTo>
                  <a:lnTo>
                    <a:pt x="499745" y="999489"/>
                  </a:lnTo>
                  <a:lnTo>
                    <a:pt x="547872" y="997202"/>
                  </a:lnTo>
                  <a:lnTo>
                    <a:pt x="594706" y="990478"/>
                  </a:lnTo>
                  <a:lnTo>
                    <a:pt x="640036" y="979528"/>
                  </a:lnTo>
                  <a:lnTo>
                    <a:pt x="683654" y="964561"/>
                  </a:lnTo>
                  <a:lnTo>
                    <a:pt x="725348" y="945787"/>
                  </a:lnTo>
                  <a:lnTo>
                    <a:pt x="764911" y="923414"/>
                  </a:lnTo>
                  <a:lnTo>
                    <a:pt x="802132" y="897653"/>
                  </a:lnTo>
                  <a:lnTo>
                    <a:pt x="836802" y="868713"/>
                  </a:lnTo>
                  <a:lnTo>
                    <a:pt x="868713" y="836802"/>
                  </a:lnTo>
                  <a:lnTo>
                    <a:pt x="897653" y="802132"/>
                  </a:lnTo>
                  <a:lnTo>
                    <a:pt x="923414" y="764911"/>
                  </a:lnTo>
                  <a:lnTo>
                    <a:pt x="945787" y="725348"/>
                  </a:lnTo>
                  <a:lnTo>
                    <a:pt x="964561" y="683654"/>
                  </a:lnTo>
                  <a:lnTo>
                    <a:pt x="979528" y="640036"/>
                  </a:lnTo>
                  <a:lnTo>
                    <a:pt x="990478" y="594706"/>
                  </a:lnTo>
                  <a:lnTo>
                    <a:pt x="997202" y="547872"/>
                  </a:lnTo>
                  <a:lnTo>
                    <a:pt x="999490" y="499744"/>
                  </a:lnTo>
                  <a:lnTo>
                    <a:pt x="997202" y="451617"/>
                  </a:lnTo>
                  <a:lnTo>
                    <a:pt x="990478" y="404783"/>
                  </a:lnTo>
                  <a:lnTo>
                    <a:pt x="979528" y="359453"/>
                  </a:lnTo>
                  <a:lnTo>
                    <a:pt x="964561" y="315835"/>
                  </a:lnTo>
                  <a:lnTo>
                    <a:pt x="945787" y="274141"/>
                  </a:lnTo>
                  <a:lnTo>
                    <a:pt x="923414" y="234578"/>
                  </a:lnTo>
                  <a:lnTo>
                    <a:pt x="897653" y="197357"/>
                  </a:lnTo>
                  <a:lnTo>
                    <a:pt x="868713" y="162687"/>
                  </a:lnTo>
                  <a:lnTo>
                    <a:pt x="836802" y="130776"/>
                  </a:lnTo>
                  <a:lnTo>
                    <a:pt x="802132" y="101836"/>
                  </a:lnTo>
                  <a:lnTo>
                    <a:pt x="764911" y="76075"/>
                  </a:lnTo>
                  <a:lnTo>
                    <a:pt x="725348" y="53702"/>
                  </a:lnTo>
                  <a:lnTo>
                    <a:pt x="683654" y="34928"/>
                  </a:lnTo>
                  <a:lnTo>
                    <a:pt x="640036" y="19961"/>
                  </a:lnTo>
                  <a:lnTo>
                    <a:pt x="594706" y="9011"/>
                  </a:lnTo>
                  <a:lnTo>
                    <a:pt x="547872" y="2287"/>
                  </a:lnTo>
                  <a:lnTo>
                    <a:pt x="499745" y="0"/>
                  </a:lnTo>
                  <a:close/>
                </a:path>
              </a:pathLst>
            </a:custGeom>
            <a:noFill/>
            <a:ln>
              <a:solidFill>
                <a:srgbClr val="041E42"/>
              </a:solidFill>
            </a:ln>
          </p:spPr>
          <p:txBody>
            <a:bodyPr wrap="square" lIns="0" tIns="0" rIns="0" bIns="0" rtlCol="0"/>
            <a:lstStyle/>
            <a:p>
              <a:endParaRPr sz="1600">
                <a:latin typeface="+mj-lt"/>
              </a:endParaRPr>
            </a:p>
          </p:txBody>
        </p:sp>
        <p:sp>
          <p:nvSpPr>
            <p:cNvPr id="190" name="Freeform 548"/>
            <p:cNvSpPr>
              <a:spLocks noEditPoints="1"/>
            </p:cNvSpPr>
            <p:nvPr/>
          </p:nvSpPr>
          <p:spPr bwMode="auto">
            <a:xfrm>
              <a:off x="56891" y="1599404"/>
              <a:ext cx="107148" cy="229448"/>
            </a:xfrm>
            <a:custGeom>
              <a:avLst/>
              <a:gdLst>
                <a:gd name="T0" fmla="*/ 132 w 149"/>
                <a:gd name="T1" fmla="*/ 179 h 320"/>
                <a:gd name="T2" fmla="*/ 95 w 149"/>
                <a:gd name="T3" fmla="*/ 159 h 320"/>
                <a:gd name="T4" fmla="*/ 121 w 149"/>
                <a:gd name="T5" fmla="*/ 143 h 320"/>
                <a:gd name="T6" fmla="*/ 141 w 149"/>
                <a:gd name="T7" fmla="*/ 97 h 320"/>
                <a:gd name="T8" fmla="*/ 122 w 149"/>
                <a:gd name="T9" fmla="*/ 54 h 320"/>
                <a:gd name="T10" fmla="*/ 96 w 149"/>
                <a:gd name="T11" fmla="*/ 39 h 320"/>
                <a:gd name="T12" fmla="*/ 96 w 149"/>
                <a:gd name="T13" fmla="*/ 10 h 320"/>
                <a:gd name="T14" fmla="*/ 85 w 149"/>
                <a:gd name="T15" fmla="*/ 0 h 320"/>
                <a:gd name="T16" fmla="*/ 74 w 149"/>
                <a:gd name="T17" fmla="*/ 10 h 320"/>
                <a:gd name="T18" fmla="*/ 74 w 149"/>
                <a:gd name="T19" fmla="*/ 34 h 320"/>
                <a:gd name="T20" fmla="*/ 53 w 149"/>
                <a:gd name="T21" fmla="*/ 31 h 320"/>
                <a:gd name="T22" fmla="*/ 53 w 149"/>
                <a:gd name="T23" fmla="*/ 10 h 320"/>
                <a:gd name="T24" fmla="*/ 42 w 149"/>
                <a:gd name="T25" fmla="*/ 0 h 320"/>
                <a:gd name="T26" fmla="*/ 32 w 149"/>
                <a:gd name="T27" fmla="*/ 10 h 320"/>
                <a:gd name="T28" fmla="*/ 32 w 149"/>
                <a:gd name="T29" fmla="*/ 30 h 320"/>
                <a:gd name="T30" fmla="*/ 9 w 149"/>
                <a:gd name="T31" fmla="*/ 31 h 320"/>
                <a:gd name="T32" fmla="*/ 0 w 149"/>
                <a:gd name="T33" fmla="*/ 42 h 320"/>
                <a:gd name="T34" fmla="*/ 0 w 149"/>
                <a:gd name="T35" fmla="*/ 277 h 320"/>
                <a:gd name="T36" fmla="*/ 9 w 149"/>
                <a:gd name="T37" fmla="*/ 288 h 320"/>
                <a:gd name="T38" fmla="*/ 32 w 149"/>
                <a:gd name="T39" fmla="*/ 289 h 320"/>
                <a:gd name="T40" fmla="*/ 32 w 149"/>
                <a:gd name="T41" fmla="*/ 309 h 320"/>
                <a:gd name="T42" fmla="*/ 42 w 149"/>
                <a:gd name="T43" fmla="*/ 320 h 320"/>
                <a:gd name="T44" fmla="*/ 53 w 149"/>
                <a:gd name="T45" fmla="*/ 309 h 320"/>
                <a:gd name="T46" fmla="*/ 53 w 149"/>
                <a:gd name="T47" fmla="*/ 288 h 320"/>
                <a:gd name="T48" fmla="*/ 74 w 149"/>
                <a:gd name="T49" fmla="*/ 286 h 320"/>
                <a:gd name="T50" fmla="*/ 74 w 149"/>
                <a:gd name="T51" fmla="*/ 309 h 320"/>
                <a:gd name="T52" fmla="*/ 85 w 149"/>
                <a:gd name="T53" fmla="*/ 320 h 320"/>
                <a:gd name="T54" fmla="*/ 96 w 149"/>
                <a:gd name="T55" fmla="*/ 309 h 320"/>
                <a:gd name="T56" fmla="*/ 96 w 149"/>
                <a:gd name="T57" fmla="*/ 281 h 320"/>
                <a:gd name="T58" fmla="*/ 130 w 149"/>
                <a:gd name="T59" fmla="*/ 263 h 320"/>
                <a:gd name="T60" fmla="*/ 149 w 149"/>
                <a:gd name="T61" fmla="*/ 219 h 320"/>
                <a:gd name="T62" fmla="*/ 132 w 149"/>
                <a:gd name="T63" fmla="*/ 179 h 320"/>
                <a:gd name="T64" fmla="*/ 21 w 149"/>
                <a:gd name="T65" fmla="*/ 52 h 320"/>
                <a:gd name="T66" fmla="*/ 108 w 149"/>
                <a:gd name="T67" fmla="*/ 70 h 320"/>
                <a:gd name="T68" fmla="*/ 119 w 149"/>
                <a:gd name="T69" fmla="*/ 97 h 320"/>
                <a:gd name="T70" fmla="*/ 107 w 149"/>
                <a:gd name="T71" fmla="*/ 127 h 320"/>
                <a:gd name="T72" fmla="*/ 33 w 149"/>
                <a:gd name="T73" fmla="*/ 149 h 320"/>
                <a:gd name="T74" fmla="*/ 21 w 149"/>
                <a:gd name="T75" fmla="*/ 149 h 320"/>
                <a:gd name="T76" fmla="*/ 21 w 149"/>
                <a:gd name="T77" fmla="*/ 52 h 320"/>
                <a:gd name="T78" fmla="*/ 115 w 149"/>
                <a:gd name="T79" fmla="*/ 247 h 320"/>
                <a:gd name="T80" fmla="*/ 21 w 149"/>
                <a:gd name="T81" fmla="*/ 268 h 320"/>
                <a:gd name="T82" fmla="*/ 21 w 149"/>
                <a:gd name="T83" fmla="*/ 171 h 320"/>
                <a:gd name="T84" fmla="*/ 33 w 149"/>
                <a:gd name="T85" fmla="*/ 171 h 320"/>
                <a:gd name="T86" fmla="*/ 117 w 149"/>
                <a:gd name="T87" fmla="*/ 195 h 320"/>
                <a:gd name="T88" fmla="*/ 128 w 149"/>
                <a:gd name="T89" fmla="*/ 219 h 320"/>
                <a:gd name="T90" fmla="*/ 115 w 149"/>
                <a:gd name="T91" fmla="*/ 2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9" h="320">
                  <a:moveTo>
                    <a:pt x="132" y="179"/>
                  </a:moveTo>
                  <a:cubicBezTo>
                    <a:pt x="122" y="170"/>
                    <a:pt x="109" y="164"/>
                    <a:pt x="95" y="159"/>
                  </a:cubicBezTo>
                  <a:cubicBezTo>
                    <a:pt x="105" y="155"/>
                    <a:pt x="114" y="150"/>
                    <a:pt x="121" y="143"/>
                  </a:cubicBezTo>
                  <a:cubicBezTo>
                    <a:pt x="134" y="131"/>
                    <a:pt x="141" y="115"/>
                    <a:pt x="141" y="97"/>
                  </a:cubicBezTo>
                  <a:cubicBezTo>
                    <a:pt x="141" y="80"/>
                    <a:pt x="134" y="65"/>
                    <a:pt x="122" y="54"/>
                  </a:cubicBezTo>
                  <a:cubicBezTo>
                    <a:pt x="114" y="47"/>
                    <a:pt x="105" y="43"/>
                    <a:pt x="96" y="39"/>
                  </a:cubicBezTo>
                  <a:cubicBezTo>
                    <a:pt x="96" y="10"/>
                    <a:pt x="96" y="10"/>
                    <a:pt x="96" y="10"/>
                  </a:cubicBezTo>
                  <a:cubicBezTo>
                    <a:pt x="96" y="4"/>
                    <a:pt x="91" y="0"/>
                    <a:pt x="85" y="0"/>
                  </a:cubicBezTo>
                  <a:cubicBezTo>
                    <a:pt x="79" y="0"/>
                    <a:pt x="74" y="4"/>
                    <a:pt x="74" y="10"/>
                  </a:cubicBezTo>
                  <a:cubicBezTo>
                    <a:pt x="74" y="34"/>
                    <a:pt x="74" y="34"/>
                    <a:pt x="74" y="34"/>
                  </a:cubicBezTo>
                  <a:cubicBezTo>
                    <a:pt x="67" y="32"/>
                    <a:pt x="60" y="31"/>
                    <a:pt x="53" y="31"/>
                  </a:cubicBezTo>
                  <a:cubicBezTo>
                    <a:pt x="53" y="10"/>
                    <a:pt x="53" y="10"/>
                    <a:pt x="53" y="10"/>
                  </a:cubicBezTo>
                  <a:cubicBezTo>
                    <a:pt x="53" y="4"/>
                    <a:pt x="48" y="0"/>
                    <a:pt x="42" y="0"/>
                  </a:cubicBezTo>
                  <a:cubicBezTo>
                    <a:pt x="36" y="0"/>
                    <a:pt x="32" y="4"/>
                    <a:pt x="32" y="10"/>
                  </a:cubicBezTo>
                  <a:cubicBezTo>
                    <a:pt x="32" y="30"/>
                    <a:pt x="32" y="30"/>
                    <a:pt x="32" y="30"/>
                  </a:cubicBezTo>
                  <a:cubicBezTo>
                    <a:pt x="19" y="30"/>
                    <a:pt x="10" y="31"/>
                    <a:pt x="9" y="31"/>
                  </a:cubicBezTo>
                  <a:cubicBezTo>
                    <a:pt x="4" y="32"/>
                    <a:pt x="0" y="37"/>
                    <a:pt x="0" y="42"/>
                  </a:cubicBezTo>
                  <a:cubicBezTo>
                    <a:pt x="0" y="277"/>
                    <a:pt x="0" y="277"/>
                    <a:pt x="0" y="277"/>
                  </a:cubicBezTo>
                  <a:cubicBezTo>
                    <a:pt x="0" y="283"/>
                    <a:pt x="4" y="287"/>
                    <a:pt x="9" y="288"/>
                  </a:cubicBezTo>
                  <a:cubicBezTo>
                    <a:pt x="10" y="288"/>
                    <a:pt x="19" y="289"/>
                    <a:pt x="32" y="289"/>
                  </a:cubicBezTo>
                  <a:cubicBezTo>
                    <a:pt x="32" y="309"/>
                    <a:pt x="32" y="309"/>
                    <a:pt x="32" y="309"/>
                  </a:cubicBezTo>
                  <a:cubicBezTo>
                    <a:pt x="32" y="315"/>
                    <a:pt x="36" y="320"/>
                    <a:pt x="42" y="320"/>
                  </a:cubicBezTo>
                  <a:cubicBezTo>
                    <a:pt x="48" y="320"/>
                    <a:pt x="53" y="315"/>
                    <a:pt x="53" y="309"/>
                  </a:cubicBezTo>
                  <a:cubicBezTo>
                    <a:pt x="53" y="288"/>
                    <a:pt x="53" y="288"/>
                    <a:pt x="53" y="288"/>
                  </a:cubicBezTo>
                  <a:cubicBezTo>
                    <a:pt x="60" y="288"/>
                    <a:pt x="67" y="287"/>
                    <a:pt x="74" y="286"/>
                  </a:cubicBezTo>
                  <a:cubicBezTo>
                    <a:pt x="74" y="309"/>
                    <a:pt x="74" y="309"/>
                    <a:pt x="74" y="309"/>
                  </a:cubicBezTo>
                  <a:cubicBezTo>
                    <a:pt x="74" y="315"/>
                    <a:pt x="79" y="320"/>
                    <a:pt x="85" y="320"/>
                  </a:cubicBezTo>
                  <a:cubicBezTo>
                    <a:pt x="91" y="320"/>
                    <a:pt x="96" y="315"/>
                    <a:pt x="96" y="309"/>
                  </a:cubicBezTo>
                  <a:cubicBezTo>
                    <a:pt x="96" y="281"/>
                    <a:pt x="96" y="281"/>
                    <a:pt x="96" y="281"/>
                  </a:cubicBezTo>
                  <a:cubicBezTo>
                    <a:pt x="108" y="277"/>
                    <a:pt x="120" y="271"/>
                    <a:pt x="130" y="263"/>
                  </a:cubicBezTo>
                  <a:cubicBezTo>
                    <a:pt x="142" y="251"/>
                    <a:pt x="149" y="237"/>
                    <a:pt x="149" y="219"/>
                  </a:cubicBezTo>
                  <a:cubicBezTo>
                    <a:pt x="149" y="203"/>
                    <a:pt x="143" y="190"/>
                    <a:pt x="132" y="179"/>
                  </a:cubicBezTo>
                  <a:close/>
                  <a:moveTo>
                    <a:pt x="21" y="52"/>
                  </a:moveTo>
                  <a:cubicBezTo>
                    <a:pt x="44" y="50"/>
                    <a:pt x="87" y="52"/>
                    <a:pt x="108" y="70"/>
                  </a:cubicBezTo>
                  <a:cubicBezTo>
                    <a:pt x="115" y="77"/>
                    <a:pt x="119" y="86"/>
                    <a:pt x="119" y="97"/>
                  </a:cubicBezTo>
                  <a:cubicBezTo>
                    <a:pt x="119" y="109"/>
                    <a:pt x="115" y="119"/>
                    <a:pt x="107" y="127"/>
                  </a:cubicBezTo>
                  <a:cubicBezTo>
                    <a:pt x="87" y="145"/>
                    <a:pt x="52" y="149"/>
                    <a:pt x="33" y="149"/>
                  </a:cubicBezTo>
                  <a:cubicBezTo>
                    <a:pt x="28" y="149"/>
                    <a:pt x="24" y="149"/>
                    <a:pt x="21" y="149"/>
                  </a:cubicBezTo>
                  <a:lnTo>
                    <a:pt x="21" y="52"/>
                  </a:lnTo>
                  <a:close/>
                  <a:moveTo>
                    <a:pt x="115" y="247"/>
                  </a:moveTo>
                  <a:cubicBezTo>
                    <a:pt x="92" y="268"/>
                    <a:pt x="42" y="269"/>
                    <a:pt x="21" y="268"/>
                  </a:cubicBezTo>
                  <a:cubicBezTo>
                    <a:pt x="21" y="171"/>
                    <a:pt x="21" y="171"/>
                    <a:pt x="21" y="171"/>
                  </a:cubicBezTo>
                  <a:cubicBezTo>
                    <a:pt x="23" y="171"/>
                    <a:pt x="27" y="171"/>
                    <a:pt x="33" y="171"/>
                  </a:cubicBezTo>
                  <a:cubicBezTo>
                    <a:pt x="61" y="172"/>
                    <a:pt x="99" y="178"/>
                    <a:pt x="117" y="195"/>
                  </a:cubicBezTo>
                  <a:cubicBezTo>
                    <a:pt x="124" y="202"/>
                    <a:pt x="128" y="209"/>
                    <a:pt x="128" y="219"/>
                  </a:cubicBezTo>
                  <a:cubicBezTo>
                    <a:pt x="128" y="230"/>
                    <a:pt x="124" y="240"/>
                    <a:pt x="115" y="247"/>
                  </a:cubicBezTo>
                  <a:close/>
                </a:path>
              </a:pathLst>
            </a:custGeom>
            <a:solidFill>
              <a:srgbClr val="041E4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62965683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778EBF4D-E4D7-478A-8CAD-4C9D8F3A0326}"/>
              </a:ext>
            </a:extLst>
          </p:cNvPr>
          <p:cNvSpPr>
            <a:spLocks noGrp="1"/>
          </p:cNvSpPr>
          <p:nvPr>
            <p:ph type="sldNum" sz="quarter" idx="4"/>
          </p:nvPr>
        </p:nvSpPr>
        <p:spPr/>
        <p:txBody>
          <a:bodyPr/>
          <a:lstStyle/>
          <a:p>
            <a:pPr algn="r">
              <a:spcBef>
                <a:spcPts val="600"/>
              </a:spcBef>
              <a:buSzPct val="100000"/>
              <a:buFont typeface="Arial"/>
              <a:buNone/>
            </a:pPr>
            <a:fld id="{4654C24A-AA93-4318-A7E9-AF587A936244}" type="slidenum">
              <a:rPr lang="fr-FR" smtClean="0">
                <a:solidFill>
                  <a:prstClr val="black"/>
                </a:solidFill>
              </a:rPr>
              <a:pPr algn="r">
                <a:spcBef>
                  <a:spcPts val="600"/>
                </a:spcBef>
                <a:buSzPct val="100000"/>
                <a:buFont typeface="Arial"/>
                <a:buNone/>
              </a:pPr>
              <a:t>6</a:t>
            </a:fld>
            <a:endParaRPr lang="fr-FR">
              <a:solidFill>
                <a:prstClr val="black"/>
              </a:solidFill>
            </a:endParaRPr>
          </a:p>
        </p:txBody>
      </p:sp>
      <p:sp>
        <p:nvSpPr>
          <p:cNvPr id="6" name="Espace réservé de la date 5">
            <a:extLst>
              <a:ext uri="{FF2B5EF4-FFF2-40B4-BE49-F238E27FC236}">
                <a16:creationId xmlns:a16="http://schemas.microsoft.com/office/drawing/2014/main" id="{517F9B4C-2748-4FC9-B68C-48EC00954D3F}"/>
              </a:ext>
            </a:extLst>
          </p:cNvPr>
          <p:cNvSpPr>
            <a:spLocks noGrp="1"/>
          </p:cNvSpPr>
          <p:nvPr>
            <p:ph type="dt" sz="half" idx="2"/>
          </p:nvPr>
        </p:nvSpPr>
        <p:spPr/>
        <p:txBody>
          <a:bodyPr/>
          <a:lstStyle/>
          <a:p>
            <a:pPr algn="r">
              <a:buSzPct val="100000"/>
              <a:buFont typeface="Arial"/>
              <a:buNone/>
            </a:pPr>
            <a:r>
              <a:rPr lang="fr-FR">
                <a:solidFill>
                  <a:prstClr val="black"/>
                </a:solidFill>
              </a:rPr>
              <a:t>L’émergence des Fintech en Afrique</a:t>
            </a:r>
            <a:endParaRPr lang="fr-FR" dirty="0">
              <a:solidFill>
                <a:prstClr val="black"/>
              </a:solidFill>
            </a:endParaRPr>
          </a:p>
        </p:txBody>
      </p:sp>
      <p:sp>
        <p:nvSpPr>
          <p:cNvPr id="7" name="Rectangle 6">
            <a:extLst>
              <a:ext uri="{FF2B5EF4-FFF2-40B4-BE49-F238E27FC236}">
                <a16:creationId xmlns:a16="http://schemas.microsoft.com/office/drawing/2014/main" id="{F2343176-2948-4CDB-A399-405E8B31D914}"/>
              </a:ext>
            </a:extLst>
          </p:cNvPr>
          <p:cNvSpPr/>
          <p:nvPr/>
        </p:nvSpPr>
        <p:spPr>
          <a:xfrm>
            <a:off x="376237" y="243440"/>
            <a:ext cx="8472199" cy="6063198"/>
          </a:xfrm>
          <a:prstGeom prst="rect">
            <a:avLst/>
          </a:prstGeom>
        </p:spPr>
        <p:txBody>
          <a:bodyPr wrap="square">
            <a:spAutoFit/>
          </a:bodyPr>
          <a:lstStyle/>
          <a:p>
            <a:pPr defTabSz="914377">
              <a:spcBef>
                <a:spcPct val="0"/>
              </a:spcBef>
              <a:spcAft>
                <a:spcPts val="0"/>
              </a:spcAft>
            </a:pPr>
            <a:r>
              <a:rPr lang="fr-FR" sz="2400" b="1" dirty="0">
                <a:latin typeface="+mj-lt"/>
                <a:ea typeface="+mj-ea"/>
                <a:cs typeface="+mj-cs"/>
              </a:rPr>
              <a:t>Focus sur le marché des Paiements. </a:t>
            </a:r>
          </a:p>
          <a:p>
            <a:pPr defTabSz="914377">
              <a:spcBef>
                <a:spcPct val="0"/>
              </a:spcBef>
              <a:spcAft>
                <a:spcPts val="0"/>
              </a:spcAft>
            </a:pPr>
            <a:r>
              <a:rPr lang="fr-FR" sz="2400" b="1" dirty="0">
                <a:latin typeface="+mj-lt"/>
                <a:ea typeface="+mj-ea"/>
                <a:cs typeface="+mj-cs"/>
              </a:rPr>
              <a:t>Les acteurs</a:t>
            </a:r>
          </a:p>
          <a:p>
            <a:pPr>
              <a:spcAft>
                <a:spcPts val="0"/>
              </a:spcAft>
            </a:pPr>
            <a:endParaRPr lang="fr-FR" sz="20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spcAft>
                <a:spcPts val="0"/>
              </a:spcAft>
              <a:buFont typeface="Wingdings" panose="05000000000000000000" pitchFamily="2" charset="2"/>
              <a:buChar char="v"/>
            </a:pPr>
            <a:r>
              <a:rPr lang="fr-FR" sz="2000" b="1" dirty="0">
                <a:solidFill>
                  <a:schemeClr val="accent4">
                    <a:lumMod val="75000"/>
                  </a:schemeClr>
                </a:solidFill>
                <a:latin typeface="Calibri" panose="020F0502020204030204" pitchFamily="34" charset="0"/>
                <a:ea typeface="Calibri" panose="020F0502020204030204" pitchFamily="34" charset="0"/>
                <a:cs typeface="Times New Roman" panose="02020603050405020304" pitchFamily="18" charset="0"/>
              </a:rPr>
              <a:t>Banques</a:t>
            </a:r>
            <a:r>
              <a:rPr lang="fr-FR" sz="2000" dirty="0">
                <a:latin typeface="Calibri" panose="020F0502020204030204" pitchFamily="34" charset="0"/>
                <a:ea typeface="Calibri" panose="020F0502020204030204" pitchFamily="34" charset="0"/>
                <a:cs typeface="Times New Roman" panose="02020603050405020304" pitchFamily="18" charset="0"/>
              </a:rPr>
              <a:t> : ils ont leur puissance financière et la confiance de leurs clients, ……. mais handicapés par la lourdeur de leurs structures et de leurs </a:t>
            </a:r>
            <a:r>
              <a:rPr lang="fr-FR" sz="2000" dirty="0" err="1">
                <a:latin typeface="Calibri" panose="020F0502020204030204" pitchFamily="34" charset="0"/>
                <a:ea typeface="Calibri" panose="020F0502020204030204" pitchFamily="34" charset="0"/>
                <a:cs typeface="Times New Roman" panose="02020603050405020304" pitchFamily="18" charset="0"/>
              </a:rPr>
              <a:t>usiness</a:t>
            </a:r>
            <a:r>
              <a:rPr lang="fr-FR" sz="2000" dirty="0">
                <a:latin typeface="Calibri" panose="020F0502020204030204" pitchFamily="34" charset="0"/>
                <a:ea typeface="Calibri" panose="020F0502020204030204" pitchFamily="34" charset="0"/>
                <a:cs typeface="Times New Roman" panose="02020603050405020304" pitchFamily="18" charset="0"/>
              </a:rPr>
              <a:t> model). </a:t>
            </a:r>
          </a:p>
          <a:p>
            <a:pPr marL="342900" lvl="0" indent="-342900">
              <a:spcAft>
                <a:spcPts val="0"/>
              </a:spcAft>
              <a:buFont typeface="Wingdings" panose="05000000000000000000" pitchFamily="2" charset="2"/>
              <a:buChar char="v"/>
            </a:pPr>
            <a:endParaRPr lang="fr-FR" sz="20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spcAft>
                <a:spcPts val="0"/>
              </a:spcAft>
              <a:buFont typeface="Wingdings" panose="05000000000000000000" pitchFamily="2" charset="2"/>
              <a:buChar char="v"/>
            </a:pPr>
            <a:r>
              <a:rPr lang="fr-FR" sz="2000" b="1" dirty="0" err="1">
                <a:solidFill>
                  <a:schemeClr val="accent4">
                    <a:lumMod val="75000"/>
                  </a:schemeClr>
                </a:solidFill>
                <a:latin typeface="Calibri" panose="020F0502020204030204" pitchFamily="34" charset="0"/>
                <a:cs typeface="Times New Roman" panose="02020603050405020304" pitchFamily="18" charset="0"/>
              </a:rPr>
              <a:t>Fintech</a:t>
            </a:r>
            <a:r>
              <a:rPr lang="fr-FR" sz="2000" b="1" dirty="0">
                <a:solidFill>
                  <a:schemeClr val="accent4">
                    <a:lumMod val="75000"/>
                  </a:schemeClr>
                </a:solidFill>
                <a:latin typeface="Calibri" panose="020F0502020204030204" pitchFamily="34" charset="0"/>
                <a:cs typeface="Times New Roman" panose="02020603050405020304" pitchFamily="18" charset="0"/>
              </a:rPr>
              <a:t>: </a:t>
            </a:r>
            <a:r>
              <a:rPr lang="fr-FR" sz="2000" dirty="0">
                <a:latin typeface="Calibri" panose="020F0502020204030204" pitchFamily="34" charset="0"/>
                <a:ea typeface="Calibri" panose="020F0502020204030204" pitchFamily="34" charset="0"/>
                <a:cs typeface="Times New Roman" panose="02020603050405020304" pitchFamily="18" charset="0"/>
              </a:rPr>
              <a:t>apportent la technologie et l’agilité, avec des modèles économiques disruptifs et qui challenges les banques……..  Les banques réagissent à travers divers stratégies : ils rachètent des banques, il incubent des </a:t>
            </a:r>
            <a:r>
              <a:rPr lang="fr-FR" sz="2000" dirty="0" err="1">
                <a:latin typeface="Calibri" panose="020F0502020204030204" pitchFamily="34" charset="0"/>
                <a:ea typeface="Calibri" panose="020F0502020204030204" pitchFamily="34" charset="0"/>
                <a:cs typeface="Times New Roman" panose="02020603050405020304" pitchFamily="18" charset="0"/>
              </a:rPr>
              <a:t>FinTechs</a:t>
            </a:r>
            <a:r>
              <a:rPr lang="fr-FR" sz="2000" dirty="0">
                <a:latin typeface="Calibri" panose="020F0502020204030204" pitchFamily="34" charset="0"/>
                <a:ea typeface="Calibri" panose="020F0502020204030204" pitchFamily="34" charset="0"/>
                <a:cs typeface="Times New Roman" panose="02020603050405020304" pitchFamily="18" charset="0"/>
              </a:rPr>
              <a:t>, voire ils créent des </a:t>
            </a:r>
            <a:r>
              <a:rPr lang="fr-FR" sz="2000" dirty="0" err="1">
                <a:latin typeface="Calibri" panose="020F0502020204030204" pitchFamily="34" charset="0"/>
                <a:ea typeface="Calibri" panose="020F0502020204030204" pitchFamily="34" charset="0"/>
                <a:cs typeface="Times New Roman" panose="02020603050405020304" pitchFamily="18" charset="0"/>
              </a:rPr>
              <a:t>FinTechs</a:t>
            </a:r>
            <a:r>
              <a:rPr lang="fr-FR" sz="2000" dirty="0">
                <a:latin typeface="Calibri" panose="020F0502020204030204" pitchFamily="34" charset="0"/>
                <a:ea typeface="Calibri" panose="020F0502020204030204" pitchFamily="34" charset="0"/>
                <a:cs typeface="Times New Roman" panose="02020603050405020304" pitchFamily="18" charset="0"/>
              </a:rPr>
              <a:t>, ….. mais c’est clair que les </a:t>
            </a:r>
            <a:r>
              <a:rPr lang="fr-FR" sz="2000" dirty="0" err="1">
                <a:latin typeface="Calibri" panose="020F0502020204030204" pitchFamily="34" charset="0"/>
                <a:ea typeface="Calibri" panose="020F0502020204030204" pitchFamily="34" charset="0"/>
                <a:cs typeface="Times New Roman" panose="02020603050405020304" pitchFamily="18" charset="0"/>
              </a:rPr>
              <a:t>finTechs</a:t>
            </a:r>
            <a:r>
              <a:rPr lang="fr-FR" sz="2000" dirty="0">
                <a:latin typeface="Calibri" panose="020F0502020204030204" pitchFamily="34" charset="0"/>
                <a:ea typeface="Calibri" panose="020F0502020204030204" pitchFamily="34" charset="0"/>
                <a:cs typeface="Times New Roman" panose="02020603050405020304" pitchFamily="18" charset="0"/>
              </a:rPr>
              <a:t> auront un grand rôle à jouer dans les services bancaires de demain.</a:t>
            </a:r>
          </a:p>
          <a:p>
            <a:pPr marL="342900" lvl="0" indent="-342900">
              <a:spcAft>
                <a:spcPts val="0"/>
              </a:spcAft>
              <a:buFont typeface="Wingdings" panose="05000000000000000000" pitchFamily="2" charset="2"/>
              <a:buChar char="v"/>
            </a:pPr>
            <a:endParaRPr lang="fr-FR"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Wingdings" panose="05000000000000000000" pitchFamily="2" charset="2"/>
              <a:buChar char="v"/>
            </a:pPr>
            <a:r>
              <a:rPr lang="fr-FR" sz="2000" b="1" dirty="0">
                <a:solidFill>
                  <a:schemeClr val="accent4">
                    <a:lumMod val="75000"/>
                  </a:schemeClr>
                </a:solidFill>
                <a:latin typeface="Calibri" panose="020F0502020204030204" pitchFamily="34" charset="0"/>
                <a:cs typeface="Times New Roman" panose="02020603050405020304" pitchFamily="18" charset="0"/>
              </a:rPr>
              <a:t>Sociétés Technologiques/ e-commerce:</a:t>
            </a:r>
            <a:r>
              <a:rPr lang="fr-FR" sz="2000" dirty="0">
                <a:latin typeface="Calibri" panose="020F0502020204030204" pitchFamily="34" charset="0"/>
                <a:ea typeface="Calibri" panose="020F0502020204030204" pitchFamily="34" charset="0"/>
                <a:cs typeface="Times New Roman" panose="02020603050405020304" pitchFamily="18" charset="0"/>
              </a:rPr>
              <a:t> (les géants du Commerce électronique (les plus connus sont les GAFA aux Etats Unis, ou les BATX en chine, avec (Baidu,, Alibaba, </a:t>
            </a:r>
            <a:r>
              <a:rPr lang="fr-FR" sz="2000" dirty="0" err="1">
                <a:latin typeface="Calibri" panose="020F0502020204030204" pitchFamily="34" charset="0"/>
                <a:ea typeface="Calibri" panose="020F0502020204030204" pitchFamily="34" charset="0"/>
                <a:cs typeface="Times New Roman" panose="02020603050405020304" pitchFamily="18" charset="0"/>
              </a:rPr>
              <a:t>Tencent</a:t>
            </a:r>
            <a:r>
              <a:rPr lang="fr-FR" sz="2000" dirty="0">
                <a:latin typeface="Calibri" panose="020F0502020204030204" pitchFamily="34" charset="0"/>
                <a:ea typeface="Calibri" panose="020F0502020204030204" pitchFamily="34" charset="0"/>
                <a:cs typeface="Times New Roman" panose="02020603050405020304" pitchFamily="18" charset="0"/>
              </a:rPr>
              <a:t> et </a:t>
            </a:r>
            <a:r>
              <a:rPr lang="fr-FR" sz="2000">
                <a:latin typeface="Calibri" panose="020F0502020204030204" pitchFamily="34" charset="0"/>
                <a:ea typeface="Calibri" panose="020F0502020204030204" pitchFamily="34" charset="0"/>
                <a:cs typeface="Times New Roman" panose="02020603050405020304" pitchFamily="18" charset="0"/>
              </a:rPr>
              <a:t>Xiaomi) etc</a:t>
            </a:r>
            <a:r>
              <a:rPr lang="fr-FR" sz="2000" dirty="0">
                <a:latin typeface="Calibri" panose="020F0502020204030204" pitchFamily="34" charset="0"/>
                <a:ea typeface="Calibri" panose="020F0502020204030204" pitchFamily="34" charset="0"/>
                <a:cs typeface="Times New Roman" panose="02020603050405020304" pitchFamily="18" charset="0"/>
              </a:rPr>
              <a:t>.). </a:t>
            </a:r>
          </a:p>
          <a:p>
            <a:pPr marL="342900" lvl="0" indent="-342900">
              <a:spcAft>
                <a:spcPts val="0"/>
              </a:spcAft>
              <a:buFont typeface="Wingdings" panose="05000000000000000000" pitchFamily="2" charset="2"/>
              <a:buChar char="v"/>
            </a:pPr>
            <a:endParaRPr lang="fr-FR" sz="20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spcAft>
                <a:spcPts val="0"/>
              </a:spcAft>
              <a:buFont typeface="Wingdings" panose="05000000000000000000" pitchFamily="2" charset="2"/>
              <a:buChar char="v"/>
            </a:pPr>
            <a:r>
              <a:rPr lang="fr-FR" sz="2000" b="1" dirty="0">
                <a:solidFill>
                  <a:schemeClr val="accent4">
                    <a:lumMod val="75000"/>
                  </a:schemeClr>
                </a:solidFill>
                <a:latin typeface="Calibri" panose="020F0502020204030204" pitchFamily="34" charset="0"/>
                <a:cs typeface="Times New Roman" panose="02020603050405020304" pitchFamily="18" charset="0"/>
              </a:rPr>
              <a:t>Entreprises Télécoms</a:t>
            </a:r>
            <a:r>
              <a:rPr lang="fr-FR" sz="2000" dirty="0">
                <a:latin typeface="Calibri" panose="020F0502020204030204" pitchFamily="34" charset="0"/>
                <a:ea typeface="Calibri" panose="020F0502020204030204" pitchFamily="34" charset="0"/>
                <a:cs typeface="Times New Roman" panose="02020603050405020304" pitchFamily="18" charset="0"/>
              </a:rPr>
              <a:t>, qui arrivent sur le marché de la banque  (Orange développe sa propre banque). </a:t>
            </a:r>
          </a:p>
        </p:txBody>
      </p:sp>
    </p:spTree>
    <p:extLst>
      <p:ext uri="{BB962C8B-B14F-4D97-AF65-F5344CB8AC3E}">
        <p14:creationId xmlns:p14="http://schemas.microsoft.com/office/powerpoint/2010/main" val="250981308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778EBF4D-E4D7-478A-8CAD-4C9D8F3A0326}"/>
              </a:ext>
            </a:extLst>
          </p:cNvPr>
          <p:cNvSpPr>
            <a:spLocks noGrp="1"/>
          </p:cNvSpPr>
          <p:nvPr>
            <p:ph type="sldNum" sz="quarter" idx="4"/>
          </p:nvPr>
        </p:nvSpPr>
        <p:spPr/>
        <p:txBody>
          <a:bodyPr/>
          <a:lstStyle/>
          <a:p>
            <a:pPr algn="r">
              <a:spcBef>
                <a:spcPts val="600"/>
              </a:spcBef>
              <a:buSzPct val="100000"/>
              <a:buFont typeface="Arial"/>
              <a:buNone/>
            </a:pPr>
            <a:fld id="{4654C24A-AA93-4318-A7E9-AF587A936244}" type="slidenum">
              <a:rPr lang="fr-FR" smtClean="0">
                <a:solidFill>
                  <a:prstClr val="black"/>
                </a:solidFill>
              </a:rPr>
              <a:pPr algn="r">
                <a:spcBef>
                  <a:spcPts val="600"/>
                </a:spcBef>
                <a:buSzPct val="100000"/>
                <a:buFont typeface="Arial"/>
                <a:buNone/>
              </a:pPr>
              <a:t>7</a:t>
            </a:fld>
            <a:endParaRPr lang="fr-FR">
              <a:solidFill>
                <a:prstClr val="black"/>
              </a:solidFill>
            </a:endParaRPr>
          </a:p>
        </p:txBody>
      </p:sp>
      <p:sp>
        <p:nvSpPr>
          <p:cNvPr id="6" name="Espace réservé de la date 5">
            <a:extLst>
              <a:ext uri="{FF2B5EF4-FFF2-40B4-BE49-F238E27FC236}">
                <a16:creationId xmlns:a16="http://schemas.microsoft.com/office/drawing/2014/main" id="{517F9B4C-2748-4FC9-B68C-48EC00954D3F}"/>
              </a:ext>
            </a:extLst>
          </p:cNvPr>
          <p:cNvSpPr>
            <a:spLocks noGrp="1"/>
          </p:cNvSpPr>
          <p:nvPr>
            <p:ph type="dt" sz="half" idx="2"/>
          </p:nvPr>
        </p:nvSpPr>
        <p:spPr/>
        <p:txBody>
          <a:bodyPr/>
          <a:lstStyle/>
          <a:p>
            <a:pPr algn="r">
              <a:buSzPct val="100000"/>
              <a:buFont typeface="Arial"/>
              <a:buNone/>
            </a:pPr>
            <a:r>
              <a:rPr lang="fr-FR" dirty="0">
                <a:solidFill>
                  <a:prstClr val="black"/>
                </a:solidFill>
              </a:rPr>
              <a:t>L’émergence des </a:t>
            </a:r>
            <a:r>
              <a:rPr lang="fr-FR" dirty="0" err="1">
                <a:solidFill>
                  <a:prstClr val="black"/>
                </a:solidFill>
              </a:rPr>
              <a:t>Fintech</a:t>
            </a:r>
            <a:r>
              <a:rPr lang="fr-FR" dirty="0">
                <a:solidFill>
                  <a:prstClr val="black"/>
                </a:solidFill>
              </a:rPr>
              <a:t> en Afrique</a:t>
            </a:r>
          </a:p>
        </p:txBody>
      </p:sp>
      <p:sp>
        <p:nvSpPr>
          <p:cNvPr id="7" name="Rectangle 6">
            <a:extLst>
              <a:ext uri="{FF2B5EF4-FFF2-40B4-BE49-F238E27FC236}">
                <a16:creationId xmlns:a16="http://schemas.microsoft.com/office/drawing/2014/main" id="{F2343176-2948-4CDB-A399-405E8B31D914}"/>
              </a:ext>
            </a:extLst>
          </p:cNvPr>
          <p:cNvSpPr/>
          <p:nvPr/>
        </p:nvSpPr>
        <p:spPr>
          <a:xfrm>
            <a:off x="376237" y="243440"/>
            <a:ext cx="8472199" cy="3539430"/>
          </a:xfrm>
          <a:prstGeom prst="rect">
            <a:avLst/>
          </a:prstGeom>
        </p:spPr>
        <p:txBody>
          <a:bodyPr wrap="square">
            <a:spAutoFit/>
          </a:bodyPr>
          <a:lstStyle/>
          <a:p>
            <a:pPr defTabSz="914377">
              <a:spcBef>
                <a:spcPct val="0"/>
              </a:spcBef>
              <a:spcAft>
                <a:spcPts val="0"/>
              </a:spcAft>
            </a:pPr>
            <a:r>
              <a:rPr lang="fr-FR" sz="2400" b="1" dirty="0">
                <a:latin typeface="+mj-lt"/>
                <a:ea typeface="+mj-ea"/>
                <a:cs typeface="+mj-cs"/>
              </a:rPr>
              <a:t>Focus sur le Crowdfunding. </a:t>
            </a:r>
          </a:p>
          <a:p>
            <a:pPr>
              <a:spcAft>
                <a:spcPts val="0"/>
              </a:spcAft>
            </a:pPr>
            <a:endParaRPr lang="fr-FR" sz="20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spcAft>
                <a:spcPts val="0"/>
              </a:spcAft>
              <a:buFont typeface="Wingdings" panose="05000000000000000000" pitchFamily="2" charset="2"/>
              <a:buChar char="v"/>
            </a:pPr>
            <a:r>
              <a:rPr lang="fr-FR" b="1" dirty="0">
                <a:solidFill>
                  <a:schemeClr val="accent4">
                    <a:lumMod val="75000"/>
                  </a:schemeClr>
                </a:solidFill>
              </a:rPr>
              <a:t>C</a:t>
            </a:r>
            <a:r>
              <a:rPr lang="fr-FR" sz="2000" b="1" dirty="0">
                <a:solidFill>
                  <a:schemeClr val="accent4">
                    <a:lumMod val="75000"/>
                  </a:schemeClr>
                </a:solidFill>
                <a:latin typeface="Calibri" panose="020F0502020204030204" pitchFamily="34" charset="0"/>
                <a:cs typeface="Times New Roman" panose="02020603050405020304" pitchFamily="18" charset="0"/>
              </a:rPr>
              <a:t>rowdfunding</a:t>
            </a:r>
            <a:r>
              <a:rPr lang="fr-FR" dirty="0"/>
              <a:t>: </a:t>
            </a:r>
            <a:r>
              <a:rPr lang="fr-FR" sz="2000" dirty="0">
                <a:latin typeface="Calibri" panose="020F0502020204030204" pitchFamily="34" charset="0"/>
                <a:cs typeface="Times New Roman" panose="02020603050405020304" pitchFamily="18" charset="0"/>
              </a:rPr>
              <a:t>lever des fonds par l</a:t>
            </a:r>
            <a:r>
              <a:rPr lang="en-US" sz="2000" dirty="0">
                <a:latin typeface="Calibri" panose="020F0502020204030204" pitchFamily="34" charset="0"/>
                <a:cs typeface="Times New Roman" panose="02020603050405020304" pitchFamily="18" charset="0"/>
              </a:rPr>
              <a:t>’</a:t>
            </a:r>
            <a:r>
              <a:rPr lang="en-US" sz="2000" dirty="0" err="1">
                <a:latin typeface="Calibri" panose="020F0502020204030204" pitchFamily="34" charset="0"/>
                <a:cs typeface="Times New Roman" panose="02020603050405020304" pitchFamily="18" charset="0"/>
              </a:rPr>
              <a:t>intermé</a:t>
            </a:r>
            <a:r>
              <a:rPr lang="fr-FR" sz="2000" dirty="0" err="1">
                <a:latin typeface="Calibri" panose="020F0502020204030204" pitchFamily="34" charset="0"/>
                <a:cs typeface="Times New Roman" panose="02020603050405020304" pitchFamily="18" charset="0"/>
              </a:rPr>
              <a:t>diaire</a:t>
            </a:r>
            <a:r>
              <a:rPr lang="fr-FR" sz="2000" dirty="0">
                <a:latin typeface="Calibri" panose="020F0502020204030204" pitchFamily="34" charset="0"/>
                <a:cs typeface="Times New Roman" panose="02020603050405020304" pitchFamily="18" charset="0"/>
              </a:rPr>
              <a:t> d</a:t>
            </a:r>
            <a:r>
              <a:rPr lang="en-US" sz="2000" dirty="0">
                <a:latin typeface="Calibri" panose="020F0502020204030204" pitchFamily="34" charset="0"/>
                <a:cs typeface="Times New Roman" panose="02020603050405020304" pitchFamily="18" charset="0"/>
              </a:rPr>
              <a:t>’</a:t>
            </a:r>
            <a:r>
              <a:rPr lang="fr-FR" sz="2000" dirty="0">
                <a:latin typeface="Calibri" panose="020F0502020204030204" pitchFamily="34" charset="0"/>
                <a:cs typeface="Times New Roman" panose="02020603050405020304" pitchFamily="18" charset="0"/>
              </a:rPr>
              <a:t>une plateforme internet </a:t>
            </a:r>
            <a:r>
              <a:rPr lang="fr-FR" sz="2000" dirty="0" err="1">
                <a:latin typeface="Calibri" panose="020F0502020204030204" pitchFamily="34" charset="0"/>
                <a:cs typeface="Times New Roman" panose="02020603050405020304" pitchFamily="18" charset="0"/>
              </a:rPr>
              <a:t>sp</a:t>
            </a:r>
            <a:r>
              <a:rPr lang="en-US" sz="2000" dirty="0">
                <a:latin typeface="Calibri" panose="020F0502020204030204" pitchFamily="34" charset="0"/>
                <a:cs typeface="Times New Roman" panose="02020603050405020304" pitchFamily="18" charset="0"/>
              </a:rPr>
              <a:t>é</a:t>
            </a:r>
            <a:r>
              <a:rPr lang="fr-FR" sz="2000" dirty="0" err="1">
                <a:latin typeface="Calibri" panose="020F0502020204030204" pitchFamily="34" charset="0"/>
                <a:cs typeface="Times New Roman" panose="02020603050405020304" pitchFamily="18" charset="0"/>
              </a:rPr>
              <a:t>cialis</a:t>
            </a:r>
            <a:r>
              <a:rPr lang="en-US" sz="2000" dirty="0">
                <a:latin typeface="Calibri" panose="020F0502020204030204" pitchFamily="34" charset="0"/>
                <a:cs typeface="Times New Roman" panose="02020603050405020304" pitchFamily="18" charset="0"/>
              </a:rPr>
              <a:t>é</a:t>
            </a:r>
            <a:r>
              <a:rPr lang="fr-FR" sz="2000" dirty="0">
                <a:latin typeface="Calibri" panose="020F0502020204030204" pitchFamily="34" charset="0"/>
                <a:cs typeface="Times New Roman" panose="02020603050405020304" pitchFamily="18" charset="0"/>
              </a:rPr>
              <a:t>e, </a:t>
            </a:r>
            <a:r>
              <a:rPr lang="fr-FR" sz="2000" dirty="0" err="1">
                <a:latin typeface="Calibri" panose="020F0502020204030204" pitchFamily="34" charset="0"/>
                <a:cs typeface="Times New Roman" panose="02020603050405020304" pitchFamily="18" charset="0"/>
              </a:rPr>
              <a:t>auprè</a:t>
            </a:r>
            <a:r>
              <a:rPr lang="en-US" sz="2000" dirty="0">
                <a:latin typeface="Calibri" panose="020F0502020204030204" pitchFamily="34" charset="0"/>
                <a:cs typeface="Times New Roman" panose="02020603050405020304" pitchFamily="18" charset="0"/>
              </a:rPr>
              <a:t>s d’</a:t>
            </a:r>
            <a:r>
              <a:rPr lang="fr-FR" sz="2000" dirty="0">
                <a:latin typeface="Calibri" panose="020F0502020204030204" pitchFamily="34" charset="0"/>
                <a:cs typeface="Times New Roman" panose="02020603050405020304" pitchFamily="18" charset="0"/>
              </a:rPr>
              <a:t>un large public d</a:t>
            </a:r>
            <a:r>
              <a:rPr lang="en-US" sz="2000" dirty="0">
                <a:latin typeface="Calibri" panose="020F0502020204030204" pitchFamily="34" charset="0"/>
                <a:cs typeface="Times New Roman" panose="02020603050405020304" pitchFamily="18" charset="0"/>
              </a:rPr>
              <a:t>’</a:t>
            </a:r>
            <a:r>
              <a:rPr lang="fr-FR" sz="2000" dirty="0">
                <a:latin typeface="Calibri" panose="020F0502020204030204" pitchFamily="34" charset="0"/>
                <a:cs typeface="Times New Roman" panose="02020603050405020304" pitchFamily="18" charset="0"/>
              </a:rPr>
              <a:t>internautes composé de personnes physiques ou morales,</a:t>
            </a:r>
          </a:p>
          <a:p>
            <a:pPr marL="342900" lvl="0" indent="-342900">
              <a:spcAft>
                <a:spcPts val="0"/>
              </a:spcAft>
              <a:buFont typeface="Wingdings" panose="05000000000000000000" pitchFamily="2" charset="2"/>
              <a:buChar char="v"/>
            </a:pPr>
            <a:endParaRPr lang="fr-FR" sz="2000" dirty="0">
              <a:latin typeface="Calibri" panose="020F0502020204030204" pitchFamily="34" charset="0"/>
              <a:cs typeface="Times New Roman" panose="02020603050405020304" pitchFamily="18" charset="0"/>
            </a:endParaRPr>
          </a:p>
          <a:p>
            <a:pPr marL="342900" lvl="0" indent="-342900">
              <a:spcAft>
                <a:spcPts val="0"/>
              </a:spcAft>
              <a:buFont typeface="Wingdings" panose="05000000000000000000" pitchFamily="2" charset="2"/>
              <a:buChar char="v"/>
            </a:pPr>
            <a:r>
              <a:rPr lang="fr-FR" b="1" dirty="0">
                <a:solidFill>
                  <a:schemeClr val="accent4">
                    <a:lumMod val="75000"/>
                  </a:schemeClr>
                </a:solidFill>
              </a:rPr>
              <a:t>Trois grands types de plateformes</a:t>
            </a:r>
            <a:r>
              <a:rPr lang="en-US" dirty="0">
                <a:latin typeface="Calibri" panose="020F0502020204030204" pitchFamily="34" charset="0"/>
                <a:cs typeface="Times New Roman" panose="02020603050405020304" pitchFamily="18" charset="0"/>
              </a:rPr>
              <a:t> :</a:t>
            </a:r>
            <a:endParaRPr lang="fr-FR" dirty="0">
              <a:latin typeface="Calibri" panose="020F0502020204030204" pitchFamily="34" charset="0"/>
              <a:cs typeface="Times New Roman" panose="02020603050405020304" pitchFamily="18" charset="0"/>
            </a:endParaRPr>
          </a:p>
          <a:p>
            <a:pPr marL="800100" lvl="1" indent="-342900">
              <a:buFont typeface="Arial" panose="020B0604020202020204" pitchFamily="34" charset="0"/>
              <a:buChar char="•"/>
            </a:pPr>
            <a:r>
              <a:rPr lang="fr-FR" sz="2000" dirty="0">
                <a:latin typeface="Calibri" panose="020F0502020204030204" pitchFamily="34" charset="0"/>
                <a:cs typeface="Times New Roman" panose="02020603050405020304" pitchFamily="18" charset="0"/>
              </a:rPr>
              <a:t>Plateformes de don, </a:t>
            </a:r>
            <a:r>
              <a:rPr lang="fr-FR" sz="1400" dirty="0">
                <a:latin typeface="Calibri" panose="020F0502020204030204" pitchFamily="34" charset="0"/>
                <a:cs typeface="Times New Roman" panose="02020603050405020304" pitchFamily="18" charset="0"/>
              </a:rPr>
              <a:t>avec ou sans contrepartie</a:t>
            </a:r>
            <a:r>
              <a:rPr lang="de-DE" sz="2000" dirty="0">
                <a:latin typeface="Calibri" panose="020F0502020204030204" pitchFamily="34" charset="0"/>
                <a:cs typeface="Times New Roman" panose="02020603050405020304" pitchFamily="18" charset="0"/>
              </a:rPr>
              <a:t>;</a:t>
            </a:r>
          </a:p>
          <a:p>
            <a:pPr marL="800100" lvl="1" indent="-342900">
              <a:buFont typeface="Arial" panose="020B0604020202020204" pitchFamily="34" charset="0"/>
              <a:buChar char="•"/>
            </a:pPr>
            <a:r>
              <a:rPr lang="fr-FR" sz="2000" dirty="0">
                <a:latin typeface="Calibri" panose="020F0502020204030204" pitchFamily="34" charset="0"/>
                <a:cs typeface="Times New Roman" panose="02020603050405020304" pitchFamily="18" charset="0"/>
              </a:rPr>
              <a:t>Plateformes de </a:t>
            </a:r>
            <a:r>
              <a:rPr lang="fr-FR" sz="2000" dirty="0" err="1">
                <a:latin typeface="Calibri" panose="020F0502020204030204" pitchFamily="34" charset="0"/>
                <a:cs typeface="Times New Roman" panose="02020603050405020304" pitchFamily="18" charset="0"/>
              </a:rPr>
              <a:t>prê</a:t>
            </a:r>
            <a:r>
              <a:rPr lang="de-DE" sz="2000" dirty="0">
                <a:latin typeface="Calibri" panose="020F0502020204030204" pitchFamily="34" charset="0"/>
                <a:cs typeface="Times New Roman" panose="02020603050405020304" pitchFamily="18" charset="0"/>
              </a:rPr>
              <a:t>t, </a:t>
            </a:r>
            <a:r>
              <a:rPr lang="de-DE" sz="2000" dirty="0" err="1">
                <a:latin typeface="Calibri" panose="020F0502020204030204" pitchFamily="34" charset="0"/>
                <a:cs typeface="Times New Roman" panose="02020603050405020304" pitchFamily="18" charset="0"/>
              </a:rPr>
              <a:t>rémunér</a:t>
            </a:r>
            <a:r>
              <a:rPr lang="fr-FR" sz="2000" dirty="0">
                <a:latin typeface="Calibri" panose="020F0502020204030204" pitchFamily="34" charset="0"/>
                <a:cs typeface="Times New Roman" panose="02020603050405020304" pitchFamily="18" charset="0"/>
              </a:rPr>
              <a:t>é </a:t>
            </a:r>
            <a:r>
              <a:rPr lang="it-IT" sz="2000" dirty="0">
                <a:latin typeface="Calibri" panose="020F0502020204030204" pitchFamily="34" charset="0"/>
                <a:cs typeface="Times New Roman" panose="02020603050405020304" pitchFamily="18" charset="0"/>
              </a:rPr>
              <a:t>ou non:</a:t>
            </a:r>
            <a:r>
              <a:rPr lang="it-IT" sz="1400" dirty="0">
                <a:latin typeface="Calibri" panose="020F0502020204030204" pitchFamily="34" charset="0"/>
                <a:cs typeface="Times New Roman" panose="02020603050405020304" pitchFamily="18" charset="0"/>
              </a:rPr>
              <a:t> </a:t>
            </a:r>
            <a:r>
              <a:rPr lang="fr-FR" sz="1400" dirty="0">
                <a:latin typeface="Calibri" panose="020F0502020204030204" pitchFamily="34" charset="0"/>
                <a:cs typeface="Times New Roman" panose="02020603050405020304" pitchFamily="18" charset="0"/>
              </a:rPr>
              <a:t>"</a:t>
            </a:r>
            <a:r>
              <a:rPr lang="fr-FR" sz="1400" dirty="0" err="1">
                <a:latin typeface="Calibri" panose="020F0502020204030204" pitchFamily="34" charset="0"/>
                <a:cs typeface="Times New Roman" panose="02020603050405020304" pitchFamily="18" charset="0"/>
              </a:rPr>
              <a:t>crowdlending</a:t>
            </a:r>
            <a:r>
              <a:rPr lang="fr-FR" sz="1400" dirty="0">
                <a:latin typeface="Calibri" panose="020F0502020204030204" pitchFamily="34" charset="0"/>
                <a:cs typeface="Times New Roman" panose="02020603050405020304" pitchFamily="18" charset="0"/>
              </a:rPr>
              <a:t>" ou "</a:t>
            </a:r>
            <a:r>
              <a:rPr lang="nl-NL" sz="1400" dirty="0">
                <a:latin typeface="Calibri" panose="020F0502020204030204" pitchFamily="34" charset="0"/>
                <a:cs typeface="Times New Roman" panose="02020603050405020304" pitchFamily="18" charset="0"/>
              </a:rPr>
              <a:t>peer-</a:t>
            </a:r>
            <a:r>
              <a:rPr lang="nl-NL" sz="1400" dirty="0" err="1">
                <a:latin typeface="Calibri" panose="020F0502020204030204" pitchFamily="34" charset="0"/>
                <a:cs typeface="Times New Roman" panose="02020603050405020304" pitchFamily="18" charset="0"/>
              </a:rPr>
              <a:t>to</a:t>
            </a:r>
            <a:r>
              <a:rPr lang="nl-NL" sz="1400" dirty="0">
                <a:latin typeface="Calibri" panose="020F0502020204030204" pitchFamily="34" charset="0"/>
                <a:cs typeface="Times New Roman" panose="02020603050405020304" pitchFamily="18" charset="0"/>
              </a:rPr>
              <a:t>-peer </a:t>
            </a:r>
            <a:r>
              <a:rPr lang="nl-NL" sz="1400" dirty="0" err="1">
                <a:latin typeface="Calibri" panose="020F0502020204030204" pitchFamily="34" charset="0"/>
                <a:cs typeface="Times New Roman" panose="02020603050405020304" pitchFamily="18" charset="0"/>
              </a:rPr>
              <a:t>lending</a:t>
            </a:r>
            <a:r>
              <a:rPr lang="ru-RU" sz="1400" dirty="0">
                <a:latin typeface="Calibri" panose="020F0502020204030204" pitchFamily="34" charset="0"/>
                <a:cs typeface="Times New Roman" panose="02020603050405020304" pitchFamily="18" charset="0"/>
              </a:rPr>
              <a:t>"</a:t>
            </a:r>
            <a:r>
              <a:rPr lang="de-DE" sz="1400" dirty="0">
                <a:latin typeface="Calibri" panose="020F0502020204030204" pitchFamily="34" charset="0"/>
                <a:cs typeface="Times New Roman" panose="02020603050405020304" pitchFamily="18" charset="0"/>
              </a:rPr>
              <a:t> ; et</a:t>
            </a:r>
            <a:endParaRPr lang="de-DE" sz="2000" dirty="0">
              <a:latin typeface="Calibri" panose="020F0502020204030204" pitchFamily="34" charset="0"/>
              <a:cs typeface="Times New Roman" panose="02020603050405020304" pitchFamily="18" charset="0"/>
            </a:endParaRPr>
          </a:p>
          <a:p>
            <a:pPr marL="800100" lvl="1" indent="-342900">
              <a:buFont typeface="Arial" panose="020B0604020202020204" pitchFamily="34" charset="0"/>
              <a:buChar char="•"/>
            </a:pPr>
            <a:r>
              <a:rPr lang="fr-FR" sz="2000" dirty="0">
                <a:latin typeface="Calibri" panose="020F0502020204030204" pitchFamily="34" charset="0"/>
                <a:cs typeface="Times New Roman" panose="02020603050405020304" pitchFamily="18" charset="0"/>
              </a:rPr>
              <a:t>enfin, les plateformes qui lèvent des financements sous forme de titres financiers (actions ou titres de dette)"</a:t>
            </a:r>
            <a:r>
              <a:rPr lang="fr-FR" sz="2000" dirty="0" err="1">
                <a:latin typeface="Calibri" panose="020F0502020204030204" pitchFamily="34" charset="0"/>
                <a:cs typeface="Times New Roman" panose="02020603050405020304" pitchFamily="18" charset="0"/>
              </a:rPr>
              <a:t>crowdequity</a:t>
            </a:r>
            <a:r>
              <a:rPr lang="ru-RU" sz="2000" dirty="0">
                <a:latin typeface="Calibri" panose="020F0502020204030204" pitchFamily="34" charset="0"/>
                <a:cs typeface="Times New Roman" panose="02020603050405020304" pitchFamily="18" charset="0"/>
              </a:rPr>
              <a:t>".</a:t>
            </a:r>
            <a:endParaRPr lang="fr-FR" sz="2000" dirty="0">
              <a:latin typeface="Calibri" panose="020F0502020204030204" pitchFamily="34" charset="0"/>
              <a:cs typeface="Times New Roman" panose="02020603050405020304" pitchFamily="18" charset="0"/>
            </a:endParaRPr>
          </a:p>
        </p:txBody>
      </p:sp>
      <p:pic>
        <p:nvPicPr>
          <p:cNvPr id="8" name="officeArt object" descr="http://crowdexpert.com/wp-content/uploads/2016/03/Crowdfunding_Industry_2015_Models.jpg">
            <a:extLst>
              <a:ext uri="{FF2B5EF4-FFF2-40B4-BE49-F238E27FC236}">
                <a16:creationId xmlns:a16="http://schemas.microsoft.com/office/drawing/2014/main" id="{8D9AD660-3B90-4519-A654-A97B3CF4A8F1}"/>
              </a:ext>
            </a:extLst>
          </p:cNvPr>
          <p:cNvPicPr/>
          <p:nvPr/>
        </p:nvPicPr>
        <p:blipFill>
          <a:blip r:embed="rId2" cstate="print">
            <a:extLst/>
          </a:blip>
          <a:stretch>
            <a:fillRect/>
          </a:stretch>
        </p:blipFill>
        <p:spPr>
          <a:xfrm>
            <a:off x="376237" y="3717925"/>
            <a:ext cx="3955269" cy="3052329"/>
          </a:xfrm>
          <a:prstGeom prst="rect">
            <a:avLst/>
          </a:prstGeom>
          <a:ln w="12700" cap="flat">
            <a:noFill/>
            <a:miter lim="400000"/>
          </a:ln>
          <a:effectLst/>
        </p:spPr>
      </p:pic>
      <p:sp>
        <p:nvSpPr>
          <p:cNvPr id="2" name="Rectangle 1">
            <a:extLst>
              <a:ext uri="{FF2B5EF4-FFF2-40B4-BE49-F238E27FC236}">
                <a16:creationId xmlns:a16="http://schemas.microsoft.com/office/drawing/2014/main" id="{7E438EB0-665F-46C2-9A75-7C0A59F26BBE}"/>
              </a:ext>
            </a:extLst>
          </p:cNvPr>
          <p:cNvSpPr/>
          <p:nvPr/>
        </p:nvSpPr>
        <p:spPr>
          <a:xfrm>
            <a:off x="4470400" y="3845401"/>
            <a:ext cx="4470400" cy="2677656"/>
          </a:xfrm>
          <a:prstGeom prst="rect">
            <a:avLst/>
          </a:prstGeom>
        </p:spPr>
        <p:txBody>
          <a:bodyPr wrap="square">
            <a:spAutoFit/>
          </a:bodyPr>
          <a:lstStyle/>
          <a:p>
            <a:pPr marL="285750" indent="-285750">
              <a:buFont typeface="Wingdings" panose="05000000000000000000" pitchFamily="2" charset="2"/>
              <a:buChar char="v"/>
            </a:pPr>
            <a:r>
              <a:rPr lang="fr-FR" b="1" dirty="0">
                <a:solidFill>
                  <a:schemeClr val="accent4">
                    <a:lumMod val="75000"/>
                  </a:schemeClr>
                </a:solidFill>
              </a:rPr>
              <a:t>L'Afrique reste très en retrait avec, en 2014, 70</a:t>
            </a:r>
            <a:r>
              <a:rPr lang="en-US" b="1" dirty="0">
                <a:solidFill>
                  <a:schemeClr val="accent4">
                    <a:lumMod val="75000"/>
                  </a:schemeClr>
                </a:solidFill>
              </a:rPr>
              <a:t> </a:t>
            </a:r>
            <a:r>
              <a:rPr lang="fr-FR" b="1" dirty="0">
                <a:solidFill>
                  <a:schemeClr val="accent4">
                    <a:lumMod val="75000"/>
                  </a:schemeClr>
                </a:solidFill>
              </a:rPr>
              <a:t>millions de dollars de fonds levés: </a:t>
            </a:r>
          </a:p>
          <a:p>
            <a:pPr marL="442913" indent="-174625">
              <a:buFont typeface="Arial" panose="020B0604020202020204" pitchFamily="34" charset="0"/>
              <a:buChar char="•"/>
              <a:tabLst>
                <a:tab pos="803275" algn="l"/>
              </a:tabLst>
            </a:pPr>
            <a:r>
              <a:rPr lang="fr-FR" dirty="0">
                <a:latin typeface="Times New Roman" panose="02020603050405020304" pitchFamily="18" charset="0"/>
              </a:rPr>
              <a:t>Absence de réglementations</a:t>
            </a:r>
          </a:p>
          <a:p>
            <a:pPr marL="442913" indent="-174625">
              <a:buFont typeface="Arial" panose="020B0604020202020204" pitchFamily="34" charset="0"/>
              <a:buChar char="•"/>
              <a:tabLst>
                <a:tab pos="803275" algn="l"/>
              </a:tabLst>
            </a:pPr>
            <a:r>
              <a:rPr lang="fr-FR" dirty="0">
                <a:latin typeface="Times New Roman" panose="02020603050405020304" pitchFamily="18" charset="0"/>
              </a:rPr>
              <a:t>Défis :Plateformes internationales qui se développent en Afrique (via les dons). </a:t>
            </a:r>
            <a:r>
              <a:rPr lang="fr-FR" sz="1400" dirty="0">
                <a:latin typeface="Times New Roman" panose="02020603050405020304" pitchFamily="18" charset="0"/>
              </a:rPr>
              <a:t>Exemple: </a:t>
            </a:r>
            <a:r>
              <a:rPr lang="fr-FR" sz="1400" dirty="0" err="1">
                <a:latin typeface="Times New Roman" panose="02020603050405020304" pitchFamily="18" charset="0"/>
              </a:rPr>
              <a:t>Afrikwity</a:t>
            </a:r>
            <a:r>
              <a:rPr lang="fr-FR" sz="1400" dirty="0">
                <a:latin typeface="Times New Roman" panose="02020603050405020304" pitchFamily="18" charset="0"/>
              </a:rPr>
              <a:t> avec agrément AMF se déploie en Afrique, également, sur le « </a:t>
            </a:r>
            <a:r>
              <a:rPr lang="fr-FR" sz="1400" dirty="0" err="1">
                <a:latin typeface="Times New Roman" panose="02020603050405020304" pitchFamily="18" charset="0"/>
              </a:rPr>
              <a:t>crowdlending</a:t>
            </a:r>
            <a:r>
              <a:rPr lang="fr-FR" sz="1400" dirty="0">
                <a:latin typeface="Times New Roman" panose="02020603050405020304" pitchFamily="18" charset="0"/>
              </a:rPr>
              <a:t> ».</a:t>
            </a:r>
          </a:p>
          <a:p>
            <a:pPr marL="442913" indent="-174625">
              <a:buFont typeface="Arial" panose="020B0604020202020204" pitchFamily="34" charset="0"/>
              <a:buChar char="•"/>
              <a:tabLst>
                <a:tab pos="803275" algn="l"/>
              </a:tabLst>
            </a:pPr>
            <a:r>
              <a:rPr lang="fr-FR" b="1" dirty="0">
                <a:latin typeface="Times New Roman" panose="02020603050405020304" pitchFamily="18" charset="0"/>
              </a:rPr>
              <a:t> </a:t>
            </a:r>
            <a:r>
              <a:rPr lang="fr-FR" dirty="0">
                <a:latin typeface="Times New Roman" panose="02020603050405020304" pitchFamily="18" charset="0"/>
              </a:rPr>
              <a:t>Travaux </a:t>
            </a:r>
            <a:r>
              <a:rPr lang="fr-FR" dirty="0" err="1">
                <a:latin typeface="Times New Roman" panose="02020603050405020304" pitchFamily="18" charset="0"/>
              </a:rPr>
              <a:t>AfricaFinLab</a:t>
            </a:r>
            <a:r>
              <a:rPr lang="fr-FR" dirty="0">
                <a:latin typeface="Times New Roman" panose="02020603050405020304" pitchFamily="18" charset="0"/>
              </a:rPr>
              <a:t>: </a:t>
            </a:r>
            <a:r>
              <a:rPr lang="fr-FR" sz="1400" dirty="0">
                <a:latin typeface="Times New Roman" panose="02020603050405020304" pitchFamily="18" charset="0"/>
              </a:rPr>
              <a:t>Porteur de projet/ Investisseur/ Plate-forme.</a:t>
            </a:r>
          </a:p>
        </p:txBody>
      </p:sp>
    </p:spTree>
    <p:extLst>
      <p:ext uri="{BB962C8B-B14F-4D97-AF65-F5344CB8AC3E}">
        <p14:creationId xmlns:p14="http://schemas.microsoft.com/office/powerpoint/2010/main" val="12860031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p:txBody>
          <a:bodyPr/>
          <a:lstStyle/>
          <a:p>
            <a:pPr>
              <a:spcBef>
                <a:spcPts val="600"/>
              </a:spcBef>
              <a:buSzPct val="100000"/>
              <a:buFont typeface="Arial"/>
              <a:buNone/>
            </a:pPr>
            <a:r>
              <a:rPr dirty="0">
                <a:solidFill>
                  <a:prstClr val="black"/>
                </a:solidFill>
                <a:latin typeface="+mj-lt"/>
              </a:rPr>
              <a:t>© 2017 Deloitte</a:t>
            </a:r>
            <a:r>
              <a:rPr lang="fr-FR" dirty="0">
                <a:solidFill>
                  <a:prstClr val="black"/>
                </a:solidFill>
                <a:latin typeface="+mj-lt"/>
              </a:rPr>
              <a:t> </a:t>
            </a:r>
            <a:endParaRPr dirty="0">
              <a:solidFill>
                <a:prstClr val="black"/>
              </a:solidFill>
              <a:latin typeface="+mj-lt"/>
            </a:endParaRPr>
          </a:p>
        </p:txBody>
      </p:sp>
      <p:sp>
        <p:nvSpPr>
          <p:cNvPr id="5" name="Slide Number Placeholder 4"/>
          <p:cNvSpPr>
            <a:spLocks noGrp="1"/>
          </p:cNvSpPr>
          <p:nvPr>
            <p:ph type="sldNum" sz="quarter" idx="4"/>
          </p:nvPr>
        </p:nvSpPr>
        <p:spPr/>
        <p:txBody>
          <a:bodyPr/>
          <a:lstStyle/>
          <a:p>
            <a:pPr algn="r">
              <a:spcBef>
                <a:spcPts val="600"/>
              </a:spcBef>
              <a:buSzPct val="100000"/>
              <a:buFont typeface="Arial"/>
              <a:buNone/>
            </a:pPr>
            <a:fld id="{4654C24A-AA93-4318-A7E9-AF587A936244}" type="slidenum">
              <a:rPr>
                <a:solidFill>
                  <a:prstClr val="black"/>
                </a:solidFill>
                <a:latin typeface="+mj-lt"/>
              </a:rPr>
              <a:pPr algn="r">
                <a:spcBef>
                  <a:spcPts val="600"/>
                </a:spcBef>
                <a:buSzPct val="100000"/>
                <a:buFont typeface="Arial"/>
                <a:buNone/>
              </a:pPr>
              <a:t>8</a:t>
            </a:fld>
            <a:endParaRPr>
              <a:solidFill>
                <a:prstClr val="black"/>
              </a:solidFill>
              <a:latin typeface="+mj-lt"/>
            </a:endParaRPr>
          </a:p>
        </p:txBody>
      </p:sp>
      <p:sp>
        <p:nvSpPr>
          <p:cNvPr id="332" name="Title 2"/>
          <p:cNvSpPr>
            <a:spLocks noGrp="1"/>
          </p:cNvSpPr>
          <p:nvPr>
            <p:ph type="title"/>
          </p:nvPr>
        </p:nvSpPr>
        <p:spPr>
          <a:xfrm>
            <a:off x="376239" y="317500"/>
            <a:ext cx="8391525" cy="334101"/>
          </a:xfrm>
        </p:spPr>
        <p:txBody>
          <a:bodyPr/>
          <a:lstStyle/>
          <a:p>
            <a:r>
              <a:rPr lang="fr-FR" dirty="0"/>
              <a:t>La </a:t>
            </a:r>
            <a:r>
              <a:rPr lang="fr-FR" dirty="0" err="1"/>
              <a:t>Fintech</a:t>
            </a:r>
            <a:r>
              <a:rPr lang="fr-FR" dirty="0"/>
              <a:t> en Afrique</a:t>
            </a:r>
          </a:p>
        </p:txBody>
      </p:sp>
      <p:sp>
        <p:nvSpPr>
          <p:cNvPr id="333" name="Text Placeholder 8"/>
          <p:cNvSpPr>
            <a:spLocks noGrp="1"/>
          </p:cNvSpPr>
          <p:nvPr>
            <p:ph type="body" sz="quarter" idx="13"/>
          </p:nvPr>
        </p:nvSpPr>
        <p:spPr>
          <a:xfrm>
            <a:off x="376237" y="651601"/>
            <a:ext cx="8638973" cy="355250"/>
          </a:xfrm>
        </p:spPr>
        <p:txBody>
          <a:bodyPr/>
          <a:lstStyle/>
          <a:p>
            <a:r>
              <a:rPr lang="fr-FR" sz="1800" dirty="0">
                <a:latin typeface="+mj-lt"/>
              </a:rPr>
              <a:t>L’Afrique, un terrain de jeu idéal pour la </a:t>
            </a:r>
            <a:r>
              <a:rPr lang="fr-FR" sz="1800" dirty="0" err="1">
                <a:latin typeface="+mj-lt"/>
              </a:rPr>
              <a:t>Fintech</a:t>
            </a:r>
            <a:endParaRPr lang="fr-FR" sz="1800" dirty="0">
              <a:latin typeface="+mj-lt"/>
            </a:endParaRPr>
          </a:p>
        </p:txBody>
      </p:sp>
      <p:grpSp>
        <p:nvGrpSpPr>
          <p:cNvPr id="3" name="Group 2"/>
          <p:cNvGrpSpPr/>
          <p:nvPr/>
        </p:nvGrpSpPr>
        <p:grpSpPr>
          <a:xfrm>
            <a:off x="376238" y="1346590"/>
            <a:ext cx="8391526" cy="5286624"/>
            <a:chOff x="9161" y="1024722"/>
            <a:chExt cx="9154355" cy="5767203"/>
          </a:xfrm>
        </p:grpSpPr>
        <p:sp>
          <p:nvSpPr>
            <p:cNvPr id="9" name="Rectangle 8"/>
            <p:cNvSpPr/>
            <p:nvPr/>
          </p:nvSpPr>
          <p:spPr>
            <a:xfrm>
              <a:off x="9161" y="1157395"/>
              <a:ext cx="4182950" cy="1275869"/>
            </a:xfrm>
            <a:prstGeom prst="rect">
              <a:avLst/>
            </a:prstGeom>
          </p:spPr>
          <p:txBody>
            <a:bodyPr wrap="square">
              <a:spAutoFit/>
            </a:bodyPr>
            <a:lstStyle/>
            <a:p>
              <a:pPr algn="ctr"/>
              <a:r>
                <a:rPr lang="fr-FR" sz="1400" dirty="0">
                  <a:solidFill>
                    <a:srgbClr val="313131"/>
                  </a:solidFill>
                  <a:latin typeface="+mj-lt"/>
                </a:rPr>
                <a:t>Environ </a:t>
              </a:r>
              <a:r>
                <a:rPr lang="fr-FR" sz="2800" b="1" dirty="0">
                  <a:solidFill>
                    <a:srgbClr val="C4D600"/>
                  </a:solidFill>
                  <a:latin typeface="+mj-lt"/>
                </a:rPr>
                <a:t>1 milliard $</a:t>
              </a:r>
              <a:endParaRPr lang="fr-FR" sz="2800" b="1" dirty="0">
                <a:solidFill>
                  <a:schemeClr val="accent1"/>
                </a:solidFill>
                <a:latin typeface="+mj-lt"/>
              </a:endParaRPr>
            </a:p>
            <a:p>
              <a:pPr algn="ctr"/>
              <a:r>
                <a:rPr lang="fr-FR" sz="1400" dirty="0">
                  <a:solidFill>
                    <a:srgbClr val="313131"/>
                  </a:solidFill>
                  <a:latin typeface="+mj-lt"/>
                </a:rPr>
                <a:t>a été investi dans la </a:t>
              </a:r>
              <a:r>
                <a:rPr lang="fr-FR" sz="1400" dirty="0" err="1">
                  <a:solidFill>
                    <a:srgbClr val="313131"/>
                  </a:solidFill>
                  <a:latin typeface="+mj-lt"/>
                </a:rPr>
                <a:t>Fintech</a:t>
              </a:r>
              <a:r>
                <a:rPr lang="fr-FR" sz="1400" dirty="0">
                  <a:solidFill>
                    <a:srgbClr val="313131"/>
                  </a:solidFill>
                  <a:latin typeface="+mj-lt"/>
                </a:rPr>
                <a:t> en Afrique en 2016 essentiellement par le Nigéria, l’Egypte et l’Afrique du Sud</a:t>
              </a:r>
            </a:p>
          </p:txBody>
        </p:sp>
        <p:grpSp>
          <p:nvGrpSpPr>
            <p:cNvPr id="329" name="Group 328"/>
            <p:cNvGrpSpPr/>
            <p:nvPr/>
          </p:nvGrpSpPr>
          <p:grpSpPr>
            <a:xfrm>
              <a:off x="4851556" y="4039581"/>
              <a:ext cx="3529397" cy="2409606"/>
              <a:chOff x="6153829" y="4031536"/>
              <a:chExt cx="3529397" cy="2409606"/>
            </a:xfrm>
          </p:grpSpPr>
          <p:pic>
            <p:nvPicPr>
              <p:cNvPr id="12" name="Picture 11"/>
              <p:cNvPicPr>
                <a:picLocks noChangeAspect="1"/>
              </p:cNvPicPr>
              <p:nvPr/>
            </p:nvPicPr>
            <p:blipFill rotWithShape="1">
              <a:blip r:embed="rId3"/>
              <a:srcRect r="24128"/>
              <a:stretch/>
            </p:blipFill>
            <p:spPr>
              <a:xfrm>
                <a:off x="6153829" y="4840942"/>
                <a:ext cx="1387548" cy="1600200"/>
              </a:xfrm>
              <a:prstGeom prst="rect">
                <a:avLst/>
              </a:prstGeom>
            </p:spPr>
          </p:pic>
          <p:sp>
            <p:nvSpPr>
              <p:cNvPr id="155" name="Rounded Rectangle 154"/>
              <p:cNvSpPr/>
              <p:nvPr/>
            </p:nvSpPr>
            <p:spPr bwMode="gray">
              <a:xfrm>
                <a:off x="6400431" y="5575645"/>
                <a:ext cx="952687" cy="416585"/>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299" name="TextBox 298"/>
              <p:cNvSpPr txBox="1"/>
              <p:nvPr/>
            </p:nvSpPr>
            <p:spPr>
              <a:xfrm>
                <a:off x="6413878" y="5664768"/>
                <a:ext cx="952687" cy="201453"/>
              </a:xfrm>
              <a:prstGeom prst="rect">
                <a:avLst/>
              </a:prstGeom>
              <a:noFill/>
            </p:spPr>
            <p:txBody>
              <a:bodyPr wrap="square" lIns="0" tIns="0" rIns="0" bIns="0" rtlCol="0">
                <a:spAutoFit/>
              </a:bodyPr>
              <a:lstStyle/>
              <a:p>
                <a:pPr algn="ctr">
                  <a:spcBef>
                    <a:spcPts val="600"/>
                  </a:spcBef>
                  <a:buSzPct val="100000"/>
                </a:pPr>
                <a:r>
                  <a:rPr lang="fr-FR" sz="1200" dirty="0">
                    <a:solidFill>
                      <a:srgbClr val="313131"/>
                    </a:solidFill>
                    <a:latin typeface="+mj-lt"/>
                  </a:rPr>
                  <a:t>16 millions</a:t>
                </a:r>
              </a:p>
            </p:txBody>
          </p:sp>
          <p:pic>
            <p:nvPicPr>
              <p:cNvPr id="351" name="Picture 350"/>
              <p:cNvPicPr>
                <a:picLocks noChangeAspect="1"/>
              </p:cNvPicPr>
              <p:nvPr/>
            </p:nvPicPr>
            <p:blipFill rotWithShape="1">
              <a:blip r:embed="rId3"/>
              <a:srcRect r="24128" b="1396"/>
              <a:stretch/>
            </p:blipFill>
            <p:spPr>
              <a:xfrm>
                <a:off x="7621321" y="4096426"/>
                <a:ext cx="2061905" cy="2344716"/>
              </a:xfrm>
              <a:prstGeom prst="rect">
                <a:avLst/>
              </a:prstGeom>
            </p:spPr>
          </p:pic>
          <p:sp>
            <p:nvSpPr>
              <p:cNvPr id="354" name="Rounded Rectangle 353"/>
              <p:cNvSpPr/>
              <p:nvPr/>
            </p:nvSpPr>
            <p:spPr bwMode="gray">
              <a:xfrm>
                <a:off x="8006652" y="5147315"/>
                <a:ext cx="1406289" cy="702119"/>
              </a:xfrm>
              <a:prstGeom prst="round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355" name="TextBox 354"/>
              <p:cNvSpPr txBox="1"/>
              <p:nvPr/>
            </p:nvSpPr>
            <p:spPr>
              <a:xfrm>
                <a:off x="7993205" y="5366060"/>
                <a:ext cx="1443050" cy="268604"/>
              </a:xfrm>
              <a:prstGeom prst="rect">
                <a:avLst/>
              </a:prstGeom>
              <a:noFill/>
            </p:spPr>
            <p:txBody>
              <a:bodyPr wrap="square" lIns="0" tIns="0" rIns="0" bIns="0" rtlCol="0">
                <a:spAutoFit/>
              </a:bodyPr>
              <a:lstStyle/>
              <a:p>
                <a:pPr algn="ctr">
                  <a:spcBef>
                    <a:spcPts val="600"/>
                  </a:spcBef>
                  <a:buSzPct val="100000"/>
                </a:pPr>
                <a:r>
                  <a:rPr lang="fr-FR" sz="1600" dirty="0">
                    <a:solidFill>
                      <a:srgbClr val="313131"/>
                    </a:solidFill>
                    <a:latin typeface="+mj-lt"/>
                  </a:rPr>
                  <a:t>600 millions</a:t>
                </a:r>
              </a:p>
            </p:txBody>
          </p:sp>
          <p:sp>
            <p:nvSpPr>
              <p:cNvPr id="300" name="Oval 299"/>
              <p:cNvSpPr/>
              <p:nvPr/>
            </p:nvSpPr>
            <p:spPr bwMode="gray">
              <a:xfrm>
                <a:off x="6360090" y="5080080"/>
                <a:ext cx="430675" cy="4320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357" name="Oval 356"/>
              <p:cNvSpPr/>
              <p:nvPr/>
            </p:nvSpPr>
            <p:spPr bwMode="gray">
              <a:xfrm>
                <a:off x="7918275" y="4458597"/>
                <a:ext cx="684000" cy="68400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358" name="Freeform 737"/>
              <p:cNvSpPr>
                <a:spLocks noChangeAspect="1" noEditPoints="1"/>
              </p:cNvSpPr>
              <p:nvPr/>
            </p:nvSpPr>
            <p:spPr bwMode="auto">
              <a:xfrm>
                <a:off x="6410376" y="5135103"/>
                <a:ext cx="375896" cy="37700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309 w 512"/>
                  <a:gd name="T21" fmla="*/ 298 h 512"/>
                  <a:gd name="T22" fmla="*/ 298 w 512"/>
                  <a:gd name="T23" fmla="*/ 309 h 512"/>
                  <a:gd name="T24" fmla="*/ 288 w 512"/>
                  <a:gd name="T25" fmla="*/ 309 h 512"/>
                  <a:gd name="T26" fmla="*/ 288 w 512"/>
                  <a:gd name="T27" fmla="*/ 405 h 512"/>
                  <a:gd name="T28" fmla="*/ 277 w 512"/>
                  <a:gd name="T29" fmla="*/ 416 h 512"/>
                  <a:gd name="T30" fmla="*/ 266 w 512"/>
                  <a:gd name="T31" fmla="*/ 405 h 512"/>
                  <a:gd name="T32" fmla="*/ 266 w 512"/>
                  <a:gd name="T33" fmla="*/ 309 h 512"/>
                  <a:gd name="T34" fmla="*/ 245 w 512"/>
                  <a:gd name="T35" fmla="*/ 309 h 512"/>
                  <a:gd name="T36" fmla="*/ 245 w 512"/>
                  <a:gd name="T37" fmla="*/ 405 h 512"/>
                  <a:gd name="T38" fmla="*/ 234 w 512"/>
                  <a:gd name="T39" fmla="*/ 416 h 512"/>
                  <a:gd name="T40" fmla="*/ 224 w 512"/>
                  <a:gd name="T41" fmla="*/ 405 h 512"/>
                  <a:gd name="T42" fmla="*/ 224 w 512"/>
                  <a:gd name="T43" fmla="*/ 309 h 512"/>
                  <a:gd name="T44" fmla="*/ 213 w 512"/>
                  <a:gd name="T45" fmla="*/ 309 h 512"/>
                  <a:gd name="T46" fmla="*/ 202 w 512"/>
                  <a:gd name="T47" fmla="*/ 298 h 512"/>
                  <a:gd name="T48" fmla="*/ 202 w 512"/>
                  <a:gd name="T49" fmla="*/ 192 h 512"/>
                  <a:gd name="T50" fmla="*/ 213 w 512"/>
                  <a:gd name="T51" fmla="*/ 181 h 512"/>
                  <a:gd name="T52" fmla="*/ 298 w 512"/>
                  <a:gd name="T53" fmla="*/ 181 h 512"/>
                  <a:gd name="T54" fmla="*/ 309 w 512"/>
                  <a:gd name="T55" fmla="*/ 192 h 512"/>
                  <a:gd name="T56" fmla="*/ 309 w 512"/>
                  <a:gd name="T57" fmla="*/ 298 h 512"/>
                  <a:gd name="T58" fmla="*/ 224 w 512"/>
                  <a:gd name="T59" fmla="*/ 202 h 512"/>
                  <a:gd name="T60" fmla="*/ 288 w 512"/>
                  <a:gd name="T61" fmla="*/ 202 h 512"/>
                  <a:gd name="T62" fmla="*/ 288 w 512"/>
                  <a:gd name="T63" fmla="*/ 288 h 512"/>
                  <a:gd name="T64" fmla="*/ 224 w 512"/>
                  <a:gd name="T65" fmla="*/ 288 h 512"/>
                  <a:gd name="T66" fmla="*/ 224 w 512"/>
                  <a:gd name="T67" fmla="*/ 202 h 512"/>
                  <a:gd name="T68" fmla="*/ 245 w 512"/>
                  <a:gd name="T69" fmla="*/ 128 h 512"/>
                  <a:gd name="T70" fmla="*/ 256 w 512"/>
                  <a:gd name="T71" fmla="*/ 117 h 512"/>
                  <a:gd name="T72" fmla="*/ 266 w 512"/>
                  <a:gd name="T73" fmla="*/ 128 h 512"/>
                  <a:gd name="T74" fmla="*/ 256 w 512"/>
                  <a:gd name="T75" fmla="*/ 138 h 512"/>
                  <a:gd name="T76" fmla="*/ 245 w 512"/>
                  <a:gd name="T7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309" y="298"/>
                    </a:moveTo>
                    <a:cubicBezTo>
                      <a:pt x="309" y="304"/>
                      <a:pt x="304" y="309"/>
                      <a:pt x="298" y="309"/>
                    </a:cubicBezTo>
                    <a:cubicBezTo>
                      <a:pt x="288" y="309"/>
                      <a:pt x="288" y="309"/>
                      <a:pt x="288" y="309"/>
                    </a:cubicBezTo>
                    <a:cubicBezTo>
                      <a:pt x="288" y="405"/>
                      <a:pt x="288" y="405"/>
                      <a:pt x="288" y="405"/>
                    </a:cubicBezTo>
                    <a:cubicBezTo>
                      <a:pt x="288" y="411"/>
                      <a:pt x="283" y="416"/>
                      <a:pt x="277" y="416"/>
                    </a:cubicBezTo>
                    <a:cubicBezTo>
                      <a:pt x="271" y="416"/>
                      <a:pt x="266" y="411"/>
                      <a:pt x="266" y="405"/>
                    </a:cubicBezTo>
                    <a:cubicBezTo>
                      <a:pt x="266" y="309"/>
                      <a:pt x="266" y="309"/>
                      <a:pt x="266" y="309"/>
                    </a:cubicBezTo>
                    <a:cubicBezTo>
                      <a:pt x="245" y="309"/>
                      <a:pt x="245" y="309"/>
                      <a:pt x="245" y="309"/>
                    </a:cubicBezTo>
                    <a:cubicBezTo>
                      <a:pt x="245" y="405"/>
                      <a:pt x="245" y="405"/>
                      <a:pt x="245" y="405"/>
                    </a:cubicBezTo>
                    <a:cubicBezTo>
                      <a:pt x="245" y="411"/>
                      <a:pt x="240" y="416"/>
                      <a:pt x="234" y="416"/>
                    </a:cubicBezTo>
                    <a:cubicBezTo>
                      <a:pt x="228" y="416"/>
                      <a:pt x="224" y="411"/>
                      <a:pt x="224" y="405"/>
                    </a:cubicBezTo>
                    <a:cubicBezTo>
                      <a:pt x="224" y="309"/>
                      <a:pt x="224" y="309"/>
                      <a:pt x="224" y="309"/>
                    </a:cubicBezTo>
                    <a:cubicBezTo>
                      <a:pt x="213" y="309"/>
                      <a:pt x="213" y="309"/>
                      <a:pt x="213" y="309"/>
                    </a:cubicBezTo>
                    <a:cubicBezTo>
                      <a:pt x="207" y="309"/>
                      <a:pt x="202" y="304"/>
                      <a:pt x="202" y="298"/>
                    </a:cubicBezTo>
                    <a:cubicBezTo>
                      <a:pt x="202" y="192"/>
                      <a:pt x="202" y="192"/>
                      <a:pt x="202" y="192"/>
                    </a:cubicBezTo>
                    <a:cubicBezTo>
                      <a:pt x="202" y="186"/>
                      <a:pt x="207" y="181"/>
                      <a:pt x="213" y="181"/>
                    </a:cubicBezTo>
                    <a:cubicBezTo>
                      <a:pt x="298" y="181"/>
                      <a:pt x="298" y="181"/>
                      <a:pt x="298" y="181"/>
                    </a:cubicBezTo>
                    <a:cubicBezTo>
                      <a:pt x="304" y="181"/>
                      <a:pt x="309" y="186"/>
                      <a:pt x="309" y="192"/>
                    </a:cubicBezTo>
                    <a:lnTo>
                      <a:pt x="309" y="298"/>
                    </a:lnTo>
                    <a:close/>
                    <a:moveTo>
                      <a:pt x="224" y="202"/>
                    </a:moveTo>
                    <a:cubicBezTo>
                      <a:pt x="288" y="202"/>
                      <a:pt x="288" y="202"/>
                      <a:pt x="288" y="202"/>
                    </a:cubicBezTo>
                    <a:cubicBezTo>
                      <a:pt x="288" y="288"/>
                      <a:pt x="288" y="288"/>
                      <a:pt x="288" y="288"/>
                    </a:cubicBezTo>
                    <a:cubicBezTo>
                      <a:pt x="224" y="288"/>
                      <a:pt x="224" y="288"/>
                      <a:pt x="224" y="288"/>
                    </a:cubicBezTo>
                    <a:lnTo>
                      <a:pt x="224" y="202"/>
                    </a:lnTo>
                    <a:close/>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path>
                </a:pathLst>
              </a:custGeom>
              <a:solidFill>
                <a:srgbClr val="C4D600"/>
              </a:solidFill>
              <a:ln>
                <a:noFill/>
              </a:ln>
              <a:extLst/>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359" name="Freeform 806"/>
              <p:cNvSpPr>
                <a:spLocks noChangeAspect="1" noEditPoints="1"/>
              </p:cNvSpPr>
              <p:nvPr/>
            </p:nvSpPr>
            <p:spPr bwMode="auto">
              <a:xfrm>
                <a:off x="7985627" y="4536233"/>
                <a:ext cx="549296" cy="549296"/>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308" name="TextBox 307"/>
              <p:cNvSpPr txBox="1"/>
              <p:nvPr/>
            </p:nvSpPr>
            <p:spPr>
              <a:xfrm>
                <a:off x="6153829" y="4738862"/>
                <a:ext cx="905877" cy="235029"/>
              </a:xfrm>
              <a:prstGeom prst="rect">
                <a:avLst/>
              </a:prstGeom>
              <a:noFill/>
            </p:spPr>
            <p:txBody>
              <a:bodyPr wrap="square" lIns="0" tIns="0" rIns="0" bIns="0" rtlCol="0">
                <a:spAutoFit/>
              </a:bodyPr>
              <a:lstStyle/>
              <a:p>
                <a:pPr algn="ctr">
                  <a:spcBef>
                    <a:spcPts val="600"/>
                  </a:spcBef>
                  <a:buSzPct val="100000"/>
                </a:pPr>
                <a:r>
                  <a:rPr lang="fr-FR" sz="1400" b="1" dirty="0">
                    <a:solidFill>
                      <a:schemeClr val="accent6">
                        <a:lumMod val="75000"/>
                      </a:schemeClr>
                    </a:solidFill>
                    <a:latin typeface="+mj-lt"/>
                  </a:rPr>
                  <a:t>2000</a:t>
                </a:r>
              </a:p>
            </p:txBody>
          </p:sp>
          <p:sp>
            <p:nvSpPr>
              <p:cNvPr id="361" name="TextBox 360"/>
              <p:cNvSpPr txBox="1"/>
              <p:nvPr/>
            </p:nvSpPr>
            <p:spPr>
              <a:xfrm>
                <a:off x="7828351" y="4031536"/>
                <a:ext cx="905877" cy="235029"/>
              </a:xfrm>
              <a:prstGeom prst="rect">
                <a:avLst/>
              </a:prstGeom>
              <a:noFill/>
            </p:spPr>
            <p:txBody>
              <a:bodyPr wrap="square" lIns="0" tIns="0" rIns="0" bIns="0" rtlCol="0">
                <a:spAutoFit/>
              </a:bodyPr>
              <a:lstStyle/>
              <a:p>
                <a:pPr algn="ctr">
                  <a:spcBef>
                    <a:spcPts val="600"/>
                  </a:spcBef>
                  <a:buSzPct val="100000"/>
                </a:pPr>
                <a:r>
                  <a:rPr lang="fr-FR" sz="1400" b="1" dirty="0">
                    <a:solidFill>
                      <a:schemeClr val="accent6">
                        <a:lumMod val="75000"/>
                      </a:schemeClr>
                    </a:solidFill>
                    <a:latin typeface="+mj-lt"/>
                  </a:rPr>
                  <a:t>2015</a:t>
                </a:r>
              </a:p>
            </p:txBody>
          </p:sp>
        </p:grpSp>
        <p:sp>
          <p:nvSpPr>
            <p:cNvPr id="348" name="TextBox 347"/>
            <p:cNvSpPr txBox="1"/>
            <p:nvPr/>
          </p:nvSpPr>
          <p:spPr>
            <a:xfrm>
              <a:off x="5089829" y="6422593"/>
              <a:ext cx="3052851" cy="369332"/>
            </a:xfrm>
            <a:prstGeom prst="rect">
              <a:avLst/>
            </a:prstGeom>
            <a:noFill/>
          </p:spPr>
          <p:txBody>
            <a:bodyPr wrap="square" lIns="0" tIns="0" rIns="0" bIns="0" rtlCol="0">
              <a:spAutoFit/>
            </a:bodyPr>
            <a:lstStyle/>
            <a:p>
              <a:pPr algn="ctr">
                <a:spcBef>
                  <a:spcPts val="600"/>
                </a:spcBef>
                <a:buSzPct val="100000"/>
              </a:pPr>
              <a:r>
                <a:rPr lang="fr-FR" sz="1100" b="1" dirty="0">
                  <a:solidFill>
                    <a:srgbClr val="313131"/>
                  </a:solidFill>
                  <a:latin typeface="+mj-lt"/>
                </a:rPr>
                <a:t>Le boom qu’a connu la téléphonie mobile en Afrique</a:t>
              </a:r>
            </a:p>
          </p:txBody>
        </p:sp>
        <p:grpSp>
          <p:nvGrpSpPr>
            <p:cNvPr id="539" name="Group 538"/>
            <p:cNvGrpSpPr/>
            <p:nvPr/>
          </p:nvGrpSpPr>
          <p:grpSpPr>
            <a:xfrm>
              <a:off x="970835" y="4790922"/>
              <a:ext cx="3574293" cy="1456560"/>
              <a:chOff x="5412464" y="4396223"/>
              <a:chExt cx="3574293" cy="1456560"/>
            </a:xfrm>
          </p:grpSpPr>
          <p:sp>
            <p:nvSpPr>
              <p:cNvPr id="6" name="Rectangle 5"/>
              <p:cNvSpPr/>
              <p:nvPr/>
            </p:nvSpPr>
            <p:spPr>
              <a:xfrm>
                <a:off x="6918631" y="5039966"/>
                <a:ext cx="1788458" cy="805812"/>
              </a:xfrm>
              <a:prstGeom prst="rect">
                <a:avLst/>
              </a:prstGeom>
            </p:spPr>
            <p:txBody>
              <a:bodyPr wrap="square">
                <a:spAutoFit/>
              </a:bodyPr>
              <a:lstStyle/>
              <a:p>
                <a:pPr algn="ctr">
                  <a:spcBef>
                    <a:spcPts val="600"/>
                  </a:spcBef>
                  <a:buSzPct val="100000"/>
                </a:pPr>
                <a:r>
                  <a:rPr lang="fr-FR" sz="1400" dirty="0">
                    <a:solidFill>
                      <a:srgbClr val="313131"/>
                    </a:solidFill>
                    <a:latin typeface="+mj-lt"/>
                  </a:rPr>
                  <a:t>des adultes ne sont pas bancarisés</a:t>
                </a:r>
              </a:p>
            </p:txBody>
          </p:sp>
          <p:grpSp>
            <p:nvGrpSpPr>
              <p:cNvPr id="360" name="Group 359"/>
              <p:cNvGrpSpPr/>
              <p:nvPr/>
            </p:nvGrpSpPr>
            <p:grpSpPr>
              <a:xfrm>
                <a:off x="6635511" y="4396223"/>
                <a:ext cx="2351246" cy="1089983"/>
                <a:chOff x="4024883" y="3467997"/>
                <a:chExt cx="2351246" cy="1089983"/>
              </a:xfrm>
            </p:grpSpPr>
            <p:sp>
              <p:nvSpPr>
                <p:cNvPr id="349" name="TextBox 348"/>
                <p:cNvSpPr txBox="1"/>
                <p:nvPr/>
              </p:nvSpPr>
              <p:spPr>
                <a:xfrm>
                  <a:off x="4338500" y="3467997"/>
                  <a:ext cx="1730887" cy="738660"/>
                </a:xfrm>
                <a:prstGeom prst="rect">
                  <a:avLst/>
                </a:prstGeom>
                <a:noFill/>
              </p:spPr>
              <p:txBody>
                <a:bodyPr wrap="square" lIns="0" tIns="0" rIns="0" bIns="0" rtlCol="0">
                  <a:spAutoFit/>
                </a:bodyPr>
                <a:lstStyle/>
                <a:p>
                  <a:pPr algn="ctr">
                    <a:spcBef>
                      <a:spcPts val="600"/>
                    </a:spcBef>
                    <a:buSzPct val="100000"/>
                  </a:pPr>
                  <a:r>
                    <a:rPr lang="fr-FR" sz="4400" b="1" dirty="0">
                      <a:solidFill>
                        <a:schemeClr val="accent6">
                          <a:lumMod val="40000"/>
                          <a:lumOff val="60000"/>
                        </a:schemeClr>
                      </a:solidFill>
                      <a:latin typeface="+mj-lt"/>
                    </a:rPr>
                    <a:t>80%</a:t>
                  </a:r>
                </a:p>
              </p:txBody>
            </p:sp>
            <p:pic>
              <p:nvPicPr>
                <p:cNvPr id="350" name="Picture 349"/>
                <p:cNvPicPr>
                  <a:picLocks noChangeAspect="1"/>
                </p:cNvPicPr>
                <p:nvPr/>
              </p:nvPicPr>
              <p:blipFill rotWithShape="1">
                <a:blip r:embed="rId4"/>
                <a:srcRect t="34935"/>
                <a:stretch/>
              </p:blipFill>
              <p:spPr>
                <a:xfrm>
                  <a:off x="4024883" y="3728959"/>
                  <a:ext cx="2351246" cy="829021"/>
                </a:xfrm>
                <a:prstGeom prst="rect">
                  <a:avLst/>
                </a:prstGeom>
              </p:spPr>
            </p:pic>
          </p:grpSp>
          <p:grpSp>
            <p:nvGrpSpPr>
              <p:cNvPr id="370" name="Group 369"/>
              <p:cNvGrpSpPr/>
              <p:nvPr/>
            </p:nvGrpSpPr>
            <p:grpSpPr>
              <a:xfrm>
                <a:off x="5412464" y="4410526"/>
                <a:ext cx="1344061" cy="1442257"/>
                <a:chOff x="5476146" y="1124620"/>
                <a:chExt cx="2657874" cy="2917226"/>
              </a:xfrm>
              <a:solidFill>
                <a:schemeClr val="bg1">
                  <a:lumMod val="85000"/>
                </a:schemeClr>
              </a:solidFill>
            </p:grpSpPr>
            <p:grpSp>
              <p:nvGrpSpPr>
                <p:cNvPr id="371" name="Group 370"/>
                <p:cNvGrpSpPr/>
                <p:nvPr/>
              </p:nvGrpSpPr>
              <p:grpSpPr>
                <a:xfrm>
                  <a:off x="5476146" y="1124620"/>
                  <a:ext cx="2657874" cy="2917226"/>
                  <a:chOff x="1801906" y="1658535"/>
                  <a:chExt cx="4289140" cy="4729557"/>
                </a:xfrm>
                <a:grpFill/>
              </p:grpSpPr>
              <p:grpSp>
                <p:nvGrpSpPr>
                  <p:cNvPr id="373" name="Group 372"/>
                  <p:cNvGrpSpPr/>
                  <p:nvPr/>
                </p:nvGrpSpPr>
                <p:grpSpPr>
                  <a:xfrm>
                    <a:off x="1801906" y="1658535"/>
                    <a:ext cx="4289140" cy="4729557"/>
                    <a:chOff x="2034942" y="969081"/>
                    <a:chExt cx="5014751" cy="5529679"/>
                  </a:xfrm>
                  <a:grpFill/>
                </p:grpSpPr>
                <p:sp>
                  <p:nvSpPr>
                    <p:cNvPr id="421" name="Freeform 441"/>
                    <p:cNvSpPr>
                      <a:spLocks/>
                    </p:cNvSpPr>
                    <p:nvPr/>
                  </p:nvSpPr>
                  <p:spPr bwMode="gray">
                    <a:xfrm>
                      <a:off x="4892428" y="2992793"/>
                      <a:ext cx="863146" cy="601961"/>
                    </a:xfrm>
                    <a:custGeom>
                      <a:avLst/>
                      <a:gdLst>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1356 w 10000"/>
                        <a:gd name="connsiteY17" fmla="*/ 7004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1592 w 10000"/>
                        <a:gd name="connsiteY16" fmla="*/ 7011 h 10000"/>
                        <a:gd name="connsiteX17" fmla="*/ 1356 w 10000"/>
                        <a:gd name="connsiteY17" fmla="*/ 7004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1954 w 10000"/>
                        <a:gd name="connsiteY15" fmla="*/ 6927 h 10000"/>
                        <a:gd name="connsiteX16" fmla="*/ 1592 w 10000"/>
                        <a:gd name="connsiteY16" fmla="*/ 7011 h 10000"/>
                        <a:gd name="connsiteX17" fmla="*/ 1356 w 10000"/>
                        <a:gd name="connsiteY17" fmla="*/ 7004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046 w 10000"/>
                        <a:gd name="connsiteY14" fmla="*/ 6729 h 10000"/>
                        <a:gd name="connsiteX15" fmla="*/ 1954 w 10000"/>
                        <a:gd name="connsiteY15" fmla="*/ 6927 h 10000"/>
                        <a:gd name="connsiteX16" fmla="*/ 1592 w 10000"/>
                        <a:gd name="connsiteY16" fmla="*/ 7011 h 10000"/>
                        <a:gd name="connsiteX17" fmla="*/ 1356 w 10000"/>
                        <a:gd name="connsiteY17" fmla="*/ 7004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385 w 10000"/>
                        <a:gd name="connsiteY13" fmla="*/ 6638 h 10000"/>
                        <a:gd name="connsiteX14" fmla="*/ 2046 w 10000"/>
                        <a:gd name="connsiteY14" fmla="*/ 6729 h 10000"/>
                        <a:gd name="connsiteX15" fmla="*/ 1954 w 10000"/>
                        <a:gd name="connsiteY15" fmla="*/ 6927 h 10000"/>
                        <a:gd name="connsiteX16" fmla="*/ 1592 w 10000"/>
                        <a:gd name="connsiteY16" fmla="*/ 7011 h 10000"/>
                        <a:gd name="connsiteX17" fmla="*/ 1356 w 10000"/>
                        <a:gd name="connsiteY17" fmla="*/ 7004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2589 w 10000"/>
                        <a:gd name="connsiteY12" fmla="*/ 6973 h 10000"/>
                        <a:gd name="connsiteX13" fmla="*/ 2385 w 10000"/>
                        <a:gd name="connsiteY13" fmla="*/ 6638 h 10000"/>
                        <a:gd name="connsiteX14" fmla="*/ 2046 w 10000"/>
                        <a:gd name="connsiteY14" fmla="*/ 6729 h 10000"/>
                        <a:gd name="connsiteX15" fmla="*/ 1954 w 10000"/>
                        <a:gd name="connsiteY15" fmla="*/ 6927 h 10000"/>
                        <a:gd name="connsiteX16" fmla="*/ 1592 w 10000"/>
                        <a:gd name="connsiteY16" fmla="*/ 7011 h 10000"/>
                        <a:gd name="connsiteX17" fmla="*/ 1356 w 10000"/>
                        <a:gd name="connsiteY17" fmla="*/ 7004 h 10000"/>
                        <a:gd name="connsiteX18" fmla="*/ 1228 w 10000"/>
                        <a:gd name="connsiteY18" fmla="*/ 7161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390 w 10000"/>
                        <a:gd name="connsiteY55" fmla="*/ 7460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165 w 9880"/>
                        <a:gd name="connsiteY0" fmla="*/ 1897 h 10000"/>
                        <a:gd name="connsiteX1" fmla="*/ 1165 w 9880"/>
                        <a:gd name="connsiteY1" fmla="*/ 2412 h 10000"/>
                        <a:gd name="connsiteX2" fmla="*/ 1165 w 9880"/>
                        <a:gd name="connsiteY2" fmla="*/ 2894 h 10000"/>
                        <a:gd name="connsiteX3" fmla="*/ 1165 w 9880"/>
                        <a:gd name="connsiteY3" fmla="*/ 3376 h 10000"/>
                        <a:gd name="connsiteX4" fmla="*/ 1165 w 9880"/>
                        <a:gd name="connsiteY4" fmla="*/ 3826 h 10000"/>
                        <a:gd name="connsiteX5" fmla="*/ 523 w 9880"/>
                        <a:gd name="connsiteY5" fmla="*/ 3923 h 10000"/>
                        <a:gd name="connsiteX6" fmla="*/ 402 w 9880"/>
                        <a:gd name="connsiteY6" fmla="*/ 4180 h 10000"/>
                        <a:gd name="connsiteX7" fmla="*/ 121 w 9880"/>
                        <a:gd name="connsiteY7" fmla="*/ 4502 h 10000"/>
                        <a:gd name="connsiteX8" fmla="*/ 121 w 9880"/>
                        <a:gd name="connsiteY8" fmla="*/ 4759 h 10000"/>
                        <a:gd name="connsiteX9" fmla="*/ 0 w 9880"/>
                        <a:gd name="connsiteY9" fmla="*/ 4823 h 10000"/>
                        <a:gd name="connsiteX10" fmla="*/ 0 w 9880"/>
                        <a:gd name="connsiteY10" fmla="*/ 5048 h 10000"/>
                        <a:gd name="connsiteX11" fmla="*/ 2931 w 9880"/>
                        <a:gd name="connsiteY11" fmla="*/ 7195 h 10000"/>
                        <a:gd name="connsiteX12" fmla="*/ 2469 w 9880"/>
                        <a:gd name="connsiteY12" fmla="*/ 6973 h 10000"/>
                        <a:gd name="connsiteX13" fmla="*/ 2265 w 9880"/>
                        <a:gd name="connsiteY13" fmla="*/ 6638 h 10000"/>
                        <a:gd name="connsiteX14" fmla="*/ 1926 w 9880"/>
                        <a:gd name="connsiteY14" fmla="*/ 6729 h 10000"/>
                        <a:gd name="connsiteX15" fmla="*/ 1834 w 9880"/>
                        <a:gd name="connsiteY15" fmla="*/ 6927 h 10000"/>
                        <a:gd name="connsiteX16" fmla="*/ 1472 w 9880"/>
                        <a:gd name="connsiteY16" fmla="*/ 7011 h 10000"/>
                        <a:gd name="connsiteX17" fmla="*/ 1236 w 9880"/>
                        <a:gd name="connsiteY17" fmla="*/ 7004 h 10000"/>
                        <a:gd name="connsiteX18" fmla="*/ 1108 w 9880"/>
                        <a:gd name="connsiteY18" fmla="*/ 7161 h 10000"/>
                        <a:gd name="connsiteX19" fmla="*/ 884 w 9880"/>
                        <a:gd name="connsiteY19" fmla="*/ 6913 h 10000"/>
                        <a:gd name="connsiteX20" fmla="*/ 844 w 9880"/>
                        <a:gd name="connsiteY20" fmla="*/ 7363 h 10000"/>
                        <a:gd name="connsiteX21" fmla="*/ 924 w 9880"/>
                        <a:gd name="connsiteY21" fmla="*/ 7428 h 10000"/>
                        <a:gd name="connsiteX22" fmla="*/ 1245 w 9880"/>
                        <a:gd name="connsiteY22" fmla="*/ 7460 h 10000"/>
                        <a:gd name="connsiteX23" fmla="*/ 1286 w 9880"/>
                        <a:gd name="connsiteY23" fmla="*/ 7588 h 10000"/>
                        <a:gd name="connsiteX24" fmla="*/ 1647 w 9880"/>
                        <a:gd name="connsiteY24" fmla="*/ 7621 h 10000"/>
                        <a:gd name="connsiteX25" fmla="*/ 1848 w 9880"/>
                        <a:gd name="connsiteY25" fmla="*/ 7749 h 10000"/>
                        <a:gd name="connsiteX26" fmla="*/ 1888 w 9880"/>
                        <a:gd name="connsiteY26" fmla="*/ 7974 h 10000"/>
                        <a:gd name="connsiteX27" fmla="*/ 2531 w 9880"/>
                        <a:gd name="connsiteY27" fmla="*/ 8360 h 10000"/>
                        <a:gd name="connsiteX28" fmla="*/ 2691 w 9880"/>
                        <a:gd name="connsiteY28" fmla="*/ 8746 h 10000"/>
                        <a:gd name="connsiteX29" fmla="*/ 3133 w 9880"/>
                        <a:gd name="connsiteY29" fmla="*/ 8939 h 10000"/>
                        <a:gd name="connsiteX30" fmla="*/ 3294 w 9880"/>
                        <a:gd name="connsiteY30" fmla="*/ 9196 h 10000"/>
                        <a:gd name="connsiteX31" fmla="*/ 3615 w 9880"/>
                        <a:gd name="connsiteY31" fmla="*/ 9518 h 10000"/>
                        <a:gd name="connsiteX32" fmla="*/ 3856 w 9880"/>
                        <a:gd name="connsiteY32" fmla="*/ 9614 h 10000"/>
                        <a:gd name="connsiteX33" fmla="*/ 4017 w 9880"/>
                        <a:gd name="connsiteY33" fmla="*/ 9518 h 10000"/>
                        <a:gd name="connsiteX34" fmla="*/ 4418 w 9880"/>
                        <a:gd name="connsiteY34" fmla="*/ 9550 h 10000"/>
                        <a:gd name="connsiteX35" fmla="*/ 4579 w 9880"/>
                        <a:gd name="connsiteY35" fmla="*/ 9486 h 10000"/>
                        <a:gd name="connsiteX36" fmla="*/ 5302 w 9880"/>
                        <a:gd name="connsiteY36" fmla="*/ 9968 h 10000"/>
                        <a:gd name="connsiteX37" fmla="*/ 5342 w 9880"/>
                        <a:gd name="connsiteY37" fmla="*/ 9968 h 10000"/>
                        <a:gd name="connsiteX38" fmla="*/ 5422 w 9880"/>
                        <a:gd name="connsiteY38" fmla="*/ 9904 h 10000"/>
                        <a:gd name="connsiteX39" fmla="*/ 5944 w 9880"/>
                        <a:gd name="connsiteY39" fmla="*/ 9904 h 10000"/>
                        <a:gd name="connsiteX40" fmla="*/ 6025 w 9880"/>
                        <a:gd name="connsiteY40" fmla="*/ 10000 h 10000"/>
                        <a:gd name="connsiteX41" fmla="*/ 6466 w 9880"/>
                        <a:gd name="connsiteY41" fmla="*/ 9871 h 10000"/>
                        <a:gd name="connsiteX42" fmla="*/ 6868 w 9880"/>
                        <a:gd name="connsiteY42" fmla="*/ 9871 h 10000"/>
                        <a:gd name="connsiteX43" fmla="*/ 7149 w 9880"/>
                        <a:gd name="connsiteY43" fmla="*/ 9743 h 10000"/>
                        <a:gd name="connsiteX44" fmla="*/ 7470 w 9880"/>
                        <a:gd name="connsiteY44" fmla="*/ 9486 h 10000"/>
                        <a:gd name="connsiteX45" fmla="*/ 8314 w 9880"/>
                        <a:gd name="connsiteY45" fmla="*/ 9486 h 10000"/>
                        <a:gd name="connsiteX46" fmla="*/ 8314 w 9880"/>
                        <a:gd name="connsiteY46" fmla="*/ 9132 h 10000"/>
                        <a:gd name="connsiteX47" fmla="*/ 7872 w 9880"/>
                        <a:gd name="connsiteY47" fmla="*/ 8971 h 10000"/>
                        <a:gd name="connsiteX48" fmla="*/ 7631 w 9880"/>
                        <a:gd name="connsiteY48" fmla="*/ 8457 h 10000"/>
                        <a:gd name="connsiteX49" fmla="*/ 7310 w 9880"/>
                        <a:gd name="connsiteY49" fmla="*/ 8264 h 10000"/>
                        <a:gd name="connsiteX50" fmla="*/ 7109 w 9880"/>
                        <a:gd name="connsiteY50" fmla="*/ 8006 h 10000"/>
                        <a:gd name="connsiteX51" fmla="*/ 6587 w 9880"/>
                        <a:gd name="connsiteY51" fmla="*/ 7814 h 10000"/>
                        <a:gd name="connsiteX52" fmla="*/ 6707 w 9880"/>
                        <a:gd name="connsiteY52" fmla="*/ 7749 h 10000"/>
                        <a:gd name="connsiteX53" fmla="*/ 6707 w 9880"/>
                        <a:gd name="connsiteY53" fmla="*/ 7588 h 10000"/>
                        <a:gd name="connsiteX54" fmla="*/ 7069 w 9880"/>
                        <a:gd name="connsiteY54" fmla="*/ 7588 h 10000"/>
                        <a:gd name="connsiteX55" fmla="*/ 7270 w 9880"/>
                        <a:gd name="connsiteY55" fmla="*/ 7460 h 10000"/>
                        <a:gd name="connsiteX56" fmla="*/ 7310 w 9880"/>
                        <a:gd name="connsiteY56" fmla="*/ 6527 h 10000"/>
                        <a:gd name="connsiteX57" fmla="*/ 7350 w 9880"/>
                        <a:gd name="connsiteY57" fmla="*/ 6559 h 10000"/>
                        <a:gd name="connsiteX58" fmla="*/ 7470 w 9880"/>
                        <a:gd name="connsiteY58" fmla="*/ 6367 h 10000"/>
                        <a:gd name="connsiteX59" fmla="*/ 7711 w 9880"/>
                        <a:gd name="connsiteY59" fmla="*/ 6270 h 10000"/>
                        <a:gd name="connsiteX60" fmla="*/ 7832 w 9880"/>
                        <a:gd name="connsiteY60" fmla="*/ 5916 h 10000"/>
                        <a:gd name="connsiteX61" fmla="*/ 8193 w 9880"/>
                        <a:gd name="connsiteY61" fmla="*/ 5498 h 10000"/>
                        <a:gd name="connsiteX62" fmla="*/ 8474 w 9880"/>
                        <a:gd name="connsiteY62" fmla="*/ 5305 h 10000"/>
                        <a:gd name="connsiteX63" fmla="*/ 8675 w 9880"/>
                        <a:gd name="connsiteY63" fmla="*/ 4759 h 10000"/>
                        <a:gd name="connsiteX64" fmla="*/ 8675 w 9880"/>
                        <a:gd name="connsiteY64" fmla="*/ 4630 h 10000"/>
                        <a:gd name="connsiteX65" fmla="*/ 8635 w 9880"/>
                        <a:gd name="connsiteY65" fmla="*/ 4309 h 10000"/>
                        <a:gd name="connsiteX66" fmla="*/ 9037 w 9880"/>
                        <a:gd name="connsiteY66" fmla="*/ 3151 h 10000"/>
                        <a:gd name="connsiteX67" fmla="*/ 9157 w 9880"/>
                        <a:gd name="connsiteY67" fmla="*/ 3151 h 10000"/>
                        <a:gd name="connsiteX68" fmla="*/ 9318 w 9880"/>
                        <a:gd name="connsiteY68" fmla="*/ 3055 h 10000"/>
                        <a:gd name="connsiteX69" fmla="*/ 9800 w 9880"/>
                        <a:gd name="connsiteY69" fmla="*/ 2894 h 10000"/>
                        <a:gd name="connsiteX70" fmla="*/ 9880 w 9880"/>
                        <a:gd name="connsiteY70" fmla="*/ 2637 h 10000"/>
                        <a:gd name="connsiteX71" fmla="*/ 9840 w 9880"/>
                        <a:gd name="connsiteY71" fmla="*/ 2572 h 10000"/>
                        <a:gd name="connsiteX72" fmla="*/ 9679 w 9880"/>
                        <a:gd name="connsiteY72" fmla="*/ 2572 h 10000"/>
                        <a:gd name="connsiteX73" fmla="*/ 9559 w 9880"/>
                        <a:gd name="connsiteY73" fmla="*/ 2412 h 10000"/>
                        <a:gd name="connsiteX74" fmla="*/ 9318 w 9880"/>
                        <a:gd name="connsiteY74" fmla="*/ 2347 h 10000"/>
                        <a:gd name="connsiteX75" fmla="*/ 9197 w 9880"/>
                        <a:gd name="connsiteY75" fmla="*/ 2219 h 10000"/>
                        <a:gd name="connsiteX76" fmla="*/ 9117 w 9880"/>
                        <a:gd name="connsiteY76" fmla="*/ 1736 h 10000"/>
                        <a:gd name="connsiteX77" fmla="*/ 9117 w 9880"/>
                        <a:gd name="connsiteY77" fmla="*/ 1061 h 10000"/>
                        <a:gd name="connsiteX78" fmla="*/ 8916 w 9880"/>
                        <a:gd name="connsiteY78" fmla="*/ 836 h 10000"/>
                        <a:gd name="connsiteX79" fmla="*/ 8876 w 9880"/>
                        <a:gd name="connsiteY79" fmla="*/ 611 h 10000"/>
                        <a:gd name="connsiteX80" fmla="*/ 8555 w 9880"/>
                        <a:gd name="connsiteY80" fmla="*/ 289 h 10000"/>
                        <a:gd name="connsiteX81" fmla="*/ 8274 w 9880"/>
                        <a:gd name="connsiteY81" fmla="*/ 161 h 10000"/>
                        <a:gd name="connsiteX82" fmla="*/ 8113 w 9880"/>
                        <a:gd name="connsiteY82" fmla="*/ 0 h 10000"/>
                        <a:gd name="connsiteX83" fmla="*/ 7872 w 9880"/>
                        <a:gd name="connsiteY83" fmla="*/ 161 h 10000"/>
                        <a:gd name="connsiteX84" fmla="*/ 7711 w 9880"/>
                        <a:gd name="connsiteY84" fmla="*/ 129 h 10000"/>
                        <a:gd name="connsiteX85" fmla="*/ 7591 w 9880"/>
                        <a:gd name="connsiteY85" fmla="*/ 418 h 10000"/>
                        <a:gd name="connsiteX86" fmla="*/ 7270 w 9880"/>
                        <a:gd name="connsiteY86" fmla="*/ 482 h 10000"/>
                        <a:gd name="connsiteX87" fmla="*/ 7189 w 9880"/>
                        <a:gd name="connsiteY87" fmla="*/ 707 h 10000"/>
                        <a:gd name="connsiteX88" fmla="*/ 6908 w 9880"/>
                        <a:gd name="connsiteY88" fmla="*/ 707 h 10000"/>
                        <a:gd name="connsiteX89" fmla="*/ 6667 w 9880"/>
                        <a:gd name="connsiteY89" fmla="*/ 611 h 10000"/>
                        <a:gd name="connsiteX90" fmla="*/ 6145 w 9880"/>
                        <a:gd name="connsiteY90" fmla="*/ 611 h 10000"/>
                        <a:gd name="connsiteX91" fmla="*/ 5623 w 9880"/>
                        <a:gd name="connsiteY91" fmla="*/ 611 h 10000"/>
                        <a:gd name="connsiteX92" fmla="*/ 5663 w 9880"/>
                        <a:gd name="connsiteY92" fmla="*/ 482 h 10000"/>
                        <a:gd name="connsiteX93" fmla="*/ 5583 w 9880"/>
                        <a:gd name="connsiteY93" fmla="*/ 482 h 10000"/>
                        <a:gd name="connsiteX94" fmla="*/ 5543 w 9880"/>
                        <a:gd name="connsiteY94" fmla="*/ 611 h 10000"/>
                        <a:gd name="connsiteX95" fmla="*/ 5061 w 9880"/>
                        <a:gd name="connsiteY95" fmla="*/ 611 h 10000"/>
                        <a:gd name="connsiteX96" fmla="*/ 4579 w 9880"/>
                        <a:gd name="connsiteY96" fmla="*/ 611 h 10000"/>
                        <a:gd name="connsiteX97" fmla="*/ 4097 w 9880"/>
                        <a:gd name="connsiteY97" fmla="*/ 611 h 10000"/>
                        <a:gd name="connsiteX98" fmla="*/ 3615 w 9880"/>
                        <a:gd name="connsiteY98" fmla="*/ 611 h 10000"/>
                        <a:gd name="connsiteX99" fmla="*/ 3173 w 9880"/>
                        <a:gd name="connsiteY99" fmla="*/ 611 h 10000"/>
                        <a:gd name="connsiteX100" fmla="*/ 2691 w 9880"/>
                        <a:gd name="connsiteY100" fmla="*/ 611 h 10000"/>
                        <a:gd name="connsiteX101" fmla="*/ 2249 w 9880"/>
                        <a:gd name="connsiteY101" fmla="*/ 611 h 10000"/>
                        <a:gd name="connsiteX102" fmla="*/ 1768 w 9880"/>
                        <a:gd name="connsiteY102" fmla="*/ 611 h 10000"/>
                        <a:gd name="connsiteX103" fmla="*/ 1768 w 9880"/>
                        <a:gd name="connsiteY103" fmla="*/ 1061 h 10000"/>
                        <a:gd name="connsiteX104" fmla="*/ 1768 w 9880"/>
                        <a:gd name="connsiteY104" fmla="*/ 1640 h 10000"/>
                        <a:gd name="connsiteX105" fmla="*/ 1165 w 9880"/>
                        <a:gd name="connsiteY105" fmla="*/ 1640 h 10000"/>
                        <a:gd name="connsiteX106" fmla="*/ 1165 w 9880"/>
                        <a:gd name="connsiteY106" fmla="*/ 1897 h 10000"/>
                        <a:gd name="connsiteX0" fmla="*/ 1179 w 10000"/>
                        <a:gd name="connsiteY0" fmla="*/ 1897 h 10000"/>
                        <a:gd name="connsiteX1" fmla="*/ 1179 w 10000"/>
                        <a:gd name="connsiteY1" fmla="*/ 2412 h 10000"/>
                        <a:gd name="connsiteX2" fmla="*/ 1179 w 10000"/>
                        <a:gd name="connsiteY2" fmla="*/ 2894 h 10000"/>
                        <a:gd name="connsiteX3" fmla="*/ 1179 w 10000"/>
                        <a:gd name="connsiteY3" fmla="*/ 3376 h 10000"/>
                        <a:gd name="connsiteX4" fmla="*/ 1179 w 10000"/>
                        <a:gd name="connsiteY4" fmla="*/ 3826 h 10000"/>
                        <a:gd name="connsiteX5" fmla="*/ 529 w 10000"/>
                        <a:gd name="connsiteY5" fmla="*/ 3923 h 10000"/>
                        <a:gd name="connsiteX6" fmla="*/ 407 w 10000"/>
                        <a:gd name="connsiteY6" fmla="*/ 4180 h 10000"/>
                        <a:gd name="connsiteX7" fmla="*/ 122 w 10000"/>
                        <a:gd name="connsiteY7" fmla="*/ 4502 h 10000"/>
                        <a:gd name="connsiteX8" fmla="*/ 122 w 10000"/>
                        <a:gd name="connsiteY8" fmla="*/ 4759 h 10000"/>
                        <a:gd name="connsiteX9" fmla="*/ 0 w 10000"/>
                        <a:gd name="connsiteY9" fmla="*/ 4823 h 10000"/>
                        <a:gd name="connsiteX10" fmla="*/ 3155 w 10000"/>
                        <a:gd name="connsiteY10" fmla="*/ 7095 h 10000"/>
                        <a:gd name="connsiteX11" fmla="*/ 2967 w 10000"/>
                        <a:gd name="connsiteY11" fmla="*/ 7195 h 10000"/>
                        <a:gd name="connsiteX12" fmla="*/ 2499 w 10000"/>
                        <a:gd name="connsiteY12" fmla="*/ 6973 h 10000"/>
                        <a:gd name="connsiteX13" fmla="*/ 2293 w 10000"/>
                        <a:gd name="connsiteY13" fmla="*/ 6638 h 10000"/>
                        <a:gd name="connsiteX14" fmla="*/ 1949 w 10000"/>
                        <a:gd name="connsiteY14" fmla="*/ 6729 h 10000"/>
                        <a:gd name="connsiteX15" fmla="*/ 1856 w 10000"/>
                        <a:gd name="connsiteY15" fmla="*/ 6927 h 10000"/>
                        <a:gd name="connsiteX16" fmla="*/ 1490 w 10000"/>
                        <a:gd name="connsiteY16" fmla="*/ 7011 h 10000"/>
                        <a:gd name="connsiteX17" fmla="*/ 1251 w 10000"/>
                        <a:gd name="connsiteY17" fmla="*/ 7004 h 10000"/>
                        <a:gd name="connsiteX18" fmla="*/ 1121 w 10000"/>
                        <a:gd name="connsiteY18" fmla="*/ 7161 h 10000"/>
                        <a:gd name="connsiteX19" fmla="*/ 895 w 10000"/>
                        <a:gd name="connsiteY19" fmla="*/ 6913 h 10000"/>
                        <a:gd name="connsiteX20" fmla="*/ 854 w 10000"/>
                        <a:gd name="connsiteY20" fmla="*/ 7363 h 10000"/>
                        <a:gd name="connsiteX21" fmla="*/ 935 w 10000"/>
                        <a:gd name="connsiteY21" fmla="*/ 7428 h 10000"/>
                        <a:gd name="connsiteX22" fmla="*/ 1260 w 10000"/>
                        <a:gd name="connsiteY22" fmla="*/ 7460 h 10000"/>
                        <a:gd name="connsiteX23" fmla="*/ 1302 w 10000"/>
                        <a:gd name="connsiteY23" fmla="*/ 7588 h 10000"/>
                        <a:gd name="connsiteX24" fmla="*/ 1667 w 10000"/>
                        <a:gd name="connsiteY24" fmla="*/ 7621 h 10000"/>
                        <a:gd name="connsiteX25" fmla="*/ 1870 w 10000"/>
                        <a:gd name="connsiteY25" fmla="*/ 7749 h 10000"/>
                        <a:gd name="connsiteX26" fmla="*/ 1911 w 10000"/>
                        <a:gd name="connsiteY26" fmla="*/ 7974 h 10000"/>
                        <a:gd name="connsiteX27" fmla="*/ 2562 w 10000"/>
                        <a:gd name="connsiteY27" fmla="*/ 8360 h 10000"/>
                        <a:gd name="connsiteX28" fmla="*/ 2724 w 10000"/>
                        <a:gd name="connsiteY28" fmla="*/ 8746 h 10000"/>
                        <a:gd name="connsiteX29" fmla="*/ 3171 w 10000"/>
                        <a:gd name="connsiteY29" fmla="*/ 8939 h 10000"/>
                        <a:gd name="connsiteX30" fmla="*/ 3334 w 10000"/>
                        <a:gd name="connsiteY30" fmla="*/ 9196 h 10000"/>
                        <a:gd name="connsiteX31" fmla="*/ 3659 w 10000"/>
                        <a:gd name="connsiteY31" fmla="*/ 9518 h 10000"/>
                        <a:gd name="connsiteX32" fmla="*/ 3903 w 10000"/>
                        <a:gd name="connsiteY32" fmla="*/ 9614 h 10000"/>
                        <a:gd name="connsiteX33" fmla="*/ 4066 w 10000"/>
                        <a:gd name="connsiteY33" fmla="*/ 9518 h 10000"/>
                        <a:gd name="connsiteX34" fmla="*/ 4472 w 10000"/>
                        <a:gd name="connsiteY34" fmla="*/ 9550 h 10000"/>
                        <a:gd name="connsiteX35" fmla="*/ 4635 w 10000"/>
                        <a:gd name="connsiteY35" fmla="*/ 9486 h 10000"/>
                        <a:gd name="connsiteX36" fmla="*/ 5366 w 10000"/>
                        <a:gd name="connsiteY36" fmla="*/ 9968 h 10000"/>
                        <a:gd name="connsiteX37" fmla="*/ 5407 w 10000"/>
                        <a:gd name="connsiteY37" fmla="*/ 9968 h 10000"/>
                        <a:gd name="connsiteX38" fmla="*/ 5488 w 10000"/>
                        <a:gd name="connsiteY38" fmla="*/ 9904 h 10000"/>
                        <a:gd name="connsiteX39" fmla="*/ 6016 w 10000"/>
                        <a:gd name="connsiteY39" fmla="*/ 9904 h 10000"/>
                        <a:gd name="connsiteX40" fmla="*/ 6098 w 10000"/>
                        <a:gd name="connsiteY40" fmla="*/ 10000 h 10000"/>
                        <a:gd name="connsiteX41" fmla="*/ 6545 w 10000"/>
                        <a:gd name="connsiteY41" fmla="*/ 9871 h 10000"/>
                        <a:gd name="connsiteX42" fmla="*/ 6951 w 10000"/>
                        <a:gd name="connsiteY42" fmla="*/ 9871 h 10000"/>
                        <a:gd name="connsiteX43" fmla="*/ 7236 w 10000"/>
                        <a:gd name="connsiteY43" fmla="*/ 9743 h 10000"/>
                        <a:gd name="connsiteX44" fmla="*/ 7561 w 10000"/>
                        <a:gd name="connsiteY44" fmla="*/ 9486 h 10000"/>
                        <a:gd name="connsiteX45" fmla="*/ 8415 w 10000"/>
                        <a:gd name="connsiteY45" fmla="*/ 9486 h 10000"/>
                        <a:gd name="connsiteX46" fmla="*/ 8415 w 10000"/>
                        <a:gd name="connsiteY46" fmla="*/ 9132 h 10000"/>
                        <a:gd name="connsiteX47" fmla="*/ 7968 w 10000"/>
                        <a:gd name="connsiteY47" fmla="*/ 8971 h 10000"/>
                        <a:gd name="connsiteX48" fmla="*/ 7724 w 10000"/>
                        <a:gd name="connsiteY48" fmla="*/ 8457 h 10000"/>
                        <a:gd name="connsiteX49" fmla="*/ 7399 w 10000"/>
                        <a:gd name="connsiteY49" fmla="*/ 8264 h 10000"/>
                        <a:gd name="connsiteX50" fmla="*/ 7195 w 10000"/>
                        <a:gd name="connsiteY50" fmla="*/ 8006 h 10000"/>
                        <a:gd name="connsiteX51" fmla="*/ 6667 w 10000"/>
                        <a:gd name="connsiteY51" fmla="*/ 7814 h 10000"/>
                        <a:gd name="connsiteX52" fmla="*/ 6788 w 10000"/>
                        <a:gd name="connsiteY52" fmla="*/ 7749 h 10000"/>
                        <a:gd name="connsiteX53" fmla="*/ 6788 w 10000"/>
                        <a:gd name="connsiteY53" fmla="*/ 7588 h 10000"/>
                        <a:gd name="connsiteX54" fmla="*/ 7155 w 10000"/>
                        <a:gd name="connsiteY54" fmla="*/ 7588 h 10000"/>
                        <a:gd name="connsiteX55" fmla="*/ 7358 w 10000"/>
                        <a:gd name="connsiteY55" fmla="*/ 7460 h 10000"/>
                        <a:gd name="connsiteX56" fmla="*/ 7399 w 10000"/>
                        <a:gd name="connsiteY56" fmla="*/ 6527 h 10000"/>
                        <a:gd name="connsiteX57" fmla="*/ 7439 w 10000"/>
                        <a:gd name="connsiteY57" fmla="*/ 6559 h 10000"/>
                        <a:gd name="connsiteX58" fmla="*/ 7561 w 10000"/>
                        <a:gd name="connsiteY58" fmla="*/ 6367 h 10000"/>
                        <a:gd name="connsiteX59" fmla="*/ 7805 w 10000"/>
                        <a:gd name="connsiteY59" fmla="*/ 6270 h 10000"/>
                        <a:gd name="connsiteX60" fmla="*/ 7927 w 10000"/>
                        <a:gd name="connsiteY60" fmla="*/ 5916 h 10000"/>
                        <a:gd name="connsiteX61" fmla="*/ 8293 w 10000"/>
                        <a:gd name="connsiteY61" fmla="*/ 5498 h 10000"/>
                        <a:gd name="connsiteX62" fmla="*/ 8577 w 10000"/>
                        <a:gd name="connsiteY62" fmla="*/ 5305 h 10000"/>
                        <a:gd name="connsiteX63" fmla="*/ 8780 w 10000"/>
                        <a:gd name="connsiteY63" fmla="*/ 4759 h 10000"/>
                        <a:gd name="connsiteX64" fmla="*/ 8780 w 10000"/>
                        <a:gd name="connsiteY64" fmla="*/ 4630 h 10000"/>
                        <a:gd name="connsiteX65" fmla="*/ 8740 w 10000"/>
                        <a:gd name="connsiteY65" fmla="*/ 4309 h 10000"/>
                        <a:gd name="connsiteX66" fmla="*/ 9147 w 10000"/>
                        <a:gd name="connsiteY66" fmla="*/ 3151 h 10000"/>
                        <a:gd name="connsiteX67" fmla="*/ 9268 w 10000"/>
                        <a:gd name="connsiteY67" fmla="*/ 3151 h 10000"/>
                        <a:gd name="connsiteX68" fmla="*/ 9431 w 10000"/>
                        <a:gd name="connsiteY68" fmla="*/ 3055 h 10000"/>
                        <a:gd name="connsiteX69" fmla="*/ 9919 w 10000"/>
                        <a:gd name="connsiteY69" fmla="*/ 2894 h 10000"/>
                        <a:gd name="connsiteX70" fmla="*/ 10000 w 10000"/>
                        <a:gd name="connsiteY70" fmla="*/ 2637 h 10000"/>
                        <a:gd name="connsiteX71" fmla="*/ 9960 w 10000"/>
                        <a:gd name="connsiteY71" fmla="*/ 2572 h 10000"/>
                        <a:gd name="connsiteX72" fmla="*/ 9797 w 10000"/>
                        <a:gd name="connsiteY72" fmla="*/ 2572 h 10000"/>
                        <a:gd name="connsiteX73" fmla="*/ 9675 w 10000"/>
                        <a:gd name="connsiteY73" fmla="*/ 2412 h 10000"/>
                        <a:gd name="connsiteX74" fmla="*/ 9431 w 10000"/>
                        <a:gd name="connsiteY74" fmla="*/ 2347 h 10000"/>
                        <a:gd name="connsiteX75" fmla="*/ 9309 w 10000"/>
                        <a:gd name="connsiteY75" fmla="*/ 2219 h 10000"/>
                        <a:gd name="connsiteX76" fmla="*/ 9228 w 10000"/>
                        <a:gd name="connsiteY76" fmla="*/ 1736 h 10000"/>
                        <a:gd name="connsiteX77" fmla="*/ 9228 w 10000"/>
                        <a:gd name="connsiteY77" fmla="*/ 1061 h 10000"/>
                        <a:gd name="connsiteX78" fmla="*/ 9024 w 10000"/>
                        <a:gd name="connsiteY78" fmla="*/ 836 h 10000"/>
                        <a:gd name="connsiteX79" fmla="*/ 8984 w 10000"/>
                        <a:gd name="connsiteY79" fmla="*/ 611 h 10000"/>
                        <a:gd name="connsiteX80" fmla="*/ 8659 w 10000"/>
                        <a:gd name="connsiteY80" fmla="*/ 289 h 10000"/>
                        <a:gd name="connsiteX81" fmla="*/ 8374 w 10000"/>
                        <a:gd name="connsiteY81" fmla="*/ 161 h 10000"/>
                        <a:gd name="connsiteX82" fmla="*/ 8212 w 10000"/>
                        <a:gd name="connsiteY82" fmla="*/ 0 h 10000"/>
                        <a:gd name="connsiteX83" fmla="*/ 7968 w 10000"/>
                        <a:gd name="connsiteY83" fmla="*/ 161 h 10000"/>
                        <a:gd name="connsiteX84" fmla="*/ 7805 w 10000"/>
                        <a:gd name="connsiteY84" fmla="*/ 129 h 10000"/>
                        <a:gd name="connsiteX85" fmla="*/ 7683 w 10000"/>
                        <a:gd name="connsiteY85" fmla="*/ 418 h 10000"/>
                        <a:gd name="connsiteX86" fmla="*/ 7358 w 10000"/>
                        <a:gd name="connsiteY86" fmla="*/ 482 h 10000"/>
                        <a:gd name="connsiteX87" fmla="*/ 7276 w 10000"/>
                        <a:gd name="connsiteY87" fmla="*/ 707 h 10000"/>
                        <a:gd name="connsiteX88" fmla="*/ 6992 w 10000"/>
                        <a:gd name="connsiteY88" fmla="*/ 707 h 10000"/>
                        <a:gd name="connsiteX89" fmla="*/ 6748 w 10000"/>
                        <a:gd name="connsiteY89" fmla="*/ 611 h 10000"/>
                        <a:gd name="connsiteX90" fmla="*/ 6220 w 10000"/>
                        <a:gd name="connsiteY90" fmla="*/ 611 h 10000"/>
                        <a:gd name="connsiteX91" fmla="*/ 5691 w 10000"/>
                        <a:gd name="connsiteY91" fmla="*/ 611 h 10000"/>
                        <a:gd name="connsiteX92" fmla="*/ 5732 w 10000"/>
                        <a:gd name="connsiteY92" fmla="*/ 482 h 10000"/>
                        <a:gd name="connsiteX93" fmla="*/ 5651 w 10000"/>
                        <a:gd name="connsiteY93" fmla="*/ 482 h 10000"/>
                        <a:gd name="connsiteX94" fmla="*/ 5610 w 10000"/>
                        <a:gd name="connsiteY94" fmla="*/ 611 h 10000"/>
                        <a:gd name="connsiteX95" fmla="*/ 5122 w 10000"/>
                        <a:gd name="connsiteY95" fmla="*/ 611 h 10000"/>
                        <a:gd name="connsiteX96" fmla="*/ 4635 w 10000"/>
                        <a:gd name="connsiteY96" fmla="*/ 611 h 10000"/>
                        <a:gd name="connsiteX97" fmla="*/ 4147 w 10000"/>
                        <a:gd name="connsiteY97" fmla="*/ 611 h 10000"/>
                        <a:gd name="connsiteX98" fmla="*/ 3659 w 10000"/>
                        <a:gd name="connsiteY98" fmla="*/ 611 h 10000"/>
                        <a:gd name="connsiteX99" fmla="*/ 3212 w 10000"/>
                        <a:gd name="connsiteY99" fmla="*/ 611 h 10000"/>
                        <a:gd name="connsiteX100" fmla="*/ 2724 w 10000"/>
                        <a:gd name="connsiteY100" fmla="*/ 611 h 10000"/>
                        <a:gd name="connsiteX101" fmla="*/ 2276 w 10000"/>
                        <a:gd name="connsiteY101" fmla="*/ 611 h 10000"/>
                        <a:gd name="connsiteX102" fmla="*/ 1789 w 10000"/>
                        <a:gd name="connsiteY102" fmla="*/ 611 h 10000"/>
                        <a:gd name="connsiteX103" fmla="*/ 1789 w 10000"/>
                        <a:gd name="connsiteY103" fmla="*/ 1061 h 10000"/>
                        <a:gd name="connsiteX104" fmla="*/ 1789 w 10000"/>
                        <a:gd name="connsiteY104" fmla="*/ 1640 h 10000"/>
                        <a:gd name="connsiteX105" fmla="*/ 1179 w 10000"/>
                        <a:gd name="connsiteY105" fmla="*/ 1640 h 10000"/>
                        <a:gd name="connsiteX106" fmla="*/ 1179 w 10000"/>
                        <a:gd name="connsiteY106" fmla="*/ 1897 h 10000"/>
                        <a:gd name="connsiteX0" fmla="*/ 1098 w 9919"/>
                        <a:gd name="connsiteY0" fmla="*/ 1897 h 10000"/>
                        <a:gd name="connsiteX1" fmla="*/ 1098 w 9919"/>
                        <a:gd name="connsiteY1" fmla="*/ 2412 h 10000"/>
                        <a:gd name="connsiteX2" fmla="*/ 1098 w 9919"/>
                        <a:gd name="connsiteY2" fmla="*/ 2894 h 10000"/>
                        <a:gd name="connsiteX3" fmla="*/ 1098 w 9919"/>
                        <a:gd name="connsiteY3" fmla="*/ 3376 h 10000"/>
                        <a:gd name="connsiteX4" fmla="*/ 1098 w 9919"/>
                        <a:gd name="connsiteY4" fmla="*/ 3826 h 10000"/>
                        <a:gd name="connsiteX5" fmla="*/ 448 w 9919"/>
                        <a:gd name="connsiteY5" fmla="*/ 3923 h 10000"/>
                        <a:gd name="connsiteX6" fmla="*/ 326 w 9919"/>
                        <a:gd name="connsiteY6" fmla="*/ 4180 h 10000"/>
                        <a:gd name="connsiteX7" fmla="*/ 41 w 9919"/>
                        <a:gd name="connsiteY7" fmla="*/ 4502 h 10000"/>
                        <a:gd name="connsiteX8" fmla="*/ 41 w 9919"/>
                        <a:gd name="connsiteY8" fmla="*/ 4759 h 10000"/>
                        <a:gd name="connsiteX9" fmla="*/ 3775 w 9919"/>
                        <a:gd name="connsiteY9" fmla="*/ 7279 h 10000"/>
                        <a:gd name="connsiteX10" fmla="*/ 3074 w 9919"/>
                        <a:gd name="connsiteY10" fmla="*/ 7095 h 10000"/>
                        <a:gd name="connsiteX11" fmla="*/ 2886 w 9919"/>
                        <a:gd name="connsiteY11" fmla="*/ 7195 h 10000"/>
                        <a:gd name="connsiteX12" fmla="*/ 2418 w 9919"/>
                        <a:gd name="connsiteY12" fmla="*/ 6973 h 10000"/>
                        <a:gd name="connsiteX13" fmla="*/ 2212 w 9919"/>
                        <a:gd name="connsiteY13" fmla="*/ 6638 h 10000"/>
                        <a:gd name="connsiteX14" fmla="*/ 1868 w 9919"/>
                        <a:gd name="connsiteY14" fmla="*/ 6729 h 10000"/>
                        <a:gd name="connsiteX15" fmla="*/ 1775 w 9919"/>
                        <a:gd name="connsiteY15" fmla="*/ 6927 h 10000"/>
                        <a:gd name="connsiteX16" fmla="*/ 1409 w 9919"/>
                        <a:gd name="connsiteY16" fmla="*/ 7011 h 10000"/>
                        <a:gd name="connsiteX17" fmla="*/ 1170 w 9919"/>
                        <a:gd name="connsiteY17" fmla="*/ 7004 h 10000"/>
                        <a:gd name="connsiteX18" fmla="*/ 1040 w 9919"/>
                        <a:gd name="connsiteY18" fmla="*/ 7161 h 10000"/>
                        <a:gd name="connsiteX19" fmla="*/ 814 w 9919"/>
                        <a:gd name="connsiteY19" fmla="*/ 6913 h 10000"/>
                        <a:gd name="connsiteX20" fmla="*/ 773 w 9919"/>
                        <a:gd name="connsiteY20" fmla="*/ 7363 h 10000"/>
                        <a:gd name="connsiteX21" fmla="*/ 854 w 9919"/>
                        <a:gd name="connsiteY21" fmla="*/ 7428 h 10000"/>
                        <a:gd name="connsiteX22" fmla="*/ 1179 w 9919"/>
                        <a:gd name="connsiteY22" fmla="*/ 7460 h 10000"/>
                        <a:gd name="connsiteX23" fmla="*/ 1221 w 9919"/>
                        <a:gd name="connsiteY23" fmla="*/ 7588 h 10000"/>
                        <a:gd name="connsiteX24" fmla="*/ 1586 w 9919"/>
                        <a:gd name="connsiteY24" fmla="*/ 7621 h 10000"/>
                        <a:gd name="connsiteX25" fmla="*/ 1789 w 9919"/>
                        <a:gd name="connsiteY25" fmla="*/ 7749 h 10000"/>
                        <a:gd name="connsiteX26" fmla="*/ 1830 w 9919"/>
                        <a:gd name="connsiteY26" fmla="*/ 7974 h 10000"/>
                        <a:gd name="connsiteX27" fmla="*/ 2481 w 9919"/>
                        <a:gd name="connsiteY27" fmla="*/ 8360 h 10000"/>
                        <a:gd name="connsiteX28" fmla="*/ 2643 w 9919"/>
                        <a:gd name="connsiteY28" fmla="*/ 8746 h 10000"/>
                        <a:gd name="connsiteX29" fmla="*/ 3090 w 9919"/>
                        <a:gd name="connsiteY29" fmla="*/ 8939 h 10000"/>
                        <a:gd name="connsiteX30" fmla="*/ 3253 w 9919"/>
                        <a:gd name="connsiteY30" fmla="*/ 9196 h 10000"/>
                        <a:gd name="connsiteX31" fmla="*/ 3578 w 9919"/>
                        <a:gd name="connsiteY31" fmla="*/ 9518 h 10000"/>
                        <a:gd name="connsiteX32" fmla="*/ 3822 w 9919"/>
                        <a:gd name="connsiteY32" fmla="*/ 9614 h 10000"/>
                        <a:gd name="connsiteX33" fmla="*/ 3985 w 9919"/>
                        <a:gd name="connsiteY33" fmla="*/ 9518 h 10000"/>
                        <a:gd name="connsiteX34" fmla="*/ 4391 w 9919"/>
                        <a:gd name="connsiteY34" fmla="*/ 9550 h 10000"/>
                        <a:gd name="connsiteX35" fmla="*/ 4554 w 9919"/>
                        <a:gd name="connsiteY35" fmla="*/ 9486 h 10000"/>
                        <a:gd name="connsiteX36" fmla="*/ 5285 w 9919"/>
                        <a:gd name="connsiteY36" fmla="*/ 9968 h 10000"/>
                        <a:gd name="connsiteX37" fmla="*/ 5326 w 9919"/>
                        <a:gd name="connsiteY37" fmla="*/ 9968 h 10000"/>
                        <a:gd name="connsiteX38" fmla="*/ 5407 w 9919"/>
                        <a:gd name="connsiteY38" fmla="*/ 9904 h 10000"/>
                        <a:gd name="connsiteX39" fmla="*/ 5935 w 9919"/>
                        <a:gd name="connsiteY39" fmla="*/ 9904 h 10000"/>
                        <a:gd name="connsiteX40" fmla="*/ 6017 w 9919"/>
                        <a:gd name="connsiteY40" fmla="*/ 10000 h 10000"/>
                        <a:gd name="connsiteX41" fmla="*/ 6464 w 9919"/>
                        <a:gd name="connsiteY41" fmla="*/ 9871 h 10000"/>
                        <a:gd name="connsiteX42" fmla="*/ 6870 w 9919"/>
                        <a:gd name="connsiteY42" fmla="*/ 9871 h 10000"/>
                        <a:gd name="connsiteX43" fmla="*/ 7155 w 9919"/>
                        <a:gd name="connsiteY43" fmla="*/ 9743 h 10000"/>
                        <a:gd name="connsiteX44" fmla="*/ 7480 w 9919"/>
                        <a:gd name="connsiteY44" fmla="*/ 9486 h 10000"/>
                        <a:gd name="connsiteX45" fmla="*/ 8334 w 9919"/>
                        <a:gd name="connsiteY45" fmla="*/ 9486 h 10000"/>
                        <a:gd name="connsiteX46" fmla="*/ 8334 w 9919"/>
                        <a:gd name="connsiteY46" fmla="*/ 9132 h 10000"/>
                        <a:gd name="connsiteX47" fmla="*/ 7887 w 9919"/>
                        <a:gd name="connsiteY47" fmla="*/ 8971 h 10000"/>
                        <a:gd name="connsiteX48" fmla="*/ 7643 w 9919"/>
                        <a:gd name="connsiteY48" fmla="*/ 8457 h 10000"/>
                        <a:gd name="connsiteX49" fmla="*/ 7318 w 9919"/>
                        <a:gd name="connsiteY49" fmla="*/ 8264 h 10000"/>
                        <a:gd name="connsiteX50" fmla="*/ 7114 w 9919"/>
                        <a:gd name="connsiteY50" fmla="*/ 8006 h 10000"/>
                        <a:gd name="connsiteX51" fmla="*/ 6586 w 9919"/>
                        <a:gd name="connsiteY51" fmla="*/ 7814 h 10000"/>
                        <a:gd name="connsiteX52" fmla="*/ 6707 w 9919"/>
                        <a:gd name="connsiteY52" fmla="*/ 7749 h 10000"/>
                        <a:gd name="connsiteX53" fmla="*/ 6707 w 9919"/>
                        <a:gd name="connsiteY53" fmla="*/ 7588 h 10000"/>
                        <a:gd name="connsiteX54" fmla="*/ 7074 w 9919"/>
                        <a:gd name="connsiteY54" fmla="*/ 7588 h 10000"/>
                        <a:gd name="connsiteX55" fmla="*/ 7277 w 9919"/>
                        <a:gd name="connsiteY55" fmla="*/ 7460 h 10000"/>
                        <a:gd name="connsiteX56" fmla="*/ 7318 w 9919"/>
                        <a:gd name="connsiteY56" fmla="*/ 6527 h 10000"/>
                        <a:gd name="connsiteX57" fmla="*/ 7358 w 9919"/>
                        <a:gd name="connsiteY57" fmla="*/ 6559 h 10000"/>
                        <a:gd name="connsiteX58" fmla="*/ 7480 w 9919"/>
                        <a:gd name="connsiteY58" fmla="*/ 6367 h 10000"/>
                        <a:gd name="connsiteX59" fmla="*/ 7724 w 9919"/>
                        <a:gd name="connsiteY59" fmla="*/ 6270 h 10000"/>
                        <a:gd name="connsiteX60" fmla="*/ 7846 w 9919"/>
                        <a:gd name="connsiteY60" fmla="*/ 5916 h 10000"/>
                        <a:gd name="connsiteX61" fmla="*/ 8212 w 9919"/>
                        <a:gd name="connsiteY61" fmla="*/ 5498 h 10000"/>
                        <a:gd name="connsiteX62" fmla="*/ 8496 w 9919"/>
                        <a:gd name="connsiteY62" fmla="*/ 5305 h 10000"/>
                        <a:gd name="connsiteX63" fmla="*/ 8699 w 9919"/>
                        <a:gd name="connsiteY63" fmla="*/ 4759 h 10000"/>
                        <a:gd name="connsiteX64" fmla="*/ 8699 w 9919"/>
                        <a:gd name="connsiteY64" fmla="*/ 4630 h 10000"/>
                        <a:gd name="connsiteX65" fmla="*/ 8659 w 9919"/>
                        <a:gd name="connsiteY65" fmla="*/ 4309 h 10000"/>
                        <a:gd name="connsiteX66" fmla="*/ 9066 w 9919"/>
                        <a:gd name="connsiteY66" fmla="*/ 3151 h 10000"/>
                        <a:gd name="connsiteX67" fmla="*/ 9187 w 9919"/>
                        <a:gd name="connsiteY67" fmla="*/ 3151 h 10000"/>
                        <a:gd name="connsiteX68" fmla="*/ 9350 w 9919"/>
                        <a:gd name="connsiteY68" fmla="*/ 3055 h 10000"/>
                        <a:gd name="connsiteX69" fmla="*/ 9838 w 9919"/>
                        <a:gd name="connsiteY69" fmla="*/ 2894 h 10000"/>
                        <a:gd name="connsiteX70" fmla="*/ 9919 w 9919"/>
                        <a:gd name="connsiteY70" fmla="*/ 2637 h 10000"/>
                        <a:gd name="connsiteX71" fmla="*/ 9879 w 9919"/>
                        <a:gd name="connsiteY71" fmla="*/ 2572 h 10000"/>
                        <a:gd name="connsiteX72" fmla="*/ 9716 w 9919"/>
                        <a:gd name="connsiteY72" fmla="*/ 2572 h 10000"/>
                        <a:gd name="connsiteX73" fmla="*/ 9594 w 9919"/>
                        <a:gd name="connsiteY73" fmla="*/ 2412 h 10000"/>
                        <a:gd name="connsiteX74" fmla="*/ 9350 w 9919"/>
                        <a:gd name="connsiteY74" fmla="*/ 2347 h 10000"/>
                        <a:gd name="connsiteX75" fmla="*/ 9228 w 9919"/>
                        <a:gd name="connsiteY75" fmla="*/ 2219 h 10000"/>
                        <a:gd name="connsiteX76" fmla="*/ 9147 w 9919"/>
                        <a:gd name="connsiteY76" fmla="*/ 1736 h 10000"/>
                        <a:gd name="connsiteX77" fmla="*/ 9147 w 9919"/>
                        <a:gd name="connsiteY77" fmla="*/ 1061 h 10000"/>
                        <a:gd name="connsiteX78" fmla="*/ 8943 w 9919"/>
                        <a:gd name="connsiteY78" fmla="*/ 836 h 10000"/>
                        <a:gd name="connsiteX79" fmla="*/ 8903 w 9919"/>
                        <a:gd name="connsiteY79" fmla="*/ 611 h 10000"/>
                        <a:gd name="connsiteX80" fmla="*/ 8578 w 9919"/>
                        <a:gd name="connsiteY80" fmla="*/ 289 h 10000"/>
                        <a:gd name="connsiteX81" fmla="*/ 8293 w 9919"/>
                        <a:gd name="connsiteY81" fmla="*/ 161 h 10000"/>
                        <a:gd name="connsiteX82" fmla="*/ 8131 w 9919"/>
                        <a:gd name="connsiteY82" fmla="*/ 0 h 10000"/>
                        <a:gd name="connsiteX83" fmla="*/ 7887 w 9919"/>
                        <a:gd name="connsiteY83" fmla="*/ 161 h 10000"/>
                        <a:gd name="connsiteX84" fmla="*/ 7724 w 9919"/>
                        <a:gd name="connsiteY84" fmla="*/ 129 h 10000"/>
                        <a:gd name="connsiteX85" fmla="*/ 7602 w 9919"/>
                        <a:gd name="connsiteY85" fmla="*/ 418 h 10000"/>
                        <a:gd name="connsiteX86" fmla="*/ 7277 w 9919"/>
                        <a:gd name="connsiteY86" fmla="*/ 482 h 10000"/>
                        <a:gd name="connsiteX87" fmla="*/ 7195 w 9919"/>
                        <a:gd name="connsiteY87" fmla="*/ 707 h 10000"/>
                        <a:gd name="connsiteX88" fmla="*/ 6911 w 9919"/>
                        <a:gd name="connsiteY88" fmla="*/ 707 h 10000"/>
                        <a:gd name="connsiteX89" fmla="*/ 6667 w 9919"/>
                        <a:gd name="connsiteY89" fmla="*/ 611 h 10000"/>
                        <a:gd name="connsiteX90" fmla="*/ 6139 w 9919"/>
                        <a:gd name="connsiteY90" fmla="*/ 611 h 10000"/>
                        <a:gd name="connsiteX91" fmla="*/ 5610 w 9919"/>
                        <a:gd name="connsiteY91" fmla="*/ 611 h 10000"/>
                        <a:gd name="connsiteX92" fmla="*/ 5651 w 9919"/>
                        <a:gd name="connsiteY92" fmla="*/ 482 h 10000"/>
                        <a:gd name="connsiteX93" fmla="*/ 5570 w 9919"/>
                        <a:gd name="connsiteY93" fmla="*/ 482 h 10000"/>
                        <a:gd name="connsiteX94" fmla="*/ 5529 w 9919"/>
                        <a:gd name="connsiteY94" fmla="*/ 611 h 10000"/>
                        <a:gd name="connsiteX95" fmla="*/ 5041 w 9919"/>
                        <a:gd name="connsiteY95" fmla="*/ 611 h 10000"/>
                        <a:gd name="connsiteX96" fmla="*/ 4554 w 9919"/>
                        <a:gd name="connsiteY96" fmla="*/ 611 h 10000"/>
                        <a:gd name="connsiteX97" fmla="*/ 4066 w 9919"/>
                        <a:gd name="connsiteY97" fmla="*/ 611 h 10000"/>
                        <a:gd name="connsiteX98" fmla="*/ 3578 w 9919"/>
                        <a:gd name="connsiteY98" fmla="*/ 611 h 10000"/>
                        <a:gd name="connsiteX99" fmla="*/ 3131 w 9919"/>
                        <a:gd name="connsiteY99" fmla="*/ 611 h 10000"/>
                        <a:gd name="connsiteX100" fmla="*/ 2643 w 9919"/>
                        <a:gd name="connsiteY100" fmla="*/ 611 h 10000"/>
                        <a:gd name="connsiteX101" fmla="*/ 2195 w 9919"/>
                        <a:gd name="connsiteY101" fmla="*/ 611 h 10000"/>
                        <a:gd name="connsiteX102" fmla="*/ 1708 w 9919"/>
                        <a:gd name="connsiteY102" fmla="*/ 611 h 10000"/>
                        <a:gd name="connsiteX103" fmla="*/ 1708 w 9919"/>
                        <a:gd name="connsiteY103" fmla="*/ 1061 h 10000"/>
                        <a:gd name="connsiteX104" fmla="*/ 1708 w 9919"/>
                        <a:gd name="connsiteY104" fmla="*/ 1640 h 10000"/>
                        <a:gd name="connsiteX105" fmla="*/ 1098 w 9919"/>
                        <a:gd name="connsiteY105" fmla="*/ 1640 h 10000"/>
                        <a:gd name="connsiteX106" fmla="*/ 1098 w 9919"/>
                        <a:gd name="connsiteY106" fmla="*/ 1897 h 10000"/>
                        <a:gd name="connsiteX0" fmla="*/ 1066 w 9959"/>
                        <a:gd name="connsiteY0" fmla="*/ 1897 h 10000"/>
                        <a:gd name="connsiteX1" fmla="*/ 1066 w 9959"/>
                        <a:gd name="connsiteY1" fmla="*/ 2412 h 10000"/>
                        <a:gd name="connsiteX2" fmla="*/ 1066 w 9959"/>
                        <a:gd name="connsiteY2" fmla="*/ 2894 h 10000"/>
                        <a:gd name="connsiteX3" fmla="*/ 1066 w 9959"/>
                        <a:gd name="connsiteY3" fmla="*/ 3376 h 10000"/>
                        <a:gd name="connsiteX4" fmla="*/ 1066 w 9959"/>
                        <a:gd name="connsiteY4" fmla="*/ 3826 h 10000"/>
                        <a:gd name="connsiteX5" fmla="*/ 411 w 9959"/>
                        <a:gd name="connsiteY5" fmla="*/ 3923 h 10000"/>
                        <a:gd name="connsiteX6" fmla="*/ 288 w 9959"/>
                        <a:gd name="connsiteY6" fmla="*/ 4180 h 10000"/>
                        <a:gd name="connsiteX7" fmla="*/ 0 w 9959"/>
                        <a:gd name="connsiteY7" fmla="*/ 4502 h 10000"/>
                        <a:gd name="connsiteX8" fmla="*/ 4089 w 9959"/>
                        <a:gd name="connsiteY8" fmla="*/ 7281 h 10000"/>
                        <a:gd name="connsiteX9" fmla="*/ 3765 w 9959"/>
                        <a:gd name="connsiteY9" fmla="*/ 7279 h 10000"/>
                        <a:gd name="connsiteX10" fmla="*/ 3058 w 9959"/>
                        <a:gd name="connsiteY10" fmla="*/ 7095 h 10000"/>
                        <a:gd name="connsiteX11" fmla="*/ 2869 w 9959"/>
                        <a:gd name="connsiteY11" fmla="*/ 7195 h 10000"/>
                        <a:gd name="connsiteX12" fmla="*/ 2397 w 9959"/>
                        <a:gd name="connsiteY12" fmla="*/ 6973 h 10000"/>
                        <a:gd name="connsiteX13" fmla="*/ 2189 w 9959"/>
                        <a:gd name="connsiteY13" fmla="*/ 6638 h 10000"/>
                        <a:gd name="connsiteX14" fmla="*/ 1842 w 9959"/>
                        <a:gd name="connsiteY14" fmla="*/ 6729 h 10000"/>
                        <a:gd name="connsiteX15" fmla="*/ 1748 w 9959"/>
                        <a:gd name="connsiteY15" fmla="*/ 6927 h 10000"/>
                        <a:gd name="connsiteX16" fmla="*/ 1380 w 9959"/>
                        <a:gd name="connsiteY16" fmla="*/ 7011 h 10000"/>
                        <a:gd name="connsiteX17" fmla="*/ 1139 w 9959"/>
                        <a:gd name="connsiteY17" fmla="*/ 7004 h 10000"/>
                        <a:gd name="connsiteX18" fmla="*/ 1007 w 9959"/>
                        <a:gd name="connsiteY18" fmla="*/ 7161 h 10000"/>
                        <a:gd name="connsiteX19" fmla="*/ 780 w 9959"/>
                        <a:gd name="connsiteY19" fmla="*/ 6913 h 10000"/>
                        <a:gd name="connsiteX20" fmla="*/ 738 w 9959"/>
                        <a:gd name="connsiteY20" fmla="*/ 7363 h 10000"/>
                        <a:gd name="connsiteX21" fmla="*/ 820 w 9959"/>
                        <a:gd name="connsiteY21" fmla="*/ 7428 h 10000"/>
                        <a:gd name="connsiteX22" fmla="*/ 1148 w 9959"/>
                        <a:gd name="connsiteY22" fmla="*/ 7460 h 10000"/>
                        <a:gd name="connsiteX23" fmla="*/ 1190 w 9959"/>
                        <a:gd name="connsiteY23" fmla="*/ 7588 h 10000"/>
                        <a:gd name="connsiteX24" fmla="*/ 1558 w 9959"/>
                        <a:gd name="connsiteY24" fmla="*/ 7621 h 10000"/>
                        <a:gd name="connsiteX25" fmla="*/ 1763 w 9959"/>
                        <a:gd name="connsiteY25" fmla="*/ 7749 h 10000"/>
                        <a:gd name="connsiteX26" fmla="*/ 1804 w 9959"/>
                        <a:gd name="connsiteY26" fmla="*/ 7974 h 10000"/>
                        <a:gd name="connsiteX27" fmla="*/ 2460 w 9959"/>
                        <a:gd name="connsiteY27" fmla="*/ 8360 h 10000"/>
                        <a:gd name="connsiteX28" fmla="*/ 2624 w 9959"/>
                        <a:gd name="connsiteY28" fmla="*/ 8746 h 10000"/>
                        <a:gd name="connsiteX29" fmla="*/ 3074 w 9959"/>
                        <a:gd name="connsiteY29" fmla="*/ 8939 h 10000"/>
                        <a:gd name="connsiteX30" fmla="*/ 3239 w 9959"/>
                        <a:gd name="connsiteY30" fmla="*/ 9196 h 10000"/>
                        <a:gd name="connsiteX31" fmla="*/ 3566 w 9959"/>
                        <a:gd name="connsiteY31" fmla="*/ 9518 h 10000"/>
                        <a:gd name="connsiteX32" fmla="*/ 3812 w 9959"/>
                        <a:gd name="connsiteY32" fmla="*/ 9614 h 10000"/>
                        <a:gd name="connsiteX33" fmla="*/ 3977 w 9959"/>
                        <a:gd name="connsiteY33" fmla="*/ 9518 h 10000"/>
                        <a:gd name="connsiteX34" fmla="*/ 4386 w 9959"/>
                        <a:gd name="connsiteY34" fmla="*/ 9550 h 10000"/>
                        <a:gd name="connsiteX35" fmla="*/ 4550 w 9959"/>
                        <a:gd name="connsiteY35" fmla="*/ 9486 h 10000"/>
                        <a:gd name="connsiteX36" fmla="*/ 5287 w 9959"/>
                        <a:gd name="connsiteY36" fmla="*/ 9968 h 10000"/>
                        <a:gd name="connsiteX37" fmla="*/ 5328 w 9959"/>
                        <a:gd name="connsiteY37" fmla="*/ 9968 h 10000"/>
                        <a:gd name="connsiteX38" fmla="*/ 5410 w 9959"/>
                        <a:gd name="connsiteY38" fmla="*/ 9904 h 10000"/>
                        <a:gd name="connsiteX39" fmla="*/ 5942 w 9959"/>
                        <a:gd name="connsiteY39" fmla="*/ 9904 h 10000"/>
                        <a:gd name="connsiteX40" fmla="*/ 6025 w 9959"/>
                        <a:gd name="connsiteY40" fmla="*/ 10000 h 10000"/>
                        <a:gd name="connsiteX41" fmla="*/ 6476 w 9959"/>
                        <a:gd name="connsiteY41" fmla="*/ 9871 h 10000"/>
                        <a:gd name="connsiteX42" fmla="*/ 6885 w 9959"/>
                        <a:gd name="connsiteY42" fmla="*/ 9871 h 10000"/>
                        <a:gd name="connsiteX43" fmla="*/ 7172 w 9959"/>
                        <a:gd name="connsiteY43" fmla="*/ 9743 h 10000"/>
                        <a:gd name="connsiteX44" fmla="*/ 7500 w 9959"/>
                        <a:gd name="connsiteY44" fmla="*/ 9486 h 10000"/>
                        <a:gd name="connsiteX45" fmla="*/ 8361 w 9959"/>
                        <a:gd name="connsiteY45" fmla="*/ 9486 h 10000"/>
                        <a:gd name="connsiteX46" fmla="*/ 8361 w 9959"/>
                        <a:gd name="connsiteY46" fmla="*/ 9132 h 10000"/>
                        <a:gd name="connsiteX47" fmla="*/ 7910 w 9959"/>
                        <a:gd name="connsiteY47" fmla="*/ 8971 h 10000"/>
                        <a:gd name="connsiteX48" fmla="*/ 7664 w 9959"/>
                        <a:gd name="connsiteY48" fmla="*/ 8457 h 10000"/>
                        <a:gd name="connsiteX49" fmla="*/ 7337 w 9959"/>
                        <a:gd name="connsiteY49" fmla="*/ 8264 h 10000"/>
                        <a:gd name="connsiteX50" fmla="*/ 7131 w 9959"/>
                        <a:gd name="connsiteY50" fmla="*/ 8006 h 10000"/>
                        <a:gd name="connsiteX51" fmla="*/ 6599 w 9959"/>
                        <a:gd name="connsiteY51" fmla="*/ 7814 h 10000"/>
                        <a:gd name="connsiteX52" fmla="*/ 6721 w 9959"/>
                        <a:gd name="connsiteY52" fmla="*/ 7749 h 10000"/>
                        <a:gd name="connsiteX53" fmla="*/ 6721 w 9959"/>
                        <a:gd name="connsiteY53" fmla="*/ 7588 h 10000"/>
                        <a:gd name="connsiteX54" fmla="*/ 7091 w 9959"/>
                        <a:gd name="connsiteY54" fmla="*/ 7588 h 10000"/>
                        <a:gd name="connsiteX55" fmla="*/ 7295 w 9959"/>
                        <a:gd name="connsiteY55" fmla="*/ 7460 h 10000"/>
                        <a:gd name="connsiteX56" fmla="*/ 7337 w 9959"/>
                        <a:gd name="connsiteY56" fmla="*/ 6527 h 10000"/>
                        <a:gd name="connsiteX57" fmla="*/ 7377 w 9959"/>
                        <a:gd name="connsiteY57" fmla="*/ 6559 h 10000"/>
                        <a:gd name="connsiteX58" fmla="*/ 7500 w 9959"/>
                        <a:gd name="connsiteY58" fmla="*/ 6367 h 10000"/>
                        <a:gd name="connsiteX59" fmla="*/ 7746 w 9959"/>
                        <a:gd name="connsiteY59" fmla="*/ 6270 h 10000"/>
                        <a:gd name="connsiteX60" fmla="*/ 7869 w 9959"/>
                        <a:gd name="connsiteY60" fmla="*/ 5916 h 10000"/>
                        <a:gd name="connsiteX61" fmla="*/ 8238 w 9959"/>
                        <a:gd name="connsiteY61" fmla="*/ 5498 h 10000"/>
                        <a:gd name="connsiteX62" fmla="*/ 8524 w 9959"/>
                        <a:gd name="connsiteY62" fmla="*/ 5305 h 10000"/>
                        <a:gd name="connsiteX63" fmla="*/ 8729 w 9959"/>
                        <a:gd name="connsiteY63" fmla="*/ 4759 h 10000"/>
                        <a:gd name="connsiteX64" fmla="*/ 8729 w 9959"/>
                        <a:gd name="connsiteY64" fmla="*/ 4630 h 10000"/>
                        <a:gd name="connsiteX65" fmla="*/ 8689 w 9959"/>
                        <a:gd name="connsiteY65" fmla="*/ 4309 h 10000"/>
                        <a:gd name="connsiteX66" fmla="*/ 9099 w 9959"/>
                        <a:gd name="connsiteY66" fmla="*/ 3151 h 10000"/>
                        <a:gd name="connsiteX67" fmla="*/ 9221 w 9959"/>
                        <a:gd name="connsiteY67" fmla="*/ 3151 h 10000"/>
                        <a:gd name="connsiteX68" fmla="*/ 9385 w 9959"/>
                        <a:gd name="connsiteY68" fmla="*/ 3055 h 10000"/>
                        <a:gd name="connsiteX69" fmla="*/ 9877 w 9959"/>
                        <a:gd name="connsiteY69" fmla="*/ 2894 h 10000"/>
                        <a:gd name="connsiteX70" fmla="*/ 9959 w 9959"/>
                        <a:gd name="connsiteY70" fmla="*/ 2637 h 10000"/>
                        <a:gd name="connsiteX71" fmla="*/ 9919 w 9959"/>
                        <a:gd name="connsiteY71" fmla="*/ 2572 h 10000"/>
                        <a:gd name="connsiteX72" fmla="*/ 9754 w 9959"/>
                        <a:gd name="connsiteY72" fmla="*/ 2572 h 10000"/>
                        <a:gd name="connsiteX73" fmla="*/ 9631 w 9959"/>
                        <a:gd name="connsiteY73" fmla="*/ 2412 h 10000"/>
                        <a:gd name="connsiteX74" fmla="*/ 9385 w 9959"/>
                        <a:gd name="connsiteY74" fmla="*/ 2347 h 10000"/>
                        <a:gd name="connsiteX75" fmla="*/ 9262 w 9959"/>
                        <a:gd name="connsiteY75" fmla="*/ 2219 h 10000"/>
                        <a:gd name="connsiteX76" fmla="*/ 9181 w 9959"/>
                        <a:gd name="connsiteY76" fmla="*/ 1736 h 10000"/>
                        <a:gd name="connsiteX77" fmla="*/ 9181 w 9959"/>
                        <a:gd name="connsiteY77" fmla="*/ 1061 h 10000"/>
                        <a:gd name="connsiteX78" fmla="*/ 8975 w 9959"/>
                        <a:gd name="connsiteY78" fmla="*/ 836 h 10000"/>
                        <a:gd name="connsiteX79" fmla="*/ 8935 w 9959"/>
                        <a:gd name="connsiteY79" fmla="*/ 611 h 10000"/>
                        <a:gd name="connsiteX80" fmla="*/ 8607 w 9959"/>
                        <a:gd name="connsiteY80" fmla="*/ 289 h 10000"/>
                        <a:gd name="connsiteX81" fmla="*/ 8320 w 9959"/>
                        <a:gd name="connsiteY81" fmla="*/ 161 h 10000"/>
                        <a:gd name="connsiteX82" fmla="*/ 8156 w 9959"/>
                        <a:gd name="connsiteY82" fmla="*/ 0 h 10000"/>
                        <a:gd name="connsiteX83" fmla="*/ 7910 w 9959"/>
                        <a:gd name="connsiteY83" fmla="*/ 161 h 10000"/>
                        <a:gd name="connsiteX84" fmla="*/ 7746 w 9959"/>
                        <a:gd name="connsiteY84" fmla="*/ 129 h 10000"/>
                        <a:gd name="connsiteX85" fmla="*/ 7623 w 9959"/>
                        <a:gd name="connsiteY85" fmla="*/ 418 h 10000"/>
                        <a:gd name="connsiteX86" fmla="*/ 7295 w 9959"/>
                        <a:gd name="connsiteY86" fmla="*/ 482 h 10000"/>
                        <a:gd name="connsiteX87" fmla="*/ 7213 w 9959"/>
                        <a:gd name="connsiteY87" fmla="*/ 707 h 10000"/>
                        <a:gd name="connsiteX88" fmla="*/ 6926 w 9959"/>
                        <a:gd name="connsiteY88" fmla="*/ 707 h 10000"/>
                        <a:gd name="connsiteX89" fmla="*/ 6680 w 9959"/>
                        <a:gd name="connsiteY89" fmla="*/ 611 h 10000"/>
                        <a:gd name="connsiteX90" fmla="*/ 6148 w 9959"/>
                        <a:gd name="connsiteY90" fmla="*/ 611 h 10000"/>
                        <a:gd name="connsiteX91" fmla="*/ 5615 w 9959"/>
                        <a:gd name="connsiteY91" fmla="*/ 611 h 10000"/>
                        <a:gd name="connsiteX92" fmla="*/ 5656 w 9959"/>
                        <a:gd name="connsiteY92" fmla="*/ 482 h 10000"/>
                        <a:gd name="connsiteX93" fmla="*/ 5574 w 9959"/>
                        <a:gd name="connsiteY93" fmla="*/ 482 h 10000"/>
                        <a:gd name="connsiteX94" fmla="*/ 5533 w 9959"/>
                        <a:gd name="connsiteY94" fmla="*/ 611 h 10000"/>
                        <a:gd name="connsiteX95" fmla="*/ 5041 w 9959"/>
                        <a:gd name="connsiteY95" fmla="*/ 611 h 10000"/>
                        <a:gd name="connsiteX96" fmla="*/ 4550 w 9959"/>
                        <a:gd name="connsiteY96" fmla="*/ 611 h 10000"/>
                        <a:gd name="connsiteX97" fmla="*/ 4058 w 9959"/>
                        <a:gd name="connsiteY97" fmla="*/ 611 h 10000"/>
                        <a:gd name="connsiteX98" fmla="*/ 3566 w 9959"/>
                        <a:gd name="connsiteY98" fmla="*/ 611 h 10000"/>
                        <a:gd name="connsiteX99" fmla="*/ 3116 w 9959"/>
                        <a:gd name="connsiteY99" fmla="*/ 611 h 10000"/>
                        <a:gd name="connsiteX100" fmla="*/ 2624 w 9959"/>
                        <a:gd name="connsiteY100" fmla="*/ 611 h 10000"/>
                        <a:gd name="connsiteX101" fmla="*/ 2172 w 9959"/>
                        <a:gd name="connsiteY101" fmla="*/ 611 h 10000"/>
                        <a:gd name="connsiteX102" fmla="*/ 1681 w 9959"/>
                        <a:gd name="connsiteY102" fmla="*/ 611 h 10000"/>
                        <a:gd name="connsiteX103" fmla="*/ 1681 w 9959"/>
                        <a:gd name="connsiteY103" fmla="*/ 1061 h 10000"/>
                        <a:gd name="connsiteX104" fmla="*/ 1681 w 9959"/>
                        <a:gd name="connsiteY104" fmla="*/ 1640 h 10000"/>
                        <a:gd name="connsiteX105" fmla="*/ 1066 w 9959"/>
                        <a:gd name="connsiteY105" fmla="*/ 1640 h 10000"/>
                        <a:gd name="connsiteX106" fmla="*/ 1066 w 9959"/>
                        <a:gd name="connsiteY106" fmla="*/ 1897 h 10000"/>
                        <a:gd name="connsiteX0" fmla="*/ 781 w 9711"/>
                        <a:gd name="connsiteY0" fmla="*/ 1897 h 10000"/>
                        <a:gd name="connsiteX1" fmla="*/ 781 w 9711"/>
                        <a:gd name="connsiteY1" fmla="*/ 2412 h 10000"/>
                        <a:gd name="connsiteX2" fmla="*/ 781 w 9711"/>
                        <a:gd name="connsiteY2" fmla="*/ 2894 h 10000"/>
                        <a:gd name="connsiteX3" fmla="*/ 781 w 9711"/>
                        <a:gd name="connsiteY3" fmla="*/ 3376 h 10000"/>
                        <a:gd name="connsiteX4" fmla="*/ 781 w 9711"/>
                        <a:gd name="connsiteY4" fmla="*/ 3826 h 10000"/>
                        <a:gd name="connsiteX5" fmla="*/ 124 w 9711"/>
                        <a:gd name="connsiteY5" fmla="*/ 3923 h 10000"/>
                        <a:gd name="connsiteX6" fmla="*/ 0 w 9711"/>
                        <a:gd name="connsiteY6" fmla="*/ 4180 h 10000"/>
                        <a:gd name="connsiteX7" fmla="*/ 4324 w 9711"/>
                        <a:gd name="connsiteY7" fmla="*/ 7064 h 10000"/>
                        <a:gd name="connsiteX8" fmla="*/ 3817 w 9711"/>
                        <a:gd name="connsiteY8" fmla="*/ 7281 h 10000"/>
                        <a:gd name="connsiteX9" fmla="*/ 3492 w 9711"/>
                        <a:gd name="connsiteY9" fmla="*/ 7279 h 10000"/>
                        <a:gd name="connsiteX10" fmla="*/ 2782 w 9711"/>
                        <a:gd name="connsiteY10" fmla="*/ 7095 h 10000"/>
                        <a:gd name="connsiteX11" fmla="*/ 2592 w 9711"/>
                        <a:gd name="connsiteY11" fmla="*/ 7195 h 10000"/>
                        <a:gd name="connsiteX12" fmla="*/ 2118 w 9711"/>
                        <a:gd name="connsiteY12" fmla="*/ 6973 h 10000"/>
                        <a:gd name="connsiteX13" fmla="*/ 1909 w 9711"/>
                        <a:gd name="connsiteY13" fmla="*/ 6638 h 10000"/>
                        <a:gd name="connsiteX14" fmla="*/ 1561 w 9711"/>
                        <a:gd name="connsiteY14" fmla="*/ 6729 h 10000"/>
                        <a:gd name="connsiteX15" fmla="*/ 1466 w 9711"/>
                        <a:gd name="connsiteY15" fmla="*/ 6927 h 10000"/>
                        <a:gd name="connsiteX16" fmla="*/ 1097 w 9711"/>
                        <a:gd name="connsiteY16" fmla="*/ 7011 h 10000"/>
                        <a:gd name="connsiteX17" fmla="*/ 855 w 9711"/>
                        <a:gd name="connsiteY17" fmla="*/ 7004 h 10000"/>
                        <a:gd name="connsiteX18" fmla="*/ 722 w 9711"/>
                        <a:gd name="connsiteY18" fmla="*/ 7161 h 10000"/>
                        <a:gd name="connsiteX19" fmla="*/ 494 w 9711"/>
                        <a:gd name="connsiteY19" fmla="*/ 6913 h 10000"/>
                        <a:gd name="connsiteX20" fmla="*/ 452 w 9711"/>
                        <a:gd name="connsiteY20" fmla="*/ 7363 h 10000"/>
                        <a:gd name="connsiteX21" fmla="*/ 534 w 9711"/>
                        <a:gd name="connsiteY21" fmla="*/ 7428 h 10000"/>
                        <a:gd name="connsiteX22" fmla="*/ 864 w 9711"/>
                        <a:gd name="connsiteY22" fmla="*/ 7460 h 10000"/>
                        <a:gd name="connsiteX23" fmla="*/ 906 w 9711"/>
                        <a:gd name="connsiteY23" fmla="*/ 7588 h 10000"/>
                        <a:gd name="connsiteX24" fmla="*/ 1275 w 9711"/>
                        <a:gd name="connsiteY24" fmla="*/ 7621 h 10000"/>
                        <a:gd name="connsiteX25" fmla="*/ 1481 w 9711"/>
                        <a:gd name="connsiteY25" fmla="*/ 7749 h 10000"/>
                        <a:gd name="connsiteX26" fmla="*/ 1522 w 9711"/>
                        <a:gd name="connsiteY26" fmla="*/ 7974 h 10000"/>
                        <a:gd name="connsiteX27" fmla="*/ 2181 w 9711"/>
                        <a:gd name="connsiteY27" fmla="*/ 8360 h 10000"/>
                        <a:gd name="connsiteX28" fmla="*/ 2346 w 9711"/>
                        <a:gd name="connsiteY28" fmla="*/ 8746 h 10000"/>
                        <a:gd name="connsiteX29" fmla="*/ 2798 w 9711"/>
                        <a:gd name="connsiteY29" fmla="*/ 8939 h 10000"/>
                        <a:gd name="connsiteX30" fmla="*/ 2963 w 9711"/>
                        <a:gd name="connsiteY30" fmla="*/ 9196 h 10000"/>
                        <a:gd name="connsiteX31" fmla="*/ 3292 w 9711"/>
                        <a:gd name="connsiteY31" fmla="*/ 9518 h 10000"/>
                        <a:gd name="connsiteX32" fmla="*/ 3539 w 9711"/>
                        <a:gd name="connsiteY32" fmla="*/ 9614 h 10000"/>
                        <a:gd name="connsiteX33" fmla="*/ 3704 w 9711"/>
                        <a:gd name="connsiteY33" fmla="*/ 9518 h 10000"/>
                        <a:gd name="connsiteX34" fmla="*/ 4115 w 9711"/>
                        <a:gd name="connsiteY34" fmla="*/ 9550 h 10000"/>
                        <a:gd name="connsiteX35" fmla="*/ 4280 w 9711"/>
                        <a:gd name="connsiteY35" fmla="*/ 9486 h 10000"/>
                        <a:gd name="connsiteX36" fmla="*/ 5020 w 9711"/>
                        <a:gd name="connsiteY36" fmla="*/ 9968 h 10000"/>
                        <a:gd name="connsiteX37" fmla="*/ 5061 w 9711"/>
                        <a:gd name="connsiteY37" fmla="*/ 9968 h 10000"/>
                        <a:gd name="connsiteX38" fmla="*/ 5143 w 9711"/>
                        <a:gd name="connsiteY38" fmla="*/ 9904 h 10000"/>
                        <a:gd name="connsiteX39" fmla="*/ 5677 w 9711"/>
                        <a:gd name="connsiteY39" fmla="*/ 9904 h 10000"/>
                        <a:gd name="connsiteX40" fmla="*/ 5761 w 9711"/>
                        <a:gd name="connsiteY40" fmla="*/ 10000 h 10000"/>
                        <a:gd name="connsiteX41" fmla="*/ 6214 w 9711"/>
                        <a:gd name="connsiteY41" fmla="*/ 9871 h 10000"/>
                        <a:gd name="connsiteX42" fmla="*/ 6624 w 9711"/>
                        <a:gd name="connsiteY42" fmla="*/ 9871 h 10000"/>
                        <a:gd name="connsiteX43" fmla="*/ 6913 w 9711"/>
                        <a:gd name="connsiteY43" fmla="*/ 9743 h 10000"/>
                        <a:gd name="connsiteX44" fmla="*/ 7242 w 9711"/>
                        <a:gd name="connsiteY44" fmla="*/ 9486 h 10000"/>
                        <a:gd name="connsiteX45" fmla="*/ 8106 w 9711"/>
                        <a:gd name="connsiteY45" fmla="*/ 9486 h 10000"/>
                        <a:gd name="connsiteX46" fmla="*/ 8106 w 9711"/>
                        <a:gd name="connsiteY46" fmla="*/ 9132 h 10000"/>
                        <a:gd name="connsiteX47" fmla="*/ 7654 w 9711"/>
                        <a:gd name="connsiteY47" fmla="*/ 8971 h 10000"/>
                        <a:gd name="connsiteX48" fmla="*/ 7407 w 9711"/>
                        <a:gd name="connsiteY48" fmla="*/ 8457 h 10000"/>
                        <a:gd name="connsiteX49" fmla="*/ 7078 w 9711"/>
                        <a:gd name="connsiteY49" fmla="*/ 8264 h 10000"/>
                        <a:gd name="connsiteX50" fmla="*/ 6871 w 9711"/>
                        <a:gd name="connsiteY50" fmla="*/ 8006 h 10000"/>
                        <a:gd name="connsiteX51" fmla="*/ 6337 w 9711"/>
                        <a:gd name="connsiteY51" fmla="*/ 7814 h 10000"/>
                        <a:gd name="connsiteX52" fmla="*/ 6460 w 9711"/>
                        <a:gd name="connsiteY52" fmla="*/ 7749 h 10000"/>
                        <a:gd name="connsiteX53" fmla="*/ 6460 w 9711"/>
                        <a:gd name="connsiteY53" fmla="*/ 7588 h 10000"/>
                        <a:gd name="connsiteX54" fmla="*/ 6831 w 9711"/>
                        <a:gd name="connsiteY54" fmla="*/ 7588 h 10000"/>
                        <a:gd name="connsiteX55" fmla="*/ 7036 w 9711"/>
                        <a:gd name="connsiteY55" fmla="*/ 7460 h 10000"/>
                        <a:gd name="connsiteX56" fmla="*/ 7078 w 9711"/>
                        <a:gd name="connsiteY56" fmla="*/ 6527 h 10000"/>
                        <a:gd name="connsiteX57" fmla="*/ 7118 w 9711"/>
                        <a:gd name="connsiteY57" fmla="*/ 6559 h 10000"/>
                        <a:gd name="connsiteX58" fmla="*/ 7242 w 9711"/>
                        <a:gd name="connsiteY58" fmla="*/ 6367 h 10000"/>
                        <a:gd name="connsiteX59" fmla="*/ 7489 w 9711"/>
                        <a:gd name="connsiteY59" fmla="*/ 6270 h 10000"/>
                        <a:gd name="connsiteX60" fmla="*/ 7612 w 9711"/>
                        <a:gd name="connsiteY60" fmla="*/ 5916 h 10000"/>
                        <a:gd name="connsiteX61" fmla="*/ 7983 w 9711"/>
                        <a:gd name="connsiteY61" fmla="*/ 5498 h 10000"/>
                        <a:gd name="connsiteX62" fmla="*/ 8270 w 9711"/>
                        <a:gd name="connsiteY62" fmla="*/ 5305 h 10000"/>
                        <a:gd name="connsiteX63" fmla="*/ 8476 w 9711"/>
                        <a:gd name="connsiteY63" fmla="*/ 4759 h 10000"/>
                        <a:gd name="connsiteX64" fmla="*/ 8476 w 9711"/>
                        <a:gd name="connsiteY64" fmla="*/ 4630 h 10000"/>
                        <a:gd name="connsiteX65" fmla="*/ 8436 w 9711"/>
                        <a:gd name="connsiteY65" fmla="*/ 4309 h 10000"/>
                        <a:gd name="connsiteX66" fmla="*/ 8847 w 9711"/>
                        <a:gd name="connsiteY66" fmla="*/ 3151 h 10000"/>
                        <a:gd name="connsiteX67" fmla="*/ 8970 w 9711"/>
                        <a:gd name="connsiteY67" fmla="*/ 3151 h 10000"/>
                        <a:gd name="connsiteX68" fmla="*/ 9135 w 9711"/>
                        <a:gd name="connsiteY68" fmla="*/ 3055 h 10000"/>
                        <a:gd name="connsiteX69" fmla="*/ 9629 w 9711"/>
                        <a:gd name="connsiteY69" fmla="*/ 2894 h 10000"/>
                        <a:gd name="connsiteX70" fmla="*/ 9711 w 9711"/>
                        <a:gd name="connsiteY70" fmla="*/ 2637 h 10000"/>
                        <a:gd name="connsiteX71" fmla="*/ 9671 w 9711"/>
                        <a:gd name="connsiteY71" fmla="*/ 2572 h 10000"/>
                        <a:gd name="connsiteX72" fmla="*/ 9505 w 9711"/>
                        <a:gd name="connsiteY72" fmla="*/ 2572 h 10000"/>
                        <a:gd name="connsiteX73" fmla="*/ 9382 w 9711"/>
                        <a:gd name="connsiteY73" fmla="*/ 2412 h 10000"/>
                        <a:gd name="connsiteX74" fmla="*/ 9135 w 9711"/>
                        <a:gd name="connsiteY74" fmla="*/ 2347 h 10000"/>
                        <a:gd name="connsiteX75" fmla="*/ 9011 w 9711"/>
                        <a:gd name="connsiteY75" fmla="*/ 2219 h 10000"/>
                        <a:gd name="connsiteX76" fmla="*/ 8930 w 9711"/>
                        <a:gd name="connsiteY76" fmla="*/ 1736 h 10000"/>
                        <a:gd name="connsiteX77" fmla="*/ 8930 w 9711"/>
                        <a:gd name="connsiteY77" fmla="*/ 1061 h 10000"/>
                        <a:gd name="connsiteX78" fmla="*/ 8723 w 9711"/>
                        <a:gd name="connsiteY78" fmla="*/ 836 h 10000"/>
                        <a:gd name="connsiteX79" fmla="*/ 8683 w 9711"/>
                        <a:gd name="connsiteY79" fmla="*/ 611 h 10000"/>
                        <a:gd name="connsiteX80" fmla="*/ 8353 w 9711"/>
                        <a:gd name="connsiteY80" fmla="*/ 289 h 10000"/>
                        <a:gd name="connsiteX81" fmla="*/ 8065 w 9711"/>
                        <a:gd name="connsiteY81" fmla="*/ 161 h 10000"/>
                        <a:gd name="connsiteX82" fmla="*/ 7901 w 9711"/>
                        <a:gd name="connsiteY82" fmla="*/ 0 h 10000"/>
                        <a:gd name="connsiteX83" fmla="*/ 7654 w 9711"/>
                        <a:gd name="connsiteY83" fmla="*/ 161 h 10000"/>
                        <a:gd name="connsiteX84" fmla="*/ 7489 w 9711"/>
                        <a:gd name="connsiteY84" fmla="*/ 129 h 10000"/>
                        <a:gd name="connsiteX85" fmla="*/ 7365 w 9711"/>
                        <a:gd name="connsiteY85" fmla="*/ 418 h 10000"/>
                        <a:gd name="connsiteX86" fmla="*/ 7036 w 9711"/>
                        <a:gd name="connsiteY86" fmla="*/ 482 h 10000"/>
                        <a:gd name="connsiteX87" fmla="*/ 6954 w 9711"/>
                        <a:gd name="connsiteY87" fmla="*/ 707 h 10000"/>
                        <a:gd name="connsiteX88" fmla="*/ 6666 w 9711"/>
                        <a:gd name="connsiteY88" fmla="*/ 707 h 10000"/>
                        <a:gd name="connsiteX89" fmla="*/ 6419 w 9711"/>
                        <a:gd name="connsiteY89" fmla="*/ 611 h 10000"/>
                        <a:gd name="connsiteX90" fmla="*/ 5884 w 9711"/>
                        <a:gd name="connsiteY90" fmla="*/ 611 h 10000"/>
                        <a:gd name="connsiteX91" fmla="*/ 5349 w 9711"/>
                        <a:gd name="connsiteY91" fmla="*/ 611 h 10000"/>
                        <a:gd name="connsiteX92" fmla="*/ 5390 w 9711"/>
                        <a:gd name="connsiteY92" fmla="*/ 482 h 10000"/>
                        <a:gd name="connsiteX93" fmla="*/ 5308 w 9711"/>
                        <a:gd name="connsiteY93" fmla="*/ 482 h 10000"/>
                        <a:gd name="connsiteX94" fmla="*/ 5267 w 9711"/>
                        <a:gd name="connsiteY94" fmla="*/ 611 h 10000"/>
                        <a:gd name="connsiteX95" fmla="*/ 4773 w 9711"/>
                        <a:gd name="connsiteY95" fmla="*/ 611 h 10000"/>
                        <a:gd name="connsiteX96" fmla="*/ 4280 w 9711"/>
                        <a:gd name="connsiteY96" fmla="*/ 611 h 10000"/>
                        <a:gd name="connsiteX97" fmla="*/ 3786 w 9711"/>
                        <a:gd name="connsiteY97" fmla="*/ 611 h 10000"/>
                        <a:gd name="connsiteX98" fmla="*/ 3292 w 9711"/>
                        <a:gd name="connsiteY98" fmla="*/ 611 h 10000"/>
                        <a:gd name="connsiteX99" fmla="*/ 2840 w 9711"/>
                        <a:gd name="connsiteY99" fmla="*/ 611 h 10000"/>
                        <a:gd name="connsiteX100" fmla="*/ 2346 w 9711"/>
                        <a:gd name="connsiteY100" fmla="*/ 611 h 10000"/>
                        <a:gd name="connsiteX101" fmla="*/ 1892 w 9711"/>
                        <a:gd name="connsiteY101" fmla="*/ 611 h 10000"/>
                        <a:gd name="connsiteX102" fmla="*/ 1399 w 9711"/>
                        <a:gd name="connsiteY102" fmla="*/ 611 h 10000"/>
                        <a:gd name="connsiteX103" fmla="*/ 1399 w 9711"/>
                        <a:gd name="connsiteY103" fmla="*/ 1061 h 10000"/>
                        <a:gd name="connsiteX104" fmla="*/ 1399 w 9711"/>
                        <a:gd name="connsiteY104" fmla="*/ 1640 h 10000"/>
                        <a:gd name="connsiteX105" fmla="*/ 781 w 9711"/>
                        <a:gd name="connsiteY105" fmla="*/ 1640 h 10000"/>
                        <a:gd name="connsiteX106" fmla="*/ 781 w 9711"/>
                        <a:gd name="connsiteY106" fmla="*/ 1897 h 10000"/>
                        <a:gd name="connsiteX0" fmla="*/ 719 w 9915"/>
                        <a:gd name="connsiteY0" fmla="*/ 1897 h 10000"/>
                        <a:gd name="connsiteX1" fmla="*/ 719 w 9915"/>
                        <a:gd name="connsiteY1" fmla="*/ 2412 h 10000"/>
                        <a:gd name="connsiteX2" fmla="*/ 719 w 9915"/>
                        <a:gd name="connsiteY2" fmla="*/ 2894 h 10000"/>
                        <a:gd name="connsiteX3" fmla="*/ 719 w 9915"/>
                        <a:gd name="connsiteY3" fmla="*/ 3376 h 10000"/>
                        <a:gd name="connsiteX4" fmla="*/ 719 w 9915"/>
                        <a:gd name="connsiteY4" fmla="*/ 3826 h 10000"/>
                        <a:gd name="connsiteX5" fmla="*/ 43 w 9915"/>
                        <a:gd name="connsiteY5" fmla="*/ 3923 h 10000"/>
                        <a:gd name="connsiteX6" fmla="*/ 4578 w 9915"/>
                        <a:gd name="connsiteY6" fmla="*/ 6781 h 10000"/>
                        <a:gd name="connsiteX7" fmla="*/ 4368 w 9915"/>
                        <a:gd name="connsiteY7" fmla="*/ 7064 h 10000"/>
                        <a:gd name="connsiteX8" fmla="*/ 3846 w 9915"/>
                        <a:gd name="connsiteY8" fmla="*/ 7281 h 10000"/>
                        <a:gd name="connsiteX9" fmla="*/ 3511 w 9915"/>
                        <a:gd name="connsiteY9" fmla="*/ 7279 h 10000"/>
                        <a:gd name="connsiteX10" fmla="*/ 2780 w 9915"/>
                        <a:gd name="connsiteY10" fmla="*/ 7095 h 10000"/>
                        <a:gd name="connsiteX11" fmla="*/ 2584 w 9915"/>
                        <a:gd name="connsiteY11" fmla="*/ 7195 h 10000"/>
                        <a:gd name="connsiteX12" fmla="*/ 2096 w 9915"/>
                        <a:gd name="connsiteY12" fmla="*/ 6973 h 10000"/>
                        <a:gd name="connsiteX13" fmla="*/ 1881 w 9915"/>
                        <a:gd name="connsiteY13" fmla="*/ 6638 h 10000"/>
                        <a:gd name="connsiteX14" fmla="*/ 1522 w 9915"/>
                        <a:gd name="connsiteY14" fmla="*/ 6729 h 10000"/>
                        <a:gd name="connsiteX15" fmla="*/ 1425 w 9915"/>
                        <a:gd name="connsiteY15" fmla="*/ 6927 h 10000"/>
                        <a:gd name="connsiteX16" fmla="*/ 1045 w 9915"/>
                        <a:gd name="connsiteY16" fmla="*/ 7011 h 10000"/>
                        <a:gd name="connsiteX17" fmla="*/ 795 w 9915"/>
                        <a:gd name="connsiteY17" fmla="*/ 7004 h 10000"/>
                        <a:gd name="connsiteX18" fmla="*/ 658 w 9915"/>
                        <a:gd name="connsiteY18" fmla="*/ 7161 h 10000"/>
                        <a:gd name="connsiteX19" fmla="*/ 424 w 9915"/>
                        <a:gd name="connsiteY19" fmla="*/ 6913 h 10000"/>
                        <a:gd name="connsiteX20" fmla="*/ 380 w 9915"/>
                        <a:gd name="connsiteY20" fmla="*/ 7363 h 10000"/>
                        <a:gd name="connsiteX21" fmla="*/ 465 w 9915"/>
                        <a:gd name="connsiteY21" fmla="*/ 7428 h 10000"/>
                        <a:gd name="connsiteX22" fmla="*/ 805 w 9915"/>
                        <a:gd name="connsiteY22" fmla="*/ 7460 h 10000"/>
                        <a:gd name="connsiteX23" fmla="*/ 848 w 9915"/>
                        <a:gd name="connsiteY23" fmla="*/ 7588 h 10000"/>
                        <a:gd name="connsiteX24" fmla="*/ 1228 w 9915"/>
                        <a:gd name="connsiteY24" fmla="*/ 7621 h 10000"/>
                        <a:gd name="connsiteX25" fmla="*/ 1440 w 9915"/>
                        <a:gd name="connsiteY25" fmla="*/ 7749 h 10000"/>
                        <a:gd name="connsiteX26" fmla="*/ 1482 w 9915"/>
                        <a:gd name="connsiteY26" fmla="*/ 7974 h 10000"/>
                        <a:gd name="connsiteX27" fmla="*/ 2161 w 9915"/>
                        <a:gd name="connsiteY27" fmla="*/ 8360 h 10000"/>
                        <a:gd name="connsiteX28" fmla="*/ 2331 w 9915"/>
                        <a:gd name="connsiteY28" fmla="*/ 8746 h 10000"/>
                        <a:gd name="connsiteX29" fmla="*/ 2796 w 9915"/>
                        <a:gd name="connsiteY29" fmla="*/ 8939 h 10000"/>
                        <a:gd name="connsiteX30" fmla="*/ 2966 w 9915"/>
                        <a:gd name="connsiteY30" fmla="*/ 9196 h 10000"/>
                        <a:gd name="connsiteX31" fmla="*/ 3305 w 9915"/>
                        <a:gd name="connsiteY31" fmla="*/ 9518 h 10000"/>
                        <a:gd name="connsiteX32" fmla="*/ 3559 w 9915"/>
                        <a:gd name="connsiteY32" fmla="*/ 9614 h 10000"/>
                        <a:gd name="connsiteX33" fmla="*/ 3729 w 9915"/>
                        <a:gd name="connsiteY33" fmla="*/ 9518 h 10000"/>
                        <a:gd name="connsiteX34" fmla="*/ 4152 w 9915"/>
                        <a:gd name="connsiteY34" fmla="*/ 9550 h 10000"/>
                        <a:gd name="connsiteX35" fmla="*/ 4322 w 9915"/>
                        <a:gd name="connsiteY35" fmla="*/ 9486 h 10000"/>
                        <a:gd name="connsiteX36" fmla="*/ 5084 w 9915"/>
                        <a:gd name="connsiteY36" fmla="*/ 9968 h 10000"/>
                        <a:gd name="connsiteX37" fmla="*/ 5127 w 9915"/>
                        <a:gd name="connsiteY37" fmla="*/ 9968 h 10000"/>
                        <a:gd name="connsiteX38" fmla="*/ 5211 w 9915"/>
                        <a:gd name="connsiteY38" fmla="*/ 9904 h 10000"/>
                        <a:gd name="connsiteX39" fmla="*/ 5761 w 9915"/>
                        <a:gd name="connsiteY39" fmla="*/ 9904 h 10000"/>
                        <a:gd name="connsiteX40" fmla="*/ 5847 w 9915"/>
                        <a:gd name="connsiteY40" fmla="*/ 10000 h 10000"/>
                        <a:gd name="connsiteX41" fmla="*/ 6314 w 9915"/>
                        <a:gd name="connsiteY41" fmla="*/ 9871 h 10000"/>
                        <a:gd name="connsiteX42" fmla="*/ 6736 w 9915"/>
                        <a:gd name="connsiteY42" fmla="*/ 9871 h 10000"/>
                        <a:gd name="connsiteX43" fmla="*/ 7034 w 9915"/>
                        <a:gd name="connsiteY43" fmla="*/ 9743 h 10000"/>
                        <a:gd name="connsiteX44" fmla="*/ 7373 w 9915"/>
                        <a:gd name="connsiteY44" fmla="*/ 9486 h 10000"/>
                        <a:gd name="connsiteX45" fmla="*/ 8262 w 9915"/>
                        <a:gd name="connsiteY45" fmla="*/ 9486 h 10000"/>
                        <a:gd name="connsiteX46" fmla="*/ 8262 w 9915"/>
                        <a:gd name="connsiteY46" fmla="*/ 9132 h 10000"/>
                        <a:gd name="connsiteX47" fmla="*/ 7797 w 9915"/>
                        <a:gd name="connsiteY47" fmla="*/ 8971 h 10000"/>
                        <a:gd name="connsiteX48" fmla="*/ 7542 w 9915"/>
                        <a:gd name="connsiteY48" fmla="*/ 8457 h 10000"/>
                        <a:gd name="connsiteX49" fmla="*/ 7204 w 9915"/>
                        <a:gd name="connsiteY49" fmla="*/ 8264 h 10000"/>
                        <a:gd name="connsiteX50" fmla="*/ 6990 w 9915"/>
                        <a:gd name="connsiteY50" fmla="*/ 8006 h 10000"/>
                        <a:gd name="connsiteX51" fmla="*/ 6441 w 9915"/>
                        <a:gd name="connsiteY51" fmla="*/ 7814 h 10000"/>
                        <a:gd name="connsiteX52" fmla="*/ 6567 w 9915"/>
                        <a:gd name="connsiteY52" fmla="*/ 7749 h 10000"/>
                        <a:gd name="connsiteX53" fmla="*/ 6567 w 9915"/>
                        <a:gd name="connsiteY53" fmla="*/ 7588 h 10000"/>
                        <a:gd name="connsiteX54" fmla="*/ 6949 w 9915"/>
                        <a:gd name="connsiteY54" fmla="*/ 7588 h 10000"/>
                        <a:gd name="connsiteX55" fmla="*/ 7160 w 9915"/>
                        <a:gd name="connsiteY55" fmla="*/ 7460 h 10000"/>
                        <a:gd name="connsiteX56" fmla="*/ 7204 w 9915"/>
                        <a:gd name="connsiteY56" fmla="*/ 6527 h 10000"/>
                        <a:gd name="connsiteX57" fmla="*/ 7245 w 9915"/>
                        <a:gd name="connsiteY57" fmla="*/ 6559 h 10000"/>
                        <a:gd name="connsiteX58" fmla="*/ 7373 w 9915"/>
                        <a:gd name="connsiteY58" fmla="*/ 6367 h 10000"/>
                        <a:gd name="connsiteX59" fmla="*/ 7627 w 9915"/>
                        <a:gd name="connsiteY59" fmla="*/ 6270 h 10000"/>
                        <a:gd name="connsiteX60" fmla="*/ 7754 w 9915"/>
                        <a:gd name="connsiteY60" fmla="*/ 5916 h 10000"/>
                        <a:gd name="connsiteX61" fmla="*/ 8136 w 9915"/>
                        <a:gd name="connsiteY61" fmla="*/ 5498 h 10000"/>
                        <a:gd name="connsiteX62" fmla="*/ 8431 w 9915"/>
                        <a:gd name="connsiteY62" fmla="*/ 5305 h 10000"/>
                        <a:gd name="connsiteX63" fmla="*/ 8643 w 9915"/>
                        <a:gd name="connsiteY63" fmla="*/ 4759 h 10000"/>
                        <a:gd name="connsiteX64" fmla="*/ 8643 w 9915"/>
                        <a:gd name="connsiteY64" fmla="*/ 4630 h 10000"/>
                        <a:gd name="connsiteX65" fmla="*/ 8602 w 9915"/>
                        <a:gd name="connsiteY65" fmla="*/ 4309 h 10000"/>
                        <a:gd name="connsiteX66" fmla="*/ 9025 w 9915"/>
                        <a:gd name="connsiteY66" fmla="*/ 3151 h 10000"/>
                        <a:gd name="connsiteX67" fmla="*/ 9152 w 9915"/>
                        <a:gd name="connsiteY67" fmla="*/ 3151 h 10000"/>
                        <a:gd name="connsiteX68" fmla="*/ 9322 w 9915"/>
                        <a:gd name="connsiteY68" fmla="*/ 3055 h 10000"/>
                        <a:gd name="connsiteX69" fmla="*/ 9831 w 9915"/>
                        <a:gd name="connsiteY69" fmla="*/ 2894 h 10000"/>
                        <a:gd name="connsiteX70" fmla="*/ 9915 w 9915"/>
                        <a:gd name="connsiteY70" fmla="*/ 2637 h 10000"/>
                        <a:gd name="connsiteX71" fmla="*/ 9874 w 9915"/>
                        <a:gd name="connsiteY71" fmla="*/ 2572 h 10000"/>
                        <a:gd name="connsiteX72" fmla="*/ 9703 w 9915"/>
                        <a:gd name="connsiteY72" fmla="*/ 2572 h 10000"/>
                        <a:gd name="connsiteX73" fmla="*/ 9576 w 9915"/>
                        <a:gd name="connsiteY73" fmla="*/ 2412 h 10000"/>
                        <a:gd name="connsiteX74" fmla="*/ 9322 w 9915"/>
                        <a:gd name="connsiteY74" fmla="*/ 2347 h 10000"/>
                        <a:gd name="connsiteX75" fmla="*/ 9194 w 9915"/>
                        <a:gd name="connsiteY75" fmla="*/ 2219 h 10000"/>
                        <a:gd name="connsiteX76" fmla="*/ 9111 w 9915"/>
                        <a:gd name="connsiteY76" fmla="*/ 1736 h 10000"/>
                        <a:gd name="connsiteX77" fmla="*/ 9111 w 9915"/>
                        <a:gd name="connsiteY77" fmla="*/ 1061 h 10000"/>
                        <a:gd name="connsiteX78" fmla="*/ 8898 w 9915"/>
                        <a:gd name="connsiteY78" fmla="*/ 836 h 10000"/>
                        <a:gd name="connsiteX79" fmla="*/ 8856 w 9915"/>
                        <a:gd name="connsiteY79" fmla="*/ 611 h 10000"/>
                        <a:gd name="connsiteX80" fmla="*/ 8517 w 9915"/>
                        <a:gd name="connsiteY80" fmla="*/ 289 h 10000"/>
                        <a:gd name="connsiteX81" fmla="*/ 8220 w 9915"/>
                        <a:gd name="connsiteY81" fmla="*/ 161 h 10000"/>
                        <a:gd name="connsiteX82" fmla="*/ 8051 w 9915"/>
                        <a:gd name="connsiteY82" fmla="*/ 0 h 10000"/>
                        <a:gd name="connsiteX83" fmla="*/ 7797 w 9915"/>
                        <a:gd name="connsiteY83" fmla="*/ 161 h 10000"/>
                        <a:gd name="connsiteX84" fmla="*/ 7627 w 9915"/>
                        <a:gd name="connsiteY84" fmla="*/ 129 h 10000"/>
                        <a:gd name="connsiteX85" fmla="*/ 7499 w 9915"/>
                        <a:gd name="connsiteY85" fmla="*/ 418 h 10000"/>
                        <a:gd name="connsiteX86" fmla="*/ 7160 w 9915"/>
                        <a:gd name="connsiteY86" fmla="*/ 482 h 10000"/>
                        <a:gd name="connsiteX87" fmla="*/ 7076 w 9915"/>
                        <a:gd name="connsiteY87" fmla="*/ 707 h 10000"/>
                        <a:gd name="connsiteX88" fmla="*/ 6779 w 9915"/>
                        <a:gd name="connsiteY88" fmla="*/ 707 h 10000"/>
                        <a:gd name="connsiteX89" fmla="*/ 6525 w 9915"/>
                        <a:gd name="connsiteY89" fmla="*/ 611 h 10000"/>
                        <a:gd name="connsiteX90" fmla="*/ 5974 w 9915"/>
                        <a:gd name="connsiteY90" fmla="*/ 611 h 10000"/>
                        <a:gd name="connsiteX91" fmla="*/ 5423 w 9915"/>
                        <a:gd name="connsiteY91" fmla="*/ 611 h 10000"/>
                        <a:gd name="connsiteX92" fmla="*/ 5465 w 9915"/>
                        <a:gd name="connsiteY92" fmla="*/ 482 h 10000"/>
                        <a:gd name="connsiteX93" fmla="*/ 5381 w 9915"/>
                        <a:gd name="connsiteY93" fmla="*/ 482 h 10000"/>
                        <a:gd name="connsiteX94" fmla="*/ 5339 w 9915"/>
                        <a:gd name="connsiteY94" fmla="*/ 611 h 10000"/>
                        <a:gd name="connsiteX95" fmla="*/ 4830 w 9915"/>
                        <a:gd name="connsiteY95" fmla="*/ 611 h 10000"/>
                        <a:gd name="connsiteX96" fmla="*/ 4322 w 9915"/>
                        <a:gd name="connsiteY96" fmla="*/ 611 h 10000"/>
                        <a:gd name="connsiteX97" fmla="*/ 3814 w 9915"/>
                        <a:gd name="connsiteY97" fmla="*/ 611 h 10000"/>
                        <a:gd name="connsiteX98" fmla="*/ 3305 w 9915"/>
                        <a:gd name="connsiteY98" fmla="*/ 611 h 10000"/>
                        <a:gd name="connsiteX99" fmla="*/ 2840 w 9915"/>
                        <a:gd name="connsiteY99" fmla="*/ 611 h 10000"/>
                        <a:gd name="connsiteX100" fmla="*/ 2331 w 9915"/>
                        <a:gd name="connsiteY100" fmla="*/ 611 h 10000"/>
                        <a:gd name="connsiteX101" fmla="*/ 1863 w 9915"/>
                        <a:gd name="connsiteY101" fmla="*/ 611 h 10000"/>
                        <a:gd name="connsiteX102" fmla="*/ 1356 w 9915"/>
                        <a:gd name="connsiteY102" fmla="*/ 611 h 10000"/>
                        <a:gd name="connsiteX103" fmla="*/ 1356 w 9915"/>
                        <a:gd name="connsiteY103" fmla="*/ 1061 h 10000"/>
                        <a:gd name="connsiteX104" fmla="*/ 1356 w 9915"/>
                        <a:gd name="connsiteY104" fmla="*/ 1640 h 10000"/>
                        <a:gd name="connsiteX105" fmla="*/ 719 w 9915"/>
                        <a:gd name="connsiteY105" fmla="*/ 1640 h 10000"/>
                        <a:gd name="connsiteX106" fmla="*/ 719 w 9915"/>
                        <a:gd name="connsiteY106" fmla="*/ 1897 h 10000"/>
                        <a:gd name="connsiteX0" fmla="*/ 342 w 9617"/>
                        <a:gd name="connsiteY0" fmla="*/ 1897 h 10000"/>
                        <a:gd name="connsiteX1" fmla="*/ 342 w 9617"/>
                        <a:gd name="connsiteY1" fmla="*/ 2412 h 10000"/>
                        <a:gd name="connsiteX2" fmla="*/ 342 w 9617"/>
                        <a:gd name="connsiteY2" fmla="*/ 2894 h 10000"/>
                        <a:gd name="connsiteX3" fmla="*/ 342 w 9617"/>
                        <a:gd name="connsiteY3" fmla="*/ 3376 h 10000"/>
                        <a:gd name="connsiteX4" fmla="*/ 342 w 9617"/>
                        <a:gd name="connsiteY4" fmla="*/ 3826 h 10000"/>
                        <a:gd name="connsiteX5" fmla="*/ 4662 w 9617"/>
                        <a:gd name="connsiteY5" fmla="*/ 6907 h 10000"/>
                        <a:gd name="connsiteX6" fmla="*/ 4234 w 9617"/>
                        <a:gd name="connsiteY6" fmla="*/ 6781 h 10000"/>
                        <a:gd name="connsiteX7" fmla="*/ 4022 w 9617"/>
                        <a:gd name="connsiteY7" fmla="*/ 7064 h 10000"/>
                        <a:gd name="connsiteX8" fmla="*/ 3496 w 9617"/>
                        <a:gd name="connsiteY8" fmla="*/ 7281 h 10000"/>
                        <a:gd name="connsiteX9" fmla="*/ 3158 w 9617"/>
                        <a:gd name="connsiteY9" fmla="*/ 7279 h 10000"/>
                        <a:gd name="connsiteX10" fmla="*/ 2421 w 9617"/>
                        <a:gd name="connsiteY10" fmla="*/ 7095 h 10000"/>
                        <a:gd name="connsiteX11" fmla="*/ 2223 w 9617"/>
                        <a:gd name="connsiteY11" fmla="*/ 7195 h 10000"/>
                        <a:gd name="connsiteX12" fmla="*/ 1731 w 9617"/>
                        <a:gd name="connsiteY12" fmla="*/ 6973 h 10000"/>
                        <a:gd name="connsiteX13" fmla="*/ 1514 w 9617"/>
                        <a:gd name="connsiteY13" fmla="*/ 6638 h 10000"/>
                        <a:gd name="connsiteX14" fmla="*/ 1152 w 9617"/>
                        <a:gd name="connsiteY14" fmla="*/ 6729 h 10000"/>
                        <a:gd name="connsiteX15" fmla="*/ 1054 w 9617"/>
                        <a:gd name="connsiteY15" fmla="*/ 6927 h 10000"/>
                        <a:gd name="connsiteX16" fmla="*/ 671 w 9617"/>
                        <a:gd name="connsiteY16" fmla="*/ 7011 h 10000"/>
                        <a:gd name="connsiteX17" fmla="*/ 419 w 9617"/>
                        <a:gd name="connsiteY17" fmla="*/ 7004 h 10000"/>
                        <a:gd name="connsiteX18" fmla="*/ 281 w 9617"/>
                        <a:gd name="connsiteY18" fmla="*/ 7161 h 10000"/>
                        <a:gd name="connsiteX19" fmla="*/ 45 w 9617"/>
                        <a:gd name="connsiteY19" fmla="*/ 6913 h 10000"/>
                        <a:gd name="connsiteX20" fmla="*/ 0 w 9617"/>
                        <a:gd name="connsiteY20" fmla="*/ 7363 h 10000"/>
                        <a:gd name="connsiteX21" fmla="*/ 86 w 9617"/>
                        <a:gd name="connsiteY21" fmla="*/ 7428 h 10000"/>
                        <a:gd name="connsiteX22" fmla="*/ 429 w 9617"/>
                        <a:gd name="connsiteY22" fmla="*/ 7460 h 10000"/>
                        <a:gd name="connsiteX23" fmla="*/ 472 w 9617"/>
                        <a:gd name="connsiteY23" fmla="*/ 7588 h 10000"/>
                        <a:gd name="connsiteX24" fmla="*/ 856 w 9617"/>
                        <a:gd name="connsiteY24" fmla="*/ 7621 h 10000"/>
                        <a:gd name="connsiteX25" fmla="*/ 1069 w 9617"/>
                        <a:gd name="connsiteY25" fmla="*/ 7749 h 10000"/>
                        <a:gd name="connsiteX26" fmla="*/ 1112 w 9617"/>
                        <a:gd name="connsiteY26" fmla="*/ 7974 h 10000"/>
                        <a:gd name="connsiteX27" fmla="*/ 1797 w 9617"/>
                        <a:gd name="connsiteY27" fmla="*/ 8360 h 10000"/>
                        <a:gd name="connsiteX28" fmla="*/ 1968 w 9617"/>
                        <a:gd name="connsiteY28" fmla="*/ 8746 h 10000"/>
                        <a:gd name="connsiteX29" fmla="*/ 2437 w 9617"/>
                        <a:gd name="connsiteY29" fmla="*/ 8939 h 10000"/>
                        <a:gd name="connsiteX30" fmla="*/ 2608 w 9617"/>
                        <a:gd name="connsiteY30" fmla="*/ 9196 h 10000"/>
                        <a:gd name="connsiteX31" fmla="*/ 2950 w 9617"/>
                        <a:gd name="connsiteY31" fmla="*/ 9518 h 10000"/>
                        <a:gd name="connsiteX32" fmla="*/ 3207 w 9617"/>
                        <a:gd name="connsiteY32" fmla="*/ 9614 h 10000"/>
                        <a:gd name="connsiteX33" fmla="*/ 3378 w 9617"/>
                        <a:gd name="connsiteY33" fmla="*/ 9518 h 10000"/>
                        <a:gd name="connsiteX34" fmla="*/ 3805 w 9617"/>
                        <a:gd name="connsiteY34" fmla="*/ 9550 h 10000"/>
                        <a:gd name="connsiteX35" fmla="*/ 3976 w 9617"/>
                        <a:gd name="connsiteY35" fmla="*/ 9486 h 10000"/>
                        <a:gd name="connsiteX36" fmla="*/ 4745 w 9617"/>
                        <a:gd name="connsiteY36" fmla="*/ 9968 h 10000"/>
                        <a:gd name="connsiteX37" fmla="*/ 4788 w 9617"/>
                        <a:gd name="connsiteY37" fmla="*/ 9968 h 10000"/>
                        <a:gd name="connsiteX38" fmla="*/ 4873 w 9617"/>
                        <a:gd name="connsiteY38" fmla="*/ 9904 h 10000"/>
                        <a:gd name="connsiteX39" fmla="*/ 5427 w 9617"/>
                        <a:gd name="connsiteY39" fmla="*/ 9904 h 10000"/>
                        <a:gd name="connsiteX40" fmla="*/ 5514 w 9617"/>
                        <a:gd name="connsiteY40" fmla="*/ 10000 h 10000"/>
                        <a:gd name="connsiteX41" fmla="*/ 5985 w 9617"/>
                        <a:gd name="connsiteY41" fmla="*/ 9871 h 10000"/>
                        <a:gd name="connsiteX42" fmla="*/ 6411 w 9617"/>
                        <a:gd name="connsiteY42" fmla="*/ 9871 h 10000"/>
                        <a:gd name="connsiteX43" fmla="*/ 6711 w 9617"/>
                        <a:gd name="connsiteY43" fmla="*/ 9743 h 10000"/>
                        <a:gd name="connsiteX44" fmla="*/ 7053 w 9617"/>
                        <a:gd name="connsiteY44" fmla="*/ 9486 h 10000"/>
                        <a:gd name="connsiteX45" fmla="*/ 7950 w 9617"/>
                        <a:gd name="connsiteY45" fmla="*/ 9486 h 10000"/>
                        <a:gd name="connsiteX46" fmla="*/ 7950 w 9617"/>
                        <a:gd name="connsiteY46" fmla="*/ 9132 h 10000"/>
                        <a:gd name="connsiteX47" fmla="*/ 7481 w 9617"/>
                        <a:gd name="connsiteY47" fmla="*/ 8971 h 10000"/>
                        <a:gd name="connsiteX48" fmla="*/ 7224 w 9617"/>
                        <a:gd name="connsiteY48" fmla="*/ 8457 h 10000"/>
                        <a:gd name="connsiteX49" fmla="*/ 6883 w 9617"/>
                        <a:gd name="connsiteY49" fmla="*/ 8264 h 10000"/>
                        <a:gd name="connsiteX50" fmla="*/ 6667 w 9617"/>
                        <a:gd name="connsiteY50" fmla="*/ 8006 h 10000"/>
                        <a:gd name="connsiteX51" fmla="*/ 6113 w 9617"/>
                        <a:gd name="connsiteY51" fmla="*/ 7814 h 10000"/>
                        <a:gd name="connsiteX52" fmla="*/ 6240 w 9617"/>
                        <a:gd name="connsiteY52" fmla="*/ 7749 h 10000"/>
                        <a:gd name="connsiteX53" fmla="*/ 6240 w 9617"/>
                        <a:gd name="connsiteY53" fmla="*/ 7588 h 10000"/>
                        <a:gd name="connsiteX54" fmla="*/ 6626 w 9617"/>
                        <a:gd name="connsiteY54" fmla="*/ 7588 h 10000"/>
                        <a:gd name="connsiteX55" fmla="*/ 6838 w 9617"/>
                        <a:gd name="connsiteY55" fmla="*/ 7460 h 10000"/>
                        <a:gd name="connsiteX56" fmla="*/ 6883 w 9617"/>
                        <a:gd name="connsiteY56" fmla="*/ 6527 h 10000"/>
                        <a:gd name="connsiteX57" fmla="*/ 6924 w 9617"/>
                        <a:gd name="connsiteY57" fmla="*/ 6559 h 10000"/>
                        <a:gd name="connsiteX58" fmla="*/ 7053 w 9617"/>
                        <a:gd name="connsiteY58" fmla="*/ 6367 h 10000"/>
                        <a:gd name="connsiteX59" fmla="*/ 7309 w 9617"/>
                        <a:gd name="connsiteY59" fmla="*/ 6270 h 10000"/>
                        <a:gd name="connsiteX60" fmla="*/ 7437 w 9617"/>
                        <a:gd name="connsiteY60" fmla="*/ 5916 h 10000"/>
                        <a:gd name="connsiteX61" fmla="*/ 7823 w 9617"/>
                        <a:gd name="connsiteY61" fmla="*/ 5498 h 10000"/>
                        <a:gd name="connsiteX62" fmla="*/ 8120 w 9617"/>
                        <a:gd name="connsiteY62" fmla="*/ 5305 h 10000"/>
                        <a:gd name="connsiteX63" fmla="*/ 8334 w 9617"/>
                        <a:gd name="connsiteY63" fmla="*/ 4759 h 10000"/>
                        <a:gd name="connsiteX64" fmla="*/ 8334 w 9617"/>
                        <a:gd name="connsiteY64" fmla="*/ 4630 h 10000"/>
                        <a:gd name="connsiteX65" fmla="*/ 8293 w 9617"/>
                        <a:gd name="connsiteY65" fmla="*/ 4309 h 10000"/>
                        <a:gd name="connsiteX66" fmla="*/ 8719 w 9617"/>
                        <a:gd name="connsiteY66" fmla="*/ 3151 h 10000"/>
                        <a:gd name="connsiteX67" fmla="*/ 8847 w 9617"/>
                        <a:gd name="connsiteY67" fmla="*/ 3151 h 10000"/>
                        <a:gd name="connsiteX68" fmla="*/ 9019 w 9617"/>
                        <a:gd name="connsiteY68" fmla="*/ 3055 h 10000"/>
                        <a:gd name="connsiteX69" fmla="*/ 9532 w 9617"/>
                        <a:gd name="connsiteY69" fmla="*/ 2894 h 10000"/>
                        <a:gd name="connsiteX70" fmla="*/ 9617 w 9617"/>
                        <a:gd name="connsiteY70" fmla="*/ 2637 h 10000"/>
                        <a:gd name="connsiteX71" fmla="*/ 9576 w 9617"/>
                        <a:gd name="connsiteY71" fmla="*/ 2572 h 10000"/>
                        <a:gd name="connsiteX72" fmla="*/ 9403 w 9617"/>
                        <a:gd name="connsiteY72" fmla="*/ 2572 h 10000"/>
                        <a:gd name="connsiteX73" fmla="*/ 9275 w 9617"/>
                        <a:gd name="connsiteY73" fmla="*/ 2412 h 10000"/>
                        <a:gd name="connsiteX74" fmla="*/ 9019 w 9617"/>
                        <a:gd name="connsiteY74" fmla="*/ 2347 h 10000"/>
                        <a:gd name="connsiteX75" fmla="*/ 8890 w 9617"/>
                        <a:gd name="connsiteY75" fmla="*/ 2219 h 10000"/>
                        <a:gd name="connsiteX76" fmla="*/ 8806 w 9617"/>
                        <a:gd name="connsiteY76" fmla="*/ 1736 h 10000"/>
                        <a:gd name="connsiteX77" fmla="*/ 8806 w 9617"/>
                        <a:gd name="connsiteY77" fmla="*/ 1061 h 10000"/>
                        <a:gd name="connsiteX78" fmla="*/ 8591 w 9617"/>
                        <a:gd name="connsiteY78" fmla="*/ 836 h 10000"/>
                        <a:gd name="connsiteX79" fmla="*/ 8549 w 9617"/>
                        <a:gd name="connsiteY79" fmla="*/ 611 h 10000"/>
                        <a:gd name="connsiteX80" fmla="*/ 8207 w 9617"/>
                        <a:gd name="connsiteY80" fmla="*/ 289 h 10000"/>
                        <a:gd name="connsiteX81" fmla="*/ 7907 w 9617"/>
                        <a:gd name="connsiteY81" fmla="*/ 161 h 10000"/>
                        <a:gd name="connsiteX82" fmla="*/ 7737 w 9617"/>
                        <a:gd name="connsiteY82" fmla="*/ 0 h 10000"/>
                        <a:gd name="connsiteX83" fmla="*/ 7481 w 9617"/>
                        <a:gd name="connsiteY83" fmla="*/ 161 h 10000"/>
                        <a:gd name="connsiteX84" fmla="*/ 7309 w 9617"/>
                        <a:gd name="connsiteY84" fmla="*/ 129 h 10000"/>
                        <a:gd name="connsiteX85" fmla="*/ 7180 w 9617"/>
                        <a:gd name="connsiteY85" fmla="*/ 418 h 10000"/>
                        <a:gd name="connsiteX86" fmla="*/ 6838 w 9617"/>
                        <a:gd name="connsiteY86" fmla="*/ 482 h 10000"/>
                        <a:gd name="connsiteX87" fmla="*/ 6754 w 9617"/>
                        <a:gd name="connsiteY87" fmla="*/ 707 h 10000"/>
                        <a:gd name="connsiteX88" fmla="*/ 6454 w 9617"/>
                        <a:gd name="connsiteY88" fmla="*/ 707 h 10000"/>
                        <a:gd name="connsiteX89" fmla="*/ 6198 w 9617"/>
                        <a:gd name="connsiteY89" fmla="*/ 611 h 10000"/>
                        <a:gd name="connsiteX90" fmla="*/ 5642 w 9617"/>
                        <a:gd name="connsiteY90" fmla="*/ 611 h 10000"/>
                        <a:gd name="connsiteX91" fmla="*/ 5086 w 9617"/>
                        <a:gd name="connsiteY91" fmla="*/ 611 h 10000"/>
                        <a:gd name="connsiteX92" fmla="*/ 5129 w 9617"/>
                        <a:gd name="connsiteY92" fmla="*/ 482 h 10000"/>
                        <a:gd name="connsiteX93" fmla="*/ 5044 w 9617"/>
                        <a:gd name="connsiteY93" fmla="*/ 482 h 10000"/>
                        <a:gd name="connsiteX94" fmla="*/ 5002 w 9617"/>
                        <a:gd name="connsiteY94" fmla="*/ 611 h 10000"/>
                        <a:gd name="connsiteX95" fmla="*/ 4488 w 9617"/>
                        <a:gd name="connsiteY95" fmla="*/ 611 h 10000"/>
                        <a:gd name="connsiteX96" fmla="*/ 3976 w 9617"/>
                        <a:gd name="connsiteY96" fmla="*/ 611 h 10000"/>
                        <a:gd name="connsiteX97" fmla="*/ 3464 w 9617"/>
                        <a:gd name="connsiteY97" fmla="*/ 611 h 10000"/>
                        <a:gd name="connsiteX98" fmla="*/ 2950 w 9617"/>
                        <a:gd name="connsiteY98" fmla="*/ 611 h 10000"/>
                        <a:gd name="connsiteX99" fmla="*/ 2481 w 9617"/>
                        <a:gd name="connsiteY99" fmla="*/ 611 h 10000"/>
                        <a:gd name="connsiteX100" fmla="*/ 1968 w 9617"/>
                        <a:gd name="connsiteY100" fmla="*/ 611 h 10000"/>
                        <a:gd name="connsiteX101" fmla="*/ 1496 w 9617"/>
                        <a:gd name="connsiteY101" fmla="*/ 611 h 10000"/>
                        <a:gd name="connsiteX102" fmla="*/ 985 w 9617"/>
                        <a:gd name="connsiteY102" fmla="*/ 611 h 10000"/>
                        <a:gd name="connsiteX103" fmla="*/ 985 w 9617"/>
                        <a:gd name="connsiteY103" fmla="*/ 1061 h 10000"/>
                        <a:gd name="connsiteX104" fmla="*/ 985 w 9617"/>
                        <a:gd name="connsiteY104" fmla="*/ 1640 h 10000"/>
                        <a:gd name="connsiteX105" fmla="*/ 342 w 9617"/>
                        <a:gd name="connsiteY105" fmla="*/ 1640 h 10000"/>
                        <a:gd name="connsiteX106" fmla="*/ 342 w 9617"/>
                        <a:gd name="connsiteY106" fmla="*/ 1897 h 10000"/>
                        <a:gd name="connsiteX0" fmla="*/ 356 w 10000"/>
                        <a:gd name="connsiteY0" fmla="*/ 1897 h 10000"/>
                        <a:gd name="connsiteX1" fmla="*/ 356 w 10000"/>
                        <a:gd name="connsiteY1" fmla="*/ 2412 h 10000"/>
                        <a:gd name="connsiteX2" fmla="*/ 356 w 10000"/>
                        <a:gd name="connsiteY2" fmla="*/ 2894 h 10000"/>
                        <a:gd name="connsiteX3" fmla="*/ 356 w 10000"/>
                        <a:gd name="connsiteY3" fmla="*/ 3376 h 10000"/>
                        <a:gd name="connsiteX4" fmla="*/ 5155 w 10000"/>
                        <a:gd name="connsiteY4" fmla="*/ 7114 h 10000"/>
                        <a:gd name="connsiteX5" fmla="*/ 4848 w 10000"/>
                        <a:gd name="connsiteY5" fmla="*/ 6907 h 10000"/>
                        <a:gd name="connsiteX6" fmla="*/ 4403 w 10000"/>
                        <a:gd name="connsiteY6" fmla="*/ 6781 h 10000"/>
                        <a:gd name="connsiteX7" fmla="*/ 4182 w 10000"/>
                        <a:gd name="connsiteY7" fmla="*/ 7064 h 10000"/>
                        <a:gd name="connsiteX8" fmla="*/ 3635 w 10000"/>
                        <a:gd name="connsiteY8" fmla="*/ 7281 h 10000"/>
                        <a:gd name="connsiteX9" fmla="*/ 3284 w 10000"/>
                        <a:gd name="connsiteY9" fmla="*/ 7279 h 10000"/>
                        <a:gd name="connsiteX10" fmla="*/ 2517 w 10000"/>
                        <a:gd name="connsiteY10" fmla="*/ 7095 h 10000"/>
                        <a:gd name="connsiteX11" fmla="*/ 2312 w 10000"/>
                        <a:gd name="connsiteY11" fmla="*/ 7195 h 10000"/>
                        <a:gd name="connsiteX12" fmla="*/ 1800 w 10000"/>
                        <a:gd name="connsiteY12" fmla="*/ 6973 h 10000"/>
                        <a:gd name="connsiteX13" fmla="*/ 1574 w 10000"/>
                        <a:gd name="connsiteY13" fmla="*/ 6638 h 10000"/>
                        <a:gd name="connsiteX14" fmla="*/ 1198 w 10000"/>
                        <a:gd name="connsiteY14" fmla="*/ 6729 h 10000"/>
                        <a:gd name="connsiteX15" fmla="*/ 1096 w 10000"/>
                        <a:gd name="connsiteY15" fmla="*/ 6927 h 10000"/>
                        <a:gd name="connsiteX16" fmla="*/ 698 w 10000"/>
                        <a:gd name="connsiteY16" fmla="*/ 7011 h 10000"/>
                        <a:gd name="connsiteX17" fmla="*/ 436 w 10000"/>
                        <a:gd name="connsiteY17" fmla="*/ 7004 h 10000"/>
                        <a:gd name="connsiteX18" fmla="*/ 292 w 10000"/>
                        <a:gd name="connsiteY18" fmla="*/ 7161 h 10000"/>
                        <a:gd name="connsiteX19" fmla="*/ 47 w 10000"/>
                        <a:gd name="connsiteY19" fmla="*/ 6913 h 10000"/>
                        <a:gd name="connsiteX20" fmla="*/ 0 w 10000"/>
                        <a:gd name="connsiteY20" fmla="*/ 7363 h 10000"/>
                        <a:gd name="connsiteX21" fmla="*/ 89 w 10000"/>
                        <a:gd name="connsiteY21" fmla="*/ 7428 h 10000"/>
                        <a:gd name="connsiteX22" fmla="*/ 446 w 10000"/>
                        <a:gd name="connsiteY22" fmla="*/ 7460 h 10000"/>
                        <a:gd name="connsiteX23" fmla="*/ 491 w 10000"/>
                        <a:gd name="connsiteY23" fmla="*/ 7588 h 10000"/>
                        <a:gd name="connsiteX24" fmla="*/ 890 w 10000"/>
                        <a:gd name="connsiteY24" fmla="*/ 7621 h 10000"/>
                        <a:gd name="connsiteX25" fmla="*/ 1112 w 10000"/>
                        <a:gd name="connsiteY25" fmla="*/ 7749 h 10000"/>
                        <a:gd name="connsiteX26" fmla="*/ 1156 w 10000"/>
                        <a:gd name="connsiteY26" fmla="*/ 7974 h 10000"/>
                        <a:gd name="connsiteX27" fmla="*/ 1869 w 10000"/>
                        <a:gd name="connsiteY27" fmla="*/ 8360 h 10000"/>
                        <a:gd name="connsiteX28" fmla="*/ 2046 w 10000"/>
                        <a:gd name="connsiteY28" fmla="*/ 8746 h 10000"/>
                        <a:gd name="connsiteX29" fmla="*/ 2534 w 10000"/>
                        <a:gd name="connsiteY29" fmla="*/ 8939 h 10000"/>
                        <a:gd name="connsiteX30" fmla="*/ 2712 w 10000"/>
                        <a:gd name="connsiteY30" fmla="*/ 9196 h 10000"/>
                        <a:gd name="connsiteX31" fmla="*/ 3067 w 10000"/>
                        <a:gd name="connsiteY31" fmla="*/ 9518 h 10000"/>
                        <a:gd name="connsiteX32" fmla="*/ 3335 w 10000"/>
                        <a:gd name="connsiteY32" fmla="*/ 9614 h 10000"/>
                        <a:gd name="connsiteX33" fmla="*/ 3513 w 10000"/>
                        <a:gd name="connsiteY33" fmla="*/ 9518 h 10000"/>
                        <a:gd name="connsiteX34" fmla="*/ 3957 w 10000"/>
                        <a:gd name="connsiteY34" fmla="*/ 9550 h 10000"/>
                        <a:gd name="connsiteX35" fmla="*/ 4134 w 10000"/>
                        <a:gd name="connsiteY35" fmla="*/ 9486 h 10000"/>
                        <a:gd name="connsiteX36" fmla="*/ 4934 w 10000"/>
                        <a:gd name="connsiteY36" fmla="*/ 9968 h 10000"/>
                        <a:gd name="connsiteX37" fmla="*/ 4979 w 10000"/>
                        <a:gd name="connsiteY37" fmla="*/ 9968 h 10000"/>
                        <a:gd name="connsiteX38" fmla="*/ 5067 w 10000"/>
                        <a:gd name="connsiteY38" fmla="*/ 9904 h 10000"/>
                        <a:gd name="connsiteX39" fmla="*/ 5643 w 10000"/>
                        <a:gd name="connsiteY39" fmla="*/ 9904 h 10000"/>
                        <a:gd name="connsiteX40" fmla="*/ 5734 w 10000"/>
                        <a:gd name="connsiteY40" fmla="*/ 10000 h 10000"/>
                        <a:gd name="connsiteX41" fmla="*/ 6223 w 10000"/>
                        <a:gd name="connsiteY41" fmla="*/ 9871 h 10000"/>
                        <a:gd name="connsiteX42" fmla="*/ 6666 w 10000"/>
                        <a:gd name="connsiteY42" fmla="*/ 9871 h 10000"/>
                        <a:gd name="connsiteX43" fmla="*/ 6978 w 10000"/>
                        <a:gd name="connsiteY43" fmla="*/ 9743 h 10000"/>
                        <a:gd name="connsiteX44" fmla="*/ 7334 w 10000"/>
                        <a:gd name="connsiteY44" fmla="*/ 9486 h 10000"/>
                        <a:gd name="connsiteX45" fmla="*/ 8267 w 10000"/>
                        <a:gd name="connsiteY45" fmla="*/ 9486 h 10000"/>
                        <a:gd name="connsiteX46" fmla="*/ 8267 w 10000"/>
                        <a:gd name="connsiteY46" fmla="*/ 9132 h 10000"/>
                        <a:gd name="connsiteX47" fmla="*/ 7779 w 10000"/>
                        <a:gd name="connsiteY47" fmla="*/ 8971 h 10000"/>
                        <a:gd name="connsiteX48" fmla="*/ 7512 w 10000"/>
                        <a:gd name="connsiteY48" fmla="*/ 8457 h 10000"/>
                        <a:gd name="connsiteX49" fmla="*/ 7157 w 10000"/>
                        <a:gd name="connsiteY49" fmla="*/ 8264 h 10000"/>
                        <a:gd name="connsiteX50" fmla="*/ 6933 w 10000"/>
                        <a:gd name="connsiteY50" fmla="*/ 8006 h 10000"/>
                        <a:gd name="connsiteX51" fmla="*/ 6356 w 10000"/>
                        <a:gd name="connsiteY51" fmla="*/ 7814 h 10000"/>
                        <a:gd name="connsiteX52" fmla="*/ 6489 w 10000"/>
                        <a:gd name="connsiteY52" fmla="*/ 7749 h 10000"/>
                        <a:gd name="connsiteX53" fmla="*/ 6489 w 10000"/>
                        <a:gd name="connsiteY53" fmla="*/ 7588 h 10000"/>
                        <a:gd name="connsiteX54" fmla="*/ 6890 w 10000"/>
                        <a:gd name="connsiteY54" fmla="*/ 7588 h 10000"/>
                        <a:gd name="connsiteX55" fmla="*/ 7110 w 10000"/>
                        <a:gd name="connsiteY55" fmla="*/ 7460 h 10000"/>
                        <a:gd name="connsiteX56" fmla="*/ 7157 w 10000"/>
                        <a:gd name="connsiteY56" fmla="*/ 6527 h 10000"/>
                        <a:gd name="connsiteX57" fmla="*/ 7200 w 10000"/>
                        <a:gd name="connsiteY57" fmla="*/ 6559 h 10000"/>
                        <a:gd name="connsiteX58" fmla="*/ 7334 w 10000"/>
                        <a:gd name="connsiteY58" fmla="*/ 6367 h 10000"/>
                        <a:gd name="connsiteX59" fmla="*/ 7600 w 10000"/>
                        <a:gd name="connsiteY59" fmla="*/ 6270 h 10000"/>
                        <a:gd name="connsiteX60" fmla="*/ 7733 w 10000"/>
                        <a:gd name="connsiteY60" fmla="*/ 5916 h 10000"/>
                        <a:gd name="connsiteX61" fmla="*/ 8135 w 10000"/>
                        <a:gd name="connsiteY61" fmla="*/ 5498 h 10000"/>
                        <a:gd name="connsiteX62" fmla="*/ 8443 w 10000"/>
                        <a:gd name="connsiteY62" fmla="*/ 5305 h 10000"/>
                        <a:gd name="connsiteX63" fmla="*/ 8666 w 10000"/>
                        <a:gd name="connsiteY63" fmla="*/ 4759 h 10000"/>
                        <a:gd name="connsiteX64" fmla="*/ 8666 w 10000"/>
                        <a:gd name="connsiteY64" fmla="*/ 4630 h 10000"/>
                        <a:gd name="connsiteX65" fmla="*/ 8623 w 10000"/>
                        <a:gd name="connsiteY65" fmla="*/ 4309 h 10000"/>
                        <a:gd name="connsiteX66" fmla="*/ 9066 w 10000"/>
                        <a:gd name="connsiteY66" fmla="*/ 3151 h 10000"/>
                        <a:gd name="connsiteX67" fmla="*/ 9199 w 10000"/>
                        <a:gd name="connsiteY67" fmla="*/ 3151 h 10000"/>
                        <a:gd name="connsiteX68" fmla="*/ 9378 w 10000"/>
                        <a:gd name="connsiteY68" fmla="*/ 3055 h 10000"/>
                        <a:gd name="connsiteX69" fmla="*/ 9912 w 10000"/>
                        <a:gd name="connsiteY69" fmla="*/ 2894 h 10000"/>
                        <a:gd name="connsiteX70" fmla="*/ 10000 w 10000"/>
                        <a:gd name="connsiteY70" fmla="*/ 2637 h 10000"/>
                        <a:gd name="connsiteX71" fmla="*/ 9957 w 10000"/>
                        <a:gd name="connsiteY71" fmla="*/ 2572 h 10000"/>
                        <a:gd name="connsiteX72" fmla="*/ 9777 w 10000"/>
                        <a:gd name="connsiteY72" fmla="*/ 2572 h 10000"/>
                        <a:gd name="connsiteX73" fmla="*/ 9644 w 10000"/>
                        <a:gd name="connsiteY73" fmla="*/ 2412 h 10000"/>
                        <a:gd name="connsiteX74" fmla="*/ 9378 w 10000"/>
                        <a:gd name="connsiteY74" fmla="*/ 2347 h 10000"/>
                        <a:gd name="connsiteX75" fmla="*/ 9244 w 10000"/>
                        <a:gd name="connsiteY75" fmla="*/ 2219 h 10000"/>
                        <a:gd name="connsiteX76" fmla="*/ 9157 w 10000"/>
                        <a:gd name="connsiteY76" fmla="*/ 1736 h 10000"/>
                        <a:gd name="connsiteX77" fmla="*/ 9157 w 10000"/>
                        <a:gd name="connsiteY77" fmla="*/ 1061 h 10000"/>
                        <a:gd name="connsiteX78" fmla="*/ 8933 w 10000"/>
                        <a:gd name="connsiteY78" fmla="*/ 836 h 10000"/>
                        <a:gd name="connsiteX79" fmla="*/ 8889 w 10000"/>
                        <a:gd name="connsiteY79" fmla="*/ 611 h 10000"/>
                        <a:gd name="connsiteX80" fmla="*/ 8534 w 10000"/>
                        <a:gd name="connsiteY80" fmla="*/ 289 h 10000"/>
                        <a:gd name="connsiteX81" fmla="*/ 8222 w 10000"/>
                        <a:gd name="connsiteY81" fmla="*/ 161 h 10000"/>
                        <a:gd name="connsiteX82" fmla="*/ 8045 w 10000"/>
                        <a:gd name="connsiteY82" fmla="*/ 0 h 10000"/>
                        <a:gd name="connsiteX83" fmla="*/ 7779 w 10000"/>
                        <a:gd name="connsiteY83" fmla="*/ 161 h 10000"/>
                        <a:gd name="connsiteX84" fmla="*/ 7600 w 10000"/>
                        <a:gd name="connsiteY84" fmla="*/ 129 h 10000"/>
                        <a:gd name="connsiteX85" fmla="*/ 7466 w 10000"/>
                        <a:gd name="connsiteY85" fmla="*/ 418 h 10000"/>
                        <a:gd name="connsiteX86" fmla="*/ 7110 w 10000"/>
                        <a:gd name="connsiteY86" fmla="*/ 482 h 10000"/>
                        <a:gd name="connsiteX87" fmla="*/ 7023 w 10000"/>
                        <a:gd name="connsiteY87" fmla="*/ 707 h 10000"/>
                        <a:gd name="connsiteX88" fmla="*/ 6711 w 10000"/>
                        <a:gd name="connsiteY88" fmla="*/ 707 h 10000"/>
                        <a:gd name="connsiteX89" fmla="*/ 6445 w 10000"/>
                        <a:gd name="connsiteY89" fmla="*/ 611 h 10000"/>
                        <a:gd name="connsiteX90" fmla="*/ 5867 w 10000"/>
                        <a:gd name="connsiteY90" fmla="*/ 611 h 10000"/>
                        <a:gd name="connsiteX91" fmla="*/ 5289 w 10000"/>
                        <a:gd name="connsiteY91" fmla="*/ 611 h 10000"/>
                        <a:gd name="connsiteX92" fmla="*/ 5333 w 10000"/>
                        <a:gd name="connsiteY92" fmla="*/ 482 h 10000"/>
                        <a:gd name="connsiteX93" fmla="*/ 5245 w 10000"/>
                        <a:gd name="connsiteY93" fmla="*/ 482 h 10000"/>
                        <a:gd name="connsiteX94" fmla="*/ 5201 w 10000"/>
                        <a:gd name="connsiteY94" fmla="*/ 611 h 10000"/>
                        <a:gd name="connsiteX95" fmla="*/ 4667 w 10000"/>
                        <a:gd name="connsiteY95" fmla="*/ 611 h 10000"/>
                        <a:gd name="connsiteX96" fmla="*/ 4134 w 10000"/>
                        <a:gd name="connsiteY96" fmla="*/ 611 h 10000"/>
                        <a:gd name="connsiteX97" fmla="*/ 3602 w 10000"/>
                        <a:gd name="connsiteY97" fmla="*/ 611 h 10000"/>
                        <a:gd name="connsiteX98" fmla="*/ 3067 w 10000"/>
                        <a:gd name="connsiteY98" fmla="*/ 611 h 10000"/>
                        <a:gd name="connsiteX99" fmla="*/ 2580 w 10000"/>
                        <a:gd name="connsiteY99" fmla="*/ 611 h 10000"/>
                        <a:gd name="connsiteX100" fmla="*/ 2046 w 10000"/>
                        <a:gd name="connsiteY100" fmla="*/ 611 h 10000"/>
                        <a:gd name="connsiteX101" fmla="*/ 1556 w 10000"/>
                        <a:gd name="connsiteY101" fmla="*/ 611 h 10000"/>
                        <a:gd name="connsiteX102" fmla="*/ 1024 w 10000"/>
                        <a:gd name="connsiteY102" fmla="*/ 611 h 10000"/>
                        <a:gd name="connsiteX103" fmla="*/ 1024 w 10000"/>
                        <a:gd name="connsiteY103" fmla="*/ 1061 h 10000"/>
                        <a:gd name="connsiteX104" fmla="*/ 1024 w 10000"/>
                        <a:gd name="connsiteY104" fmla="*/ 1640 h 10000"/>
                        <a:gd name="connsiteX105" fmla="*/ 356 w 10000"/>
                        <a:gd name="connsiteY105" fmla="*/ 1640 h 10000"/>
                        <a:gd name="connsiteX106" fmla="*/ 356 w 10000"/>
                        <a:gd name="connsiteY106" fmla="*/ 1897 h 10000"/>
                        <a:gd name="connsiteX0" fmla="*/ 861 w 10505"/>
                        <a:gd name="connsiteY0" fmla="*/ 1897 h 10000"/>
                        <a:gd name="connsiteX1" fmla="*/ 861 w 10505"/>
                        <a:gd name="connsiteY1" fmla="*/ 2412 h 10000"/>
                        <a:gd name="connsiteX2" fmla="*/ 861 w 10505"/>
                        <a:gd name="connsiteY2" fmla="*/ 2894 h 10000"/>
                        <a:gd name="connsiteX3" fmla="*/ 6025 w 10505"/>
                        <a:gd name="connsiteY3" fmla="*/ 6915 h 10000"/>
                        <a:gd name="connsiteX4" fmla="*/ 5660 w 10505"/>
                        <a:gd name="connsiteY4" fmla="*/ 7114 h 10000"/>
                        <a:gd name="connsiteX5" fmla="*/ 5353 w 10505"/>
                        <a:gd name="connsiteY5" fmla="*/ 6907 h 10000"/>
                        <a:gd name="connsiteX6" fmla="*/ 4908 w 10505"/>
                        <a:gd name="connsiteY6" fmla="*/ 6781 h 10000"/>
                        <a:gd name="connsiteX7" fmla="*/ 4687 w 10505"/>
                        <a:gd name="connsiteY7" fmla="*/ 7064 h 10000"/>
                        <a:gd name="connsiteX8" fmla="*/ 4140 w 10505"/>
                        <a:gd name="connsiteY8" fmla="*/ 7281 h 10000"/>
                        <a:gd name="connsiteX9" fmla="*/ 3789 w 10505"/>
                        <a:gd name="connsiteY9" fmla="*/ 7279 h 10000"/>
                        <a:gd name="connsiteX10" fmla="*/ 3022 w 10505"/>
                        <a:gd name="connsiteY10" fmla="*/ 7095 h 10000"/>
                        <a:gd name="connsiteX11" fmla="*/ 2817 w 10505"/>
                        <a:gd name="connsiteY11" fmla="*/ 7195 h 10000"/>
                        <a:gd name="connsiteX12" fmla="*/ 2305 w 10505"/>
                        <a:gd name="connsiteY12" fmla="*/ 6973 h 10000"/>
                        <a:gd name="connsiteX13" fmla="*/ 2079 w 10505"/>
                        <a:gd name="connsiteY13" fmla="*/ 6638 h 10000"/>
                        <a:gd name="connsiteX14" fmla="*/ 1703 w 10505"/>
                        <a:gd name="connsiteY14" fmla="*/ 6729 h 10000"/>
                        <a:gd name="connsiteX15" fmla="*/ 1601 w 10505"/>
                        <a:gd name="connsiteY15" fmla="*/ 6927 h 10000"/>
                        <a:gd name="connsiteX16" fmla="*/ 1203 w 10505"/>
                        <a:gd name="connsiteY16" fmla="*/ 7011 h 10000"/>
                        <a:gd name="connsiteX17" fmla="*/ 941 w 10505"/>
                        <a:gd name="connsiteY17" fmla="*/ 7004 h 10000"/>
                        <a:gd name="connsiteX18" fmla="*/ 797 w 10505"/>
                        <a:gd name="connsiteY18" fmla="*/ 7161 h 10000"/>
                        <a:gd name="connsiteX19" fmla="*/ 552 w 10505"/>
                        <a:gd name="connsiteY19" fmla="*/ 6913 h 10000"/>
                        <a:gd name="connsiteX20" fmla="*/ 505 w 10505"/>
                        <a:gd name="connsiteY20" fmla="*/ 7363 h 10000"/>
                        <a:gd name="connsiteX21" fmla="*/ 594 w 10505"/>
                        <a:gd name="connsiteY21" fmla="*/ 7428 h 10000"/>
                        <a:gd name="connsiteX22" fmla="*/ 951 w 10505"/>
                        <a:gd name="connsiteY22" fmla="*/ 7460 h 10000"/>
                        <a:gd name="connsiteX23" fmla="*/ 996 w 10505"/>
                        <a:gd name="connsiteY23" fmla="*/ 7588 h 10000"/>
                        <a:gd name="connsiteX24" fmla="*/ 1395 w 10505"/>
                        <a:gd name="connsiteY24" fmla="*/ 7621 h 10000"/>
                        <a:gd name="connsiteX25" fmla="*/ 1617 w 10505"/>
                        <a:gd name="connsiteY25" fmla="*/ 7749 h 10000"/>
                        <a:gd name="connsiteX26" fmla="*/ 1661 w 10505"/>
                        <a:gd name="connsiteY26" fmla="*/ 7974 h 10000"/>
                        <a:gd name="connsiteX27" fmla="*/ 2374 w 10505"/>
                        <a:gd name="connsiteY27" fmla="*/ 8360 h 10000"/>
                        <a:gd name="connsiteX28" fmla="*/ 2551 w 10505"/>
                        <a:gd name="connsiteY28" fmla="*/ 8746 h 10000"/>
                        <a:gd name="connsiteX29" fmla="*/ 3039 w 10505"/>
                        <a:gd name="connsiteY29" fmla="*/ 8939 h 10000"/>
                        <a:gd name="connsiteX30" fmla="*/ 3217 w 10505"/>
                        <a:gd name="connsiteY30" fmla="*/ 9196 h 10000"/>
                        <a:gd name="connsiteX31" fmla="*/ 3572 w 10505"/>
                        <a:gd name="connsiteY31" fmla="*/ 9518 h 10000"/>
                        <a:gd name="connsiteX32" fmla="*/ 3840 w 10505"/>
                        <a:gd name="connsiteY32" fmla="*/ 9614 h 10000"/>
                        <a:gd name="connsiteX33" fmla="*/ 4018 w 10505"/>
                        <a:gd name="connsiteY33" fmla="*/ 9518 h 10000"/>
                        <a:gd name="connsiteX34" fmla="*/ 4462 w 10505"/>
                        <a:gd name="connsiteY34" fmla="*/ 9550 h 10000"/>
                        <a:gd name="connsiteX35" fmla="*/ 4639 w 10505"/>
                        <a:gd name="connsiteY35" fmla="*/ 9486 h 10000"/>
                        <a:gd name="connsiteX36" fmla="*/ 5439 w 10505"/>
                        <a:gd name="connsiteY36" fmla="*/ 9968 h 10000"/>
                        <a:gd name="connsiteX37" fmla="*/ 5484 w 10505"/>
                        <a:gd name="connsiteY37" fmla="*/ 9968 h 10000"/>
                        <a:gd name="connsiteX38" fmla="*/ 5572 w 10505"/>
                        <a:gd name="connsiteY38" fmla="*/ 9904 h 10000"/>
                        <a:gd name="connsiteX39" fmla="*/ 6148 w 10505"/>
                        <a:gd name="connsiteY39" fmla="*/ 9904 h 10000"/>
                        <a:gd name="connsiteX40" fmla="*/ 6239 w 10505"/>
                        <a:gd name="connsiteY40" fmla="*/ 10000 h 10000"/>
                        <a:gd name="connsiteX41" fmla="*/ 6728 w 10505"/>
                        <a:gd name="connsiteY41" fmla="*/ 9871 h 10000"/>
                        <a:gd name="connsiteX42" fmla="*/ 7171 w 10505"/>
                        <a:gd name="connsiteY42" fmla="*/ 9871 h 10000"/>
                        <a:gd name="connsiteX43" fmla="*/ 7483 w 10505"/>
                        <a:gd name="connsiteY43" fmla="*/ 9743 h 10000"/>
                        <a:gd name="connsiteX44" fmla="*/ 7839 w 10505"/>
                        <a:gd name="connsiteY44" fmla="*/ 9486 h 10000"/>
                        <a:gd name="connsiteX45" fmla="*/ 8772 w 10505"/>
                        <a:gd name="connsiteY45" fmla="*/ 9486 h 10000"/>
                        <a:gd name="connsiteX46" fmla="*/ 8772 w 10505"/>
                        <a:gd name="connsiteY46" fmla="*/ 9132 h 10000"/>
                        <a:gd name="connsiteX47" fmla="*/ 8284 w 10505"/>
                        <a:gd name="connsiteY47" fmla="*/ 8971 h 10000"/>
                        <a:gd name="connsiteX48" fmla="*/ 8017 w 10505"/>
                        <a:gd name="connsiteY48" fmla="*/ 8457 h 10000"/>
                        <a:gd name="connsiteX49" fmla="*/ 7662 w 10505"/>
                        <a:gd name="connsiteY49" fmla="*/ 8264 h 10000"/>
                        <a:gd name="connsiteX50" fmla="*/ 7438 w 10505"/>
                        <a:gd name="connsiteY50" fmla="*/ 8006 h 10000"/>
                        <a:gd name="connsiteX51" fmla="*/ 6861 w 10505"/>
                        <a:gd name="connsiteY51" fmla="*/ 7814 h 10000"/>
                        <a:gd name="connsiteX52" fmla="*/ 6994 w 10505"/>
                        <a:gd name="connsiteY52" fmla="*/ 7749 h 10000"/>
                        <a:gd name="connsiteX53" fmla="*/ 6994 w 10505"/>
                        <a:gd name="connsiteY53" fmla="*/ 7588 h 10000"/>
                        <a:gd name="connsiteX54" fmla="*/ 7395 w 10505"/>
                        <a:gd name="connsiteY54" fmla="*/ 7588 h 10000"/>
                        <a:gd name="connsiteX55" fmla="*/ 7615 w 10505"/>
                        <a:gd name="connsiteY55" fmla="*/ 7460 h 10000"/>
                        <a:gd name="connsiteX56" fmla="*/ 7662 w 10505"/>
                        <a:gd name="connsiteY56" fmla="*/ 6527 h 10000"/>
                        <a:gd name="connsiteX57" fmla="*/ 7705 w 10505"/>
                        <a:gd name="connsiteY57" fmla="*/ 6559 h 10000"/>
                        <a:gd name="connsiteX58" fmla="*/ 7839 w 10505"/>
                        <a:gd name="connsiteY58" fmla="*/ 6367 h 10000"/>
                        <a:gd name="connsiteX59" fmla="*/ 8105 w 10505"/>
                        <a:gd name="connsiteY59" fmla="*/ 6270 h 10000"/>
                        <a:gd name="connsiteX60" fmla="*/ 8238 w 10505"/>
                        <a:gd name="connsiteY60" fmla="*/ 5916 h 10000"/>
                        <a:gd name="connsiteX61" fmla="*/ 8640 w 10505"/>
                        <a:gd name="connsiteY61" fmla="*/ 5498 h 10000"/>
                        <a:gd name="connsiteX62" fmla="*/ 8948 w 10505"/>
                        <a:gd name="connsiteY62" fmla="*/ 5305 h 10000"/>
                        <a:gd name="connsiteX63" fmla="*/ 9171 w 10505"/>
                        <a:gd name="connsiteY63" fmla="*/ 4759 h 10000"/>
                        <a:gd name="connsiteX64" fmla="*/ 9171 w 10505"/>
                        <a:gd name="connsiteY64" fmla="*/ 4630 h 10000"/>
                        <a:gd name="connsiteX65" fmla="*/ 9128 w 10505"/>
                        <a:gd name="connsiteY65" fmla="*/ 4309 h 10000"/>
                        <a:gd name="connsiteX66" fmla="*/ 9571 w 10505"/>
                        <a:gd name="connsiteY66" fmla="*/ 3151 h 10000"/>
                        <a:gd name="connsiteX67" fmla="*/ 9704 w 10505"/>
                        <a:gd name="connsiteY67" fmla="*/ 3151 h 10000"/>
                        <a:gd name="connsiteX68" fmla="*/ 9883 w 10505"/>
                        <a:gd name="connsiteY68" fmla="*/ 3055 h 10000"/>
                        <a:gd name="connsiteX69" fmla="*/ 10417 w 10505"/>
                        <a:gd name="connsiteY69" fmla="*/ 2894 h 10000"/>
                        <a:gd name="connsiteX70" fmla="*/ 10505 w 10505"/>
                        <a:gd name="connsiteY70" fmla="*/ 2637 h 10000"/>
                        <a:gd name="connsiteX71" fmla="*/ 10462 w 10505"/>
                        <a:gd name="connsiteY71" fmla="*/ 2572 h 10000"/>
                        <a:gd name="connsiteX72" fmla="*/ 10282 w 10505"/>
                        <a:gd name="connsiteY72" fmla="*/ 2572 h 10000"/>
                        <a:gd name="connsiteX73" fmla="*/ 10149 w 10505"/>
                        <a:gd name="connsiteY73" fmla="*/ 2412 h 10000"/>
                        <a:gd name="connsiteX74" fmla="*/ 9883 w 10505"/>
                        <a:gd name="connsiteY74" fmla="*/ 2347 h 10000"/>
                        <a:gd name="connsiteX75" fmla="*/ 9749 w 10505"/>
                        <a:gd name="connsiteY75" fmla="*/ 2219 h 10000"/>
                        <a:gd name="connsiteX76" fmla="*/ 9662 w 10505"/>
                        <a:gd name="connsiteY76" fmla="*/ 1736 h 10000"/>
                        <a:gd name="connsiteX77" fmla="*/ 9662 w 10505"/>
                        <a:gd name="connsiteY77" fmla="*/ 1061 h 10000"/>
                        <a:gd name="connsiteX78" fmla="*/ 9438 w 10505"/>
                        <a:gd name="connsiteY78" fmla="*/ 836 h 10000"/>
                        <a:gd name="connsiteX79" fmla="*/ 9394 w 10505"/>
                        <a:gd name="connsiteY79" fmla="*/ 611 h 10000"/>
                        <a:gd name="connsiteX80" fmla="*/ 9039 w 10505"/>
                        <a:gd name="connsiteY80" fmla="*/ 289 h 10000"/>
                        <a:gd name="connsiteX81" fmla="*/ 8727 w 10505"/>
                        <a:gd name="connsiteY81" fmla="*/ 161 h 10000"/>
                        <a:gd name="connsiteX82" fmla="*/ 8550 w 10505"/>
                        <a:gd name="connsiteY82" fmla="*/ 0 h 10000"/>
                        <a:gd name="connsiteX83" fmla="*/ 8284 w 10505"/>
                        <a:gd name="connsiteY83" fmla="*/ 161 h 10000"/>
                        <a:gd name="connsiteX84" fmla="*/ 8105 w 10505"/>
                        <a:gd name="connsiteY84" fmla="*/ 129 h 10000"/>
                        <a:gd name="connsiteX85" fmla="*/ 7971 w 10505"/>
                        <a:gd name="connsiteY85" fmla="*/ 418 h 10000"/>
                        <a:gd name="connsiteX86" fmla="*/ 7615 w 10505"/>
                        <a:gd name="connsiteY86" fmla="*/ 482 h 10000"/>
                        <a:gd name="connsiteX87" fmla="*/ 7528 w 10505"/>
                        <a:gd name="connsiteY87" fmla="*/ 707 h 10000"/>
                        <a:gd name="connsiteX88" fmla="*/ 7216 w 10505"/>
                        <a:gd name="connsiteY88" fmla="*/ 707 h 10000"/>
                        <a:gd name="connsiteX89" fmla="*/ 6950 w 10505"/>
                        <a:gd name="connsiteY89" fmla="*/ 611 h 10000"/>
                        <a:gd name="connsiteX90" fmla="*/ 6372 w 10505"/>
                        <a:gd name="connsiteY90" fmla="*/ 611 h 10000"/>
                        <a:gd name="connsiteX91" fmla="*/ 5794 w 10505"/>
                        <a:gd name="connsiteY91" fmla="*/ 611 h 10000"/>
                        <a:gd name="connsiteX92" fmla="*/ 5838 w 10505"/>
                        <a:gd name="connsiteY92" fmla="*/ 482 h 10000"/>
                        <a:gd name="connsiteX93" fmla="*/ 5750 w 10505"/>
                        <a:gd name="connsiteY93" fmla="*/ 482 h 10000"/>
                        <a:gd name="connsiteX94" fmla="*/ 5706 w 10505"/>
                        <a:gd name="connsiteY94" fmla="*/ 611 h 10000"/>
                        <a:gd name="connsiteX95" fmla="*/ 5172 w 10505"/>
                        <a:gd name="connsiteY95" fmla="*/ 611 h 10000"/>
                        <a:gd name="connsiteX96" fmla="*/ 4639 w 10505"/>
                        <a:gd name="connsiteY96" fmla="*/ 611 h 10000"/>
                        <a:gd name="connsiteX97" fmla="*/ 4107 w 10505"/>
                        <a:gd name="connsiteY97" fmla="*/ 611 h 10000"/>
                        <a:gd name="connsiteX98" fmla="*/ 3572 w 10505"/>
                        <a:gd name="connsiteY98" fmla="*/ 611 h 10000"/>
                        <a:gd name="connsiteX99" fmla="*/ 3085 w 10505"/>
                        <a:gd name="connsiteY99" fmla="*/ 611 h 10000"/>
                        <a:gd name="connsiteX100" fmla="*/ 2551 w 10505"/>
                        <a:gd name="connsiteY100" fmla="*/ 611 h 10000"/>
                        <a:gd name="connsiteX101" fmla="*/ 2061 w 10505"/>
                        <a:gd name="connsiteY101" fmla="*/ 611 h 10000"/>
                        <a:gd name="connsiteX102" fmla="*/ 1529 w 10505"/>
                        <a:gd name="connsiteY102" fmla="*/ 611 h 10000"/>
                        <a:gd name="connsiteX103" fmla="*/ 1529 w 10505"/>
                        <a:gd name="connsiteY103" fmla="*/ 1061 h 10000"/>
                        <a:gd name="connsiteX104" fmla="*/ 1529 w 10505"/>
                        <a:gd name="connsiteY104" fmla="*/ 1640 h 10000"/>
                        <a:gd name="connsiteX105" fmla="*/ 861 w 10505"/>
                        <a:gd name="connsiteY105" fmla="*/ 1640 h 10000"/>
                        <a:gd name="connsiteX106" fmla="*/ 861 w 10505"/>
                        <a:gd name="connsiteY106" fmla="*/ 1897 h 10000"/>
                        <a:gd name="connsiteX0" fmla="*/ 356 w 10000"/>
                        <a:gd name="connsiteY0" fmla="*/ 1897 h 10000"/>
                        <a:gd name="connsiteX1" fmla="*/ 356 w 10000"/>
                        <a:gd name="connsiteY1" fmla="*/ 2412 h 10000"/>
                        <a:gd name="connsiteX2" fmla="*/ 4973 w 10000"/>
                        <a:gd name="connsiteY2" fmla="*/ 5205 h 10000"/>
                        <a:gd name="connsiteX3" fmla="*/ 5520 w 10000"/>
                        <a:gd name="connsiteY3" fmla="*/ 6915 h 10000"/>
                        <a:gd name="connsiteX4" fmla="*/ 5155 w 10000"/>
                        <a:gd name="connsiteY4" fmla="*/ 7114 h 10000"/>
                        <a:gd name="connsiteX5" fmla="*/ 4848 w 10000"/>
                        <a:gd name="connsiteY5" fmla="*/ 6907 h 10000"/>
                        <a:gd name="connsiteX6" fmla="*/ 4403 w 10000"/>
                        <a:gd name="connsiteY6" fmla="*/ 6781 h 10000"/>
                        <a:gd name="connsiteX7" fmla="*/ 4182 w 10000"/>
                        <a:gd name="connsiteY7" fmla="*/ 7064 h 10000"/>
                        <a:gd name="connsiteX8" fmla="*/ 3635 w 10000"/>
                        <a:gd name="connsiteY8" fmla="*/ 7281 h 10000"/>
                        <a:gd name="connsiteX9" fmla="*/ 3284 w 10000"/>
                        <a:gd name="connsiteY9" fmla="*/ 7279 h 10000"/>
                        <a:gd name="connsiteX10" fmla="*/ 2517 w 10000"/>
                        <a:gd name="connsiteY10" fmla="*/ 7095 h 10000"/>
                        <a:gd name="connsiteX11" fmla="*/ 2312 w 10000"/>
                        <a:gd name="connsiteY11" fmla="*/ 7195 h 10000"/>
                        <a:gd name="connsiteX12" fmla="*/ 1800 w 10000"/>
                        <a:gd name="connsiteY12" fmla="*/ 6973 h 10000"/>
                        <a:gd name="connsiteX13" fmla="*/ 1574 w 10000"/>
                        <a:gd name="connsiteY13" fmla="*/ 6638 h 10000"/>
                        <a:gd name="connsiteX14" fmla="*/ 1198 w 10000"/>
                        <a:gd name="connsiteY14" fmla="*/ 6729 h 10000"/>
                        <a:gd name="connsiteX15" fmla="*/ 1096 w 10000"/>
                        <a:gd name="connsiteY15" fmla="*/ 6927 h 10000"/>
                        <a:gd name="connsiteX16" fmla="*/ 698 w 10000"/>
                        <a:gd name="connsiteY16" fmla="*/ 7011 h 10000"/>
                        <a:gd name="connsiteX17" fmla="*/ 436 w 10000"/>
                        <a:gd name="connsiteY17" fmla="*/ 7004 h 10000"/>
                        <a:gd name="connsiteX18" fmla="*/ 292 w 10000"/>
                        <a:gd name="connsiteY18" fmla="*/ 7161 h 10000"/>
                        <a:gd name="connsiteX19" fmla="*/ 47 w 10000"/>
                        <a:gd name="connsiteY19" fmla="*/ 6913 h 10000"/>
                        <a:gd name="connsiteX20" fmla="*/ 0 w 10000"/>
                        <a:gd name="connsiteY20" fmla="*/ 7363 h 10000"/>
                        <a:gd name="connsiteX21" fmla="*/ 89 w 10000"/>
                        <a:gd name="connsiteY21" fmla="*/ 7428 h 10000"/>
                        <a:gd name="connsiteX22" fmla="*/ 446 w 10000"/>
                        <a:gd name="connsiteY22" fmla="*/ 7460 h 10000"/>
                        <a:gd name="connsiteX23" fmla="*/ 491 w 10000"/>
                        <a:gd name="connsiteY23" fmla="*/ 7588 h 10000"/>
                        <a:gd name="connsiteX24" fmla="*/ 890 w 10000"/>
                        <a:gd name="connsiteY24" fmla="*/ 7621 h 10000"/>
                        <a:gd name="connsiteX25" fmla="*/ 1112 w 10000"/>
                        <a:gd name="connsiteY25" fmla="*/ 7749 h 10000"/>
                        <a:gd name="connsiteX26" fmla="*/ 1156 w 10000"/>
                        <a:gd name="connsiteY26" fmla="*/ 7974 h 10000"/>
                        <a:gd name="connsiteX27" fmla="*/ 1869 w 10000"/>
                        <a:gd name="connsiteY27" fmla="*/ 8360 h 10000"/>
                        <a:gd name="connsiteX28" fmla="*/ 2046 w 10000"/>
                        <a:gd name="connsiteY28" fmla="*/ 8746 h 10000"/>
                        <a:gd name="connsiteX29" fmla="*/ 2534 w 10000"/>
                        <a:gd name="connsiteY29" fmla="*/ 8939 h 10000"/>
                        <a:gd name="connsiteX30" fmla="*/ 2712 w 10000"/>
                        <a:gd name="connsiteY30" fmla="*/ 9196 h 10000"/>
                        <a:gd name="connsiteX31" fmla="*/ 3067 w 10000"/>
                        <a:gd name="connsiteY31" fmla="*/ 9518 h 10000"/>
                        <a:gd name="connsiteX32" fmla="*/ 3335 w 10000"/>
                        <a:gd name="connsiteY32" fmla="*/ 9614 h 10000"/>
                        <a:gd name="connsiteX33" fmla="*/ 3513 w 10000"/>
                        <a:gd name="connsiteY33" fmla="*/ 9518 h 10000"/>
                        <a:gd name="connsiteX34" fmla="*/ 3957 w 10000"/>
                        <a:gd name="connsiteY34" fmla="*/ 9550 h 10000"/>
                        <a:gd name="connsiteX35" fmla="*/ 4134 w 10000"/>
                        <a:gd name="connsiteY35" fmla="*/ 9486 h 10000"/>
                        <a:gd name="connsiteX36" fmla="*/ 4934 w 10000"/>
                        <a:gd name="connsiteY36" fmla="*/ 9968 h 10000"/>
                        <a:gd name="connsiteX37" fmla="*/ 4979 w 10000"/>
                        <a:gd name="connsiteY37" fmla="*/ 9968 h 10000"/>
                        <a:gd name="connsiteX38" fmla="*/ 5067 w 10000"/>
                        <a:gd name="connsiteY38" fmla="*/ 9904 h 10000"/>
                        <a:gd name="connsiteX39" fmla="*/ 5643 w 10000"/>
                        <a:gd name="connsiteY39" fmla="*/ 9904 h 10000"/>
                        <a:gd name="connsiteX40" fmla="*/ 5734 w 10000"/>
                        <a:gd name="connsiteY40" fmla="*/ 10000 h 10000"/>
                        <a:gd name="connsiteX41" fmla="*/ 6223 w 10000"/>
                        <a:gd name="connsiteY41" fmla="*/ 9871 h 10000"/>
                        <a:gd name="connsiteX42" fmla="*/ 6666 w 10000"/>
                        <a:gd name="connsiteY42" fmla="*/ 9871 h 10000"/>
                        <a:gd name="connsiteX43" fmla="*/ 6978 w 10000"/>
                        <a:gd name="connsiteY43" fmla="*/ 9743 h 10000"/>
                        <a:gd name="connsiteX44" fmla="*/ 7334 w 10000"/>
                        <a:gd name="connsiteY44" fmla="*/ 9486 h 10000"/>
                        <a:gd name="connsiteX45" fmla="*/ 8267 w 10000"/>
                        <a:gd name="connsiteY45" fmla="*/ 9486 h 10000"/>
                        <a:gd name="connsiteX46" fmla="*/ 8267 w 10000"/>
                        <a:gd name="connsiteY46" fmla="*/ 9132 h 10000"/>
                        <a:gd name="connsiteX47" fmla="*/ 7779 w 10000"/>
                        <a:gd name="connsiteY47" fmla="*/ 8971 h 10000"/>
                        <a:gd name="connsiteX48" fmla="*/ 7512 w 10000"/>
                        <a:gd name="connsiteY48" fmla="*/ 8457 h 10000"/>
                        <a:gd name="connsiteX49" fmla="*/ 7157 w 10000"/>
                        <a:gd name="connsiteY49" fmla="*/ 8264 h 10000"/>
                        <a:gd name="connsiteX50" fmla="*/ 6933 w 10000"/>
                        <a:gd name="connsiteY50" fmla="*/ 8006 h 10000"/>
                        <a:gd name="connsiteX51" fmla="*/ 6356 w 10000"/>
                        <a:gd name="connsiteY51" fmla="*/ 7814 h 10000"/>
                        <a:gd name="connsiteX52" fmla="*/ 6489 w 10000"/>
                        <a:gd name="connsiteY52" fmla="*/ 7749 h 10000"/>
                        <a:gd name="connsiteX53" fmla="*/ 6489 w 10000"/>
                        <a:gd name="connsiteY53" fmla="*/ 7588 h 10000"/>
                        <a:gd name="connsiteX54" fmla="*/ 6890 w 10000"/>
                        <a:gd name="connsiteY54" fmla="*/ 7588 h 10000"/>
                        <a:gd name="connsiteX55" fmla="*/ 7110 w 10000"/>
                        <a:gd name="connsiteY55" fmla="*/ 7460 h 10000"/>
                        <a:gd name="connsiteX56" fmla="*/ 7157 w 10000"/>
                        <a:gd name="connsiteY56" fmla="*/ 6527 h 10000"/>
                        <a:gd name="connsiteX57" fmla="*/ 7200 w 10000"/>
                        <a:gd name="connsiteY57" fmla="*/ 6559 h 10000"/>
                        <a:gd name="connsiteX58" fmla="*/ 7334 w 10000"/>
                        <a:gd name="connsiteY58" fmla="*/ 6367 h 10000"/>
                        <a:gd name="connsiteX59" fmla="*/ 7600 w 10000"/>
                        <a:gd name="connsiteY59" fmla="*/ 6270 h 10000"/>
                        <a:gd name="connsiteX60" fmla="*/ 7733 w 10000"/>
                        <a:gd name="connsiteY60" fmla="*/ 5916 h 10000"/>
                        <a:gd name="connsiteX61" fmla="*/ 8135 w 10000"/>
                        <a:gd name="connsiteY61" fmla="*/ 5498 h 10000"/>
                        <a:gd name="connsiteX62" fmla="*/ 8443 w 10000"/>
                        <a:gd name="connsiteY62" fmla="*/ 5305 h 10000"/>
                        <a:gd name="connsiteX63" fmla="*/ 8666 w 10000"/>
                        <a:gd name="connsiteY63" fmla="*/ 4759 h 10000"/>
                        <a:gd name="connsiteX64" fmla="*/ 8666 w 10000"/>
                        <a:gd name="connsiteY64" fmla="*/ 4630 h 10000"/>
                        <a:gd name="connsiteX65" fmla="*/ 8623 w 10000"/>
                        <a:gd name="connsiteY65" fmla="*/ 4309 h 10000"/>
                        <a:gd name="connsiteX66" fmla="*/ 9066 w 10000"/>
                        <a:gd name="connsiteY66" fmla="*/ 3151 h 10000"/>
                        <a:gd name="connsiteX67" fmla="*/ 9199 w 10000"/>
                        <a:gd name="connsiteY67" fmla="*/ 3151 h 10000"/>
                        <a:gd name="connsiteX68" fmla="*/ 9378 w 10000"/>
                        <a:gd name="connsiteY68" fmla="*/ 3055 h 10000"/>
                        <a:gd name="connsiteX69" fmla="*/ 9912 w 10000"/>
                        <a:gd name="connsiteY69" fmla="*/ 2894 h 10000"/>
                        <a:gd name="connsiteX70" fmla="*/ 10000 w 10000"/>
                        <a:gd name="connsiteY70" fmla="*/ 2637 h 10000"/>
                        <a:gd name="connsiteX71" fmla="*/ 9957 w 10000"/>
                        <a:gd name="connsiteY71" fmla="*/ 2572 h 10000"/>
                        <a:gd name="connsiteX72" fmla="*/ 9777 w 10000"/>
                        <a:gd name="connsiteY72" fmla="*/ 2572 h 10000"/>
                        <a:gd name="connsiteX73" fmla="*/ 9644 w 10000"/>
                        <a:gd name="connsiteY73" fmla="*/ 2412 h 10000"/>
                        <a:gd name="connsiteX74" fmla="*/ 9378 w 10000"/>
                        <a:gd name="connsiteY74" fmla="*/ 2347 h 10000"/>
                        <a:gd name="connsiteX75" fmla="*/ 9244 w 10000"/>
                        <a:gd name="connsiteY75" fmla="*/ 2219 h 10000"/>
                        <a:gd name="connsiteX76" fmla="*/ 9157 w 10000"/>
                        <a:gd name="connsiteY76" fmla="*/ 1736 h 10000"/>
                        <a:gd name="connsiteX77" fmla="*/ 9157 w 10000"/>
                        <a:gd name="connsiteY77" fmla="*/ 1061 h 10000"/>
                        <a:gd name="connsiteX78" fmla="*/ 8933 w 10000"/>
                        <a:gd name="connsiteY78" fmla="*/ 836 h 10000"/>
                        <a:gd name="connsiteX79" fmla="*/ 8889 w 10000"/>
                        <a:gd name="connsiteY79" fmla="*/ 611 h 10000"/>
                        <a:gd name="connsiteX80" fmla="*/ 8534 w 10000"/>
                        <a:gd name="connsiteY80" fmla="*/ 289 h 10000"/>
                        <a:gd name="connsiteX81" fmla="*/ 8222 w 10000"/>
                        <a:gd name="connsiteY81" fmla="*/ 161 h 10000"/>
                        <a:gd name="connsiteX82" fmla="*/ 8045 w 10000"/>
                        <a:gd name="connsiteY82" fmla="*/ 0 h 10000"/>
                        <a:gd name="connsiteX83" fmla="*/ 7779 w 10000"/>
                        <a:gd name="connsiteY83" fmla="*/ 161 h 10000"/>
                        <a:gd name="connsiteX84" fmla="*/ 7600 w 10000"/>
                        <a:gd name="connsiteY84" fmla="*/ 129 h 10000"/>
                        <a:gd name="connsiteX85" fmla="*/ 7466 w 10000"/>
                        <a:gd name="connsiteY85" fmla="*/ 418 h 10000"/>
                        <a:gd name="connsiteX86" fmla="*/ 7110 w 10000"/>
                        <a:gd name="connsiteY86" fmla="*/ 482 h 10000"/>
                        <a:gd name="connsiteX87" fmla="*/ 7023 w 10000"/>
                        <a:gd name="connsiteY87" fmla="*/ 707 h 10000"/>
                        <a:gd name="connsiteX88" fmla="*/ 6711 w 10000"/>
                        <a:gd name="connsiteY88" fmla="*/ 707 h 10000"/>
                        <a:gd name="connsiteX89" fmla="*/ 6445 w 10000"/>
                        <a:gd name="connsiteY89" fmla="*/ 611 h 10000"/>
                        <a:gd name="connsiteX90" fmla="*/ 5867 w 10000"/>
                        <a:gd name="connsiteY90" fmla="*/ 611 h 10000"/>
                        <a:gd name="connsiteX91" fmla="*/ 5289 w 10000"/>
                        <a:gd name="connsiteY91" fmla="*/ 611 h 10000"/>
                        <a:gd name="connsiteX92" fmla="*/ 5333 w 10000"/>
                        <a:gd name="connsiteY92" fmla="*/ 482 h 10000"/>
                        <a:gd name="connsiteX93" fmla="*/ 5245 w 10000"/>
                        <a:gd name="connsiteY93" fmla="*/ 482 h 10000"/>
                        <a:gd name="connsiteX94" fmla="*/ 5201 w 10000"/>
                        <a:gd name="connsiteY94" fmla="*/ 611 h 10000"/>
                        <a:gd name="connsiteX95" fmla="*/ 4667 w 10000"/>
                        <a:gd name="connsiteY95" fmla="*/ 611 h 10000"/>
                        <a:gd name="connsiteX96" fmla="*/ 4134 w 10000"/>
                        <a:gd name="connsiteY96" fmla="*/ 611 h 10000"/>
                        <a:gd name="connsiteX97" fmla="*/ 3602 w 10000"/>
                        <a:gd name="connsiteY97" fmla="*/ 611 h 10000"/>
                        <a:gd name="connsiteX98" fmla="*/ 3067 w 10000"/>
                        <a:gd name="connsiteY98" fmla="*/ 611 h 10000"/>
                        <a:gd name="connsiteX99" fmla="*/ 2580 w 10000"/>
                        <a:gd name="connsiteY99" fmla="*/ 611 h 10000"/>
                        <a:gd name="connsiteX100" fmla="*/ 2046 w 10000"/>
                        <a:gd name="connsiteY100" fmla="*/ 611 h 10000"/>
                        <a:gd name="connsiteX101" fmla="*/ 1556 w 10000"/>
                        <a:gd name="connsiteY101" fmla="*/ 611 h 10000"/>
                        <a:gd name="connsiteX102" fmla="*/ 1024 w 10000"/>
                        <a:gd name="connsiteY102" fmla="*/ 611 h 10000"/>
                        <a:gd name="connsiteX103" fmla="*/ 1024 w 10000"/>
                        <a:gd name="connsiteY103" fmla="*/ 1061 h 10000"/>
                        <a:gd name="connsiteX104" fmla="*/ 1024 w 10000"/>
                        <a:gd name="connsiteY104" fmla="*/ 1640 h 10000"/>
                        <a:gd name="connsiteX105" fmla="*/ 356 w 10000"/>
                        <a:gd name="connsiteY105" fmla="*/ 1640 h 10000"/>
                        <a:gd name="connsiteX106" fmla="*/ 356 w 10000"/>
                        <a:gd name="connsiteY106" fmla="*/ 1897 h 10000"/>
                        <a:gd name="connsiteX0" fmla="*/ 356 w 10000"/>
                        <a:gd name="connsiteY0" fmla="*/ 1897 h 10000"/>
                        <a:gd name="connsiteX1" fmla="*/ 356 w 10000"/>
                        <a:gd name="connsiteY1" fmla="*/ 2412 h 10000"/>
                        <a:gd name="connsiteX2" fmla="*/ 5520 w 10000"/>
                        <a:gd name="connsiteY2" fmla="*/ 6915 h 10000"/>
                        <a:gd name="connsiteX3" fmla="*/ 5155 w 10000"/>
                        <a:gd name="connsiteY3" fmla="*/ 7114 h 10000"/>
                        <a:gd name="connsiteX4" fmla="*/ 4848 w 10000"/>
                        <a:gd name="connsiteY4" fmla="*/ 6907 h 10000"/>
                        <a:gd name="connsiteX5" fmla="*/ 4403 w 10000"/>
                        <a:gd name="connsiteY5" fmla="*/ 6781 h 10000"/>
                        <a:gd name="connsiteX6" fmla="*/ 4182 w 10000"/>
                        <a:gd name="connsiteY6" fmla="*/ 7064 h 10000"/>
                        <a:gd name="connsiteX7" fmla="*/ 3635 w 10000"/>
                        <a:gd name="connsiteY7" fmla="*/ 7281 h 10000"/>
                        <a:gd name="connsiteX8" fmla="*/ 3284 w 10000"/>
                        <a:gd name="connsiteY8" fmla="*/ 7279 h 10000"/>
                        <a:gd name="connsiteX9" fmla="*/ 2517 w 10000"/>
                        <a:gd name="connsiteY9" fmla="*/ 7095 h 10000"/>
                        <a:gd name="connsiteX10" fmla="*/ 2312 w 10000"/>
                        <a:gd name="connsiteY10" fmla="*/ 7195 h 10000"/>
                        <a:gd name="connsiteX11" fmla="*/ 1800 w 10000"/>
                        <a:gd name="connsiteY11" fmla="*/ 6973 h 10000"/>
                        <a:gd name="connsiteX12" fmla="*/ 1574 w 10000"/>
                        <a:gd name="connsiteY12" fmla="*/ 6638 h 10000"/>
                        <a:gd name="connsiteX13" fmla="*/ 1198 w 10000"/>
                        <a:gd name="connsiteY13" fmla="*/ 6729 h 10000"/>
                        <a:gd name="connsiteX14" fmla="*/ 1096 w 10000"/>
                        <a:gd name="connsiteY14" fmla="*/ 6927 h 10000"/>
                        <a:gd name="connsiteX15" fmla="*/ 698 w 10000"/>
                        <a:gd name="connsiteY15" fmla="*/ 7011 h 10000"/>
                        <a:gd name="connsiteX16" fmla="*/ 436 w 10000"/>
                        <a:gd name="connsiteY16" fmla="*/ 7004 h 10000"/>
                        <a:gd name="connsiteX17" fmla="*/ 292 w 10000"/>
                        <a:gd name="connsiteY17" fmla="*/ 7161 h 10000"/>
                        <a:gd name="connsiteX18" fmla="*/ 47 w 10000"/>
                        <a:gd name="connsiteY18" fmla="*/ 6913 h 10000"/>
                        <a:gd name="connsiteX19" fmla="*/ 0 w 10000"/>
                        <a:gd name="connsiteY19" fmla="*/ 7363 h 10000"/>
                        <a:gd name="connsiteX20" fmla="*/ 89 w 10000"/>
                        <a:gd name="connsiteY20" fmla="*/ 7428 h 10000"/>
                        <a:gd name="connsiteX21" fmla="*/ 446 w 10000"/>
                        <a:gd name="connsiteY21" fmla="*/ 7460 h 10000"/>
                        <a:gd name="connsiteX22" fmla="*/ 491 w 10000"/>
                        <a:gd name="connsiteY22" fmla="*/ 7588 h 10000"/>
                        <a:gd name="connsiteX23" fmla="*/ 890 w 10000"/>
                        <a:gd name="connsiteY23" fmla="*/ 7621 h 10000"/>
                        <a:gd name="connsiteX24" fmla="*/ 1112 w 10000"/>
                        <a:gd name="connsiteY24" fmla="*/ 7749 h 10000"/>
                        <a:gd name="connsiteX25" fmla="*/ 1156 w 10000"/>
                        <a:gd name="connsiteY25" fmla="*/ 7974 h 10000"/>
                        <a:gd name="connsiteX26" fmla="*/ 1869 w 10000"/>
                        <a:gd name="connsiteY26" fmla="*/ 8360 h 10000"/>
                        <a:gd name="connsiteX27" fmla="*/ 2046 w 10000"/>
                        <a:gd name="connsiteY27" fmla="*/ 8746 h 10000"/>
                        <a:gd name="connsiteX28" fmla="*/ 2534 w 10000"/>
                        <a:gd name="connsiteY28" fmla="*/ 8939 h 10000"/>
                        <a:gd name="connsiteX29" fmla="*/ 2712 w 10000"/>
                        <a:gd name="connsiteY29" fmla="*/ 9196 h 10000"/>
                        <a:gd name="connsiteX30" fmla="*/ 3067 w 10000"/>
                        <a:gd name="connsiteY30" fmla="*/ 9518 h 10000"/>
                        <a:gd name="connsiteX31" fmla="*/ 3335 w 10000"/>
                        <a:gd name="connsiteY31" fmla="*/ 9614 h 10000"/>
                        <a:gd name="connsiteX32" fmla="*/ 3513 w 10000"/>
                        <a:gd name="connsiteY32" fmla="*/ 9518 h 10000"/>
                        <a:gd name="connsiteX33" fmla="*/ 3957 w 10000"/>
                        <a:gd name="connsiteY33" fmla="*/ 9550 h 10000"/>
                        <a:gd name="connsiteX34" fmla="*/ 4134 w 10000"/>
                        <a:gd name="connsiteY34" fmla="*/ 9486 h 10000"/>
                        <a:gd name="connsiteX35" fmla="*/ 4934 w 10000"/>
                        <a:gd name="connsiteY35" fmla="*/ 9968 h 10000"/>
                        <a:gd name="connsiteX36" fmla="*/ 4979 w 10000"/>
                        <a:gd name="connsiteY36" fmla="*/ 9968 h 10000"/>
                        <a:gd name="connsiteX37" fmla="*/ 5067 w 10000"/>
                        <a:gd name="connsiteY37" fmla="*/ 9904 h 10000"/>
                        <a:gd name="connsiteX38" fmla="*/ 5643 w 10000"/>
                        <a:gd name="connsiteY38" fmla="*/ 9904 h 10000"/>
                        <a:gd name="connsiteX39" fmla="*/ 5734 w 10000"/>
                        <a:gd name="connsiteY39" fmla="*/ 10000 h 10000"/>
                        <a:gd name="connsiteX40" fmla="*/ 6223 w 10000"/>
                        <a:gd name="connsiteY40" fmla="*/ 9871 h 10000"/>
                        <a:gd name="connsiteX41" fmla="*/ 6666 w 10000"/>
                        <a:gd name="connsiteY41" fmla="*/ 9871 h 10000"/>
                        <a:gd name="connsiteX42" fmla="*/ 6978 w 10000"/>
                        <a:gd name="connsiteY42" fmla="*/ 9743 h 10000"/>
                        <a:gd name="connsiteX43" fmla="*/ 7334 w 10000"/>
                        <a:gd name="connsiteY43" fmla="*/ 9486 h 10000"/>
                        <a:gd name="connsiteX44" fmla="*/ 8267 w 10000"/>
                        <a:gd name="connsiteY44" fmla="*/ 9486 h 10000"/>
                        <a:gd name="connsiteX45" fmla="*/ 8267 w 10000"/>
                        <a:gd name="connsiteY45" fmla="*/ 9132 h 10000"/>
                        <a:gd name="connsiteX46" fmla="*/ 7779 w 10000"/>
                        <a:gd name="connsiteY46" fmla="*/ 8971 h 10000"/>
                        <a:gd name="connsiteX47" fmla="*/ 7512 w 10000"/>
                        <a:gd name="connsiteY47" fmla="*/ 8457 h 10000"/>
                        <a:gd name="connsiteX48" fmla="*/ 7157 w 10000"/>
                        <a:gd name="connsiteY48" fmla="*/ 8264 h 10000"/>
                        <a:gd name="connsiteX49" fmla="*/ 6933 w 10000"/>
                        <a:gd name="connsiteY49" fmla="*/ 8006 h 10000"/>
                        <a:gd name="connsiteX50" fmla="*/ 6356 w 10000"/>
                        <a:gd name="connsiteY50" fmla="*/ 7814 h 10000"/>
                        <a:gd name="connsiteX51" fmla="*/ 6489 w 10000"/>
                        <a:gd name="connsiteY51" fmla="*/ 7749 h 10000"/>
                        <a:gd name="connsiteX52" fmla="*/ 6489 w 10000"/>
                        <a:gd name="connsiteY52" fmla="*/ 7588 h 10000"/>
                        <a:gd name="connsiteX53" fmla="*/ 6890 w 10000"/>
                        <a:gd name="connsiteY53" fmla="*/ 7588 h 10000"/>
                        <a:gd name="connsiteX54" fmla="*/ 7110 w 10000"/>
                        <a:gd name="connsiteY54" fmla="*/ 7460 h 10000"/>
                        <a:gd name="connsiteX55" fmla="*/ 7157 w 10000"/>
                        <a:gd name="connsiteY55" fmla="*/ 6527 h 10000"/>
                        <a:gd name="connsiteX56" fmla="*/ 7200 w 10000"/>
                        <a:gd name="connsiteY56" fmla="*/ 6559 h 10000"/>
                        <a:gd name="connsiteX57" fmla="*/ 7334 w 10000"/>
                        <a:gd name="connsiteY57" fmla="*/ 6367 h 10000"/>
                        <a:gd name="connsiteX58" fmla="*/ 7600 w 10000"/>
                        <a:gd name="connsiteY58" fmla="*/ 6270 h 10000"/>
                        <a:gd name="connsiteX59" fmla="*/ 7733 w 10000"/>
                        <a:gd name="connsiteY59" fmla="*/ 5916 h 10000"/>
                        <a:gd name="connsiteX60" fmla="*/ 8135 w 10000"/>
                        <a:gd name="connsiteY60" fmla="*/ 5498 h 10000"/>
                        <a:gd name="connsiteX61" fmla="*/ 8443 w 10000"/>
                        <a:gd name="connsiteY61" fmla="*/ 5305 h 10000"/>
                        <a:gd name="connsiteX62" fmla="*/ 8666 w 10000"/>
                        <a:gd name="connsiteY62" fmla="*/ 4759 h 10000"/>
                        <a:gd name="connsiteX63" fmla="*/ 8666 w 10000"/>
                        <a:gd name="connsiteY63" fmla="*/ 4630 h 10000"/>
                        <a:gd name="connsiteX64" fmla="*/ 8623 w 10000"/>
                        <a:gd name="connsiteY64" fmla="*/ 4309 h 10000"/>
                        <a:gd name="connsiteX65" fmla="*/ 9066 w 10000"/>
                        <a:gd name="connsiteY65" fmla="*/ 3151 h 10000"/>
                        <a:gd name="connsiteX66" fmla="*/ 9199 w 10000"/>
                        <a:gd name="connsiteY66" fmla="*/ 3151 h 10000"/>
                        <a:gd name="connsiteX67" fmla="*/ 9378 w 10000"/>
                        <a:gd name="connsiteY67" fmla="*/ 3055 h 10000"/>
                        <a:gd name="connsiteX68" fmla="*/ 9912 w 10000"/>
                        <a:gd name="connsiteY68" fmla="*/ 2894 h 10000"/>
                        <a:gd name="connsiteX69" fmla="*/ 10000 w 10000"/>
                        <a:gd name="connsiteY69" fmla="*/ 2637 h 10000"/>
                        <a:gd name="connsiteX70" fmla="*/ 9957 w 10000"/>
                        <a:gd name="connsiteY70" fmla="*/ 2572 h 10000"/>
                        <a:gd name="connsiteX71" fmla="*/ 9777 w 10000"/>
                        <a:gd name="connsiteY71" fmla="*/ 2572 h 10000"/>
                        <a:gd name="connsiteX72" fmla="*/ 9644 w 10000"/>
                        <a:gd name="connsiteY72" fmla="*/ 2412 h 10000"/>
                        <a:gd name="connsiteX73" fmla="*/ 9378 w 10000"/>
                        <a:gd name="connsiteY73" fmla="*/ 2347 h 10000"/>
                        <a:gd name="connsiteX74" fmla="*/ 9244 w 10000"/>
                        <a:gd name="connsiteY74" fmla="*/ 2219 h 10000"/>
                        <a:gd name="connsiteX75" fmla="*/ 9157 w 10000"/>
                        <a:gd name="connsiteY75" fmla="*/ 1736 h 10000"/>
                        <a:gd name="connsiteX76" fmla="*/ 9157 w 10000"/>
                        <a:gd name="connsiteY76" fmla="*/ 1061 h 10000"/>
                        <a:gd name="connsiteX77" fmla="*/ 8933 w 10000"/>
                        <a:gd name="connsiteY77" fmla="*/ 836 h 10000"/>
                        <a:gd name="connsiteX78" fmla="*/ 8889 w 10000"/>
                        <a:gd name="connsiteY78" fmla="*/ 611 h 10000"/>
                        <a:gd name="connsiteX79" fmla="*/ 8534 w 10000"/>
                        <a:gd name="connsiteY79" fmla="*/ 289 h 10000"/>
                        <a:gd name="connsiteX80" fmla="*/ 8222 w 10000"/>
                        <a:gd name="connsiteY80" fmla="*/ 161 h 10000"/>
                        <a:gd name="connsiteX81" fmla="*/ 8045 w 10000"/>
                        <a:gd name="connsiteY81" fmla="*/ 0 h 10000"/>
                        <a:gd name="connsiteX82" fmla="*/ 7779 w 10000"/>
                        <a:gd name="connsiteY82" fmla="*/ 161 h 10000"/>
                        <a:gd name="connsiteX83" fmla="*/ 7600 w 10000"/>
                        <a:gd name="connsiteY83" fmla="*/ 129 h 10000"/>
                        <a:gd name="connsiteX84" fmla="*/ 7466 w 10000"/>
                        <a:gd name="connsiteY84" fmla="*/ 418 h 10000"/>
                        <a:gd name="connsiteX85" fmla="*/ 7110 w 10000"/>
                        <a:gd name="connsiteY85" fmla="*/ 482 h 10000"/>
                        <a:gd name="connsiteX86" fmla="*/ 7023 w 10000"/>
                        <a:gd name="connsiteY86" fmla="*/ 707 h 10000"/>
                        <a:gd name="connsiteX87" fmla="*/ 6711 w 10000"/>
                        <a:gd name="connsiteY87" fmla="*/ 707 h 10000"/>
                        <a:gd name="connsiteX88" fmla="*/ 6445 w 10000"/>
                        <a:gd name="connsiteY88" fmla="*/ 611 h 10000"/>
                        <a:gd name="connsiteX89" fmla="*/ 5867 w 10000"/>
                        <a:gd name="connsiteY89" fmla="*/ 611 h 10000"/>
                        <a:gd name="connsiteX90" fmla="*/ 5289 w 10000"/>
                        <a:gd name="connsiteY90" fmla="*/ 611 h 10000"/>
                        <a:gd name="connsiteX91" fmla="*/ 5333 w 10000"/>
                        <a:gd name="connsiteY91" fmla="*/ 482 h 10000"/>
                        <a:gd name="connsiteX92" fmla="*/ 5245 w 10000"/>
                        <a:gd name="connsiteY92" fmla="*/ 482 h 10000"/>
                        <a:gd name="connsiteX93" fmla="*/ 5201 w 10000"/>
                        <a:gd name="connsiteY93" fmla="*/ 611 h 10000"/>
                        <a:gd name="connsiteX94" fmla="*/ 4667 w 10000"/>
                        <a:gd name="connsiteY94" fmla="*/ 611 h 10000"/>
                        <a:gd name="connsiteX95" fmla="*/ 4134 w 10000"/>
                        <a:gd name="connsiteY95" fmla="*/ 611 h 10000"/>
                        <a:gd name="connsiteX96" fmla="*/ 3602 w 10000"/>
                        <a:gd name="connsiteY96" fmla="*/ 611 h 10000"/>
                        <a:gd name="connsiteX97" fmla="*/ 3067 w 10000"/>
                        <a:gd name="connsiteY97" fmla="*/ 611 h 10000"/>
                        <a:gd name="connsiteX98" fmla="*/ 2580 w 10000"/>
                        <a:gd name="connsiteY98" fmla="*/ 611 h 10000"/>
                        <a:gd name="connsiteX99" fmla="*/ 2046 w 10000"/>
                        <a:gd name="connsiteY99" fmla="*/ 611 h 10000"/>
                        <a:gd name="connsiteX100" fmla="*/ 1556 w 10000"/>
                        <a:gd name="connsiteY100" fmla="*/ 611 h 10000"/>
                        <a:gd name="connsiteX101" fmla="*/ 1024 w 10000"/>
                        <a:gd name="connsiteY101" fmla="*/ 611 h 10000"/>
                        <a:gd name="connsiteX102" fmla="*/ 1024 w 10000"/>
                        <a:gd name="connsiteY102" fmla="*/ 1061 h 10000"/>
                        <a:gd name="connsiteX103" fmla="*/ 1024 w 10000"/>
                        <a:gd name="connsiteY103" fmla="*/ 1640 h 10000"/>
                        <a:gd name="connsiteX104" fmla="*/ 356 w 10000"/>
                        <a:gd name="connsiteY104" fmla="*/ 1640 h 10000"/>
                        <a:gd name="connsiteX105" fmla="*/ 356 w 10000"/>
                        <a:gd name="connsiteY105" fmla="*/ 1897 h 10000"/>
                        <a:gd name="connsiteX0" fmla="*/ 356 w 10000"/>
                        <a:gd name="connsiteY0" fmla="*/ 1897 h 10000"/>
                        <a:gd name="connsiteX1" fmla="*/ 5484 w 10000"/>
                        <a:gd name="connsiteY1" fmla="*/ 5713 h 10000"/>
                        <a:gd name="connsiteX2" fmla="*/ 5520 w 10000"/>
                        <a:gd name="connsiteY2" fmla="*/ 6915 h 10000"/>
                        <a:gd name="connsiteX3" fmla="*/ 5155 w 10000"/>
                        <a:gd name="connsiteY3" fmla="*/ 7114 h 10000"/>
                        <a:gd name="connsiteX4" fmla="*/ 4848 w 10000"/>
                        <a:gd name="connsiteY4" fmla="*/ 6907 h 10000"/>
                        <a:gd name="connsiteX5" fmla="*/ 4403 w 10000"/>
                        <a:gd name="connsiteY5" fmla="*/ 6781 h 10000"/>
                        <a:gd name="connsiteX6" fmla="*/ 4182 w 10000"/>
                        <a:gd name="connsiteY6" fmla="*/ 7064 h 10000"/>
                        <a:gd name="connsiteX7" fmla="*/ 3635 w 10000"/>
                        <a:gd name="connsiteY7" fmla="*/ 7281 h 10000"/>
                        <a:gd name="connsiteX8" fmla="*/ 3284 w 10000"/>
                        <a:gd name="connsiteY8" fmla="*/ 7279 h 10000"/>
                        <a:gd name="connsiteX9" fmla="*/ 2517 w 10000"/>
                        <a:gd name="connsiteY9" fmla="*/ 7095 h 10000"/>
                        <a:gd name="connsiteX10" fmla="*/ 2312 w 10000"/>
                        <a:gd name="connsiteY10" fmla="*/ 7195 h 10000"/>
                        <a:gd name="connsiteX11" fmla="*/ 1800 w 10000"/>
                        <a:gd name="connsiteY11" fmla="*/ 6973 h 10000"/>
                        <a:gd name="connsiteX12" fmla="*/ 1574 w 10000"/>
                        <a:gd name="connsiteY12" fmla="*/ 6638 h 10000"/>
                        <a:gd name="connsiteX13" fmla="*/ 1198 w 10000"/>
                        <a:gd name="connsiteY13" fmla="*/ 6729 h 10000"/>
                        <a:gd name="connsiteX14" fmla="*/ 1096 w 10000"/>
                        <a:gd name="connsiteY14" fmla="*/ 6927 h 10000"/>
                        <a:gd name="connsiteX15" fmla="*/ 698 w 10000"/>
                        <a:gd name="connsiteY15" fmla="*/ 7011 h 10000"/>
                        <a:gd name="connsiteX16" fmla="*/ 436 w 10000"/>
                        <a:gd name="connsiteY16" fmla="*/ 7004 h 10000"/>
                        <a:gd name="connsiteX17" fmla="*/ 292 w 10000"/>
                        <a:gd name="connsiteY17" fmla="*/ 7161 h 10000"/>
                        <a:gd name="connsiteX18" fmla="*/ 47 w 10000"/>
                        <a:gd name="connsiteY18" fmla="*/ 6913 h 10000"/>
                        <a:gd name="connsiteX19" fmla="*/ 0 w 10000"/>
                        <a:gd name="connsiteY19" fmla="*/ 7363 h 10000"/>
                        <a:gd name="connsiteX20" fmla="*/ 89 w 10000"/>
                        <a:gd name="connsiteY20" fmla="*/ 7428 h 10000"/>
                        <a:gd name="connsiteX21" fmla="*/ 446 w 10000"/>
                        <a:gd name="connsiteY21" fmla="*/ 7460 h 10000"/>
                        <a:gd name="connsiteX22" fmla="*/ 491 w 10000"/>
                        <a:gd name="connsiteY22" fmla="*/ 7588 h 10000"/>
                        <a:gd name="connsiteX23" fmla="*/ 890 w 10000"/>
                        <a:gd name="connsiteY23" fmla="*/ 7621 h 10000"/>
                        <a:gd name="connsiteX24" fmla="*/ 1112 w 10000"/>
                        <a:gd name="connsiteY24" fmla="*/ 7749 h 10000"/>
                        <a:gd name="connsiteX25" fmla="*/ 1156 w 10000"/>
                        <a:gd name="connsiteY25" fmla="*/ 7974 h 10000"/>
                        <a:gd name="connsiteX26" fmla="*/ 1869 w 10000"/>
                        <a:gd name="connsiteY26" fmla="*/ 8360 h 10000"/>
                        <a:gd name="connsiteX27" fmla="*/ 2046 w 10000"/>
                        <a:gd name="connsiteY27" fmla="*/ 8746 h 10000"/>
                        <a:gd name="connsiteX28" fmla="*/ 2534 w 10000"/>
                        <a:gd name="connsiteY28" fmla="*/ 8939 h 10000"/>
                        <a:gd name="connsiteX29" fmla="*/ 2712 w 10000"/>
                        <a:gd name="connsiteY29" fmla="*/ 9196 h 10000"/>
                        <a:gd name="connsiteX30" fmla="*/ 3067 w 10000"/>
                        <a:gd name="connsiteY30" fmla="*/ 9518 h 10000"/>
                        <a:gd name="connsiteX31" fmla="*/ 3335 w 10000"/>
                        <a:gd name="connsiteY31" fmla="*/ 9614 h 10000"/>
                        <a:gd name="connsiteX32" fmla="*/ 3513 w 10000"/>
                        <a:gd name="connsiteY32" fmla="*/ 9518 h 10000"/>
                        <a:gd name="connsiteX33" fmla="*/ 3957 w 10000"/>
                        <a:gd name="connsiteY33" fmla="*/ 9550 h 10000"/>
                        <a:gd name="connsiteX34" fmla="*/ 4134 w 10000"/>
                        <a:gd name="connsiteY34" fmla="*/ 9486 h 10000"/>
                        <a:gd name="connsiteX35" fmla="*/ 4934 w 10000"/>
                        <a:gd name="connsiteY35" fmla="*/ 9968 h 10000"/>
                        <a:gd name="connsiteX36" fmla="*/ 4979 w 10000"/>
                        <a:gd name="connsiteY36" fmla="*/ 9968 h 10000"/>
                        <a:gd name="connsiteX37" fmla="*/ 5067 w 10000"/>
                        <a:gd name="connsiteY37" fmla="*/ 9904 h 10000"/>
                        <a:gd name="connsiteX38" fmla="*/ 5643 w 10000"/>
                        <a:gd name="connsiteY38" fmla="*/ 9904 h 10000"/>
                        <a:gd name="connsiteX39" fmla="*/ 5734 w 10000"/>
                        <a:gd name="connsiteY39" fmla="*/ 10000 h 10000"/>
                        <a:gd name="connsiteX40" fmla="*/ 6223 w 10000"/>
                        <a:gd name="connsiteY40" fmla="*/ 9871 h 10000"/>
                        <a:gd name="connsiteX41" fmla="*/ 6666 w 10000"/>
                        <a:gd name="connsiteY41" fmla="*/ 9871 h 10000"/>
                        <a:gd name="connsiteX42" fmla="*/ 6978 w 10000"/>
                        <a:gd name="connsiteY42" fmla="*/ 9743 h 10000"/>
                        <a:gd name="connsiteX43" fmla="*/ 7334 w 10000"/>
                        <a:gd name="connsiteY43" fmla="*/ 9486 h 10000"/>
                        <a:gd name="connsiteX44" fmla="*/ 8267 w 10000"/>
                        <a:gd name="connsiteY44" fmla="*/ 9486 h 10000"/>
                        <a:gd name="connsiteX45" fmla="*/ 8267 w 10000"/>
                        <a:gd name="connsiteY45" fmla="*/ 9132 h 10000"/>
                        <a:gd name="connsiteX46" fmla="*/ 7779 w 10000"/>
                        <a:gd name="connsiteY46" fmla="*/ 8971 h 10000"/>
                        <a:gd name="connsiteX47" fmla="*/ 7512 w 10000"/>
                        <a:gd name="connsiteY47" fmla="*/ 8457 h 10000"/>
                        <a:gd name="connsiteX48" fmla="*/ 7157 w 10000"/>
                        <a:gd name="connsiteY48" fmla="*/ 8264 h 10000"/>
                        <a:gd name="connsiteX49" fmla="*/ 6933 w 10000"/>
                        <a:gd name="connsiteY49" fmla="*/ 8006 h 10000"/>
                        <a:gd name="connsiteX50" fmla="*/ 6356 w 10000"/>
                        <a:gd name="connsiteY50" fmla="*/ 7814 h 10000"/>
                        <a:gd name="connsiteX51" fmla="*/ 6489 w 10000"/>
                        <a:gd name="connsiteY51" fmla="*/ 7749 h 10000"/>
                        <a:gd name="connsiteX52" fmla="*/ 6489 w 10000"/>
                        <a:gd name="connsiteY52" fmla="*/ 7588 h 10000"/>
                        <a:gd name="connsiteX53" fmla="*/ 6890 w 10000"/>
                        <a:gd name="connsiteY53" fmla="*/ 7588 h 10000"/>
                        <a:gd name="connsiteX54" fmla="*/ 7110 w 10000"/>
                        <a:gd name="connsiteY54" fmla="*/ 7460 h 10000"/>
                        <a:gd name="connsiteX55" fmla="*/ 7157 w 10000"/>
                        <a:gd name="connsiteY55" fmla="*/ 6527 h 10000"/>
                        <a:gd name="connsiteX56" fmla="*/ 7200 w 10000"/>
                        <a:gd name="connsiteY56" fmla="*/ 6559 h 10000"/>
                        <a:gd name="connsiteX57" fmla="*/ 7334 w 10000"/>
                        <a:gd name="connsiteY57" fmla="*/ 6367 h 10000"/>
                        <a:gd name="connsiteX58" fmla="*/ 7600 w 10000"/>
                        <a:gd name="connsiteY58" fmla="*/ 6270 h 10000"/>
                        <a:gd name="connsiteX59" fmla="*/ 7733 w 10000"/>
                        <a:gd name="connsiteY59" fmla="*/ 5916 h 10000"/>
                        <a:gd name="connsiteX60" fmla="*/ 8135 w 10000"/>
                        <a:gd name="connsiteY60" fmla="*/ 5498 h 10000"/>
                        <a:gd name="connsiteX61" fmla="*/ 8443 w 10000"/>
                        <a:gd name="connsiteY61" fmla="*/ 5305 h 10000"/>
                        <a:gd name="connsiteX62" fmla="*/ 8666 w 10000"/>
                        <a:gd name="connsiteY62" fmla="*/ 4759 h 10000"/>
                        <a:gd name="connsiteX63" fmla="*/ 8666 w 10000"/>
                        <a:gd name="connsiteY63" fmla="*/ 4630 h 10000"/>
                        <a:gd name="connsiteX64" fmla="*/ 8623 w 10000"/>
                        <a:gd name="connsiteY64" fmla="*/ 4309 h 10000"/>
                        <a:gd name="connsiteX65" fmla="*/ 9066 w 10000"/>
                        <a:gd name="connsiteY65" fmla="*/ 3151 h 10000"/>
                        <a:gd name="connsiteX66" fmla="*/ 9199 w 10000"/>
                        <a:gd name="connsiteY66" fmla="*/ 3151 h 10000"/>
                        <a:gd name="connsiteX67" fmla="*/ 9378 w 10000"/>
                        <a:gd name="connsiteY67" fmla="*/ 3055 h 10000"/>
                        <a:gd name="connsiteX68" fmla="*/ 9912 w 10000"/>
                        <a:gd name="connsiteY68" fmla="*/ 2894 h 10000"/>
                        <a:gd name="connsiteX69" fmla="*/ 10000 w 10000"/>
                        <a:gd name="connsiteY69" fmla="*/ 2637 h 10000"/>
                        <a:gd name="connsiteX70" fmla="*/ 9957 w 10000"/>
                        <a:gd name="connsiteY70" fmla="*/ 2572 h 10000"/>
                        <a:gd name="connsiteX71" fmla="*/ 9777 w 10000"/>
                        <a:gd name="connsiteY71" fmla="*/ 2572 h 10000"/>
                        <a:gd name="connsiteX72" fmla="*/ 9644 w 10000"/>
                        <a:gd name="connsiteY72" fmla="*/ 2412 h 10000"/>
                        <a:gd name="connsiteX73" fmla="*/ 9378 w 10000"/>
                        <a:gd name="connsiteY73" fmla="*/ 2347 h 10000"/>
                        <a:gd name="connsiteX74" fmla="*/ 9244 w 10000"/>
                        <a:gd name="connsiteY74" fmla="*/ 2219 h 10000"/>
                        <a:gd name="connsiteX75" fmla="*/ 9157 w 10000"/>
                        <a:gd name="connsiteY75" fmla="*/ 1736 h 10000"/>
                        <a:gd name="connsiteX76" fmla="*/ 9157 w 10000"/>
                        <a:gd name="connsiteY76" fmla="*/ 1061 h 10000"/>
                        <a:gd name="connsiteX77" fmla="*/ 8933 w 10000"/>
                        <a:gd name="connsiteY77" fmla="*/ 836 h 10000"/>
                        <a:gd name="connsiteX78" fmla="*/ 8889 w 10000"/>
                        <a:gd name="connsiteY78" fmla="*/ 611 h 10000"/>
                        <a:gd name="connsiteX79" fmla="*/ 8534 w 10000"/>
                        <a:gd name="connsiteY79" fmla="*/ 289 h 10000"/>
                        <a:gd name="connsiteX80" fmla="*/ 8222 w 10000"/>
                        <a:gd name="connsiteY80" fmla="*/ 161 h 10000"/>
                        <a:gd name="connsiteX81" fmla="*/ 8045 w 10000"/>
                        <a:gd name="connsiteY81" fmla="*/ 0 h 10000"/>
                        <a:gd name="connsiteX82" fmla="*/ 7779 w 10000"/>
                        <a:gd name="connsiteY82" fmla="*/ 161 h 10000"/>
                        <a:gd name="connsiteX83" fmla="*/ 7600 w 10000"/>
                        <a:gd name="connsiteY83" fmla="*/ 129 h 10000"/>
                        <a:gd name="connsiteX84" fmla="*/ 7466 w 10000"/>
                        <a:gd name="connsiteY84" fmla="*/ 418 h 10000"/>
                        <a:gd name="connsiteX85" fmla="*/ 7110 w 10000"/>
                        <a:gd name="connsiteY85" fmla="*/ 482 h 10000"/>
                        <a:gd name="connsiteX86" fmla="*/ 7023 w 10000"/>
                        <a:gd name="connsiteY86" fmla="*/ 707 h 10000"/>
                        <a:gd name="connsiteX87" fmla="*/ 6711 w 10000"/>
                        <a:gd name="connsiteY87" fmla="*/ 707 h 10000"/>
                        <a:gd name="connsiteX88" fmla="*/ 6445 w 10000"/>
                        <a:gd name="connsiteY88" fmla="*/ 611 h 10000"/>
                        <a:gd name="connsiteX89" fmla="*/ 5867 w 10000"/>
                        <a:gd name="connsiteY89" fmla="*/ 611 h 10000"/>
                        <a:gd name="connsiteX90" fmla="*/ 5289 w 10000"/>
                        <a:gd name="connsiteY90" fmla="*/ 611 h 10000"/>
                        <a:gd name="connsiteX91" fmla="*/ 5333 w 10000"/>
                        <a:gd name="connsiteY91" fmla="*/ 482 h 10000"/>
                        <a:gd name="connsiteX92" fmla="*/ 5245 w 10000"/>
                        <a:gd name="connsiteY92" fmla="*/ 482 h 10000"/>
                        <a:gd name="connsiteX93" fmla="*/ 5201 w 10000"/>
                        <a:gd name="connsiteY93" fmla="*/ 611 h 10000"/>
                        <a:gd name="connsiteX94" fmla="*/ 4667 w 10000"/>
                        <a:gd name="connsiteY94" fmla="*/ 611 h 10000"/>
                        <a:gd name="connsiteX95" fmla="*/ 4134 w 10000"/>
                        <a:gd name="connsiteY95" fmla="*/ 611 h 10000"/>
                        <a:gd name="connsiteX96" fmla="*/ 3602 w 10000"/>
                        <a:gd name="connsiteY96" fmla="*/ 611 h 10000"/>
                        <a:gd name="connsiteX97" fmla="*/ 3067 w 10000"/>
                        <a:gd name="connsiteY97" fmla="*/ 611 h 10000"/>
                        <a:gd name="connsiteX98" fmla="*/ 2580 w 10000"/>
                        <a:gd name="connsiteY98" fmla="*/ 611 h 10000"/>
                        <a:gd name="connsiteX99" fmla="*/ 2046 w 10000"/>
                        <a:gd name="connsiteY99" fmla="*/ 611 h 10000"/>
                        <a:gd name="connsiteX100" fmla="*/ 1556 w 10000"/>
                        <a:gd name="connsiteY100" fmla="*/ 611 h 10000"/>
                        <a:gd name="connsiteX101" fmla="*/ 1024 w 10000"/>
                        <a:gd name="connsiteY101" fmla="*/ 611 h 10000"/>
                        <a:gd name="connsiteX102" fmla="*/ 1024 w 10000"/>
                        <a:gd name="connsiteY102" fmla="*/ 1061 h 10000"/>
                        <a:gd name="connsiteX103" fmla="*/ 1024 w 10000"/>
                        <a:gd name="connsiteY103" fmla="*/ 1640 h 10000"/>
                        <a:gd name="connsiteX104" fmla="*/ 356 w 10000"/>
                        <a:gd name="connsiteY104" fmla="*/ 1640 h 10000"/>
                        <a:gd name="connsiteX105" fmla="*/ 356 w 10000"/>
                        <a:gd name="connsiteY105"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334 w 10000"/>
                        <a:gd name="connsiteY56" fmla="*/ 6367 h 10000"/>
                        <a:gd name="connsiteX57" fmla="*/ 7600 w 10000"/>
                        <a:gd name="connsiteY57" fmla="*/ 6270 h 10000"/>
                        <a:gd name="connsiteX58" fmla="*/ 7733 w 10000"/>
                        <a:gd name="connsiteY58" fmla="*/ 5916 h 10000"/>
                        <a:gd name="connsiteX59" fmla="*/ 8135 w 10000"/>
                        <a:gd name="connsiteY59" fmla="*/ 5498 h 10000"/>
                        <a:gd name="connsiteX60" fmla="*/ 8443 w 10000"/>
                        <a:gd name="connsiteY60" fmla="*/ 5305 h 10000"/>
                        <a:gd name="connsiteX61" fmla="*/ 8666 w 10000"/>
                        <a:gd name="connsiteY61" fmla="*/ 4759 h 10000"/>
                        <a:gd name="connsiteX62" fmla="*/ 8666 w 10000"/>
                        <a:gd name="connsiteY62" fmla="*/ 4630 h 10000"/>
                        <a:gd name="connsiteX63" fmla="*/ 8623 w 10000"/>
                        <a:gd name="connsiteY63" fmla="*/ 4309 h 10000"/>
                        <a:gd name="connsiteX64" fmla="*/ 9066 w 10000"/>
                        <a:gd name="connsiteY64" fmla="*/ 3151 h 10000"/>
                        <a:gd name="connsiteX65" fmla="*/ 9199 w 10000"/>
                        <a:gd name="connsiteY65" fmla="*/ 3151 h 10000"/>
                        <a:gd name="connsiteX66" fmla="*/ 9378 w 10000"/>
                        <a:gd name="connsiteY66" fmla="*/ 3055 h 10000"/>
                        <a:gd name="connsiteX67" fmla="*/ 9912 w 10000"/>
                        <a:gd name="connsiteY67" fmla="*/ 2894 h 10000"/>
                        <a:gd name="connsiteX68" fmla="*/ 10000 w 10000"/>
                        <a:gd name="connsiteY68" fmla="*/ 2637 h 10000"/>
                        <a:gd name="connsiteX69" fmla="*/ 9957 w 10000"/>
                        <a:gd name="connsiteY69" fmla="*/ 2572 h 10000"/>
                        <a:gd name="connsiteX70" fmla="*/ 9777 w 10000"/>
                        <a:gd name="connsiteY70" fmla="*/ 2572 h 10000"/>
                        <a:gd name="connsiteX71" fmla="*/ 9644 w 10000"/>
                        <a:gd name="connsiteY71" fmla="*/ 2412 h 10000"/>
                        <a:gd name="connsiteX72" fmla="*/ 9378 w 10000"/>
                        <a:gd name="connsiteY72" fmla="*/ 2347 h 10000"/>
                        <a:gd name="connsiteX73" fmla="*/ 9244 w 10000"/>
                        <a:gd name="connsiteY73" fmla="*/ 2219 h 10000"/>
                        <a:gd name="connsiteX74" fmla="*/ 9157 w 10000"/>
                        <a:gd name="connsiteY74" fmla="*/ 1736 h 10000"/>
                        <a:gd name="connsiteX75" fmla="*/ 9157 w 10000"/>
                        <a:gd name="connsiteY75" fmla="*/ 1061 h 10000"/>
                        <a:gd name="connsiteX76" fmla="*/ 8933 w 10000"/>
                        <a:gd name="connsiteY76" fmla="*/ 836 h 10000"/>
                        <a:gd name="connsiteX77" fmla="*/ 8889 w 10000"/>
                        <a:gd name="connsiteY77" fmla="*/ 611 h 10000"/>
                        <a:gd name="connsiteX78" fmla="*/ 8534 w 10000"/>
                        <a:gd name="connsiteY78" fmla="*/ 289 h 10000"/>
                        <a:gd name="connsiteX79" fmla="*/ 8222 w 10000"/>
                        <a:gd name="connsiteY79" fmla="*/ 161 h 10000"/>
                        <a:gd name="connsiteX80" fmla="*/ 8045 w 10000"/>
                        <a:gd name="connsiteY80" fmla="*/ 0 h 10000"/>
                        <a:gd name="connsiteX81" fmla="*/ 7779 w 10000"/>
                        <a:gd name="connsiteY81" fmla="*/ 161 h 10000"/>
                        <a:gd name="connsiteX82" fmla="*/ 7600 w 10000"/>
                        <a:gd name="connsiteY82" fmla="*/ 129 h 10000"/>
                        <a:gd name="connsiteX83" fmla="*/ 7466 w 10000"/>
                        <a:gd name="connsiteY83" fmla="*/ 418 h 10000"/>
                        <a:gd name="connsiteX84" fmla="*/ 7110 w 10000"/>
                        <a:gd name="connsiteY84" fmla="*/ 482 h 10000"/>
                        <a:gd name="connsiteX85" fmla="*/ 7023 w 10000"/>
                        <a:gd name="connsiteY85" fmla="*/ 707 h 10000"/>
                        <a:gd name="connsiteX86" fmla="*/ 6711 w 10000"/>
                        <a:gd name="connsiteY86" fmla="*/ 707 h 10000"/>
                        <a:gd name="connsiteX87" fmla="*/ 6445 w 10000"/>
                        <a:gd name="connsiteY87" fmla="*/ 611 h 10000"/>
                        <a:gd name="connsiteX88" fmla="*/ 5867 w 10000"/>
                        <a:gd name="connsiteY88" fmla="*/ 611 h 10000"/>
                        <a:gd name="connsiteX89" fmla="*/ 5289 w 10000"/>
                        <a:gd name="connsiteY89" fmla="*/ 611 h 10000"/>
                        <a:gd name="connsiteX90" fmla="*/ 5333 w 10000"/>
                        <a:gd name="connsiteY90" fmla="*/ 482 h 10000"/>
                        <a:gd name="connsiteX91" fmla="*/ 5245 w 10000"/>
                        <a:gd name="connsiteY91" fmla="*/ 482 h 10000"/>
                        <a:gd name="connsiteX92" fmla="*/ 5201 w 10000"/>
                        <a:gd name="connsiteY92" fmla="*/ 611 h 10000"/>
                        <a:gd name="connsiteX93" fmla="*/ 4667 w 10000"/>
                        <a:gd name="connsiteY93" fmla="*/ 611 h 10000"/>
                        <a:gd name="connsiteX94" fmla="*/ 4134 w 10000"/>
                        <a:gd name="connsiteY94" fmla="*/ 611 h 10000"/>
                        <a:gd name="connsiteX95" fmla="*/ 3602 w 10000"/>
                        <a:gd name="connsiteY95" fmla="*/ 611 h 10000"/>
                        <a:gd name="connsiteX96" fmla="*/ 3067 w 10000"/>
                        <a:gd name="connsiteY96" fmla="*/ 611 h 10000"/>
                        <a:gd name="connsiteX97" fmla="*/ 2580 w 10000"/>
                        <a:gd name="connsiteY97" fmla="*/ 611 h 10000"/>
                        <a:gd name="connsiteX98" fmla="*/ 2046 w 10000"/>
                        <a:gd name="connsiteY98" fmla="*/ 611 h 10000"/>
                        <a:gd name="connsiteX99" fmla="*/ 1556 w 10000"/>
                        <a:gd name="connsiteY99" fmla="*/ 611 h 10000"/>
                        <a:gd name="connsiteX100" fmla="*/ 1024 w 10000"/>
                        <a:gd name="connsiteY100" fmla="*/ 611 h 10000"/>
                        <a:gd name="connsiteX101" fmla="*/ 1024 w 10000"/>
                        <a:gd name="connsiteY101" fmla="*/ 1061 h 10000"/>
                        <a:gd name="connsiteX102" fmla="*/ 1024 w 10000"/>
                        <a:gd name="connsiteY102" fmla="*/ 1640 h 10000"/>
                        <a:gd name="connsiteX103" fmla="*/ 356 w 10000"/>
                        <a:gd name="connsiteY103" fmla="*/ 1640 h 10000"/>
                        <a:gd name="connsiteX104" fmla="*/ 356 w 10000"/>
                        <a:gd name="connsiteY104"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7600 w 10000"/>
                        <a:gd name="connsiteY57" fmla="*/ 6270 h 10000"/>
                        <a:gd name="connsiteX58" fmla="*/ 7733 w 10000"/>
                        <a:gd name="connsiteY58" fmla="*/ 5916 h 10000"/>
                        <a:gd name="connsiteX59" fmla="*/ 8135 w 10000"/>
                        <a:gd name="connsiteY59" fmla="*/ 5498 h 10000"/>
                        <a:gd name="connsiteX60" fmla="*/ 8443 w 10000"/>
                        <a:gd name="connsiteY60" fmla="*/ 5305 h 10000"/>
                        <a:gd name="connsiteX61" fmla="*/ 8666 w 10000"/>
                        <a:gd name="connsiteY61" fmla="*/ 4759 h 10000"/>
                        <a:gd name="connsiteX62" fmla="*/ 8666 w 10000"/>
                        <a:gd name="connsiteY62" fmla="*/ 4630 h 10000"/>
                        <a:gd name="connsiteX63" fmla="*/ 8623 w 10000"/>
                        <a:gd name="connsiteY63" fmla="*/ 4309 h 10000"/>
                        <a:gd name="connsiteX64" fmla="*/ 9066 w 10000"/>
                        <a:gd name="connsiteY64" fmla="*/ 3151 h 10000"/>
                        <a:gd name="connsiteX65" fmla="*/ 9199 w 10000"/>
                        <a:gd name="connsiteY65" fmla="*/ 3151 h 10000"/>
                        <a:gd name="connsiteX66" fmla="*/ 9378 w 10000"/>
                        <a:gd name="connsiteY66" fmla="*/ 3055 h 10000"/>
                        <a:gd name="connsiteX67" fmla="*/ 9912 w 10000"/>
                        <a:gd name="connsiteY67" fmla="*/ 2894 h 10000"/>
                        <a:gd name="connsiteX68" fmla="*/ 10000 w 10000"/>
                        <a:gd name="connsiteY68" fmla="*/ 2637 h 10000"/>
                        <a:gd name="connsiteX69" fmla="*/ 9957 w 10000"/>
                        <a:gd name="connsiteY69" fmla="*/ 2572 h 10000"/>
                        <a:gd name="connsiteX70" fmla="*/ 9777 w 10000"/>
                        <a:gd name="connsiteY70" fmla="*/ 2572 h 10000"/>
                        <a:gd name="connsiteX71" fmla="*/ 9644 w 10000"/>
                        <a:gd name="connsiteY71" fmla="*/ 2412 h 10000"/>
                        <a:gd name="connsiteX72" fmla="*/ 9378 w 10000"/>
                        <a:gd name="connsiteY72" fmla="*/ 2347 h 10000"/>
                        <a:gd name="connsiteX73" fmla="*/ 9244 w 10000"/>
                        <a:gd name="connsiteY73" fmla="*/ 2219 h 10000"/>
                        <a:gd name="connsiteX74" fmla="*/ 9157 w 10000"/>
                        <a:gd name="connsiteY74" fmla="*/ 1736 h 10000"/>
                        <a:gd name="connsiteX75" fmla="*/ 9157 w 10000"/>
                        <a:gd name="connsiteY75" fmla="*/ 1061 h 10000"/>
                        <a:gd name="connsiteX76" fmla="*/ 8933 w 10000"/>
                        <a:gd name="connsiteY76" fmla="*/ 836 h 10000"/>
                        <a:gd name="connsiteX77" fmla="*/ 8889 w 10000"/>
                        <a:gd name="connsiteY77" fmla="*/ 611 h 10000"/>
                        <a:gd name="connsiteX78" fmla="*/ 8534 w 10000"/>
                        <a:gd name="connsiteY78" fmla="*/ 289 h 10000"/>
                        <a:gd name="connsiteX79" fmla="*/ 8222 w 10000"/>
                        <a:gd name="connsiteY79" fmla="*/ 161 h 10000"/>
                        <a:gd name="connsiteX80" fmla="*/ 8045 w 10000"/>
                        <a:gd name="connsiteY80" fmla="*/ 0 h 10000"/>
                        <a:gd name="connsiteX81" fmla="*/ 7779 w 10000"/>
                        <a:gd name="connsiteY81" fmla="*/ 161 h 10000"/>
                        <a:gd name="connsiteX82" fmla="*/ 7600 w 10000"/>
                        <a:gd name="connsiteY82" fmla="*/ 129 h 10000"/>
                        <a:gd name="connsiteX83" fmla="*/ 7466 w 10000"/>
                        <a:gd name="connsiteY83" fmla="*/ 418 h 10000"/>
                        <a:gd name="connsiteX84" fmla="*/ 7110 w 10000"/>
                        <a:gd name="connsiteY84" fmla="*/ 482 h 10000"/>
                        <a:gd name="connsiteX85" fmla="*/ 7023 w 10000"/>
                        <a:gd name="connsiteY85" fmla="*/ 707 h 10000"/>
                        <a:gd name="connsiteX86" fmla="*/ 6711 w 10000"/>
                        <a:gd name="connsiteY86" fmla="*/ 707 h 10000"/>
                        <a:gd name="connsiteX87" fmla="*/ 6445 w 10000"/>
                        <a:gd name="connsiteY87" fmla="*/ 611 h 10000"/>
                        <a:gd name="connsiteX88" fmla="*/ 5867 w 10000"/>
                        <a:gd name="connsiteY88" fmla="*/ 611 h 10000"/>
                        <a:gd name="connsiteX89" fmla="*/ 5289 w 10000"/>
                        <a:gd name="connsiteY89" fmla="*/ 611 h 10000"/>
                        <a:gd name="connsiteX90" fmla="*/ 5333 w 10000"/>
                        <a:gd name="connsiteY90" fmla="*/ 482 h 10000"/>
                        <a:gd name="connsiteX91" fmla="*/ 5245 w 10000"/>
                        <a:gd name="connsiteY91" fmla="*/ 482 h 10000"/>
                        <a:gd name="connsiteX92" fmla="*/ 5201 w 10000"/>
                        <a:gd name="connsiteY92" fmla="*/ 611 h 10000"/>
                        <a:gd name="connsiteX93" fmla="*/ 4667 w 10000"/>
                        <a:gd name="connsiteY93" fmla="*/ 611 h 10000"/>
                        <a:gd name="connsiteX94" fmla="*/ 4134 w 10000"/>
                        <a:gd name="connsiteY94" fmla="*/ 611 h 10000"/>
                        <a:gd name="connsiteX95" fmla="*/ 3602 w 10000"/>
                        <a:gd name="connsiteY95" fmla="*/ 611 h 10000"/>
                        <a:gd name="connsiteX96" fmla="*/ 3067 w 10000"/>
                        <a:gd name="connsiteY96" fmla="*/ 611 h 10000"/>
                        <a:gd name="connsiteX97" fmla="*/ 2580 w 10000"/>
                        <a:gd name="connsiteY97" fmla="*/ 611 h 10000"/>
                        <a:gd name="connsiteX98" fmla="*/ 2046 w 10000"/>
                        <a:gd name="connsiteY98" fmla="*/ 611 h 10000"/>
                        <a:gd name="connsiteX99" fmla="*/ 1556 w 10000"/>
                        <a:gd name="connsiteY99" fmla="*/ 611 h 10000"/>
                        <a:gd name="connsiteX100" fmla="*/ 1024 w 10000"/>
                        <a:gd name="connsiteY100" fmla="*/ 611 h 10000"/>
                        <a:gd name="connsiteX101" fmla="*/ 1024 w 10000"/>
                        <a:gd name="connsiteY101" fmla="*/ 1061 h 10000"/>
                        <a:gd name="connsiteX102" fmla="*/ 1024 w 10000"/>
                        <a:gd name="connsiteY102" fmla="*/ 1640 h 10000"/>
                        <a:gd name="connsiteX103" fmla="*/ 356 w 10000"/>
                        <a:gd name="connsiteY103" fmla="*/ 1640 h 10000"/>
                        <a:gd name="connsiteX104" fmla="*/ 356 w 10000"/>
                        <a:gd name="connsiteY104"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7733 w 10000"/>
                        <a:gd name="connsiteY58" fmla="*/ 5916 h 10000"/>
                        <a:gd name="connsiteX59" fmla="*/ 8135 w 10000"/>
                        <a:gd name="connsiteY59" fmla="*/ 5498 h 10000"/>
                        <a:gd name="connsiteX60" fmla="*/ 8443 w 10000"/>
                        <a:gd name="connsiteY60" fmla="*/ 5305 h 10000"/>
                        <a:gd name="connsiteX61" fmla="*/ 8666 w 10000"/>
                        <a:gd name="connsiteY61" fmla="*/ 4759 h 10000"/>
                        <a:gd name="connsiteX62" fmla="*/ 8666 w 10000"/>
                        <a:gd name="connsiteY62" fmla="*/ 4630 h 10000"/>
                        <a:gd name="connsiteX63" fmla="*/ 8623 w 10000"/>
                        <a:gd name="connsiteY63" fmla="*/ 4309 h 10000"/>
                        <a:gd name="connsiteX64" fmla="*/ 9066 w 10000"/>
                        <a:gd name="connsiteY64" fmla="*/ 3151 h 10000"/>
                        <a:gd name="connsiteX65" fmla="*/ 9199 w 10000"/>
                        <a:gd name="connsiteY65" fmla="*/ 3151 h 10000"/>
                        <a:gd name="connsiteX66" fmla="*/ 9378 w 10000"/>
                        <a:gd name="connsiteY66" fmla="*/ 3055 h 10000"/>
                        <a:gd name="connsiteX67" fmla="*/ 9912 w 10000"/>
                        <a:gd name="connsiteY67" fmla="*/ 2894 h 10000"/>
                        <a:gd name="connsiteX68" fmla="*/ 10000 w 10000"/>
                        <a:gd name="connsiteY68" fmla="*/ 2637 h 10000"/>
                        <a:gd name="connsiteX69" fmla="*/ 9957 w 10000"/>
                        <a:gd name="connsiteY69" fmla="*/ 2572 h 10000"/>
                        <a:gd name="connsiteX70" fmla="*/ 9777 w 10000"/>
                        <a:gd name="connsiteY70" fmla="*/ 2572 h 10000"/>
                        <a:gd name="connsiteX71" fmla="*/ 9644 w 10000"/>
                        <a:gd name="connsiteY71" fmla="*/ 2412 h 10000"/>
                        <a:gd name="connsiteX72" fmla="*/ 9378 w 10000"/>
                        <a:gd name="connsiteY72" fmla="*/ 2347 h 10000"/>
                        <a:gd name="connsiteX73" fmla="*/ 9244 w 10000"/>
                        <a:gd name="connsiteY73" fmla="*/ 2219 h 10000"/>
                        <a:gd name="connsiteX74" fmla="*/ 9157 w 10000"/>
                        <a:gd name="connsiteY74" fmla="*/ 1736 h 10000"/>
                        <a:gd name="connsiteX75" fmla="*/ 9157 w 10000"/>
                        <a:gd name="connsiteY75" fmla="*/ 1061 h 10000"/>
                        <a:gd name="connsiteX76" fmla="*/ 8933 w 10000"/>
                        <a:gd name="connsiteY76" fmla="*/ 836 h 10000"/>
                        <a:gd name="connsiteX77" fmla="*/ 8889 w 10000"/>
                        <a:gd name="connsiteY77" fmla="*/ 611 h 10000"/>
                        <a:gd name="connsiteX78" fmla="*/ 8534 w 10000"/>
                        <a:gd name="connsiteY78" fmla="*/ 289 h 10000"/>
                        <a:gd name="connsiteX79" fmla="*/ 8222 w 10000"/>
                        <a:gd name="connsiteY79" fmla="*/ 161 h 10000"/>
                        <a:gd name="connsiteX80" fmla="*/ 8045 w 10000"/>
                        <a:gd name="connsiteY80" fmla="*/ 0 h 10000"/>
                        <a:gd name="connsiteX81" fmla="*/ 7779 w 10000"/>
                        <a:gd name="connsiteY81" fmla="*/ 161 h 10000"/>
                        <a:gd name="connsiteX82" fmla="*/ 7600 w 10000"/>
                        <a:gd name="connsiteY82" fmla="*/ 129 h 10000"/>
                        <a:gd name="connsiteX83" fmla="*/ 7466 w 10000"/>
                        <a:gd name="connsiteY83" fmla="*/ 418 h 10000"/>
                        <a:gd name="connsiteX84" fmla="*/ 7110 w 10000"/>
                        <a:gd name="connsiteY84" fmla="*/ 482 h 10000"/>
                        <a:gd name="connsiteX85" fmla="*/ 7023 w 10000"/>
                        <a:gd name="connsiteY85" fmla="*/ 707 h 10000"/>
                        <a:gd name="connsiteX86" fmla="*/ 6711 w 10000"/>
                        <a:gd name="connsiteY86" fmla="*/ 707 h 10000"/>
                        <a:gd name="connsiteX87" fmla="*/ 6445 w 10000"/>
                        <a:gd name="connsiteY87" fmla="*/ 611 h 10000"/>
                        <a:gd name="connsiteX88" fmla="*/ 5867 w 10000"/>
                        <a:gd name="connsiteY88" fmla="*/ 611 h 10000"/>
                        <a:gd name="connsiteX89" fmla="*/ 5289 w 10000"/>
                        <a:gd name="connsiteY89" fmla="*/ 611 h 10000"/>
                        <a:gd name="connsiteX90" fmla="*/ 5333 w 10000"/>
                        <a:gd name="connsiteY90" fmla="*/ 482 h 10000"/>
                        <a:gd name="connsiteX91" fmla="*/ 5245 w 10000"/>
                        <a:gd name="connsiteY91" fmla="*/ 482 h 10000"/>
                        <a:gd name="connsiteX92" fmla="*/ 5201 w 10000"/>
                        <a:gd name="connsiteY92" fmla="*/ 611 h 10000"/>
                        <a:gd name="connsiteX93" fmla="*/ 4667 w 10000"/>
                        <a:gd name="connsiteY93" fmla="*/ 611 h 10000"/>
                        <a:gd name="connsiteX94" fmla="*/ 4134 w 10000"/>
                        <a:gd name="connsiteY94" fmla="*/ 611 h 10000"/>
                        <a:gd name="connsiteX95" fmla="*/ 3602 w 10000"/>
                        <a:gd name="connsiteY95" fmla="*/ 611 h 10000"/>
                        <a:gd name="connsiteX96" fmla="*/ 3067 w 10000"/>
                        <a:gd name="connsiteY96" fmla="*/ 611 h 10000"/>
                        <a:gd name="connsiteX97" fmla="*/ 2580 w 10000"/>
                        <a:gd name="connsiteY97" fmla="*/ 611 h 10000"/>
                        <a:gd name="connsiteX98" fmla="*/ 2046 w 10000"/>
                        <a:gd name="connsiteY98" fmla="*/ 611 h 10000"/>
                        <a:gd name="connsiteX99" fmla="*/ 1556 w 10000"/>
                        <a:gd name="connsiteY99" fmla="*/ 611 h 10000"/>
                        <a:gd name="connsiteX100" fmla="*/ 1024 w 10000"/>
                        <a:gd name="connsiteY100" fmla="*/ 611 h 10000"/>
                        <a:gd name="connsiteX101" fmla="*/ 1024 w 10000"/>
                        <a:gd name="connsiteY101" fmla="*/ 1061 h 10000"/>
                        <a:gd name="connsiteX102" fmla="*/ 1024 w 10000"/>
                        <a:gd name="connsiteY102" fmla="*/ 1640 h 10000"/>
                        <a:gd name="connsiteX103" fmla="*/ 356 w 10000"/>
                        <a:gd name="connsiteY103" fmla="*/ 1640 h 10000"/>
                        <a:gd name="connsiteX104" fmla="*/ 356 w 10000"/>
                        <a:gd name="connsiteY104"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8135 w 10000"/>
                        <a:gd name="connsiteY59" fmla="*/ 5498 h 10000"/>
                        <a:gd name="connsiteX60" fmla="*/ 8443 w 10000"/>
                        <a:gd name="connsiteY60" fmla="*/ 5305 h 10000"/>
                        <a:gd name="connsiteX61" fmla="*/ 8666 w 10000"/>
                        <a:gd name="connsiteY61" fmla="*/ 4759 h 10000"/>
                        <a:gd name="connsiteX62" fmla="*/ 8666 w 10000"/>
                        <a:gd name="connsiteY62" fmla="*/ 4630 h 10000"/>
                        <a:gd name="connsiteX63" fmla="*/ 8623 w 10000"/>
                        <a:gd name="connsiteY63" fmla="*/ 4309 h 10000"/>
                        <a:gd name="connsiteX64" fmla="*/ 9066 w 10000"/>
                        <a:gd name="connsiteY64" fmla="*/ 3151 h 10000"/>
                        <a:gd name="connsiteX65" fmla="*/ 9199 w 10000"/>
                        <a:gd name="connsiteY65" fmla="*/ 3151 h 10000"/>
                        <a:gd name="connsiteX66" fmla="*/ 9378 w 10000"/>
                        <a:gd name="connsiteY66" fmla="*/ 3055 h 10000"/>
                        <a:gd name="connsiteX67" fmla="*/ 9912 w 10000"/>
                        <a:gd name="connsiteY67" fmla="*/ 2894 h 10000"/>
                        <a:gd name="connsiteX68" fmla="*/ 10000 w 10000"/>
                        <a:gd name="connsiteY68" fmla="*/ 2637 h 10000"/>
                        <a:gd name="connsiteX69" fmla="*/ 9957 w 10000"/>
                        <a:gd name="connsiteY69" fmla="*/ 2572 h 10000"/>
                        <a:gd name="connsiteX70" fmla="*/ 9777 w 10000"/>
                        <a:gd name="connsiteY70" fmla="*/ 2572 h 10000"/>
                        <a:gd name="connsiteX71" fmla="*/ 9644 w 10000"/>
                        <a:gd name="connsiteY71" fmla="*/ 2412 h 10000"/>
                        <a:gd name="connsiteX72" fmla="*/ 9378 w 10000"/>
                        <a:gd name="connsiteY72" fmla="*/ 2347 h 10000"/>
                        <a:gd name="connsiteX73" fmla="*/ 9244 w 10000"/>
                        <a:gd name="connsiteY73" fmla="*/ 2219 h 10000"/>
                        <a:gd name="connsiteX74" fmla="*/ 9157 w 10000"/>
                        <a:gd name="connsiteY74" fmla="*/ 1736 h 10000"/>
                        <a:gd name="connsiteX75" fmla="*/ 9157 w 10000"/>
                        <a:gd name="connsiteY75" fmla="*/ 1061 h 10000"/>
                        <a:gd name="connsiteX76" fmla="*/ 8933 w 10000"/>
                        <a:gd name="connsiteY76" fmla="*/ 836 h 10000"/>
                        <a:gd name="connsiteX77" fmla="*/ 8889 w 10000"/>
                        <a:gd name="connsiteY77" fmla="*/ 611 h 10000"/>
                        <a:gd name="connsiteX78" fmla="*/ 8534 w 10000"/>
                        <a:gd name="connsiteY78" fmla="*/ 289 h 10000"/>
                        <a:gd name="connsiteX79" fmla="*/ 8222 w 10000"/>
                        <a:gd name="connsiteY79" fmla="*/ 161 h 10000"/>
                        <a:gd name="connsiteX80" fmla="*/ 8045 w 10000"/>
                        <a:gd name="connsiteY80" fmla="*/ 0 h 10000"/>
                        <a:gd name="connsiteX81" fmla="*/ 7779 w 10000"/>
                        <a:gd name="connsiteY81" fmla="*/ 161 h 10000"/>
                        <a:gd name="connsiteX82" fmla="*/ 7600 w 10000"/>
                        <a:gd name="connsiteY82" fmla="*/ 129 h 10000"/>
                        <a:gd name="connsiteX83" fmla="*/ 7466 w 10000"/>
                        <a:gd name="connsiteY83" fmla="*/ 418 h 10000"/>
                        <a:gd name="connsiteX84" fmla="*/ 7110 w 10000"/>
                        <a:gd name="connsiteY84" fmla="*/ 482 h 10000"/>
                        <a:gd name="connsiteX85" fmla="*/ 7023 w 10000"/>
                        <a:gd name="connsiteY85" fmla="*/ 707 h 10000"/>
                        <a:gd name="connsiteX86" fmla="*/ 6711 w 10000"/>
                        <a:gd name="connsiteY86" fmla="*/ 707 h 10000"/>
                        <a:gd name="connsiteX87" fmla="*/ 6445 w 10000"/>
                        <a:gd name="connsiteY87" fmla="*/ 611 h 10000"/>
                        <a:gd name="connsiteX88" fmla="*/ 5867 w 10000"/>
                        <a:gd name="connsiteY88" fmla="*/ 611 h 10000"/>
                        <a:gd name="connsiteX89" fmla="*/ 5289 w 10000"/>
                        <a:gd name="connsiteY89" fmla="*/ 611 h 10000"/>
                        <a:gd name="connsiteX90" fmla="*/ 5333 w 10000"/>
                        <a:gd name="connsiteY90" fmla="*/ 482 h 10000"/>
                        <a:gd name="connsiteX91" fmla="*/ 5245 w 10000"/>
                        <a:gd name="connsiteY91" fmla="*/ 482 h 10000"/>
                        <a:gd name="connsiteX92" fmla="*/ 5201 w 10000"/>
                        <a:gd name="connsiteY92" fmla="*/ 611 h 10000"/>
                        <a:gd name="connsiteX93" fmla="*/ 4667 w 10000"/>
                        <a:gd name="connsiteY93" fmla="*/ 611 h 10000"/>
                        <a:gd name="connsiteX94" fmla="*/ 4134 w 10000"/>
                        <a:gd name="connsiteY94" fmla="*/ 611 h 10000"/>
                        <a:gd name="connsiteX95" fmla="*/ 3602 w 10000"/>
                        <a:gd name="connsiteY95" fmla="*/ 611 h 10000"/>
                        <a:gd name="connsiteX96" fmla="*/ 3067 w 10000"/>
                        <a:gd name="connsiteY96" fmla="*/ 611 h 10000"/>
                        <a:gd name="connsiteX97" fmla="*/ 2580 w 10000"/>
                        <a:gd name="connsiteY97" fmla="*/ 611 h 10000"/>
                        <a:gd name="connsiteX98" fmla="*/ 2046 w 10000"/>
                        <a:gd name="connsiteY98" fmla="*/ 611 h 10000"/>
                        <a:gd name="connsiteX99" fmla="*/ 1556 w 10000"/>
                        <a:gd name="connsiteY99" fmla="*/ 611 h 10000"/>
                        <a:gd name="connsiteX100" fmla="*/ 1024 w 10000"/>
                        <a:gd name="connsiteY100" fmla="*/ 611 h 10000"/>
                        <a:gd name="connsiteX101" fmla="*/ 1024 w 10000"/>
                        <a:gd name="connsiteY101" fmla="*/ 1061 h 10000"/>
                        <a:gd name="connsiteX102" fmla="*/ 1024 w 10000"/>
                        <a:gd name="connsiteY102" fmla="*/ 1640 h 10000"/>
                        <a:gd name="connsiteX103" fmla="*/ 356 w 10000"/>
                        <a:gd name="connsiteY103" fmla="*/ 1640 h 10000"/>
                        <a:gd name="connsiteX104" fmla="*/ 356 w 10000"/>
                        <a:gd name="connsiteY104"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8443 w 10000"/>
                        <a:gd name="connsiteY60" fmla="*/ 5305 h 10000"/>
                        <a:gd name="connsiteX61" fmla="*/ 8666 w 10000"/>
                        <a:gd name="connsiteY61" fmla="*/ 4759 h 10000"/>
                        <a:gd name="connsiteX62" fmla="*/ 8666 w 10000"/>
                        <a:gd name="connsiteY62" fmla="*/ 4630 h 10000"/>
                        <a:gd name="connsiteX63" fmla="*/ 8623 w 10000"/>
                        <a:gd name="connsiteY63" fmla="*/ 4309 h 10000"/>
                        <a:gd name="connsiteX64" fmla="*/ 9066 w 10000"/>
                        <a:gd name="connsiteY64" fmla="*/ 3151 h 10000"/>
                        <a:gd name="connsiteX65" fmla="*/ 9199 w 10000"/>
                        <a:gd name="connsiteY65" fmla="*/ 3151 h 10000"/>
                        <a:gd name="connsiteX66" fmla="*/ 9378 w 10000"/>
                        <a:gd name="connsiteY66" fmla="*/ 3055 h 10000"/>
                        <a:gd name="connsiteX67" fmla="*/ 9912 w 10000"/>
                        <a:gd name="connsiteY67" fmla="*/ 2894 h 10000"/>
                        <a:gd name="connsiteX68" fmla="*/ 10000 w 10000"/>
                        <a:gd name="connsiteY68" fmla="*/ 2637 h 10000"/>
                        <a:gd name="connsiteX69" fmla="*/ 9957 w 10000"/>
                        <a:gd name="connsiteY69" fmla="*/ 2572 h 10000"/>
                        <a:gd name="connsiteX70" fmla="*/ 9777 w 10000"/>
                        <a:gd name="connsiteY70" fmla="*/ 2572 h 10000"/>
                        <a:gd name="connsiteX71" fmla="*/ 9644 w 10000"/>
                        <a:gd name="connsiteY71" fmla="*/ 2412 h 10000"/>
                        <a:gd name="connsiteX72" fmla="*/ 9378 w 10000"/>
                        <a:gd name="connsiteY72" fmla="*/ 2347 h 10000"/>
                        <a:gd name="connsiteX73" fmla="*/ 9244 w 10000"/>
                        <a:gd name="connsiteY73" fmla="*/ 2219 h 10000"/>
                        <a:gd name="connsiteX74" fmla="*/ 9157 w 10000"/>
                        <a:gd name="connsiteY74" fmla="*/ 1736 h 10000"/>
                        <a:gd name="connsiteX75" fmla="*/ 9157 w 10000"/>
                        <a:gd name="connsiteY75" fmla="*/ 1061 h 10000"/>
                        <a:gd name="connsiteX76" fmla="*/ 8933 w 10000"/>
                        <a:gd name="connsiteY76" fmla="*/ 836 h 10000"/>
                        <a:gd name="connsiteX77" fmla="*/ 8889 w 10000"/>
                        <a:gd name="connsiteY77" fmla="*/ 611 h 10000"/>
                        <a:gd name="connsiteX78" fmla="*/ 8534 w 10000"/>
                        <a:gd name="connsiteY78" fmla="*/ 289 h 10000"/>
                        <a:gd name="connsiteX79" fmla="*/ 8222 w 10000"/>
                        <a:gd name="connsiteY79" fmla="*/ 161 h 10000"/>
                        <a:gd name="connsiteX80" fmla="*/ 8045 w 10000"/>
                        <a:gd name="connsiteY80" fmla="*/ 0 h 10000"/>
                        <a:gd name="connsiteX81" fmla="*/ 7779 w 10000"/>
                        <a:gd name="connsiteY81" fmla="*/ 161 h 10000"/>
                        <a:gd name="connsiteX82" fmla="*/ 7600 w 10000"/>
                        <a:gd name="connsiteY82" fmla="*/ 129 h 10000"/>
                        <a:gd name="connsiteX83" fmla="*/ 7466 w 10000"/>
                        <a:gd name="connsiteY83" fmla="*/ 418 h 10000"/>
                        <a:gd name="connsiteX84" fmla="*/ 7110 w 10000"/>
                        <a:gd name="connsiteY84" fmla="*/ 482 h 10000"/>
                        <a:gd name="connsiteX85" fmla="*/ 7023 w 10000"/>
                        <a:gd name="connsiteY85" fmla="*/ 707 h 10000"/>
                        <a:gd name="connsiteX86" fmla="*/ 6711 w 10000"/>
                        <a:gd name="connsiteY86" fmla="*/ 707 h 10000"/>
                        <a:gd name="connsiteX87" fmla="*/ 6445 w 10000"/>
                        <a:gd name="connsiteY87" fmla="*/ 611 h 10000"/>
                        <a:gd name="connsiteX88" fmla="*/ 5867 w 10000"/>
                        <a:gd name="connsiteY88" fmla="*/ 611 h 10000"/>
                        <a:gd name="connsiteX89" fmla="*/ 5289 w 10000"/>
                        <a:gd name="connsiteY89" fmla="*/ 611 h 10000"/>
                        <a:gd name="connsiteX90" fmla="*/ 5333 w 10000"/>
                        <a:gd name="connsiteY90" fmla="*/ 482 h 10000"/>
                        <a:gd name="connsiteX91" fmla="*/ 5245 w 10000"/>
                        <a:gd name="connsiteY91" fmla="*/ 482 h 10000"/>
                        <a:gd name="connsiteX92" fmla="*/ 5201 w 10000"/>
                        <a:gd name="connsiteY92" fmla="*/ 611 h 10000"/>
                        <a:gd name="connsiteX93" fmla="*/ 4667 w 10000"/>
                        <a:gd name="connsiteY93" fmla="*/ 611 h 10000"/>
                        <a:gd name="connsiteX94" fmla="*/ 4134 w 10000"/>
                        <a:gd name="connsiteY94" fmla="*/ 611 h 10000"/>
                        <a:gd name="connsiteX95" fmla="*/ 3602 w 10000"/>
                        <a:gd name="connsiteY95" fmla="*/ 611 h 10000"/>
                        <a:gd name="connsiteX96" fmla="*/ 3067 w 10000"/>
                        <a:gd name="connsiteY96" fmla="*/ 611 h 10000"/>
                        <a:gd name="connsiteX97" fmla="*/ 2580 w 10000"/>
                        <a:gd name="connsiteY97" fmla="*/ 611 h 10000"/>
                        <a:gd name="connsiteX98" fmla="*/ 2046 w 10000"/>
                        <a:gd name="connsiteY98" fmla="*/ 611 h 10000"/>
                        <a:gd name="connsiteX99" fmla="*/ 1556 w 10000"/>
                        <a:gd name="connsiteY99" fmla="*/ 611 h 10000"/>
                        <a:gd name="connsiteX100" fmla="*/ 1024 w 10000"/>
                        <a:gd name="connsiteY100" fmla="*/ 611 h 10000"/>
                        <a:gd name="connsiteX101" fmla="*/ 1024 w 10000"/>
                        <a:gd name="connsiteY101" fmla="*/ 1061 h 10000"/>
                        <a:gd name="connsiteX102" fmla="*/ 1024 w 10000"/>
                        <a:gd name="connsiteY102" fmla="*/ 1640 h 10000"/>
                        <a:gd name="connsiteX103" fmla="*/ 356 w 10000"/>
                        <a:gd name="connsiteY103" fmla="*/ 1640 h 10000"/>
                        <a:gd name="connsiteX104" fmla="*/ 356 w 10000"/>
                        <a:gd name="connsiteY104"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8666 w 10000"/>
                        <a:gd name="connsiteY60" fmla="*/ 4759 h 10000"/>
                        <a:gd name="connsiteX61" fmla="*/ 8666 w 10000"/>
                        <a:gd name="connsiteY61" fmla="*/ 4630 h 10000"/>
                        <a:gd name="connsiteX62" fmla="*/ 8623 w 10000"/>
                        <a:gd name="connsiteY62" fmla="*/ 4309 h 10000"/>
                        <a:gd name="connsiteX63" fmla="*/ 9066 w 10000"/>
                        <a:gd name="connsiteY63" fmla="*/ 3151 h 10000"/>
                        <a:gd name="connsiteX64" fmla="*/ 9199 w 10000"/>
                        <a:gd name="connsiteY64" fmla="*/ 3151 h 10000"/>
                        <a:gd name="connsiteX65" fmla="*/ 9378 w 10000"/>
                        <a:gd name="connsiteY65" fmla="*/ 3055 h 10000"/>
                        <a:gd name="connsiteX66" fmla="*/ 9912 w 10000"/>
                        <a:gd name="connsiteY66" fmla="*/ 2894 h 10000"/>
                        <a:gd name="connsiteX67" fmla="*/ 10000 w 10000"/>
                        <a:gd name="connsiteY67" fmla="*/ 2637 h 10000"/>
                        <a:gd name="connsiteX68" fmla="*/ 9957 w 10000"/>
                        <a:gd name="connsiteY68" fmla="*/ 2572 h 10000"/>
                        <a:gd name="connsiteX69" fmla="*/ 9777 w 10000"/>
                        <a:gd name="connsiteY69" fmla="*/ 2572 h 10000"/>
                        <a:gd name="connsiteX70" fmla="*/ 9644 w 10000"/>
                        <a:gd name="connsiteY70" fmla="*/ 2412 h 10000"/>
                        <a:gd name="connsiteX71" fmla="*/ 9378 w 10000"/>
                        <a:gd name="connsiteY71" fmla="*/ 2347 h 10000"/>
                        <a:gd name="connsiteX72" fmla="*/ 9244 w 10000"/>
                        <a:gd name="connsiteY72" fmla="*/ 2219 h 10000"/>
                        <a:gd name="connsiteX73" fmla="*/ 9157 w 10000"/>
                        <a:gd name="connsiteY73" fmla="*/ 1736 h 10000"/>
                        <a:gd name="connsiteX74" fmla="*/ 9157 w 10000"/>
                        <a:gd name="connsiteY74" fmla="*/ 1061 h 10000"/>
                        <a:gd name="connsiteX75" fmla="*/ 8933 w 10000"/>
                        <a:gd name="connsiteY75" fmla="*/ 836 h 10000"/>
                        <a:gd name="connsiteX76" fmla="*/ 8889 w 10000"/>
                        <a:gd name="connsiteY76" fmla="*/ 611 h 10000"/>
                        <a:gd name="connsiteX77" fmla="*/ 8534 w 10000"/>
                        <a:gd name="connsiteY77" fmla="*/ 289 h 10000"/>
                        <a:gd name="connsiteX78" fmla="*/ 8222 w 10000"/>
                        <a:gd name="connsiteY78" fmla="*/ 161 h 10000"/>
                        <a:gd name="connsiteX79" fmla="*/ 8045 w 10000"/>
                        <a:gd name="connsiteY79" fmla="*/ 0 h 10000"/>
                        <a:gd name="connsiteX80" fmla="*/ 7779 w 10000"/>
                        <a:gd name="connsiteY80" fmla="*/ 161 h 10000"/>
                        <a:gd name="connsiteX81" fmla="*/ 7600 w 10000"/>
                        <a:gd name="connsiteY81" fmla="*/ 129 h 10000"/>
                        <a:gd name="connsiteX82" fmla="*/ 7466 w 10000"/>
                        <a:gd name="connsiteY82" fmla="*/ 418 h 10000"/>
                        <a:gd name="connsiteX83" fmla="*/ 7110 w 10000"/>
                        <a:gd name="connsiteY83" fmla="*/ 482 h 10000"/>
                        <a:gd name="connsiteX84" fmla="*/ 7023 w 10000"/>
                        <a:gd name="connsiteY84" fmla="*/ 707 h 10000"/>
                        <a:gd name="connsiteX85" fmla="*/ 6711 w 10000"/>
                        <a:gd name="connsiteY85" fmla="*/ 707 h 10000"/>
                        <a:gd name="connsiteX86" fmla="*/ 6445 w 10000"/>
                        <a:gd name="connsiteY86" fmla="*/ 611 h 10000"/>
                        <a:gd name="connsiteX87" fmla="*/ 5867 w 10000"/>
                        <a:gd name="connsiteY87" fmla="*/ 611 h 10000"/>
                        <a:gd name="connsiteX88" fmla="*/ 5289 w 10000"/>
                        <a:gd name="connsiteY88" fmla="*/ 611 h 10000"/>
                        <a:gd name="connsiteX89" fmla="*/ 5333 w 10000"/>
                        <a:gd name="connsiteY89" fmla="*/ 482 h 10000"/>
                        <a:gd name="connsiteX90" fmla="*/ 5245 w 10000"/>
                        <a:gd name="connsiteY90" fmla="*/ 482 h 10000"/>
                        <a:gd name="connsiteX91" fmla="*/ 5201 w 10000"/>
                        <a:gd name="connsiteY91" fmla="*/ 611 h 10000"/>
                        <a:gd name="connsiteX92" fmla="*/ 4667 w 10000"/>
                        <a:gd name="connsiteY92" fmla="*/ 611 h 10000"/>
                        <a:gd name="connsiteX93" fmla="*/ 4134 w 10000"/>
                        <a:gd name="connsiteY93" fmla="*/ 611 h 10000"/>
                        <a:gd name="connsiteX94" fmla="*/ 3602 w 10000"/>
                        <a:gd name="connsiteY94" fmla="*/ 611 h 10000"/>
                        <a:gd name="connsiteX95" fmla="*/ 3067 w 10000"/>
                        <a:gd name="connsiteY95" fmla="*/ 611 h 10000"/>
                        <a:gd name="connsiteX96" fmla="*/ 2580 w 10000"/>
                        <a:gd name="connsiteY96" fmla="*/ 611 h 10000"/>
                        <a:gd name="connsiteX97" fmla="*/ 2046 w 10000"/>
                        <a:gd name="connsiteY97" fmla="*/ 611 h 10000"/>
                        <a:gd name="connsiteX98" fmla="*/ 1556 w 10000"/>
                        <a:gd name="connsiteY98" fmla="*/ 611 h 10000"/>
                        <a:gd name="connsiteX99" fmla="*/ 1024 w 10000"/>
                        <a:gd name="connsiteY99" fmla="*/ 611 h 10000"/>
                        <a:gd name="connsiteX100" fmla="*/ 1024 w 10000"/>
                        <a:gd name="connsiteY100" fmla="*/ 1061 h 10000"/>
                        <a:gd name="connsiteX101" fmla="*/ 1024 w 10000"/>
                        <a:gd name="connsiteY101" fmla="*/ 1640 h 10000"/>
                        <a:gd name="connsiteX102" fmla="*/ 356 w 10000"/>
                        <a:gd name="connsiteY102" fmla="*/ 1640 h 10000"/>
                        <a:gd name="connsiteX103" fmla="*/ 356 w 10000"/>
                        <a:gd name="connsiteY103"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8666 w 10000"/>
                        <a:gd name="connsiteY60" fmla="*/ 4630 h 10000"/>
                        <a:gd name="connsiteX61" fmla="*/ 8623 w 10000"/>
                        <a:gd name="connsiteY61" fmla="*/ 4309 h 10000"/>
                        <a:gd name="connsiteX62" fmla="*/ 9066 w 10000"/>
                        <a:gd name="connsiteY62" fmla="*/ 3151 h 10000"/>
                        <a:gd name="connsiteX63" fmla="*/ 9199 w 10000"/>
                        <a:gd name="connsiteY63" fmla="*/ 3151 h 10000"/>
                        <a:gd name="connsiteX64" fmla="*/ 9378 w 10000"/>
                        <a:gd name="connsiteY64" fmla="*/ 3055 h 10000"/>
                        <a:gd name="connsiteX65" fmla="*/ 9912 w 10000"/>
                        <a:gd name="connsiteY65" fmla="*/ 2894 h 10000"/>
                        <a:gd name="connsiteX66" fmla="*/ 10000 w 10000"/>
                        <a:gd name="connsiteY66" fmla="*/ 2637 h 10000"/>
                        <a:gd name="connsiteX67" fmla="*/ 9957 w 10000"/>
                        <a:gd name="connsiteY67" fmla="*/ 2572 h 10000"/>
                        <a:gd name="connsiteX68" fmla="*/ 9777 w 10000"/>
                        <a:gd name="connsiteY68" fmla="*/ 2572 h 10000"/>
                        <a:gd name="connsiteX69" fmla="*/ 9644 w 10000"/>
                        <a:gd name="connsiteY69" fmla="*/ 2412 h 10000"/>
                        <a:gd name="connsiteX70" fmla="*/ 9378 w 10000"/>
                        <a:gd name="connsiteY70" fmla="*/ 2347 h 10000"/>
                        <a:gd name="connsiteX71" fmla="*/ 9244 w 10000"/>
                        <a:gd name="connsiteY71" fmla="*/ 2219 h 10000"/>
                        <a:gd name="connsiteX72" fmla="*/ 9157 w 10000"/>
                        <a:gd name="connsiteY72" fmla="*/ 1736 h 10000"/>
                        <a:gd name="connsiteX73" fmla="*/ 9157 w 10000"/>
                        <a:gd name="connsiteY73" fmla="*/ 1061 h 10000"/>
                        <a:gd name="connsiteX74" fmla="*/ 8933 w 10000"/>
                        <a:gd name="connsiteY74" fmla="*/ 836 h 10000"/>
                        <a:gd name="connsiteX75" fmla="*/ 8889 w 10000"/>
                        <a:gd name="connsiteY75" fmla="*/ 611 h 10000"/>
                        <a:gd name="connsiteX76" fmla="*/ 8534 w 10000"/>
                        <a:gd name="connsiteY76" fmla="*/ 289 h 10000"/>
                        <a:gd name="connsiteX77" fmla="*/ 8222 w 10000"/>
                        <a:gd name="connsiteY77" fmla="*/ 161 h 10000"/>
                        <a:gd name="connsiteX78" fmla="*/ 8045 w 10000"/>
                        <a:gd name="connsiteY78" fmla="*/ 0 h 10000"/>
                        <a:gd name="connsiteX79" fmla="*/ 7779 w 10000"/>
                        <a:gd name="connsiteY79" fmla="*/ 161 h 10000"/>
                        <a:gd name="connsiteX80" fmla="*/ 7600 w 10000"/>
                        <a:gd name="connsiteY80" fmla="*/ 129 h 10000"/>
                        <a:gd name="connsiteX81" fmla="*/ 7466 w 10000"/>
                        <a:gd name="connsiteY81" fmla="*/ 418 h 10000"/>
                        <a:gd name="connsiteX82" fmla="*/ 7110 w 10000"/>
                        <a:gd name="connsiteY82" fmla="*/ 482 h 10000"/>
                        <a:gd name="connsiteX83" fmla="*/ 7023 w 10000"/>
                        <a:gd name="connsiteY83" fmla="*/ 707 h 10000"/>
                        <a:gd name="connsiteX84" fmla="*/ 6711 w 10000"/>
                        <a:gd name="connsiteY84" fmla="*/ 707 h 10000"/>
                        <a:gd name="connsiteX85" fmla="*/ 6445 w 10000"/>
                        <a:gd name="connsiteY85" fmla="*/ 611 h 10000"/>
                        <a:gd name="connsiteX86" fmla="*/ 5867 w 10000"/>
                        <a:gd name="connsiteY86" fmla="*/ 611 h 10000"/>
                        <a:gd name="connsiteX87" fmla="*/ 5289 w 10000"/>
                        <a:gd name="connsiteY87" fmla="*/ 611 h 10000"/>
                        <a:gd name="connsiteX88" fmla="*/ 5333 w 10000"/>
                        <a:gd name="connsiteY88" fmla="*/ 482 h 10000"/>
                        <a:gd name="connsiteX89" fmla="*/ 5245 w 10000"/>
                        <a:gd name="connsiteY89" fmla="*/ 482 h 10000"/>
                        <a:gd name="connsiteX90" fmla="*/ 5201 w 10000"/>
                        <a:gd name="connsiteY90" fmla="*/ 611 h 10000"/>
                        <a:gd name="connsiteX91" fmla="*/ 4667 w 10000"/>
                        <a:gd name="connsiteY91" fmla="*/ 611 h 10000"/>
                        <a:gd name="connsiteX92" fmla="*/ 4134 w 10000"/>
                        <a:gd name="connsiteY92" fmla="*/ 611 h 10000"/>
                        <a:gd name="connsiteX93" fmla="*/ 3602 w 10000"/>
                        <a:gd name="connsiteY93" fmla="*/ 611 h 10000"/>
                        <a:gd name="connsiteX94" fmla="*/ 3067 w 10000"/>
                        <a:gd name="connsiteY94" fmla="*/ 611 h 10000"/>
                        <a:gd name="connsiteX95" fmla="*/ 2580 w 10000"/>
                        <a:gd name="connsiteY95" fmla="*/ 611 h 10000"/>
                        <a:gd name="connsiteX96" fmla="*/ 2046 w 10000"/>
                        <a:gd name="connsiteY96" fmla="*/ 611 h 10000"/>
                        <a:gd name="connsiteX97" fmla="*/ 1556 w 10000"/>
                        <a:gd name="connsiteY97" fmla="*/ 611 h 10000"/>
                        <a:gd name="connsiteX98" fmla="*/ 1024 w 10000"/>
                        <a:gd name="connsiteY98" fmla="*/ 611 h 10000"/>
                        <a:gd name="connsiteX99" fmla="*/ 1024 w 10000"/>
                        <a:gd name="connsiteY99" fmla="*/ 1061 h 10000"/>
                        <a:gd name="connsiteX100" fmla="*/ 1024 w 10000"/>
                        <a:gd name="connsiteY100" fmla="*/ 1640 h 10000"/>
                        <a:gd name="connsiteX101" fmla="*/ 356 w 10000"/>
                        <a:gd name="connsiteY101" fmla="*/ 1640 h 10000"/>
                        <a:gd name="connsiteX102" fmla="*/ 356 w 10000"/>
                        <a:gd name="connsiteY102"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8623 w 10000"/>
                        <a:gd name="connsiteY60" fmla="*/ 4309 h 10000"/>
                        <a:gd name="connsiteX61" fmla="*/ 9066 w 10000"/>
                        <a:gd name="connsiteY61" fmla="*/ 3151 h 10000"/>
                        <a:gd name="connsiteX62" fmla="*/ 9199 w 10000"/>
                        <a:gd name="connsiteY62" fmla="*/ 3151 h 10000"/>
                        <a:gd name="connsiteX63" fmla="*/ 9378 w 10000"/>
                        <a:gd name="connsiteY63" fmla="*/ 3055 h 10000"/>
                        <a:gd name="connsiteX64" fmla="*/ 9912 w 10000"/>
                        <a:gd name="connsiteY64" fmla="*/ 2894 h 10000"/>
                        <a:gd name="connsiteX65" fmla="*/ 10000 w 10000"/>
                        <a:gd name="connsiteY65" fmla="*/ 2637 h 10000"/>
                        <a:gd name="connsiteX66" fmla="*/ 9957 w 10000"/>
                        <a:gd name="connsiteY66" fmla="*/ 2572 h 10000"/>
                        <a:gd name="connsiteX67" fmla="*/ 9777 w 10000"/>
                        <a:gd name="connsiteY67" fmla="*/ 2572 h 10000"/>
                        <a:gd name="connsiteX68" fmla="*/ 9644 w 10000"/>
                        <a:gd name="connsiteY68" fmla="*/ 2412 h 10000"/>
                        <a:gd name="connsiteX69" fmla="*/ 9378 w 10000"/>
                        <a:gd name="connsiteY69" fmla="*/ 2347 h 10000"/>
                        <a:gd name="connsiteX70" fmla="*/ 9244 w 10000"/>
                        <a:gd name="connsiteY70" fmla="*/ 2219 h 10000"/>
                        <a:gd name="connsiteX71" fmla="*/ 9157 w 10000"/>
                        <a:gd name="connsiteY71" fmla="*/ 1736 h 10000"/>
                        <a:gd name="connsiteX72" fmla="*/ 9157 w 10000"/>
                        <a:gd name="connsiteY72" fmla="*/ 1061 h 10000"/>
                        <a:gd name="connsiteX73" fmla="*/ 8933 w 10000"/>
                        <a:gd name="connsiteY73" fmla="*/ 836 h 10000"/>
                        <a:gd name="connsiteX74" fmla="*/ 8889 w 10000"/>
                        <a:gd name="connsiteY74" fmla="*/ 611 h 10000"/>
                        <a:gd name="connsiteX75" fmla="*/ 8534 w 10000"/>
                        <a:gd name="connsiteY75" fmla="*/ 289 h 10000"/>
                        <a:gd name="connsiteX76" fmla="*/ 8222 w 10000"/>
                        <a:gd name="connsiteY76" fmla="*/ 161 h 10000"/>
                        <a:gd name="connsiteX77" fmla="*/ 8045 w 10000"/>
                        <a:gd name="connsiteY77" fmla="*/ 0 h 10000"/>
                        <a:gd name="connsiteX78" fmla="*/ 7779 w 10000"/>
                        <a:gd name="connsiteY78" fmla="*/ 161 h 10000"/>
                        <a:gd name="connsiteX79" fmla="*/ 7600 w 10000"/>
                        <a:gd name="connsiteY79" fmla="*/ 129 h 10000"/>
                        <a:gd name="connsiteX80" fmla="*/ 7466 w 10000"/>
                        <a:gd name="connsiteY80" fmla="*/ 418 h 10000"/>
                        <a:gd name="connsiteX81" fmla="*/ 7110 w 10000"/>
                        <a:gd name="connsiteY81" fmla="*/ 482 h 10000"/>
                        <a:gd name="connsiteX82" fmla="*/ 7023 w 10000"/>
                        <a:gd name="connsiteY82" fmla="*/ 707 h 10000"/>
                        <a:gd name="connsiteX83" fmla="*/ 6711 w 10000"/>
                        <a:gd name="connsiteY83" fmla="*/ 707 h 10000"/>
                        <a:gd name="connsiteX84" fmla="*/ 6445 w 10000"/>
                        <a:gd name="connsiteY84" fmla="*/ 611 h 10000"/>
                        <a:gd name="connsiteX85" fmla="*/ 5867 w 10000"/>
                        <a:gd name="connsiteY85" fmla="*/ 611 h 10000"/>
                        <a:gd name="connsiteX86" fmla="*/ 5289 w 10000"/>
                        <a:gd name="connsiteY86" fmla="*/ 611 h 10000"/>
                        <a:gd name="connsiteX87" fmla="*/ 5333 w 10000"/>
                        <a:gd name="connsiteY87" fmla="*/ 482 h 10000"/>
                        <a:gd name="connsiteX88" fmla="*/ 5245 w 10000"/>
                        <a:gd name="connsiteY88" fmla="*/ 482 h 10000"/>
                        <a:gd name="connsiteX89" fmla="*/ 5201 w 10000"/>
                        <a:gd name="connsiteY89" fmla="*/ 611 h 10000"/>
                        <a:gd name="connsiteX90" fmla="*/ 4667 w 10000"/>
                        <a:gd name="connsiteY90" fmla="*/ 611 h 10000"/>
                        <a:gd name="connsiteX91" fmla="*/ 4134 w 10000"/>
                        <a:gd name="connsiteY91" fmla="*/ 611 h 10000"/>
                        <a:gd name="connsiteX92" fmla="*/ 3602 w 10000"/>
                        <a:gd name="connsiteY92" fmla="*/ 611 h 10000"/>
                        <a:gd name="connsiteX93" fmla="*/ 3067 w 10000"/>
                        <a:gd name="connsiteY93" fmla="*/ 611 h 10000"/>
                        <a:gd name="connsiteX94" fmla="*/ 2580 w 10000"/>
                        <a:gd name="connsiteY94" fmla="*/ 611 h 10000"/>
                        <a:gd name="connsiteX95" fmla="*/ 2046 w 10000"/>
                        <a:gd name="connsiteY95" fmla="*/ 611 h 10000"/>
                        <a:gd name="connsiteX96" fmla="*/ 1556 w 10000"/>
                        <a:gd name="connsiteY96" fmla="*/ 611 h 10000"/>
                        <a:gd name="connsiteX97" fmla="*/ 1024 w 10000"/>
                        <a:gd name="connsiteY97" fmla="*/ 611 h 10000"/>
                        <a:gd name="connsiteX98" fmla="*/ 1024 w 10000"/>
                        <a:gd name="connsiteY98" fmla="*/ 1061 h 10000"/>
                        <a:gd name="connsiteX99" fmla="*/ 1024 w 10000"/>
                        <a:gd name="connsiteY99" fmla="*/ 1640 h 10000"/>
                        <a:gd name="connsiteX100" fmla="*/ 356 w 10000"/>
                        <a:gd name="connsiteY100" fmla="*/ 1640 h 10000"/>
                        <a:gd name="connsiteX101" fmla="*/ 356 w 10000"/>
                        <a:gd name="connsiteY101"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6086 w 10000"/>
                        <a:gd name="connsiteY60" fmla="*/ 6118 h 10000"/>
                        <a:gd name="connsiteX61" fmla="*/ 9066 w 10000"/>
                        <a:gd name="connsiteY61" fmla="*/ 3151 h 10000"/>
                        <a:gd name="connsiteX62" fmla="*/ 9199 w 10000"/>
                        <a:gd name="connsiteY62" fmla="*/ 3151 h 10000"/>
                        <a:gd name="connsiteX63" fmla="*/ 9378 w 10000"/>
                        <a:gd name="connsiteY63" fmla="*/ 3055 h 10000"/>
                        <a:gd name="connsiteX64" fmla="*/ 9912 w 10000"/>
                        <a:gd name="connsiteY64" fmla="*/ 2894 h 10000"/>
                        <a:gd name="connsiteX65" fmla="*/ 10000 w 10000"/>
                        <a:gd name="connsiteY65" fmla="*/ 2637 h 10000"/>
                        <a:gd name="connsiteX66" fmla="*/ 9957 w 10000"/>
                        <a:gd name="connsiteY66" fmla="*/ 2572 h 10000"/>
                        <a:gd name="connsiteX67" fmla="*/ 9777 w 10000"/>
                        <a:gd name="connsiteY67" fmla="*/ 2572 h 10000"/>
                        <a:gd name="connsiteX68" fmla="*/ 9644 w 10000"/>
                        <a:gd name="connsiteY68" fmla="*/ 2412 h 10000"/>
                        <a:gd name="connsiteX69" fmla="*/ 9378 w 10000"/>
                        <a:gd name="connsiteY69" fmla="*/ 2347 h 10000"/>
                        <a:gd name="connsiteX70" fmla="*/ 9244 w 10000"/>
                        <a:gd name="connsiteY70" fmla="*/ 2219 h 10000"/>
                        <a:gd name="connsiteX71" fmla="*/ 9157 w 10000"/>
                        <a:gd name="connsiteY71" fmla="*/ 1736 h 10000"/>
                        <a:gd name="connsiteX72" fmla="*/ 9157 w 10000"/>
                        <a:gd name="connsiteY72" fmla="*/ 1061 h 10000"/>
                        <a:gd name="connsiteX73" fmla="*/ 8933 w 10000"/>
                        <a:gd name="connsiteY73" fmla="*/ 836 h 10000"/>
                        <a:gd name="connsiteX74" fmla="*/ 8889 w 10000"/>
                        <a:gd name="connsiteY74" fmla="*/ 611 h 10000"/>
                        <a:gd name="connsiteX75" fmla="*/ 8534 w 10000"/>
                        <a:gd name="connsiteY75" fmla="*/ 289 h 10000"/>
                        <a:gd name="connsiteX76" fmla="*/ 8222 w 10000"/>
                        <a:gd name="connsiteY76" fmla="*/ 161 h 10000"/>
                        <a:gd name="connsiteX77" fmla="*/ 8045 w 10000"/>
                        <a:gd name="connsiteY77" fmla="*/ 0 h 10000"/>
                        <a:gd name="connsiteX78" fmla="*/ 7779 w 10000"/>
                        <a:gd name="connsiteY78" fmla="*/ 161 h 10000"/>
                        <a:gd name="connsiteX79" fmla="*/ 7600 w 10000"/>
                        <a:gd name="connsiteY79" fmla="*/ 129 h 10000"/>
                        <a:gd name="connsiteX80" fmla="*/ 7466 w 10000"/>
                        <a:gd name="connsiteY80" fmla="*/ 418 h 10000"/>
                        <a:gd name="connsiteX81" fmla="*/ 7110 w 10000"/>
                        <a:gd name="connsiteY81" fmla="*/ 482 h 10000"/>
                        <a:gd name="connsiteX82" fmla="*/ 7023 w 10000"/>
                        <a:gd name="connsiteY82" fmla="*/ 707 h 10000"/>
                        <a:gd name="connsiteX83" fmla="*/ 6711 w 10000"/>
                        <a:gd name="connsiteY83" fmla="*/ 707 h 10000"/>
                        <a:gd name="connsiteX84" fmla="*/ 6445 w 10000"/>
                        <a:gd name="connsiteY84" fmla="*/ 611 h 10000"/>
                        <a:gd name="connsiteX85" fmla="*/ 5867 w 10000"/>
                        <a:gd name="connsiteY85" fmla="*/ 611 h 10000"/>
                        <a:gd name="connsiteX86" fmla="*/ 5289 w 10000"/>
                        <a:gd name="connsiteY86" fmla="*/ 611 h 10000"/>
                        <a:gd name="connsiteX87" fmla="*/ 5333 w 10000"/>
                        <a:gd name="connsiteY87" fmla="*/ 482 h 10000"/>
                        <a:gd name="connsiteX88" fmla="*/ 5245 w 10000"/>
                        <a:gd name="connsiteY88" fmla="*/ 482 h 10000"/>
                        <a:gd name="connsiteX89" fmla="*/ 5201 w 10000"/>
                        <a:gd name="connsiteY89" fmla="*/ 611 h 10000"/>
                        <a:gd name="connsiteX90" fmla="*/ 4667 w 10000"/>
                        <a:gd name="connsiteY90" fmla="*/ 611 h 10000"/>
                        <a:gd name="connsiteX91" fmla="*/ 4134 w 10000"/>
                        <a:gd name="connsiteY91" fmla="*/ 611 h 10000"/>
                        <a:gd name="connsiteX92" fmla="*/ 3602 w 10000"/>
                        <a:gd name="connsiteY92" fmla="*/ 611 h 10000"/>
                        <a:gd name="connsiteX93" fmla="*/ 3067 w 10000"/>
                        <a:gd name="connsiteY93" fmla="*/ 611 h 10000"/>
                        <a:gd name="connsiteX94" fmla="*/ 2580 w 10000"/>
                        <a:gd name="connsiteY94" fmla="*/ 611 h 10000"/>
                        <a:gd name="connsiteX95" fmla="*/ 2046 w 10000"/>
                        <a:gd name="connsiteY95" fmla="*/ 611 h 10000"/>
                        <a:gd name="connsiteX96" fmla="*/ 1556 w 10000"/>
                        <a:gd name="connsiteY96" fmla="*/ 611 h 10000"/>
                        <a:gd name="connsiteX97" fmla="*/ 1024 w 10000"/>
                        <a:gd name="connsiteY97" fmla="*/ 611 h 10000"/>
                        <a:gd name="connsiteX98" fmla="*/ 1024 w 10000"/>
                        <a:gd name="connsiteY98" fmla="*/ 1061 h 10000"/>
                        <a:gd name="connsiteX99" fmla="*/ 1024 w 10000"/>
                        <a:gd name="connsiteY99" fmla="*/ 1640 h 10000"/>
                        <a:gd name="connsiteX100" fmla="*/ 356 w 10000"/>
                        <a:gd name="connsiteY100" fmla="*/ 1640 h 10000"/>
                        <a:gd name="connsiteX101" fmla="*/ 356 w 10000"/>
                        <a:gd name="connsiteY101"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6086 w 10000"/>
                        <a:gd name="connsiteY60" fmla="*/ 6118 h 10000"/>
                        <a:gd name="connsiteX61" fmla="*/ 9199 w 10000"/>
                        <a:gd name="connsiteY61" fmla="*/ 3151 h 10000"/>
                        <a:gd name="connsiteX62" fmla="*/ 9378 w 10000"/>
                        <a:gd name="connsiteY62" fmla="*/ 3055 h 10000"/>
                        <a:gd name="connsiteX63" fmla="*/ 9912 w 10000"/>
                        <a:gd name="connsiteY63" fmla="*/ 2894 h 10000"/>
                        <a:gd name="connsiteX64" fmla="*/ 10000 w 10000"/>
                        <a:gd name="connsiteY64" fmla="*/ 2637 h 10000"/>
                        <a:gd name="connsiteX65" fmla="*/ 9957 w 10000"/>
                        <a:gd name="connsiteY65" fmla="*/ 2572 h 10000"/>
                        <a:gd name="connsiteX66" fmla="*/ 9777 w 10000"/>
                        <a:gd name="connsiteY66" fmla="*/ 2572 h 10000"/>
                        <a:gd name="connsiteX67" fmla="*/ 9644 w 10000"/>
                        <a:gd name="connsiteY67" fmla="*/ 2412 h 10000"/>
                        <a:gd name="connsiteX68" fmla="*/ 9378 w 10000"/>
                        <a:gd name="connsiteY68" fmla="*/ 2347 h 10000"/>
                        <a:gd name="connsiteX69" fmla="*/ 9244 w 10000"/>
                        <a:gd name="connsiteY69" fmla="*/ 2219 h 10000"/>
                        <a:gd name="connsiteX70" fmla="*/ 9157 w 10000"/>
                        <a:gd name="connsiteY70" fmla="*/ 1736 h 10000"/>
                        <a:gd name="connsiteX71" fmla="*/ 9157 w 10000"/>
                        <a:gd name="connsiteY71" fmla="*/ 1061 h 10000"/>
                        <a:gd name="connsiteX72" fmla="*/ 8933 w 10000"/>
                        <a:gd name="connsiteY72" fmla="*/ 836 h 10000"/>
                        <a:gd name="connsiteX73" fmla="*/ 8889 w 10000"/>
                        <a:gd name="connsiteY73" fmla="*/ 611 h 10000"/>
                        <a:gd name="connsiteX74" fmla="*/ 8534 w 10000"/>
                        <a:gd name="connsiteY74" fmla="*/ 289 h 10000"/>
                        <a:gd name="connsiteX75" fmla="*/ 8222 w 10000"/>
                        <a:gd name="connsiteY75" fmla="*/ 161 h 10000"/>
                        <a:gd name="connsiteX76" fmla="*/ 8045 w 10000"/>
                        <a:gd name="connsiteY76" fmla="*/ 0 h 10000"/>
                        <a:gd name="connsiteX77" fmla="*/ 7779 w 10000"/>
                        <a:gd name="connsiteY77" fmla="*/ 161 h 10000"/>
                        <a:gd name="connsiteX78" fmla="*/ 7600 w 10000"/>
                        <a:gd name="connsiteY78" fmla="*/ 129 h 10000"/>
                        <a:gd name="connsiteX79" fmla="*/ 7466 w 10000"/>
                        <a:gd name="connsiteY79" fmla="*/ 418 h 10000"/>
                        <a:gd name="connsiteX80" fmla="*/ 7110 w 10000"/>
                        <a:gd name="connsiteY80" fmla="*/ 482 h 10000"/>
                        <a:gd name="connsiteX81" fmla="*/ 7023 w 10000"/>
                        <a:gd name="connsiteY81" fmla="*/ 707 h 10000"/>
                        <a:gd name="connsiteX82" fmla="*/ 6711 w 10000"/>
                        <a:gd name="connsiteY82" fmla="*/ 707 h 10000"/>
                        <a:gd name="connsiteX83" fmla="*/ 6445 w 10000"/>
                        <a:gd name="connsiteY83" fmla="*/ 611 h 10000"/>
                        <a:gd name="connsiteX84" fmla="*/ 5867 w 10000"/>
                        <a:gd name="connsiteY84" fmla="*/ 611 h 10000"/>
                        <a:gd name="connsiteX85" fmla="*/ 5289 w 10000"/>
                        <a:gd name="connsiteY85" fmla="*/ 611 h 10000"/>
                        <a:gd name="connsiteX86" fmla="*/ 5333 w 10000"/>
                        <a:gd name="connsiteY86" fmla="*/ 482 h 10000"/>
                        <a:gd name="connsiteX87" fmla="*/ 5245 w 10000"/>
                        <a:gd name="connsiteY87" fmla="*/ 482 h 10000"/>
                        <a:gd name="connsiteX88" fmla="*/ 5201 w 10000"/>
                        <a:gd name="connsiteY88" fmla="*/ 611 h 10000"/>
                        <a:gd name="connsiteX89" fmla="*/ 4667 w 10000"/>
                        <a:gd name="connsiteY89" fmla="*/ 611 h 10000"/>
                        <a:gd name="connsiteX90" fmla="*/ 4134 w 10000"/>
                        <a:gd name="connsiteY90" fmla="*/ 611 h 10000"/>
                        <a:gd name="connsiteX91" fmla="*/ 3602 w 10000"/>
                        <a:gd name="connsiteY91" fmla="*/ 611 h 10000"/>
                        <a:gd name="connsiteX92" fmla="*/ 3067 w 10000"/>
                        <a:gd name="connsiteY92" fmla="*/ 611 h 10000"/>
                        <a:gd name="connsiteX93" fmla="*/ 2580 w 10000"/>
                        <a:gd name="connsiteY93" fmla="*/ 611 h 10000"/>
                        <a:gd name="connsiteX94" fmla="*/ 2046 w 10000"/>
                        <a:gd name="connsiteY94" fmla="*/ 611 h 10000"/>
                        <a:gd name="connsiteX95" fmla="*/ 1556 w 10000"/>
                        <a:gd name="connsiteY95" fmla="*/ 611 h 10000"/>
                        <a:gd name="connsiteX96" fmla="*/ 1024 w 10000"/>
                        <a:gd name="connsiteY96" fmla="*/ 611 h 10000"/>
                        <a:gd name="connsiteX97" fmla="*/ 1024 w 10000"/>
                        <a:gd name="connsiteY97" fmla="*/ 1061 h 10000"/>
                        <a:gd name="connsiteX98" fmla="*/ 1024 w 10000"/>
                        <a:gd name="connsiteY98" fmla="*/ 1640 h 10000"/>
                        <a:gd name="connsiteX99" fmla="*/ 356 w 10000"/>
                        <a:gd name="connsiteY99" fmla="*/ 1640 h 10000"/>
                        <a:gd name="connsiteX100" fmla="*/ 356 w 10000"/>
                        <a:gd name="connsiteY100"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6086 w 10000"/>
                        <a:gd name="connsiteY60" fmla="*/ 6118 h 10000"/>
                        <a:gd name="connsiteX61" fmla="*/ 9378 w 10000"/>
                        <a:gd name="connsiteY61" fmla="*/ 3055 h 10000"/>
                        <a:gd name="connsiteX62" fmla="*/ 9912 w 10000"/>
                        <a:gd name="connsiteY62" fmla="*/ 2894 h 10000"/>
                        <a:gd name="connsiteX63" fmla="*/ 10000 w 10000"/>
                        <a:gd name="connsiteY63" fmla="*/ 2637 h 10000"/>
                        <a:gd name="connsiteX64" fmla="*/ 9957 w 10000"/>
                        <a:gd name="connsiteY64" fmla="*/ 2572 h 10000"/>
                        <a:gd name="connsiteX65" fmla="*/ 9777 w 10000"/>
                        <a:gd name="connsiteY65" fmla="*/ 2572 h 10000"/>
                        <a:gd name="connsiteX66" fmla="*/ 9644 w 10000"/>
                        <a:gd name="connsiteY66" fmla="*/ 2412 h 10000"/>
                        <a:gd name="connsiteX67" fmla="*/ 9378 w 10000"/>
                        <a:gd name="connsiteY67" fmla="*/ 2347 h 10000"/>
                        <a:gd name="connsiteX68" fmla="*/ 9244 w 10000"/>
                        <a:gd name="connsiteY68" fmla="*/ 2219 h 10000"/>
                        <a:gd name="connsiteX69" fmla="*/ 9157 w 10000"/>
                        <a:gd name="connsiteY69" fmla="*/ 1736 h 10000"/>
                        <a:gd name="connsiteX70" fmla="*/ 9157 w 10000"/>
                        <a:gd name="connsiteY70" fmla="*/ 1061 h 10000"/>
                        <a:gd name="connsiteX71" fmla="*/ 8933 w 10000"/>
                        <a:gd name="connsiteY71" fmla="*/ 836 h 10000"/>
                        <a:gd name="connsiteX72" fmla="*/ 8889 w 10000"/>
                        <a:gd name="connsiteY72" fmla="*/ 611 h 10000"/>
                        <a:gd name="connsiteX73" fmla="*/ 8534 w 10000"/>
                        <a:gd name="connsiteY73" fmla="*/ 289 h 10000"/>
                        <a:gd name="connsiteX74" fmla="*/ 8222 w 10000"/>
                        <a:gd name="connsiteY74" fmla="*/ 161 h 10000"/>
                        <a:gd name="connsiteX75" fmla="*/ 8045 w 10000"/>
                        <a:gd name="connsiteY75" fmla="*/ 0 h 10000"/>
                        <a:gd name="connsiteX76" fmla="*/ 7779 w 10000"/>
                        <a:gd name="connsiteY76" fmla="*/ 161 h 10000"/>
                        <a:gd name="connsiteX77" fmla="*/ 7600 w 10000"/>
                        <a:gd name="connsiteY77" fmla="*/ 129 h 10000"/>
                        <a:gd name="connsiteX78" fmla="*/ 7466 w 10000"/>
                        <a:gd name="connsiteY78" fmla="*/ 418 h 10000"/>
                        <a:gd name="connsiteX79" fmla="*/ 7110 w 10000"/>
                        <a:gd name="connsiteY79" fmla="*/ 482 h 10000"/>
                        <a:gd name="connsiteX80" fmla="*/ 7023 w 10000"/>
                        <a:gd name="connsiteY80" fmla="*/ 707 h 10000"/>
                        <a:gd name="connsiteX81" fmla="*/ 6711 w 10000"/>
                        <a:gd name="connsiteY81" fmla="*/ 707 h 10000"/>
                        <a:gd name="connsiteX82" fmla="*/ 6445 w 10000"/>
                        <a:gd name="connsiteY82" fmla="*/ 611 h 10000"/>
                        <a:gd name="connsiteX83" fmla="*/ 5867 w 10000"/>
                        <a:gd name="connsiteY83" fmla="*/ 611 h 10000"/>
                        <a:gd name="connsiteX84" fmla="*/ 5289 w 10000"/>
                        <a:gd name="connsiteY84" fmla="*/ 611 h 10000"/>
                        <a:gd name="connsiteX85" fmla="*/ 5333 w 10000"/>
                        <a:gd name="connsiteY85" fmla="*/ 482 h 10000"/>
                        <a:gd name="connsiteX86" fmla="*/ 5245 w 10000"/>
                        <a:gd name="connsiteY86" fmla="*/ 482 h 10000"/>
                        <a:gd name="connsiteX87" fmla="*/ 5201 w 10000"/>
                        <a:gd name="connsiteY87" fmla="*/ 611 h 10000"/>
                        <a:gd name="connsiteX88" fmla="*/ 4667 w 10000"/>
                        <a:gd name="connsiteY88" fmla="*/ 611 h 10000"/>
                        <a:gd name="connsiteX89" fmla="*/ 4134 w 10000"/>
                        <a:gd name="connsiteY89" fmla="*/ 611 h 10000"/>
                        <a:gd name="connsiteX90" fmla="*/ 3602 w 10000"/>
                        <a:gd name="connsiteY90" fmla="*/ 611 h 10000"/>
                        <a:gd name="connsiteX91" fmla="*/ 3067 w 10000"/>
                        <a:gd name="connsiteY91" fmla="*/ 611 h 10000"/>
                        <a:gd name="connsiteX92" fmla="*/ 2580 w 10000"/>
                        <a:gd name="connsiteY92" fmla="*/ 611 h 10000"/>
                        <a:gd name="connsiteX93" fmla="*/ 2046 w 10000"/>
                        <a:gd name="connsiteY93" fmla="*/ 611 h 10000"/>
                        <a:gd name="connsiteX94" fmla="*/ 1556 w 10000"/>
                        <a:gd name="connsiteY94" fmla="*/ 611 h 10000"/>
                        <a:gd name="connsiteX95" fmla="*/ 1024 w 10000"/>
                        <a:gd name="connsiteY95" fmla="*/ 611 h 10000"/>
                        <a:gd name="connsiteX96" fmla="*/ 1024 w 10000"/>
                        <a:gd name="connsiteY96" fmla="*/ 1061 h 10000"/>
                        <a:gd name="connsiteX97" fmla="*/ 1024 w 10000"/>
                        <a:gd name="connsiteY97" fmla="*/ 1640 h 10000"/>
                        <a:gd name="connsiteX98" fmla="*/ 356 w 10000"/>
                        <a:gd name="connsiteY98" fmla="*/ 1640 h 10000"/>
                        <a:gd name="connsiteX99" fmla="*/ 356 w 10000"/>
                        <a:gd name="connsiteY99"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6086 w 10000"/>
                        <a:gd name="connsiteY60" fmla="*/ 6118 h 10000"/>
                        <a:gd name="connsiteX61" fmla="*/ 6093 w 10000"/>
                        <a:gd name="connsiteY61" fmla="*/ 6462 h 10000"/>
                        <a:gd name="connsiteX62" fmla="*/ 9912 w 10000"/>
                        <a:gd name="connsiteY62" fmla="*/ 2894 h 10000"/>
                        <a:gd name="connsiteX63" fmla="*/ 10000 w 10000"/>
                        <a:gd name="connsiteY63" fmla="*/ 2637 h 10000"/>
                        <a:gd name="connsiteX64" fmla="*/ 9957 w 10000"/>
                        <a:gd name="connsiteY64" fmla="*/ 2572 h 10000"/>
                        <a:gd name="connsiteX65" fmla="*/ 9777 w 10000"/>
                        <a:gd name="connsiteY65" fmla="*/ 2572 h 10000"/>
                        <a:gd name="connsiteX66" fmla="*/ 9644 w 10000"/>
                        <a:gd name="connsiteY66" fmla="*/ 2412 h 10000"/>
                        <a:gd name="connsiteX67" fmla="*/ 9378 w 10000"/>
                        <a:gd name="connsiteY67" fmla="*/ 2347 h 10000"/>
                        <a:gd name="connsiteX68" fmla="*/ 9244 w 10000"/>
                        <a:gd name="connsiteY68" fmla="*/ 2219 h 10000"/>
                        <a:gd name="connsiteX69" fmla="*/ 9157 w 10000"/>
                        <a:gd name="connsiteY69" fmla="*/ 1736 h 10000"/>
                        <a:gd name="connsiteX70" fmla="*/ 9157 w 10000"/>
                        <a:gd name="connsiteY70" fmla="*/ 1061 h 10000"/>
                        <a:gd name="connsiteX71" fmla="*/ 8933 w 10000"/>
                        <a:gd name="connsiteY71" fmla="*/ 836 h 10000"/>
                        <a:gd name="connsiteX72" fmla="*/ 8889 w 10000"/>
                        <a:gd name="connsiteY72" fmla="*/ 611 h 10000"/>
                        <a:gd name="connsiteX73" fmla="*/ 8534 w 10000"/>
                        <a:gd name="connsiteY73" fmla="*/ 289 h 10000"/>
                        <a:gd name="connsiteX74" fmla="*/ 8222 w 10000"/>
                        <a:gd name="connsiteY74" fmla="*/ 161 h 10000"/>
                        <a:gd name="connsiteX75" fmla="*/ 8045 w 10000"/>
                        <a:gd name="connsiteY75" fmla="*/ 0 h 10000"/>
                        <a:gd name="connsiteX76" fmla="*/ 7779 w 10000"/>
                        <a:gd name="connsiteY76" fmla="*/ 161 h 10000"/>
                        <a:gd name="connsiteX77" fmla="*/ 7600 w 10000"/>
                        <a:gd name="connsiteY77" fmla="*/ 129 h 10000"/>
                        <a:gd name="connsiteX78" fmla="*/ 7466 w 10000"/>
                        <a:gd name="connsiteY78" fmla="*/ 418 h 10000"/>
                        <a:gd name="connsiteX79" fmla="*/ 7110 w 10000"/>
                        <a:gd name="connsiteY79" fmla="*/ 482 h 10000"/>
                        <a:gd name="connsiteX80" fmla="*/ 7023 w 10000"/>
                        <a:gd name="connsiteY80" fmla="*/ 707 h 10000"/>
                        <a:gd name="connsiteX81" fmla="*/ 6711 w 10000"/>
                        <a:gd name="connsiteY81" fmla="*/ 707 h 10000"/>
                        <a:gd name="connsiteX82" fmla="*/ 6445 w 10000"/>
                        <a:gd name="connsiteY82" fmla="*/ 611 h 10000"/>
                        <a:gd name="connsiteX83" fmla="*/ 5867 w 10000"/>
                        <a:gd name="connsiteY83" fmla="*/ 611 h 10000"/>
                        <a:gd name="connsiteX84" fmla="*/ 5289 w 10000"/>
                        <a:gd name="connsiteY84" fmla="*/ 611 h 10000"/>
                        <a:gd name="connsiteX85" fmla="*/ 5333 w 10000"/>
                        <a:gd name="connsiteY85" fmla="*/ 482 h 10000"/>
                        <a:gd name="connsiteX86" fmla="*/ 5245 w 10000"/>
                        <a:gd name="connsiteY86" fmla="*/ 482 h 10000"/>
                        <a:gd name="connsiteX87" fmla="*/ 5201 w 10000"/>
                        <a:gd name="connsiteY87" fmla="*/ 611 h 10000"/>
                        <a:gd name="connsiteX88" fmla="*/ 4667 w 10000"/>
                        <a:gd name="connsiteY88" fmla="*/ 611 h 10000"/>
                        <a:gd name="connsiteX89" fmla="*/ 4134 w 10000"/>
                        <a:gd name="connsiteY89" fmla="*/ 611 h 10000"/>
                        <a:gd name="connsiteX90" fmla="*/ 3602 w 10000"/>
                        <a:gd name="connsiteY90" fmla="*/ 611 h 10000"/>
                        <a:gd name="connsiteX91" fmla="*/ 3067 w 10000"/>
                        <a:gd name="connsiteY91" fmla="*/ 611 h 10000"/>
                        <a:gd name="connsiteX92" fmla="*/ 2580 w 10000"/>
                        <a:gd name="connsiteY92" fmla="*/ 611 h 10000"/>
                        <a:gd name="connsiteX93" fmla="*/ 2046 w 10000"/>
                        <a:gd name="connsiteY93" fmla="*/ 611 h 10000"/>
                        <a:gd name="connsiteX94" fmla="*/ 1556 w 10000"/>
                        <a:gd name="connsiteY94" fmla="*/ 611 h 10000"/>
                        <a:gd name="connsiteX95" fmla="*/ 1024 w 10000"/>
                        <a:gd name="connsiteY95" fmla="*/ 611 h 10000"/>
                        <a:gd name="connsiteX96" fmla="*/ 1024 w 10000"/>
                        <a:gd name="connsiteY96" fmla="*/ 1061 h 10000"/>
                        <a:gd name="connsiteX97" fmla="*/ 1024 w 10000"/>
                        <a:gd name="connsiteY97" fmla="*/ 1640 h 10000"/>
                        <a:gd name="connsiteX98" fmla="*/ 356 w 10000"/>
                        <a:gd name="connsiteY98" fmla="*/ 1640 h 10000"/>
                        <a:gd name="connsiteX99" fmla="*/ 356 w 10000"/>
                        <a:gd name="connsiteY99" fmla="*/ 1897 h 10000"/>
                        <a:gd name="connsiteX0" fmla="*/ 356 w 10000"/>
                        <a:gd name="connsiteY0" fmla="*/ 1897 h 10000"/>
                        <a:gd name="connsiteX1" fmla="*/ 5520 w 10000"/>
                        <a:gd name="connsiteY1" fmla="*/ 6915 h 10000"/>
                        <a:gd name="connsiteX2" fmla="*/ 5155 w 10000"/>
                        <a:gd name="connsiteY2" fmla="*/ 7114 h 10000"/>
                        <a:gd name="connsiteX3" fmla="*/ 4848 w 10000"/>
                        <a:gd name="connsiteY3" fmla="*/ 6907 h 10000"/>
                        <a:gd name="connsiteX4" fmla="*/ 4403 w 10000"/>
                        <a:gd name="connsiteY4" fmla="*/ 6781 h 10000"/>
                        <a:gd name="connsiteX5" fmla="*/ 4182 w 10000"/>
                        <a:gd name="connsiteY5" fmla="*/ 7064 h 10000"/>
                        <a:gd name="connsiteX6" fmla="*/ 3635 w 10000"/>
                        <a:gd name="connsiteY6" fmla="*/ 7281 h 10000"/>
                        <a:gd name="connsiteX7" fmla="*/ 3284 w 10000"/>
                        <a:gd name="connsiteY7" fmla="*/ 7279 h 10000"/>
                        <a:gd name="connsiteX8" fmla="*/ 2517 w 10000"/>
                        <a:gd name="connsiteY8" fmla="*/ 7095 h 10000"/>
                        <a:gd name="connsiteX9" fmla="*/ 2312 w 10000"/>
                        <a:gd name="connsiteY9" fmla="*/ 7195 h 10000"/>
                        <a:gd name="connsiteX10" fmla="*/ 1800 w 10000"/>
                        <a:gd name="connsiteY10" fmla="*/ 6973 h 10000"/>
                        <a:gd name="connsiteX11" fmla="*/ 1574 w 10000"/>
                        <a:gd name="connsiteY11" fmla="*/ 6638 h 10000"/>
                        <a:gd name="connsiteX12" fmla="*/ 1198 w 10000"/>
                        <a:gd name="connsiteY12" fmla="*/ 6729 h 10000"/>
                        <a:gd name="connsiteX13" fmla="*/ 1096 w 10000"/>
                        <a:gd name="connsiteY13" fmla="*/ 6927 h 10000"/>
                        <a:gd name="connsiteX14" fmla="*/ 698 w 10000"/>
                        <a:gd name="connsiteY14" fmla="*/ 7011 h 10000"/>
                        <a:gd name="connsiteX15" fmla="*/ 436 w 10000"/>
                        <a:gd name="connsiteY15" fmla="*/ 7004 h 10000"/>
                        <a:gd name="connsiteX16" fmla="*/ 292 w 10000"/>
                        <a:gd name="connsiteY16" fmla="*/ 7161 h 10000"/>
                        <a:gd name="connsiteX17" fmla="*/ 47 w 10000"/>
                        <a:gd name="connsiteY17" fmla="*/ 6913 h 10000"/>
                        <a:gd name="connsiteX18" fmla="*/ 0 w 10000"/>
                        <a:gd name="connsiteY18" fmla="*/ 7363 h 10000"/>
                        <a:gd name="connsiteX19" fmla="*/ 89 w 10000"/>
                        <a:gd name="connsiteY19" fmla="*/ 7428 h 10000"/>
                        <a:gd name="connsiteX20" fmla="*/ 446 w 10000"/>
                        <a:gd name="connsiteY20" fmla="*/ 7460 h 10000"/>
                        <a:gd name="connsiteX21" fmla="*/ 491 w 10000"/>
                        <a:gd name="connsiteY21" fmla="*/ 7588 h 10000"/>
                        <a:gd name="connsiteX22" fmla="*/ 890 w 10000"/>
                        <a:gd name="connsiteY22" fmla="*/ 7621 h 10000"/>
                        <a:gd name="connsiteX23" fmla="*/ 1112 w 10000"/>
                        <a:gd name="connsiteY23" fmla="*/ 7749 h 10000"/>
                        <a:gd name="connsiteX24" fmla="*/ 1156 w 10000"/>
                        <a:gd name="connsiteY24" fmla="*/ 7974 h 10000"/>
                        <a:gd name="connsiteX25" fmla="*/ 1869 w 10000"/>
                        <a:gd name="connsiteY25" fmla="*/ 8360 h 10000"/>
                        <a:gd name="connsiteX26" fmla="*/ 2046 w 10000"/>
                        <a:gd name="connsiteY26" fmla="*/ 8746 h 10000"/>
                        <a:gd name="connsiteX27" fmla="*/ 2534 w 10000"/>
                        <a:gd name="connsiteY27" fmla="*/ 8939 h 10000"/>
                        <a:gd name="connsiteX28" fmla="*/ 2712 w 10000"/>
                        <a:gd name="connsiteY28" fmla="*/ 9196 h 10000"/>
                        <a:gd name="connsiteX29" fmla="*/ 3067 w 10000"/>
                        <a:gd name="connsiteY29" fmla="*/ 9518 h 10000"/>
                        <a:gd name="connsiteX30" fmla="*/ 3335 w 10000"/>
                        <a:gd name="connsiteY30" fmla="*/ 9614 h 10000"/>
                        <a:gd name="connsiteX31" fmla="*/ 3513 w 10000"/>
                        <a:gd name="connsiteY31" fmla="*/ 9518 h 10000"/>
                        <a:gd name="connsiteX32" fmla="*/ 3957 w 10000"/>
                        <a:gd name="connsiteY32" fmla="*/ 9550 h 10000"/>
                        <a:gd name="connsiteX33" fmla="*/ 4134 w 10000"/>
                        <a:gd name="connsiteY33" fmla="*/ 9486 h 10000"/>
                        <a:gd name="connsiteX34" fmla="*/ 4934 w 10000"/>
                        <a:gd name="connsiteY34" fmla="*/ 9968 h 10000"/>
                        <a:gd name="connsiteX35" fmla="*/ 4979 w 10000"/>
                        <a:gd name="connsiteY35" fmla="*/ 9968 h 10000"/>
                        <a:gd name="connsiteX36" fmla="*/ 5067 w 10000"/>
                        <a:gd name="connsiteY36" fmla="*/ 9904 h 10000"/>
                        <a:gd name="connsiteX37" fmla="*/ 5643 w 10000"/>
                        <a:gd name="connsiteY37" fmla="*/ 9904 h 10000"/>
                        <a:gd name="connsiteX38" fmla="*/ 5734 w 10000"/>
                        <a:gd name="connsiteY38" fmla="*/ 10000 h 10000"/>
                        <a:gd name="connsiteX39" fmla="*/ 6223 w 10000"/>
                        <a:gd name="connsiteY39" fmla="*/ 9871 h 10000"/>
                        <a:gd name="connsiteX40" fmla="*/ 6666 w 10000"/>
                        <a:gd name="connsiteY40" fmla="*/ 9871 h 10000"/>
                        <a:gd name="connsiteX41" fmla="*/ 6978 w 10000"/>
                        <a:gd name="connsiteY41" fmla="*/ 9743 h 10000"/>
                        <a:gd name="connsiteX42" fmla="*/ 7334 w 10000"/>
                        <a:gd name="connsiteY42" fmla="*/ 9486 h 10000"/>
                        <a:gd name="connsiteX43" fmla="*/ 8267 w 10000"/>
                        <a:gd name="connsiteY43" fmla="*/ 9486 h 10000"/>
                        <a:gd name="connsiteX44" fmla="*/ 8267 w 10000"/>
                        <a:gd name="connsiteY44" fmla="*/ 9132 h 10000"/>
                        <a:gd name="connsiteX45" fmla="*/ 7779 w 10000"/>
                        <a:gd name="connsiteY45" fmla="*/ 8971 h 10000"/>
                        <a:gd name="connsiteX46" fmla="*/ 7512 w 10000"/>
                        <a:gd name="connsiteY46" fmla="*/ 8457 h 10000"/>
                        <a:gd name="connsiteX47" fmla="*/ 7157 w 10000"/>
                        <a:gd name="connsiteY47" fmla="*/ 8264 h 10000"/>
                        <a:gd name="connsiteX48" fmla="*/ 6933 w 10000"/>
                        <a:gd name="connsiteY48" fmla="*/ 8006 h 10000"/>
                        <a:gd name="connsiteX49" fmla="*/ 6356 w 10000"/>
                        <a:gd name="connsiteY49" fmla="*/ 7814 h 10000"/>
                        <a:gd name="connsiteX50" fmla="*/ 6489 w 10000"/>
                        <a:gd name="connsiteY50" fmla="*/ 7749 h 10000"/>
                        <a:gd name="connsiteX51" fmla="*/ 6489 w 10000"/>
                        <a:gd name="connsiteY51" fmla="*/ 7588 h 10000"/>
                        <a:gd name="connsiteX52" fmla="*/ 6890 w 10000"/>
                        <a:gd name="connsiteY52" fmla="*/ 7588 h 10000"/>
                        <a:gd name="connsiteX53" fmla="*/ 7110 w 10000"/>
                        <a:gd name="connsiteY53" fmla="*/ 7460 h 10000"/>
                        <a:gd name="connsiteX54" fmla="*/ 7157 w 10000"/>
                        <a:gd name="connsiteY54" fmla="*/ 6527 h 10000"/>
                        <a:gd name="connsiteX55" fmla="*/ 7200 w 10000"/>
                        <a:gd name="connsiteY55" fmla="*/ 6559 h 10000"/>
                        <a:gd name="connsiteX56" fmla="*/ 7042 w 10000"/>
                        <a:gd name="connsiteY56" fmla="*/ 6618 h 10000"/>
                        <a:gd name="connsiteX57" fmla="*/ 6980 w 10000"/>
                        <a:gd name="connsiteY57" fmla="*/ 6745 h 10000"/>
                        <a:gd name="connsiteX58" fmla="*/ 6583 w 10000"/>
                        <a:gd name="connsiteY58" fmla="*/ 6497 h 10000"/>
                        <a:gd name="connsiteX59" fmla="*/ 6511 w 10000"/>
                        <a:gd name="connsiteY59" fmla="*/ 5828 h 10000"/>
                        <a:gd name="connsiteX60" fmla="*/ 6086 w 10000"/>
                        <a:gd name="connsiteY60" fmla="*/ 6118 h 10000"/>
                        <a:gd name="connsiteX61" fmla="*/ 6093 w 10000"/>
                        <a:gd name="connsiteY61" fmla="*/ 6462 h 10000"/>
                        <a:gd name="connsiteX62" fmla="*/ 5751 w 10000"/>
                        <a:gd name="connsiteY62" fmla="*/ 6670 h 10000"/>
                        <a:gd name="connsiteX63" fmla="*/ 10000 w 10000"/>
                        <a:gd name="connsiteY63" fmla="*/ 2637 h 10000"/>
                        <a:gd name="connsiteX64" fmla="*/ 9957 w 10000"/>
                        <a:gd name="connsiteY64" fmla="*/ 2572 h 10000"/>
                        <a:gd name="connsiteX65" fmla="*/ 9777 w 10000"/>
                        <a:gd name="connsiteY65" fmla="*/ 2572 h 10000"/>
                        <a:gd name="connsiteX66" fmla="*/ 9644 w 10000"/>
                        <a:gd name="connsiteY66" fmla="*/ 2412 h 10000"/>
                        <a:gd name="connsiteX67" fmla="*/ 9378 w 10000"/>
                        <a:gd name="connsiteY67" fmla="*/ 2347 h 10000"/>
                        <a:gd name="connsiteX68" fmla="*/ 9244 w 10000"/>
                        <a:gd name="connsiteY68" fmla="*/ 2219 h 10000"/>
                        <a:gd name="connsiteX69" fmla="*/ 9157 w 10000"/>
                        <a:gd name="connsiteY69" fmla="*/ 1736 h 10000"/>
                        <a:gd name="connsiteX70" fmla="*/ 9157 w 10000"/>
                        <a:gd name="connsiteY70" fmla="*/ 1061 h 10000"/>
                        <a:gd name="connsiteX71" fmla="*/ 8933 w 10000"/>
                        <a:gd name="connsiteY71" fmla="*/ 836 h 10000"/>
                        <a:gd name="connsiteX72" fmla="*/ 8889 w 10000"/>
                        <a:gd name="connsiteY72" fmla="*/ 611 h 10000"/>
                        <a:gd name="connsiteX73" fmla="*/ 8534 w 10000"/>
                        <a:gd name="connsiteY73" fmla="*/ 289 h 10000"/>
                        <a:gd name="connsiteX74" fmla="*/ 8222 w 10000"/>
                        <a:gd name="connsiteY74" fmla="*/ 161 h 10000"/>
                        <a:gd name="connsiteX75" fmla="*/ 8045 w 10000"/>
                        <a:gd name="connsiteY75" fmla="*/ 0 h 10000"/>
                        <a:gd name="connsiteX76" fmla="*/ 7779 w 10000"/>
                        <a:gd name="connsiteY76" fmla="*/ 161 h 10000"/>
                        <a:gd name="connsiteX77" fmla="*/ 7600 w 10000"/>
                        <a:gd name="connsiteY77" fmla="*/ 129 h 10000"/>
                        <a:gd name="connsiteX78" fmla="*/ 7466 w 10000"/>
                        <a:gd name="connsiteY78" fmla="*/ 418 h 10000"/>
                        <a:gd name="connsiteX79" fmla="*/ 7110 w 10000"/>
                        <a:gd name="connsiteY79" fmla="*/ 482 h 10000"/>
                        <a:gd name="connsiteX80" fmla="*/ 7023 w 10000"/>
                        <a:gd name="connsiteY80" fmla="*/ 707 h 10000"/>
                        <a:gd name="connsiteX81" fmla="*/ 6711 w 10000"/>
                        <a:gd name="connsiteY81" fmla="*/ 707 h 10000"/>
                        <a:gd name="connsiteX82" fmla="*/ 6445 w 10000"/>
                        <a:gd name="connsiteY82" fmla="*/ 611 h 10000"/>
                        <a:gd name="connsiteX83" fmla="*/ 5867 w 10000"/>
                        <a:gd name="connsiteY83" fmla="*/ 611 h 10000"/>
                        <a:gd name="connsiteX84" fmla="*/ 5289 w 10000"/>
                        <a:gd name="connsiteY84" fmla="*/ 611 h 10000"/>
                        <a:gd name="connsiteX85" fmla="*/ 5333 w 10000"/>
                        <a:gd name="connsiteY85" fmla="*/ 482 h 10000"/>
                        <a:gd name="connsiteX86" fmla="*/ 5245 w 10000"/>
                        <a:gd name="connsiteY86" fmla="*/ 482 h 10000"/>
                        <a:gd name="connsiteX87" fmla="*/ 5201 w 10000"/>
                        <a:gd name="connsiteY87" fmla="*/ 611 h 10000"/>
                        <a:gd name="connsiteX88" fmla="*/ 4667 w 10000"/>
                        <a:gd name="connsiteY88" fmla="*/ 611 h 10000"/>
                        <a:gd name="connsiteX89" fmla="*/ 4134 w 10000"/>
                        <a:gd name="connsiteY89" fmla="*/ 611 h 10000"/>
                        <a:gd name="connsiteX90" fmla="*/ 3602 w 10000"/>
                        <a:gd name="connsiteY90" fmla="*/ 611 h 10000"/>
                        <a:gd name="connsiteX91" fmla="*/ 3067 w 10000"/>
                        <a:gd name="connsiteY91" fmla="*/ 611 h 10000"/>
                        <a:gd name="connsiteX92" fmla="*/ 2580 w 10000"/>
                        <a:gd name="connsiteY92" fmla="*/ 611 h 10000"/>
                        <a:gd name="connsiteX93" fmla="*/ 2046 w 10000"/>
                        <a:gd name="connsiteY93" fmla="*/ 611 h 10000"/>
                        <a:gd name="connsiteX94" fmla="*/ 1556 w 10000"/>
                        <a:gd name="connsiteY94" fmla="*/ 611 h 10000"/>
                        <a:gd name="connsiteX95" fmla="*/ 1024 w 10000"/>
                        <a:gd name="connsiteY95" fmla="*/ 611 h 10000"/>
                        <a:gd name="connsiteX96" fmla="*/ 1024 w 10000"/>
                        <a:gd name="connsiteY96" fmla="*/ 1061 h 10000"/>
                        <a:gd name="connsiteX97" fmla="*/ 1024 w 10000"/>
                        <a:gd name="connsiteY97" fmla="*/ 1640 h 10000"/>
                        <a:gd name="connsiteX98" fmla="*/ 356 w 10000"/>
                        <a:gd name="connsiteY98" fmla="*/ 1640 h 10000"/>
                        <a:gd name="connsiteX99" fmla="*/ 356 w 10000"/>
                        <a:gd name="connsiteY99" fmla="*/ 1897 h 10000"/>
                        <a:gd name="connsiteX0" fmla="*/ 356 w 9957"/>
                        <a:gd name="connsiteY0" fmla="*/ 1897 h 10000"/>
                        <a:gd name="connsiteX1" fmla="*/ 5520 w 9957"/>
                        <a:gd name="connsiteY1" fmla="*/ 6915 h 10000"/>
                        <a:gd name="connsiteX2" fmla="*/ 5155 w 9957"/>
                        <a:gd name="connsiteY2" fmla="*/ 7114 h 10000"/>
                        <a:gd name="connsiteX3" fmla="*/ 4848 w 9957"/>
                        <a:gd name="connsiteY3" fmla="*/ 6907 h 10000"/>
                        <a:gd name="connsiteX4" fmla="*/ 4403 w 9957"/>
                        <a:gd name="connsiteY4" fmla="*/ 6781 h 10000"/>
                        <a:gd name="connsiteX5" fmla="*/ 4182 w 9957"/>
                        <a:gd name="connsiteY5" fmla="*/ 7064 h 10000"/>
                        <a:gd name="connsiteX6" fmla="*/ 3635 w 9957"/>
                        <a:gd name="connsiteY6" fmla="*/ 7281 h 10000"/>
                        <a:gd name="connsiteX7" fmla="*/ 3284 w 9957"/>
                        <a:gd name="connsiteY7" fmla="*/ 7279 h 10000"/>
                        <a:gd name="connsiteX8" fmla="*/ 2517 w 9957"/>
                        <a:gd name="connsiteY8" fmla="*/ 7095 h 10000"/>
                        <a:gd name="connsiteX9" fmla="*/ 2312 w 9957"/>
                        <a:gd name="connsiteY9" fmla="*/ 7195 h 10000"/>
                        <a:gd name="connsiteX10" fmla="*/ 1800 w 9957"/>
                        <a:gd name="connsiteY10" fmla="*/ 6973 h 10000"/>
                        <a:gd name="connsiteX11" fmla="*/ 1574 w 9957"/>
                        <a:gd name="connsiteY11" fmla="*/ 6638 h 10000"/>
                        <a:gd name="connsiteX12" fmla="*/ 1198 w 9957"/>
                        <a:gd name="connsiteY12" fmla="*/ 6729 h 10000"/>
                        <a:gd name="connsiteX13" fmla="*/ 1096 w 9957"/>
                        <a:gd name="connsiteY13" fmla="*/ 6927 h 10000"/>
                        <a:gd name="connsiteX14" fmla="*/ 698 w 9957"/>
                        <a:gd name="connsiteY14" fmla="*/ 7011 h 10000"/>
                        <a:gd name="connsiteX15" fmla="*/ 436 w 9957"/>
                        <a:gd name="connsiteY15" fmla="*/ 7004 h 10000"/>
                        <a:gd name="connsiteX16" fmla="*/ 292 w 9957"/>
                        <a:gd name="connsiteY16" fmla="*/ 7161 h 10000"/>
                        <a:gd name="connsiteX17" fmla="*/ 47 w 9957"/>
                        <a:gd name="connsiteY17" fmla="*/ 6913 h 10000"/>
                        <a:gd name="connsiteX18" fmla="*/ 0 w 9957"/>
                        <a:gd name="connsiteY18" fmla="*/ 7363 h 10000"/>
                        <a:gd name="connsiteX19" fmla="*/ 89 w 9957"/>
                        <a:gd name="connsiteY19" fmla="*/ 7428 h 10000"/>
                        <a:gd name="connsiteX20" fmla="*/ 446 w 9957"/>
                        <a:gd name="connsiteY20" fmla="*/ 7460 h 10000"/>
                        <a:gd name="connsiteX21" fmla="*/ 491 w 9957"/>
                        <a:gd name="connsiteY21" fmla="*/ 7588 h 10000"/>
                        <a:gd name="connsiteX22" fmla="*/ 890 w 9957"/>
                        <a:gd name="connsiteY22" fmla="*/ 7621 h 10000"/>
                        <a:gd name="connsiteX23" fmla="*/ 1112 w 9957"/>
                        <a:gd name="connsiteY23" fmla="*/ 7749 h 10000"/>
                        <a:gd name="connsiteX24" fmla="*/ 1156 w 9957"/>
                        <a:gd name="connsiteY24" fmla="*/ 7974 h 10000"/>
                        <a:gd name="connsiteX25" fmla="*/ 1869 w 9957"/>
                        <a:gd name="connsiteY25" fmla="*/ 8360 h 10000"/>
                        <a:gd name="connsiteX26" fmla="*/ 2046 w 9957"/>
                        <a:gd name="connsiteY26" fmla="*/ 8746 h 10000"/>
                        <a:gd name="connsiteX27" fmla="*/ 2534 w 9957"/>
                        <a:gd name="connsiteY27" fmla="*/ 8939 h 10000"/>
                        <a:gd name="connsiteX28" fmla="*/ 2712 w 9957"/>
                        <a:gd name="connsiteY28" fmla="*/ 9196 h 10000"/>
                        <a:gd name="connsiteX29" fmla="*/ 3067 w 9957"/>
                        <a:gd name="connsiteY29" fmla="*/ 9518 h 10000"/>
                        <a:gd name="connsiteX30" fmla="*/ 3335 w 9957"/>
                        <a:gd name="connsiteY30" fmla="*/ 9614 h 10000"/>
                        <a:gd name="connsiteX31" fmla="*/ 3513 w 9957"/>
                        <a:gd name="connsiteY31" fmla="*/ 9518 h 10000"/>
                        <a:gd name="connsiteX32" fmla="*/ 3957 w 9957"/>
                        <a:gd name="connsiteY32" fmla="*/ 9550 h 10000"/>
                        <a:gd name="connsiteX33" fmla="*/ 4134 w 9957"/>
                        <a:gd name="connsiteY33" fmla="*/ 9486 h 10000"/>
                        <a:gd name="connsiteX34" fmla="*/ 4934 w 9957"/>
                        <a:gd name="connsiteY34" fmla="*/ 9968 h 10000"/>
                        <a:gd name="connsiteX35" fmla="*/ 4979 w 9957"/>
                        <a:gd name="connsiteY35" fmla="*/ 9968 h 10000"/>
                        <a:gd name="connsiteX36" fmla="*/ 5067 w 9957"/>
                        <a:gd name="connsiteY36" fmla="*/ 9904 h 10000"/>
                        <a:gd name="connsiteX37" fmla="*/ 5643 w 9957"/>
                        <a:gd name="connsiteY37" fmla="*/ 9904 h 10000"/>
                        <a:gd name="connsiteX38" fmla="*/ 5734 w 9957"/>
                        <a:gd name="connsiteY38" fmla="*/ 10000 h 10000"/>
                        <a:gd name="connsiteX39" fmla="*/ 6223 w 9957"/>
                        <a:gd name="connsiteY39" fmla="*/ 9871 h 10000"/>
                        <a:gd name="connsiteX40" fmla="*/ 6666 w 9957"/>
                        <a:gd name="connsiteY40" fmla="*/ 9871 h 10000"/>
                        <a:gd name="connsiteX41" fmla="*/ 6978 w 9957"/>
                        <a:gd name="connsiteY41" fmla="*/ 9743 h 10000"/>
                        <a:gd name="connsiteX42" fmla="*/ 7334 w 9957"/>
                        <a:gd name="connsiteY42" fmla="*/ 9486 h 10000"/>
                        <a:gd name="connsiteX43" fmla="*/ 8267 w 9957"/>
                        <a:gd name="connsiteY43" fmla="*/ 9486 h 10000"/>
                        <a:gd name="connsiteX44" fmla="*/ 8267 w 9957"/>
                        <a:gd name="connsiteY44" fmla="*/ 9132 h 10000"/>
                        <a:gd name="connsiteX45" fmla="*/ 7779 w 9957"/>
                        <a:gd name="connsiteY45" fmla="*/ 8971 h 10000"/>
                        <a:gd name="connsiteX46" fmla="*/ 7512 w 9957"/>
                        <a:gd name="connsiteY46" fmla="*/ 8457 h 10000"/>
                        <a:gd name="connsiteX47" fmla="*/ 7157 w 9957"/>
                        <a:gd name="connsiteY47" fmla="*/ 8264 h 10000"/>
                        <a:gd name="connsiteX48" fmla="*/ 6933 w 9957"/>
                        <a:gd name="connsiteY48" fmla="*/ 8006 h 10000"/>
                        <a:gd name="connsiteX49" fmla="*/ 6356 w 9957"/>
                        <a:gd name="connsiteY49" fmla="*/ 7814 h 10000"/>
                        <a:gd name="connsiteX50" fmla="*/ 6489 w 9957"/>
                        <a:gd name="connsiteY50" fmla="*/ 7749 h 10000"/>
                        <a:gd name="connsiteX51" fmla="*/ 6489 w 9957"/>
                        <a:gd name="connsiteY51" fmla="*/ 7588 h 10000"/>
                        <a:gd name="connsiteX52" fmla="*/ 6890 w 9957"/>
                        <a:gd name="connsiteY52" fmla="*/ 7588 h 10000"/>
                        <a:gd name="connsiteX53" fmla="*/ 7110 w 9957"/>
                        <a:gd name="connsiteY53" fmla="*/ 7460 h 10000"/>
                        <a:gd name="connsiteX54" fmla="*/ 7157 w 9957"/>
                        <a:gd name="connsiteY54" fmla="*/ 6527 h 10000"/>
                        <a:gd name="connsiteX55" fmla="*/ 7200 w 9957"/>
                        <a:gd name="connsiteY55" fmla="*/ 6559 h 10000"/>
                        <a:gd name="connsiteX56" fmla="*/ 7042 w 9957"/>
                        <a:gd name="connsiteY56" fmla="*/ 6618 h 10000"/>
                        <a:gd name="connsiteX57" fmla="*/ 6980 w 9957"/>
                        <a:gd name="connsiteY57" fmla="*/ 6745 h 10000"/>
                        <a:gd name="connsiteX58" fmla="*/ 6583 w 9957"/>
                        <a:gd name="connsiteY58" fmla="*/ 6497 h 10000"/>
                        <a:gd name="connsiteX59" fmla="*/ 6511 w 9957"/>
                        <a:gd name="connsiteY59" fmla="*/ 5828 h 10000"/>
                        <a:gd name="connsiteX60" fmla="*/ 6086 w 9957"/>
                        <a:gd name="connsiteY60" fmla="*/ 6118 h 10000"/>
                        <a:gd name="connsiteX61" fmla="*/ 6093 w 9957"/>
                        <a:gd name="connsiteY61" fmla="*/ 6462 h 10000"/>
                        <a:gd name="connsiteX62" fmla="*/ 5751 w 9957"/>
                        <a:gd name="connsiteY62" fmla="*/ 6670 h 10000"/>
                        <a:gd name="connsiteX63" fmla="*/ 9957 w 9957"/>
                        <a:gd name="connsiteY63" fmla="*/ 2572 h 10000"/>
                        <a:gd name="connsiteX64" fmla="*/ 9777 w 9957"/>
                        <a:gd name="connsiteY64" fmla="*/ 2572 h 10000"/>
                        <a:gd name="connsiteX65" fmla="*/ 9644 w 9957"/>
                        <a:gd name="connsiteY65" fmla="*/ 2412 h 10000"/>
                        <a:gd name="connsiteX66" fmla="*/ 9378 w 9957"/>
                        <a:gd name="connsiteY66" fmla="*/ 2347 h 10000"/>
                        <a:gd name="connsiteX67" fmla="*/ 9244 w 9957"/>
                        <a:gd name="connsiteY67" fmla="*/ 2219 h 10000"/>
                        <a:gd name="connsiteX68" fmla="*/ 9157 w 9957"/>
                        <a:gd name="connsiteY68" fmla="*/ 1736 h 10000"/>
                        <a:gd name="connsiteX69" fmla="*/ 9157 w 9957"/>
                        <a:gd name="connsiteY69" fmla="*/ 1061 h 10000"/>
                        <a:gd name="connsiteX70" fmla="*/ 8933 w 9957"/>
                        <a:gd name="connsiteY70" fmla="*/ 836 h 10000"/>
                        <a:gd name="connsiteX71" fmla="*/ 8889 w 9957"/>
                        <a:gd name="connsiteY71" fmla="*/ 611 h 10000"/>
                        <a:gd name="connsiteX72" fmla="*/ 8534 w 9957"/>
                        <a:gd name="connsiteY72" fmla="*/ 289 h 10000"/>
                        <a:gd name="connsiteX73" fmla="*/ 8222 w 9957"/>
                        <a:gd name="connsiteY73" fmla="*/ 161 h 10000"/>
                        <a:gd name="connsiteX74" fmla="*/ 8045 w 9957"/>
                        <a:gd name="connsiteY74" fmla="*/ 0 h 10000"/>
                        <a:gd name="connsiteX75" fmla="*/ 7779 w 9957"/>
                        <a:gd name="connsiteY75" fmla="*/ 161 h 10000"/>
                        <a:gd name="connsiteX76" fmla="*/ 7600 w 9957"/>
                        <a:gd name="connsiteY76" fmla="*/ 129 h 10000"/>
                        <a:gd name="connsiteX77" fmla="*/ 7466 w 9957"/>
                        <a:gd name="connsiteY77" fmla="*/ 418 h 10000"/>
                        <a:gd name="connsiteX78" fmla="*/ 7110 w 9957"/>
                        <a:gd name="connsiteY78" fmla="*/ 482 h 10000"/>
                        <a:gd name="connsiteX79" fmla="*/ 7023 w 9957"/>
                        <a:gd name="connsiteY79" fmla="*/ 707 h 10000"/>
                        <a:gd name="connsiteX80" fmla="*/ 6711 w 9957"/>
                        <a:gd name="connsiteY80" fmla="*/ 707 h 10000"/>
                        <a:gd name="connsiteX81" fmla="*/ 6445 w 9957"/>
                        <a:gd name="connsiteY81" fmla="*/ 611 h 10000"/>
                        <a:gd name="connsiteX82" fmla="*/ 5867 w 9957"/>
                        <a:gd name="connsiteY82" fmla="*/ 611 h 10000"/>
                        <a:gd name="connsiteX83" fmla="*/ 5289 w 9957"/>
                        <a:gd name="connsiteY83" fmla="*/ 611 h 10000"/>
                        <a:gd name="connsiteX84" fmla="*/ 5333 w 9957"/>
                        <a:gd name="connsiteY84" fmla="*/ 482 h 10000"/>
                        <a:gd name="connsiteX85" fmla="*/ 5245 w 9957"/>
                        <a:gd name="connsiteY85" fmla="*/ 482 h 10000"/>
                        <a:gd name="connsiteX86" fmla="*/ 5201 w 9957"/>
                        <a:gd name="connsiteY86" fmla="*/ 611 h 10000"/>
                        <a:gd name="connsiteX87" fmla="*/ 4667 w 9957"/>
                        <a:gd name="connsiteY87" fmla="*/ 611 h 10000"/>
                        <a:gd name="connsiteX88" fmla="*/ 4134 w 9957"/>
                        <a:gd name="connsiteY88" fmla="*/ 611 h 10000"/>
                        <a:gd name="connsiteX89" fmla="*/ 3602 w 9957"/>
                        <a:gd name="connsiteY89" fmla="*/ 611 h 10000"/>
                        <a:gd name="connsiteX90" fmla="*/ 3067 w 9957"/>
                        <a:gd name="connsiteY90" fmla="*/ 611 h 10000"/>
                        <a:gd name="connsiteX91" fmla="*/ 2580 w 9957"/>
                        <a:gd name="connsiteY91" fmla="*/ 611 h 10000"/>
                        <a:gd name="connsiteX92" fmla="*/ 2046 w 9957"/>
                        <a:gd name="connsiteY92" fmla="*/ 611 h 10000"/>
                        <a:gd name="connsiteX93" fmla="*/ 1556 w 9957"/>
                        <a:gd name="connsiteY93" fmla="*/ 611 h 10000"/>
                        <a:gd name="connsiteX94" fmla="*/ 1024 w 9957"/>
                        <a:gd name="connsiteY94" fmla="*/ 611 h 10000"/>
                        <a:gd name="connsiteX95" fmla="*/ 1024 w 9957"/>
                        <a:gd name="connsiteY95" fmla="*/ 1061 h 10000"/>
                        <a:gd name="connsiteX96" fmla="*/ 1024 w 9957"/>
                        <a:gd name="connsiteY96" fmla="*/ 1640 h 10000"/>
                        <a:gd name="connsiteX97" fmla="*/ 356 w 9957"/>
                        <a:gd name="connsiteY97" fmla="*/ 1640 h 10000"/>
                        <a:gd name="connsiteX98" fmla="*/ 356 w 9957"/>
                        <a:gd name="connsiteY98" fmla="*/ 1897 h 10000"/>
                        <a:gd name="connsiteX0" fmla="*/ 358 w 9819"/>
                        <a:gd name="connsiteY0" fmla="*/ 1897 h 10000"/>
                        <a:gd name="connsiteX1" fmla="*/ 5544 w 9819"/>
                        <a:gd name="connsiteY1" fmla="*/ 6915 h 10000"/>
                        <a:gd name="connsiteX2" fmla="*/ 5177 w 9819"/>
                        <a:gd name="connsiteY2" fmla="*/ 7114 h 10000"/>
                        <a:gd name="connsiteX3" fmla="*/ 4869 w 9819"/>
                        <a:gd name="connsiteY3" fmla="*/ 6907 h 10000"/>
                        <a:gd name="connsiteX4" fmla="*/ 4422 w 9819"/>
                        <a:gd name="connsiteY4" fmla="*/ 6781 h 10000"/>
                        <a:gd name="connsiteX5" fmla="*/ 4200 w 9819"/>
                        <a:gd name="connsiteY5" fmla="*/ 7064 h 10000"/>
                        <a:gd name="connsiteX6" fmla="*/ 3651 w 9819"/>
                        <a:gd name="connsiteY6" fmla="*/ 7281 h 10000"/>
                        <a:gd name="connsiteX7" fmla="*/ 3298 w 9819"/>
                        <a:gd name="connsiteY7" fmla="*/ 7279 h 10000"/>
                        <a:gd name="connsiteX8" fmla="*/ 2528 w 9819"/>
                        <a:gd name="connsiteY8" fmla="*/ 7095 h 10000"/>
                        <a:gd name="connsiteX9" fmla="*/ 2322 w 9819"/>
                        <a:gd name="connsiteY9" fmla="*/ 7195 h 10000"/>
                        <a:gd name="connsiteX10" fmla="*/ 1808 w 9819"/>
                        <a:gd name="connsiteY10" fmla="*/ 6973 h 10000"/>
                        <a:gd name="connsiteX11" fmla="*/ 1581 w 9819"/>
                        <a:gd name="connsiteY11" fmla="*/ 6638 h 10000"/>
                        <a:gd name="connsiteX12" fmla="*/ 1203 w 9819"/>
                        <a:gd name="connsiteY12" fmla="*/ 6729 h 10000"/>
                        <a:gd name="connsiteX13" fmla="*/ 1101 w 9819"/>
                        <a:gd name="connsiteY13" fmla="*/ 6927 h 10000"/>
                        <a:gd name="connsiteX14" fmla="*/ 701 w 9819"/>
                        <a:gd name="connsiteY14" fmla="*/ 7011 h 10000"/>
                        <a:gd name="connsiteX15" fmla="*/ 438 w 9819"/>
                        <a:gd name="connsiteY15" fmla="*/ 7004 h 10000"/>
                        <a:gd name="connsiteX16" fmla="*/ 293 w 9819"/>
                        <a:gd name="connsiteY16" fmla="*/ 7161 h 10000"/>
                        <a:gd name="connsiteX17" fmla="*/ 47 w 9819"/>
                        <a:gd name="connsiteY17" fmla="*/ 6913 h 10000"/>
                        <a:gd name="connsiteX18" fmla="*/ 0 w 9819"/>
                        <a:gd name="connsiteY18" fmla="*/ 7363 h 10000"/>
                        <a:gd name="connsiteX19" fmla="*/ 89 w 9819"/>
                        <a:gd name="connsiteY19" fmla="*/ 7428 h 10000"/>
                        <a:gd name="connsiteX20" fmla="*/ 448 w 9819"/>
                        <a:gd name="connsiteY20" fmla="*/ 7460 h 10000"/>
                        <a:gd name="connsiteX21" fmla="*/ 493 w 9819"/>
                        <a:gd name="connsiteY21" fmla="*/ 7588 h 10000"/>
                        <a:gd name="connsiteX22" fmla="*/ 894 w 9819"/>
                        <a:gd name="connsiteY22" fmla="*/ 7621 h 10000"/>
                        <a:gd name="connsiteX23" fmla="*/ 1117 w 9819"/>
                        <a:gd name="connsiteY23" fmla="*/ 7749 h 10000"/>
                        <a:gd name="connsiteX24" fmla="*/ 1161 w 9819"/>
                        <a:gd name="connsiteY24" fmla="*/ 7974 h 10000"/>
                        <a:gd name="connsiteX25" fmla="*/ 1877 w 9819"/>
                        <a:gd name="connsiteY25" fmla="*/ 8360 h 10000"/>
                        <a:gd name="connsiteX26" fmla="*/ 2055 w 9819"/>
                        <a:gd name="connsiteY26" fmla="*/ 8746 h 10000"/>
                        <a:gd name="connsiteX27" fmla="*/ 2545 w 9819"/>
                        <a:gd name="connsiteY27" fmla="*/ 8939 h 10000"/>
                        <a:gd name="connsiteX28" fmla="*/ 2724 w 9819"/>
                        <a:gd name="connsiteY28" fmla="*/ 9196 h 10000"/>
                        <a:gd name="connsiteX29" fmla="*/ 3080 w 9819"/>
                        <a:gd name="connsiteY29" fmla="*/ 9518 h 10000"/>
                        <a:gd name="connsiteX30" fmla="*/ 3349 w 9819"/>
                        <a:gd name="connsiteY30" fmla="*/ 9614 h 10000"/>
                        <a:gd name="connsiteX31" fmla="*/ 3528 w 9819"/>
                        <a:gd name="connsiteY31" fmla="*/ 9518 h 10000"/>
                        <a:gd name="connsiteX32" fmla="*/ 3974 w 9819"/>
                        <a:gd name="connsiteY32" fmla="*/ 9550 h 10000"/>
                        <a:gd name="connsiteX33" fmla="*/ 4152 w 9819"/>
                        <a:gd name="connsiteY33" fmla="*/ 9486 h 10000"/>
                        <a:gd name="connsiteX34" fmla="*/ 4955 w 9819"/>
                        <a:gd name="connsiteY34" fmla="*/ 9968 h 10000"/>
                        <a:gd name="connsiteX35" fmla="*/ 5001 w 9819"/>
                        <a:gd name="connsiteY35" fmla="*/ 9968 h 10000"/>
                        <a:gd name="connsiteX36" fmla="*/ 5089 w 9819"/>
                        <a:gd name="connsiteY36" fmla="*/ 9904 h 10000"/>
                        <a:gd name="connsiteX37" fmla="*/ 5667 w 9819"/>
                        <a:gd name="connsiteY37" fmla="*/ 9904 h 10000"/>
                        <a:gd name="connsiteX38" fmla="*/ 5759 w 9819"/>
                        <a:gd name="connsiteY38" fmla="*/ 10000 h 10000"/>
                        <a:gd name="connsiteX39" fmla="*/ 6250 w 9819"/>
                        <a:gd name="connsiteY39" fmla="*/ 9871 h 10000"/>
                        <a:gd name="connsiteX40" fmla="*/ 6695 w 9819"/>
                        <a:gd name="connsiteY40" fmla="*/ 9871 h 10000"/>
                        <a:gd name="connsiteX41" fmla="*/ 7008 w 9819"/>
                        <a:gd name="connsiteY41" fmla="*/ 9743 h 10000"/>
                        <a:gd name="connsiteX42" fmla="*/ 7366 w 9819"/>
                        <a:gd name="connsiteY42" fmla="*/ 9486 h 10000"/>
                        <a:gd name="connsiteX43" fmla="*/ 8303 w 9819"/>
                        <a:gd name="connsiteY43" fmla="*/ 9486 h 10000"/>
                        <a:gd name="connsiteX44" fmla="*/ 8303 w 9819"/>
                        <a:gd name="connsiteY44" fmla="*/ 9132 h 10000"/>
                        <a:gd name="connsiteX45" fmla="*/ 7813 w 9819"/>
                        <a:gd name="connsiteY45" fmla="*/ 8971 h 10000"/>
                        <a:gd name="connsiteX46" fmla="*/ 7544 w 9819"/>
                        <a:gd name="connsiteY46" fmla="*/ 8457 h 10000"/>
                        <a:gd name="connsiteX47" fmla="*/ 7188 w 9819"/>
                        <a:gd name="connsiteY47" fmla="*/ 8264 h 10000"/>
                        <a:gd name="connsiteX48" fmla="*/ 6963 w 9819"/>
                        <a:gd name="connsiteY48" fmla="*/ 8006 h 10000"/>
                        <a:gd name="connsiteX49" fmla="*/ 6383 w 9819"/>
                        <a:gd name="connsiteY49" fmla="*/ 7814 h 10000"/>
                        <a:gd name="connsiteX50" fmla="*/ 6517 w 9819"/>
                        <a:gd name="connsiteY50" fmla="*/ 7749 h 10000"/>
                        <a:gd name="connsiteX51" fmla="*/ 6517 w 9819"/>
                        <a:gd name="connsiteY51" fmla="*/ 7588 h 10000"/>
                        <a:gd name="connsiteX52" fmla="*/ 6920 w 9819"/>
                        <a:gd name="connsiteY52" fmla="*/ 7588 h 10000"/>
                        <a:gd name="connsiteX53" fmla="*/ 7141 w 9819"/>
                        <a:gd name="connsiteY53" fmla="*/ 7460 h 10000"/>
                        <a:gd name="connsiteX54" fmla="*/ 7188 w 9819"/>
                        <a:gd name="connsiteY54" fmla="*/ 6527 h 10000"/>
                        <a:gd name="connsiteX55" fmla="*/ 7231 w 9819"/>
                        <a:gd name="connsiteY55" fmla="*/ 6559 h 10000"/>
                        <a:gd name="connsiteX56" fmla="*/ 7072 w 9819"/>
                        <a:gd name="connsiteY56" fmla="*/ 6618 h 10000"/>
                        <a:gd name="connsiteX57" fmla="*/ 7010 w 9819"/>
                        <a:gd name="connsiteY57" fmla="*/ 6745 h 10000"/>
                        <a:gd name="connsiteX58" fmla="*/ 6611 w 9819"/>
                        <a:gd name="connsiteY58" fmla="*/ 6497 h 10000"/>
                        <a:gd name="connsiteX59" fmla="*/ 6539 w 9819"/>
                        <a:gd name="connsiteY59" fmla="*/ 5828 h 10000"/>
                        <a:gd name="connsiteX60" fmla="*/ 6112 w 9819"/>
                        <a:gd name="connsiteY60" fmla="*/ 6118 h 10000"/>
                        <a:gd name="connsiteX61" fmla="*/ 6119 w 9819"/>
                        <a:gd name="connsiteY61" fmla="*/ 6462 h 10000"/>
                        <a:gd name="connsiteX62" fmla="*/ 5776 w 9819"/>
                        <a:gd name="connsiteY62" fmla="*/ 6670 h 10000"/>
                        <a:gd name="connsiteX63" fmla="*/ 9819 w 9819"/>
                        <a:gd name="connsiteY63" fmla="*/ 2572 h 10000"/>
                        <a:gd name="connsiteX64" fmla="*/ 9686 w 9819"/>
                        <a:gd name="connsiteY64" fmla="*/ 2412 h 10000"/>
                        <a:gd name="connsiteX65" fmla="*/ 9418 w 9819"/>
                        <a:gd name="connsiteY65" fmla="*/ 2347 h 10000"/>
                        <a:gd name="connsiteX66" fmla="*/ 9284 w 9819"/>
                        <a:gd name="connsiteY66" fmla="*/ 2219 h 10000"/>
                        <a:gd name="connsiteX67" fmla="*/ 9197 w 9819"/>
                        <a:gd name="connsiteY67" fmla="*/ 1736 h 10000"/>
                        <a:gd name="connsiteX68" fmla="*/ 9197 w 9819"/>
                        <a:gd name="connsiteY68" fmla="*/ 1061 h 10000"/>
                        <a:gd name="connsiteX69" fmla="*/ 8972 w 9819"/>
                        <a:gd name="connsiteY69" fmla="*/ 836 h 10000"/>
                        <a:gd name="connsiteX70" fmla="*/ 8927 w 9819"/>
                        <a:gd name="connsiteY70" fmla="*/ 611 h 10000"/>
                        <a:gd name="connsiteX71" fmla="*/ 8571 w 9819"/>
                        <a:gd name="connsiteY71" fmla="*/ 289 h 10000"/>
                        <a:gd name="connsiteX72" fmla="*/ 8258 w 9819"/>
                        <a:gd name="connsiteY72" fmla="*/ 161 h 10000"/>
                        <a:gd name="connsiteX73" fmla="*/ 8080 w 9819"/>
                        <a:gd name="connsiteY73" fmla="*/ 0 h 10000"/>
                        <a:gd name="connsiteX74" fmla="*/ 7813 w 9819"/>
                        <a:gd name="connsiteY74" fmla="*/ 161 h 10000"/>
                        <a:gd name="connsiteX75" fmla="*/ 7633 w 9819"/>
                        <a:gd name="connsiteY75" fmla="*/ 129 h 10000"/>
                        <a:gd name="connsiteX76" fmla="*/ 7498 w 9819"/>
                        <a:gd name="connsiteY76" fmla="*/ 418 h 10000"/>
                        <a:gd name="connsiteX77" fmla="*/ 7141 w 9819"/>
                        <a:gd name="connsiteY77" fmla="*/ 482 h 10000"/>
                        <a:gd name="connsiteX78" fmla="*/ 7053 w 9819"/>
                        <a:gd name="connsiteY78" fmla="*/ 707 h 10000"/>
                        <a:gd name="connsiteX79" fmla="*/ 6740 w 9819"/>
                        <a:gd name="connsiteY79" fmla="*/ 707 h 10000"/>
                        <a:gd name="connsiteX80" fmla="*/ 6473 w 9819"/>
                        <a:gd name="connsiteY80" fmla="*/ 611 h 10000"/>
                        <a:gd name="connsiteX81" fmla="*/ 5892 w 9819"/>
                        <a:gd name="connsiteY81" fmla="*/ 611 h 10000"/>
                        <a:gd name="connsiteX82" fmla="*/ 5312 w 9819"/>
                        <a:gd name="connsiteY82" fmla="*/ 611 h 10000"/>
                        <a:gd name="connsiteX83" fmla="*/ 5356 w 9819"/>
                        <a:gd name="connsiteY83" fmla="*/ 482 h 10000"/>
                        <a:gd name="connsiteX84" fmla="*/ 5268 w 9819"/>
                        <a:gd name="connsiteY84" fmla="*/ 482 h 10000"/>
                        <a:gd name="connsiteX85" fmla="*/ 5223 w 9819"/>
                        <a:gd name="connsiteY85" fmla="*/ 611 h 10000"/>
                        <a:gd name="connsiteX86" fmla="*/ 4687 w 9819"/>
                        <a:gd name="connsiteY86" fmla="*/ 611 h 10000"/>
                        <a:gd name="connsiteX87" fmla="*/ 4152 w 9819"/>
                        <a:gd name="connsiteY87" fmla="*/ 611 h 10000"/>
                        <a:gd name="connsiteX88" fmla="*/ 3618 w 9819"/>
                        <a:gd name="connsiteY88" fmla="*/ 611 h 10000"/>
                        <a:gd name="connsiteX89" fmla="*/ 3080 w 9819"/>
                        <a:gd name="connsiteY89" fmla="*/ 611 h 10000"/>
                        <a:gd name="connsiteX90" fmla="*/ 2591 w 9819"/>
                        <a:gd name="connsiteY90" fmla="*/ 611 h 10000"/>
                        <a:gd name="connsiteX91" fmla="*/ 2055 w 9819"/>
                        <a:gd name="connsiteY91" fmla="*/ 611 h 10000"/>
                        <a:gd name="connsiteX92" fmla="*/ 1563 w 9819"/>
                        <a:gd name="connsiteY92" fmla="*/ 611 h 10000"/>
                        <a:gd name="connsiteX93" fmla="*/ 1028 w 9819"/>
                        <a:gd name="connsiteY93" fmla="*/ 611 h 10000"/>
                        <a:gd name="connsiteX94" fmla="*/ 1028 w 9819"/>
                        <a:gd name="connsiteY94" fmla="*/ 1061 h 10000"/>
                        <a:gd name="connsiteX95" fmla="*/ 1028 w 9819"/>
                        <a:gd name="connsiteY95" fmla="*/ 1640 h 10000"/>
                        <a:gd name="connsiteX96" fmla="*/ 358 w 9819"/>
                        <a:gd name="connsiteY96" fmla="*/ 1640 h 10000"/>
                        <a:gd name="connsiteX97" fmla="*/ 358 w 9819"/>
                        <a:gd name="connsiteY97" fmla="*/ 1897 h 10000"/>
                        <a:gd name="connsiteX0" fmla="*/ 365 w 9865"/>
                        <a:gd name="connsiteY0" fmla="*/ 1897 h 10000"/>
                        <a:gd name="connsiteX1" fmla="*/ 5646 w 9865"/>
                        <a:gd name="connsiteY1" fmla="*/ 6915 h 10000"/>
                        <a:gd name="connsiteX2" fmla="*/ 5272 w 9865"/>
                        <a:gd name="connsiteY2" fmla="*/ 7114 h 10000"/>
                        <a:gd name="connsiteX3" fmla="*/ 4959 w 9865"/>
                        <a:gd name="connsiteY3" fmla="*/ 6907 h 10000"/>
                        <a:gd name="connsiteX4" fmla="*/ 4504 w 9865"/>
                        <a:gd name="connsiteY4" fmla="*/ 6781 h 10000"/>
                        <a:gd name="connsiteX5" fmla="*/ 4277 w 9865"/>
                        <a:gd name="connsiteY5" fmla="*/ 7064 h 10000"/>
                        <a:gd name="connsiteX6" fmla="*/ 3718 w 9865"/>
                        <a:gd name="connsiteY6" fmla="*/ 7281 h 10000"/>
                        <a:gd name="connsiteX7" fmla="*/ 3359 w 9865"/>
                        <a:gd name="connsiteY7" fmla="*/ 7279 h 10000"/>
                        <a:gd name="connsiteX8" fmla="*/ 2575 w 9865"/>
                        <a:gd name="connsiteY8" fmla="*/ 7095 h 10000"/>
                        <a:gd name="connsiteX9" fmla="*/ 2365 w 9865"/>
                        <a:gd name="connsiteY9" fmla="*/ 7195 h 10000"/>
                        <a:gd name="connsiteX10" fmla="*/ 1841 w 9865"/>
                        <a:gd name="connsiteY10" fmla="*/ 6973 h 10000"/>
                        <a:gd name="connsiteX11" fmla="*/ 1610 w 9865"/>
                        <a:gd name="connsiteY11" fmla="*/ 6638 h 10000"/>
                        <a:gd name="connsiteX12" fmla="*/ 1225 w 9865"/>
                        <a:gd name="connsiteY12" fmla="*/ 6729 h 10000"/>
                        <a:gd name="connsiteX13" fmla="*/ 1121 w 9865"/>
                        <a:gd name="connsiteY13" fmla="*/ 6927 h 10000"/>
                        <a:gd name="connsiteX14" fmla="*/ 714 w 9865"/>
                        <a:gd name="connsiteY14" fmla="*/ 7011 h 10000"/>
                        <a:gd name="connsiteX15" fmla="*/ 446 w 9865"/>
                        <a:gd name="connsiteY15" fmla="*/ 7004 h 10000"/>
                        <a:gd name="connsiteX16" fmla="*/ 298 w 9865"/>
                        <a:gd name="connsiteY16" fmla="*/ 7161 h 10000"/>
                        <a:gd name="connsiteX17" fmla="*/ 48 w 9865"/>
                        <a:gd name="connsiteY17" fmla="*/ 6913 h 10000"/>
                        <a:gd name="connsiteX18" fmla="*/ 0 w 9865"/>
                        <a:gd name="connsiteY18" fmla="*/ 7363 h 10000"/>
                        <a:gd name="connsiteX19" fmla="*/ 91 w 9865"/>
                        <a:gd name="connsiteY19" fmla="*/ 7428 h 10000"/>
                        <a:gd name="connsiteX20" fmla="*/ 456 w 9865"/>
                        <a:gd name="connsiteY20" fmla="*/ 7460 h 10000"/>
                        <a:gd name="connsiteX21" fmla="*/ 502 w 9865"/>
                        <a:gd name="connsiteY21" fmla="*/ 7588 h 10000"/>
                        <a:gd name="connsiteX22" fmla="*/ 910 w 9865"/>
                        <a:gd name="connsiteY22" fmla="*/ 7621 h 10000"/>
                        <a:gd name="connsiteX23" fmla="*/ 1138 w 9865"/>
                        <a:gd name="connsiteY23" fmla="*/ 7749 h 10000"/>
                        <a:gd name="connsiteX24" fmla="*/ 1182 w 9865"/>
                        <a:gd name="connsiteY24" fmla="*/ 7974 h 10000"/>
                        <a:gd name="connsiteX25" fmla="*/ 1912 w 9865"/>
                        <a:gd name="connsiteY25" fmla="*/ 8360 h 10000"/>
                        <a:gd name="connsiteX26" fmla="*/ 2093 w 9865"/>
                        <a:gd name="connsiteY26" fmla="*/ 8746 h 10000"/>
                        <a:gd name="connsiteX27" fmla="*/ 2592 w 9865"/>
                        <a:gd name="connsiteY27" fmla="*/ 8939 h 10000"/>
                        <a:gd name="connsiteX28" fmla="*/ 2774 w 9865"/>
                        <a:gd name="connsiteY28" fmla="*/ 9196 h 10000"/>
                        <a:gd name="connsiteX29" fmla="*/ 3137 w 9865"/>
                        <a:gd name="connsiteY29" fmla="*/ 9518 h 10000"/>
                        <a:gd name="connsiteX30" fmla="*/ 3411 w 9865"/>
                        <a:gd name="connsiteY30" fmla="*/ 9614 h 10000"/>
                        <a:gd name="connsiteX31" fmla="*/ 3593 w 9865"/>
                        <a:gd name="connsiteY31" fmla="*/ 9518 h 10000"/>
                        <a:gd name="connsiteX32" fmla="*/ 4047 w 9865"/>
                        <a:gd name="connsiteY32" fmla="*/ 9550 h 10000"/>
                        <a:gd name="connsiteX33" fmla="*/ 4229 w 9865"/>
                        <a:gd name="connsiteY33" fmla="*/ 9486 h 10000"/>
                        <a:gd name="connsiteX34" fmla="*/ 5046 w 9865"/>
                        <a:gd name="connsiteY34" fmla="*/ 9968 h 10000"/>
                        <a:gd name="connsiteX35" fmla="*/ 5093 w 9865"/>
                        <a:gd name="connsiteY35" fmla="*/ 9968 h 10000"/>
                        <a:gd name="connsiteX36" fmla="*/ 5183 w 9865"/>
                        <a:gd name="connsiteY36" fmla="*/ 9904 h 10000"/>
                        <a:gd name="connsiteX37" fmla="*/ 5771 w 9865"/>
                        <a:gd name="connsiteY37" fmla="*/ 9904 h 10000"/>
                        <a:gd name="connsiteX38" fmla="*/ 5865 w 9865"/>
                        <a:gd name="connsiteY38" fmla="*/ 10000 h 10000"/>
                        <a:gd name="connsiteX39" fmla="*/ 6365 w 9865"/>
                        <a:gd name="connsiteY39" fmla="*/ 9871 h 10000"/>
                        <a:gd name="connsiteX40" fmla="*/ 6818 w 9865"/>
                        <a:gd name="connsiteY40" fmla="*/ 9871 h 10000"/>
                        <a:gd name="connsiteX41" fmla="*/ 7137 w 9865"/>
                        <a:gd name="connsiteY41" fmla="*/ 9743 h 10000"/>
                        <a:gd name="connsiteX42" fmla="*/ 7502 w 9865"/>
                        <a:gd name="connsiteY42" fmla="*/ 9486 h 10000"/>
                        <a:gd name="connsiteX43" fmla="*/ 8456 w 9865"/>
                        <a:gd name="connsiteY43" fmla="*/ 9486 h 10000"/>
                        <a:gd name="connsiteX44" fmla="*/ 8456 w 9865"/>
                        <a:gd name="connsiteY44" fmla="*/ 9132 h 10000"/>
                        <a:gd name="connsiteX45" fmla="*/ 7957 w 9865"/>
                        <a:gd name="connsiteY45" fmla="*/ 8971 h 10000"/>
                        <a:gd name="connsiteX46" fmla="*/ 7683 w 9865"/>
                        <a:gd name="connsiteY46" fmla="*/ 8457 h 10000"/>
                        <a:gd name="connsiteX47" fmla="*/ 7321 w 9865"/>
                        <a:gd name="connsiteY47" fmla="*/ 8264 h 10000"/>
                        <a:gd name="connsiteX48" fmla="*/ 7091 w 9865"/>
                        <a:gd name="connsiteY48" fmla="*/ 8006 h 10000"/>
                        <a:gd name="connsiteX49" fmla="*/ 6501 w 9865"/>
                        <a:gd name="connsiteY49" fmla="*/ 7814 h 10000"/>
                        <a:gd name="connsiteX50" fmla="*/ 6637 w 9865"/>
                        <a:gd name="connsiteY50" fmla="*/ 7749 h 10000"/>
                        <a:gd name="connsiteX51" fmla="*/ 6637 w 9865"/>
                        <a:gd name="connsiteY51" fmla="*/ 7588 h 10000"/>
                        <a:gd name="connsiteX52" fmla="*/ 7048 w 9865"/>
                        <a:gd name="connsiteY52" fmla="*/ 7588 h 10000"/>
                        <a:gd name="connsiteX53" fmla="*/ 7273 w 9865"/>
                        <a:gd name="connsiteY53" fmla="*/ 7460 h 10000"/>
                        <a:gd name="connsiteX54" fmla="*/ 7321 w 9865"/>
                        <a:gd name="connsiteY54" fmla="*/ 6527 h 10000"/>
                        <a:gd name="connsiteX55" fmla="*/ 7364 w 9865"/>
                        <a:gd name="connsiteY55" fmla="*/ 6559 h 10000"/>
                        <a:gd name="connsiteX56" fmla="*/ 7202 w 9865"/>
                        <a:gd name="connsiteY56" fmla="*/ 6618 h 10000"/>
                        <a:gd name="connsiteX57" fmla="*/ 7139 w 9865"/>
                        <a:gd name="connsiteY57" fmla="*/ 6745 h 10000"/>
                        <a:gd name="connsiteX58" fmla="*/ 6733 w 9865"/>
                        <a:gd name="connsiteY58" fmla="*/ 6497 h 10000"/>
                        <a:gd name="connsiteX59" fmla="*/ 6660 w 9865"/>
                        <a:gd name="connsiteY59" fmla="*/ 5828 h 10000"/>
                        <a:gd name="connsiteX60" fmla="*/ 6225 w 9865"/>
                        <a:gd name="connsiteY60" fmla="*/ 6118 h 10000"/>
                        <a:gd name="connsiteX61" fmla="*/ 6232 w 9865"/>
                        <a:gd name="connsiteY61" fmla="*/ 6462 h 10000"/>
                        <a:gd name="connsiteX62" fmla="*/ 5882 w 9865"/>
                        <a:gd name="connsiteY62" fmla="*/ 6670 h 10000"/>
                        <a:gd name="connsiteX63" fmla="*/ 9865 w 9865"/>
                        <a:gd name="connsiteY63" fmla="*/ 2412 h 10000"/>
                        <a:gd name="connsiteX64" fmla="*/ 9592 w 9865"/>
                        <a:gd name="connsiteY64" fmla="*/ 2347 h 10000"/>
                        <a:gd name="connsiteX65" fmla="*/ 9455 w 9865"/>
                        <a:gd name="connsiteY65" fmla="*/ 2219 h 10000"/>
                        <a:gd name="connsiteX66" fmla="*/ 9367 w 9865"/>
                        <a:gd name="connsiteY66" fmla="*/ 1736 h 10000"/>
                        <a:gd name="connsiteX67" fmla="*/ 9367 w 9865"/>
                        <a:gd name="connsiteY67" fmla="*/ 1061 h 10000"/>
                        <a:gd name="connsiteX68" fmla="*/ 9137 w 9865"/>
                        <a:gd name="connsiteY68" fmla="*/ 836 h 10000"/>
                        <a:gd name="connsiteX69" fmla="*/ 9092 w 9865"/>
                        <a:gd name="connsiteY69" fmla="*/ 611 h 10000"/>
                        <a:gd name="connsiteX70" fmla="*/ 8729 w 9865"/>
                        <a:gd name="connsiteY70" fmla="*/ 289 h 10000"/>
                        <a:gd name="connsiteX71" fmla="*/ 8410 w 9865"/>
                        <a:gd name="connsiteY71" fmla="*/ 161 h 10000"/>
                        <a:gd name="connsiteX72" fmla="*/ 8229 w 9865"/>
                        <a:gd name="connsiteY72" fmla="*/ 0 h 10000"/>
                        <a:gd name="connsiteX73" fmla="*/ 7957 w 9865"/>
                        <a:gd name="connsiteY73" fmla="*/ 161 h 10000"/>
                        <a:gd name="connsiteX74" fmla="*/ 7774 w 9865"/>
                        <a:gd name="connsiteY74" fmla="*/ 129 h 10000"/>
                        <a:gd name="connsiteX75" fmla="*/ 7636 w 9865"/>
                        <a:gd name="connsiteY75" fmla="*/ 418 h 10000"/>
                        <a:gd name="connsiteX76" fmla="*/ 7273 w 9865"/>
                        <a:gd name="connsiteY76" fmla="*/ 482 h 10000"/>
                        <a:gd name="connsiteX77" fmla="*/ 7183 w 9865"/>
                        <a:gd name="connsiteY77" fmla="*/ 707 h 10000"/>
                        <a:gd name="connsiteX78" fmla="*/ 6864 w 9865"/>
                        <a:gd name="connsiteY78" fmla="*/ 707 h 10000"/>
                        <a:gd name="connsiteX79" fmla="*/ 6592 w 9865"/>
                        <a:gd name="connsiteY79" fmla="*/ 611 h 10000"/>
                        <a:gd name="connsiteX80" fmla="*/ 6001 w 9865"/>
                        <a:gd name="connsiteY80" fmla="*/ 611 h 10000"/>
                        <a:gd name="connsiteX81" fmla="*/ 5410 w 9865"/>
                        <a:gd name="connsiteY81" fmla="*/ 611 h 10000"/>
                        <a:gd name="connsiteX82" fmla="*/ 5455 w 9865"/>
                        <a:gd name="connsiteY82" fmla="*/ 482 h 10000"/>
                        <a:gd name="connsiteX83" fmla="*/ 5365 w 9865"/>
                        <a:gd name="connsiteY83" fmla="*/ 482 h 10000"/>
                        <a:gd name="connsiteX84" fmla="*/ 5319 w 9865"/>
                        <a:gd name="connsiteY84" fmla="*/ 611 h 10000"/>
                        <a:gd name="connsiteX85" fmla="*/ 4773 w 9865"/>
                        <a:gd name="connsiteY85" fmla="*/ 611 h 10000"/>
                        <a:gd name="connsiteX86" fmla="*/ 4229 w 9865"/>
                        <a:gd name="connsiteY86" fmla="*/ 611 h 10000"/>
                        <a:gd name="connsiteX87" fmla="*/ 3685 w 9865"/>
                        <a:gd name="connsiteY87" fmla="*/ 611 h 10000"/>
                        <a:gd name="connsiteX88" fmla="*/ 3137 w 9865"/>
                        <a:gd name="connsiteY88" fmla="*/ 611 h 10000"/>
                        <a:gd name="connsiteX89" fmla="*/ 2639 w 9865"/>
                        <a:gd name="connsiteY89" fmla="*/ 611 h 10000"/>
                        <a:gd name="connsiteX90" fmla="*/ 2093 w 9865"/>
                        <a:gd name="connsiteY90" fmla="*/ 611 h 10000"/>
                        <a:gd name="connsiteX91" fmla="*/ 1592 w 9865"/>
                        <a:gd name="connsiteY91" fmla="*/ 611 h 10000"/>
                        <a:gd name="connsiteX92" fmla="*/ 1047 w 9865"/>
                        <a:gd name="connsiteY92" fmla="*/ 611 h 10000"/>
                        <a:gd name="connsiteX93" fmla="*/ 1047 w 9865"/>
                        <a:gd name="connsiteY93" fmla="*/ 1061 h 10000"/>
                        <a:gd name="connsiteX94" fmla="*/ 1047 w 9865"/>
                        <a:gd name="connsiteY94" fmla="*/ 1640 h 10000"/>
                        <a:gd name="connsiteX95" fmla="*/ 365 w 9865"/>
                        <a:gd name="connsiteY95" fmla="*/ 1640 h 10000"/>
                        <a:gd name="connsiteX96" fmla="*/ 365 w 9865"/>
                        <a:gd name="connsiteY96" fmla="*/ 1897 h 10000"/>
                        <a:gd name="connsiteX0" fmla="*/ 370 w 9723"/>
                        <a:gd name="connsiteY0" fmla="*/ 1897 h 10000"/>
                        <a:gd name="connsiteX1" fmla="*/ 5723 w 9723"/>
                        <a:gd name="connsiteY1" fmla="*/ 6915 h 10000"/>
                        <a:gd name="connsiteX2" fmla="*/ 5344 w 9723"/>
                        <a:gd name="connsiteY2" fmla="*/ 7114 h 10000"/>
                        <a:gd name="connsiteX3" fmla="*/ 5027 w 9723"/>
                        <a:gd name="connsiteY3" fmla="*/ 6907 h 10000"/>
                        <a:gd name="connsiteX4" fmla="*/ 4566 w 9723"/>
                        <a:gd name="connsiteY4" fmla="*/ 6781 h 10000"/>
                        <a:gd name="connsiteX5" fmla="*/ 4336 w 9723"/>
                        <a:gd name="connsiteY5" fmla="*/ 7064 h 10000"/>
                        <a:gd name="connsiteX6" fmla="*/ 3769 w 9723"/>
                        <a:gd name="connsiteY6" fmla="*/ 7281 h 10000"/>
                        <a:gd name="connsiteX7" fmla="*/ 3405 w 9723"/>
                        <a:gd name="connsiteY7" fmla="*/ 7279 h 10000"/>
                        <a:gd name="connsiteX8" fmla="*/ 2610 w 9723"/>
                        <a:gd name="connsiteY8" fmla="*/ 7095 h 10000"/>
                        <a:gd name="connsiteX9" fmla="*/ 2397 w 9723"/>
                        <a:gd name="connsiteY9" fmla="*/ 7195 h 10000"/>
                        <a:gd name="connsiteX10" fmla="*/ 1866 w 9723"/>
                        <a:gd name="connsiteY10" fmla="*/ 6973 h 10000"/>
                        <a:gd name="connsiteX11" fmla="*/ 1632 w 9723"/>
                        <a:gd name="connsiteY11" fmla="*/ 6638 h 10000"/>
                        <a:gd name="connsiteX12" fmla="*/ 1242 w 9723"/>
                        <a:gd name="connsiteY12" fmla="*/ 6729 h 10000"/>
                        <a:gd name="connsiteX13" fmla="*/ 1136 w 9723"/>
                        <a:gd name="connsiteY13" fmla="*/ 6927 h 10000"/>
                        <a:gd name="connsiteX14" fmla="*/ 724 w 9723"/>
                        <a:gd name="connsiteY14" fmla="*/ 7011 h 10000"/>
                        <a:gd name="connsiteX15" fmla="*/ 452 w 9723"/>
                        <a:gd name="connsiteY15" fmla="*/ 7004 h 10000"/>
                        <a:gd name="connsiteX16" fmla="*/ 302 w 9723"/>
                        <a:gd name="connsiteY16" fmla="*/ 7161 h 10000"/>
                        <a:gd name="connsiteX17" fmla="*/ 49 w 9723"/>
                        <a:gd name="connsiteY17" fmla="*/ 6913 h 10000"/>
                        <a:gd name="connsiteX18" fmla="*/ 0 w 9723"/>
                        <a:gd name="connsiteY18" fmla="*/ 7363 h 10000"/>
                        <a:gd name="connsiteX19" fmla="*/ 92 w 9723"/>
                        <a:gd name="connsiteY19" fmla="*/ 7428 h 10000"/>
                        <a:gd name="connsiteX20" fmla="*/ 462 w 9723"/>
                        <a:gd name="connsiteY20" fmla="*/ 7460 h 10000"/>
                        <a:gd name="connsiteX21" fmla="*/ 509 w 9723"/>
                        <a:gd name="connsiteY21" fmla="*/ 7588 h 10000"/>
                        <a:gd name="connsiteX22" fmla="*/ 922 w 9723"/>
                        <a:gd name="connsiteY22" fmla="*/ 7621 h 10000"/>
                        <a:gd name="connsiteX23" fmla="*/ 1154 w 9723"/>
                        <a:gd name="connsiteY23" fmla="*/ 7749 h 10000"/>
                        <a:gd name="connsiteX24" fmla="*/ 1198 w 9723"/>
                        <a:gd name="connsiteY24" fmla="*/ 7974 h 10000"/>
                        <a:gd name="connsiteX25" fmla="*/ 1938 w 9723"/>
                        <a:gd name="connsiteY25" fmla="*/ 8360 h 10000"/>
                        <a:gd name="connsiteX26" fmla="*/ 2122 w 9723"/>
                        <a:gd name="connsiteY26" fmla="*/ 8746 h 10000"/>
                        <a:gd name="connsiteX27" fmla="*/ 2627 w 9723"/>
                        <a:gd name="connsiteY27" fmla="*/ 8939 h 10000"/>
                        <a:gd name="connsiteX28" fmla="*/ 2812 w 9723"/>
                        <a:gd name="connsiteY28" fmla="*/ 9196 h 10000"/>
                        <a:gd name="connsiteX29" fmla="*/ 3180 w 9723"/>
                        <a:gd name="connsiteY29" fmla="*/ 9518 h 10000"/>
                        <a:gd name="connsiteX30" fmla="*/ 3458 w 9723"/>
                        <a:gd name="connsiteY30" fmla="*/ 9614 h 10000"/>
                        <a:gd name="connsiteX31" fmla="*/ 3642 w 9723"/>
                        <a:gd name="connsiteY31" fmla="*/ 9518 h 10000"/>
                        <a:gd name="connsiteX32" fmla="*/ 4102 w 9723"/>
                        <a:gd name="connsiteY32" fmla="*/ 9550 h 10000"/>
                        <a:gd name="connsiteX33" fmla="*/ 4287 w 9723"/>
                        <a:gd name="connsiteY33" fmla="*/ 9486 h 10000"/>
                        <a:gd name="connsiteX34" fmla="*/ 5115 w 9723"/>
                        <a:gd name="connsiteY34" fmla="*/ 9968 h 10000"/>
                        <a:gd name="connsiteX35" fmla="*/ 5163 w 9723"/>
                        <a:gd name="connsiteY35" fmla="*/ 9968 h 10000"/>
                        <a:gd name="connsiteX36" fmla="*/ 5254 w 9723"/>
                        <a:gd name="connsiteY36" fmla="*/ 9904 h 10000"/>
                        <a:gd name="connsiteX37" fmla="*/ 5850 w 9723"/>
                        <a:gd name="connsiteY37" fmla="*/ 9904 h 10000"/>
                        <a:gd name="connsiteX38" fmla="*/ 5945 w 9723"/>
                        <a:gd name="connsiteY38" fmla="*/ 10000 h 10000"/>
                        <a:gd name="connsiteX39" fmla="*/ 6452 w 9723"/>
                        <a:gd name="connsiteY39" fmla="*/ 9871 h 10000"/>
                        <a:gd name="connsiteX40" fmla="*/ 6911 w 9723"/>
                        <a:gd name="connsiteY40" fmla="*/ 9871 h 10000"/>
                        <a:gd name="connsiteX41" fmla="*/ 7235 w 9723"/>
                        <a:gd name="connsiteY41" fmla="*/ 9743 h 10000"/>
                        <a:gd name="connsiteX42" fmla="*/ 7605 w 9723"/>
                        <a:gd name="connsiteY42" fmla="*/ 9486 h 10000"/>
                        <a:gd name="connsiteX43" fmla="*/ 8572 w 9723"/>
                        <a:gd name="connsiteY43" fmla="*/ 9486 h 10000"/>
                        <a:gd name="connsiteX44" fmla="*/ 8572 w 9723"/>
                        <a:gd name="connsiteY44" fmla="*/ 9132 h 10000"/>
                        <a:gd name="connsiteX45" fmla="*/ 8066 w 9723"/>
                        <a:gd name="connsiteY45" fmla="*/ 8971 h 10000"/>
                        <a:gd name="connsiteX46" fmla="*/ 7788 w 9723"/>
                        <a:gd name="connsiteY46" fmla="*/ 8457 h 10000"/>
                        <a:gd name="connsiteX47" fmla="*/ 7421 w 9723"/>
                        <a:gd name="connsiteY47" fmla="*/ 8264 h 10000"/>
                        <a:gd name="connsiteX48" fmla="*/ 7188 w 9723"/>
                        <a:gd name="connsiteY48" fmla="*/ 8006 h 10000"/>
                        <a:gd name="connsiteX49" fmla="*/ 6590 w 9723"/>
                        <a:gd name="connsiteY49" fmla="*/ 7814 h 10000"/>
                        <a:gd name="connsiteX50" fmla="*/ 6728 w 9723"/>
                        <a:gd name="connsiteY50" fmla="*/ 7749 h 10000"/>
                        <a:gd name="connsiteX51" fmla="*/ 6728 w 9723"/>
                        <a:gd name="connsiteY51" fmla="*/ 7588 h 10000"/>
                        <a:gd name="connsiteX52" fmla="*/ 7144 w 9723"/>
                        <a:gd name="connsiteY52" fmla="*/ 7588 h 10000"/>
                        <a:gd name="connsiteX53" fmla="*/ 7373 w 9723"/>
                        <a:gd name="connsiteY53" fmla="*/ 7460 h 10000"/>
                        <a:gd name="connsiteX54" fmla="*/ 7421 w 9723"/>
                        <a:gd name="connsiteY54" fmla="*/ 6527 h 10000"/>
                        <a:gd name="connsiteX55" fmla="*/ 7465 w 9723"/>
                        <a:gd name="connsiteY55" fmla="*/ 6559 h 10000"/>
                        <a:gd name="connsiteX56" fmla="*/ 7301 w 9723"/>
                        <a:gd name="connsiteY56" fmla="*/ 6618 h 10000"/>
                        <a:gd name="connsiteX57" fmla="*/ 7237 w 9723"/>
                        <a:gd name="connsiteY57" fmla="*/ 6745 h 10000"/>
                        <a:gd name="connsiteX58" fmla="*/ 6825 w 9723"/>
                        <a:gd name="connsiteY58" fmla="*/ 6497 h 10000"/>
                        <a:gd name="connsiteX59" fmla="*/ 6751 w 9723"/>
                        <a:gd name="connsiteY59" fmla="*/ 5828 h 10000"/>
                        <a:gd name="connsiteX60" fmla="*/ 6310 w 9723"/>
                        <a:gd name="connsiteY60" fmla="*/ 6118 h 10000"/>
                        <a:gd name="connsiteX61" fmla="*/ 6317 w 9723"/>
                        <a:gd name="connsiteY61" fmla="*/ 6462 h 10000"/>
                        <a:gd name="connsiteX62" fmla="*/ 5962 w 9723"/>
                        <a:gd name="connsiteY62" fmla="*/ 6670 h 10000"/>
                        <a:gd name="connsiteX63" fmla="*/ 9723 w 9723"/>
                        <a:gd name="connsiteY63" fmla="*/ 2347 h 10000"/>
                        <a:gd name="connsiteX64" fmla="*/ 9584 w 9723"/>
                        <a:gd name="connsiteY64" fmla="*/ 2219 h 10000"/>
                        <a:gd name="connsiteX65" fmla="*/ 9495 w 9723"/>
                        <a:gd name="connsiteY65" fmla="*/ 1736 h 10000"/>
                        <a:gd name="connsiteX66" fmla="*/ 9495 w 9723"/>
                        <a:gd name="connsiteY66" fmla="*/ 1061 h 10000"/>
                        <a:gd name="connsiteX67" fmla="*/ 9262 w 9723"/>
                        <a:gd name="connsiteY67" fmla="*/ 836 h 10000"/>
                        <a:gd name="connsiteX68" fmla="*/ 9216 w 9723"/>
                        <a:gd name="connsiteY68" fmla="*/ 611 h 10000"/>
                        <a:gd name="connsiteX69" fmla="*/ 8848 w 9723"/>
                        <a:gd name="connsiteY69" fmla="*/ 289 h 10000"/>
                        <a:gd name="connsiteX70" fmla="*/ 8525 w 9723"/>
                        <a:gd name="connsiteY70" fmla="*/ 161 h 10000"/>
                        <a:gd name="connsiteX71" fmla="*/ 8342 w 9723"/>
                        <a:gd name="connsiteY71" fmla="*/ 0 h 10000"/>
                        <a:gd name="connsiteX72" fmla="*/ 8066 w 9723"/>
                        <a:gd name="connsiteY72" fmla="*/ 161 h 10000"/>
                        <a:gd name="connsiteX73" fmla="*/ 7880 w 9723"/>
                        <a:gd name="connsiteY73" fmla="*/ 129 h 10000"/>
                        <a:gd name="connsiteX74" fmla="*/ 7740 w 9723"/>
                        <a:gd name="connsiteY74" fmla="*/ 418 h 10000"/>
                        <a:gd name="connsiteX75" fmla="*/ 7373 w 9723"/>
                        <a:gd name="connsiteY75" fmla="*/ 482 h 10000"/>
                        <a:gd name="connsiteX76" fmla="*/ 7281 w 9723"/>
                        <a:gd name="connsiteY76" fmla="*/ 707 h 10000"/>
                        <a:gd name="connsiteX77" fmla="*/ 6958 w 9723"/>
                        <a:gd name="connsiteY77" fmla="*/ 707 h 10000"/>
                        <a:gd name="connsiteX78" fmla="*/ 6682 w 9723"/>
                        <a:gd name="connsiteY78" fmla="*/ 611 h 10000"/>
                        <a:gd name="connsiteX79" fmla="*/ 6083 w 9723"/>
                        <a:gd name="connsiteY79" fmla="*/ 611 h 10000"/>
                        <a:gd name="connsiteX80" fmla="*/ 5484 w 9723"/>
                        <a:gd name="connsiteY80" fmla="*/ 611 h 10000"/>
                        <a:gd name="connsiteX81" fmla="*/ 5530 w 9723"/>
                        <a:gd name="connsiteY81" fmla="*/ 482 h 10000"/>
                        <a:gd name="connsiteX82" fmla="*/ 5438 w 9723"/>
                        <a:gd name="connsiteY82" fmla="*/ 482 h 10000"/>
                        <a:gd name="connsiteX83" fmla="*/ 5392 w 9723"/>
                        <a:gd name="connsiteY83" fmla="*/ 611 h 10000"/>
                        <a:gd name="connsiteX84" fmla="*/ 4838 w 9723"/>
                        <a:gd name="connsiteY84" fmla="*/ 611 h 10000"/>
                        <a:gd name="connsiteX85" fmla="*/ 4287 w 9723"/>
                        <a:gd name="connsiteY85" fmla="*/ 611 h 10000"/>
                        <a:gd name="connsiteX86" fmla="*/ 3735 w 9723"/>
                        <a:gd name="connsiteY86" fmla="*/ 611 h 10000"/>
                        <a:gd name="connsiteX87" fmla="*/ 3180 w 9723"/>
                        <a:gd name="connsiteY87" fmla="*/ 611 h 10000"/>
                        <a:gd name="connsiteX88" fmla="*/ 2675 w 9723"/>
                        <a:gd name="connsiteY88" fmla="*/ 611 h 10000"/>
                        <a:gd name="connsiteX89" fmla="*/ 2122 w 9723"/>
                        <a:gd name="connsiteY89" fmla="*/ 611 h 10000"/>
                        <a:gd name="connsiteX90" fmla="*/ 1614 w 9723"/>
                        <a:gd name="connsiteY90" fmla="*/ 611 h 10000"/>
                        <a:gd name="connsiteX91" fmla="*/ 1061 w 9723"/>
                        <a:gd name="connsiteY91" fmla="*/ 611 h 10000"/>
                        <a:gd name="connsiteX92" fmla="*/ 1061 w 9723"/>
                        <a:gd name="connsiteY92" fmla="*/ 1061 h 10000"/>
                        <a:gd name="connsiteX93" fmla="*/ 1061 w 9723"/>
                        <a:gd name="connsiteY93" fmla="*/ 1640 h 10000"/>
                        <a:gd name="connsiteX94" fmla="*/ 370 w 9723"/>
                        <a:gd name="connsiteY94" fmla="*/ 1640 h 10000"/>
                        <a:gd name="connsiteX95" fmla="*/ 370 w 9723"/>
                        <a:gd name="connsiteY95" fmla="*/ 1897 h 10000"/>
                        <a:gd name="connsiteX0" fmla="*/ 381 w 9857"/>
                        <a:gd name="connsiteY0" fmla="*/ 1897 h 10000"/>
                        <a:gd name="connsiteX1" fmla="*/ 5886 w 9857"/>
                        <a:gd name="connsiteY1" fmla="*/ 6915 h 10000"/>
                        <a:gd name="connsiteX2" fmla="*/ 5496 w 9857"/>
                        <a:gd name="connsiteY2" fmla="*/ 7114 h 10000"/>
                        <a:gd name="connsiteX3" fmla="*/ 5170 w 9857"/>
                        <a:gd name="connsiteY3" fmla="*/ 6907 h 10000"/>
                        <a:gd name="connsiteX4" fmla="*/ 4696 w 9857"/>
                        <a:gd name="connsiteY4" fmla="*/ 6781 h 10000"/>
                        <a:gd name="connsiteX5" fmla="*/ 4460 w 9857"/>
                        <a:gd name="connsiteY5" fmla="*/ 7064 h 10000"/>
                        <a:gd name="connsiteX6" fmla="*/ 3876 w 9857"/>
                        <a:gd name="connsiteY6" fmla="*/ 7281 h 10000"/>
                        <a:gd name="connsiteX7" fmla="*/ 3502 w 9857"/>
                        <a:gd name="connsiteY7" fmla="*/ 7279 h 10000"/>
                        <a:gd name="connsiteX8" fmla="*/ 2684 w 9857"/>
                        <a:gd name="connsiteY8" fmla="*/ 7095 h 10000"/>
                        <a:gd name="connsiteX9" fmla="*/ 2465 w 9857"/>
                        <a:gd name="connsiteY9" fmla="*/ 7195 h 10000"/>
                        <a:gd name="connsiteX10" fmla="*/ 1919 w 9857"/>
                        <a:gd name="connsiteY10" fmla="*/ 6973 h 10000"/>
                        <a:gd name="connsiteX11" fmla="*/ 1678 w 9857"/>
                        <a:gd name="connsiteY11" fmla="*/ 6638 h 10000"/>
                        <a:gd name="connsiteX12" fmla="*/ 1277 w 9857"/>
                        <a:gd name="connsiteY12" fmla="*/ 6729 h 10000"/>
                        <a:gd name="connsiteX13" fmla="*/ 1168 w 9857"/>
                        <a:gd name="connsiteY13" fmla="*/ 6927 h 10000"/>
                        <a:gd name="connsiteX14" fmla="*/ 745 w 9857"/>
                        <a:gd name="connsiteY14" fmla="*/ 7011 h 10000"/>
                        <a:gd name="connsiteX15" fmla="*/ 465 w 9857"/>
                        <a:gd name="connsiteY15" fmla="*/ 7004 h 10000"/>
                        <a:gd name="connsiteX16" fmla="*/ 311 w 9857"/>
                        <a:gd name="connsiteY16" fmla="*/ 7161 h 10000"/>
                        <a:gd name="connsiteX17" fmla="*/ 50 w 9857"/>
                        <a:gd name="connsiteY17" fmla="*/ 6913 h 10000"/>
                        <a:gd name="connsiteX18" fmla="*/ 0 w 9857"/>
                        <a:gd name="connsiteY18" fmla="*/ 7363 h 10000"/>
                        <a:gd name="connsiteX19" fmla="*/ 95 w 9857"/>
                        <a:gd name="connsiteY19" fmla="*/ 7428 h 10000"/>
                        <a:gd name="connsiteX20" fmla="*/ 475 w 9857"/>
                        <a:gd name="connsiteY20" fmla="*/ 7460 h 10000"/>
                        <a:gd name="connsiteX21" fmla="*/ 524 w 9857"/>
                        <a:gd name="connsiteY21" fmla="*/ 7588 h 10000"/>
                        <a:gd name="connsiteX22" fmla="*/ 948 w 9857"/>
                        <a:gd name="connsiteY22" fmla="*/ 7621 h 10000"/>
                        <a:gd name="connsiteX23" fmla="*/ 1187 w 9857"/>
                        <a:gd name="connsiteY23" fmla="*/ 7749 h 10000"/>
                        <a:gd name="connsiteX24" fmla="*/ 1232 w 9857"/>
                        <a:gd name="connsiteY24" fmla="*/ 7974 h 10000"/>
                        <a:gd name="connsiteX25" fmla="*/ 1993 w 9857"/>
                        <a:gd name="connsiteY25" fmla="*/ 8360 h 10000"/>
                        <a:gd name="connsiteX26" fmla="*/ 2182 w 9857"/>
                        <a:gd name="connsiteY26" fmla="*/ 8746 h 10000"/>
                        <a:gd name="connsiteX27" fmla="*/ 2702 w 9857"/>
                        <a:gd name="connsiteY27" fmla="*/ 8939 h 10000"/>
                        <a:gd name="connsiteX28" fmla="*/ 2892 w 9857"/>
                        <a:gd name="connsiteY28" fmla="*/ 9196 h 10000"/>
                        <a:gd name="connsiteX29" fmla="*/ 3271 w 9857"/>
                        <a:gd name="connsiteY29" fmla="*/ 9518 h 10000"/>
                        <a:gd name="connsiteX30" fmla="*/ 3557 w 9857"/>
                        <a:gd name="connsiteY30" fmla="*/ 9614 h 10000"/>
                        <a:gd name="connsiteX31" fmla="*/ 3746 w 9857"/>
                        <a:gd name="connsiteY31" fmla="*/ 9518 h 10000"/>
                        <a:gd name="connsiteX32" fmla="*/ 4219 w 9857"/>
                        <a:gd name="connsiteY32" fmla="*/ 9550 h 10000"/>
                        <a:gd name="connsiteX33" fmla="*/ 4409 w 9857"/>
                        <a:gd name="connsiteY33" fmla="*/ 9486 h 10000"/>
                        <a:gd name="connsiteX34" fmla="*/ 5261 w 9857"/>
                        <a:gd name="connsiteY34" fmla="*/ 9968 h 10000"/>
                        <a:gd name="connsiteX35" fmla="*/ 5310 w 9857"/>
                        <a:gd name="connsiteY35" fmla="*/ 9968 h 10000"/>
                        <a:gd name="connsiteX36" fmla="*/ 5404 w 9857"/>
                        <a:gd name="connsiteY36" fmla="*/ 9904 h 10000"/>
                        <a:gd name="connsiteX37" fmla="*/ 6017 w 9857"/>
                        <a:gd name="connsiteY37" fmla="*/ 9904 h 10000"/>
                        <a:gd name="connsiteX38" fmla="*/ 6114 w 9857"/>
                        <a:gd name="connsiteY38" fmla="*/ 10000 h 10000"/>
                        <a:gd name="connsiteX39" fmla="*/ 6636 w 9857"/>
                        <a:gd name="connsiteY39" fmla="*/ 9871 h 10000"/>
                        <a:gd name="connsiteX40" fmla="*/ 7108 w 9857"/>
                        <a:gd name="connsiteY40" fmla="*/ 9871 h 10000"/>
                        <a:gd name="connsiteX41" fmla="*/ 7441 w 9857"/>
                        <a:gd name="connsiteY41" fmla="*/ 9743 h 10000"/>
                        <a:gd name="connsiteX42" fmla="*/ 7822 w 9857"/>
                        <a:gd name="connsiteY42" fmla="*/ 9486 h 10000"/>
                        <a:gd name="connsiteX43" fmla="*/ 8816 w 9857"/>
                        <a:gd name="connsiteY43" fmla="*/ 9486 h 10000"/>
                        <a:gd name="connsiteX44" fmla="*/ 8816 w 9857"/>
                        <a:gd name="connsiteY44" fmla="*/ 9132 h 10000"/>
                        <a:gd name="connsiteX45" fmla="*/ 8296 w 9857"/>
                        <a:gd name="connsiteY45" fmla="*/ 8971 h 10000"/>
                        <a:gd name="connsiteX46" fmla="*/ 8010 w 9857"/>
                        <a:gd name="connsiteY46" fmla="*/ 8457 h 10000"/>
                        <a:gd name="connsiteX47" fmla="*/ 7632 w 9857"/>
                        <a:gd name="connsiteY47" fmla="*/ 8264 h 10000"/>
                        <a:gd name="connsiteX48" fmla="*/ 7393 w 9857"/>
                        <a:gd name="connsiteY48" fmla="*/ 8006 h 10000"/>
                        <a:gd name="connsiteX49" fmla="*/ 6778 w 9857"/>
                        <a:gd name="connsiteY49" fmla="*/ 7814 h 10000"/>
                        <a:gd name="connsiteX50" fmla="*/ 6920 w 9857"/>
                        <a:gd name="connsiteY50" fmla="*/ 7749 h 10000"/>
                        <a:gd name="connsiteX51" fmla="*/ 6920 w 9857"/>
                        <a:gd name="connsiteY51" fmla="*/ 7588 h 10000"/>
                        <a:gd name="connsiteX52" fmla="*/ 7348 w 9857"/>
                        <a:gd name="connsiteY52" fmla="*/ 7588 h 10000"/>
                        <a:gd name="connsiteX53" fmla="*/ 7583 w 9857"/>
                        <a:gd name="connsiteY53" fmla="*/ 7460 h 10000"/>
                        <a:gd name="connsiteX54" fmla="*/ 7632 w 9857"/>
                        <a:gd name="connsiteY54" fmla="*/ 6527 h 10000"/>
                        <a:gd name="connsiteX55" fmla="*/ 7678 w 9857"/>
                        <a:gd name="connsiteY55" fmla="*/ 6559 h 10000"/>
                        <a:gd name="connsiteX56" fmla="*/ 7509 w 9857"/>
                        <a:gd name="connsiteY56" fmla="*/ 6618 h 10000"/>
                        <a:gd name="connsiteX57" fmla="*/ 7443 w 9857"/>
                        <a:gd name="connsiteY57" fmla="*/ 6745 h 10000"/>
                        <a:gd name="connsiteX58" fmla="*/ 7019 w 9857"/>
                        <a:gd name="connsiteY58" fmla="*/ 6497 h 10000"/>
                        <a:gd name="connsiteX59" fmla="*/ 6943 w 9857"/>
                        <a:gd name="connsiteY59" fmla="*/ 5828 h 10000"/>
                        <a:gd name="connsiteX60" fmla="*/ 6490 w 9857"/>
                        <a:gd name="connsiteY60" fmla="*/ 6118 h 10000"/>
                        <a:gd name="connsiteX61" fmla="*/ 6497 w 9857"/>
                        <a:gd name="connsiteY61" fmla="*/ 6462 h 10000"/>
                        <a:gd name="connsiteX62" fmla="*/ 6132 w 9857"/>
                        <a:gd name="connsiteY62" fmla="*/ 6670 h 10000"/>
                        <a:gd name="connsiteX63" fmla="*/ 9857 w 9857"/>
                        <a:gd name="connsiteY63" fmla="*/ 2219 h 10000"/>
                        <a:gd name="connsiteX64" fmla="*/ 9766 w 9857"/>
                        <a:gd name="connsiteY64" fmla="*/ 1736 h 10000"/>
                        <a:gd name="connsiteX65" fmla="*/ 9766 w 9857"/>
                        <a:gd name="connsiteY65" fmla="*/ 1061 h 10000"/>
                        <a:gd name="connsiteX66" fmla="*/ 9526 w 9857"/>
                        <a:gd name="connsiteY66" fmla="*/ 836 h 10000"/>
                        <a:gd name="connsiteX67" fmla="*/ 9479 w 9857"/>
                        <a:gd name="connsiteY67" fmla="*/ 611 h 10000"/>
                        <a:gd name="connsiteX68" fmla="*/ 9100 w 9857"/>
                        <a:gd name="connsiteY68" fmla="*/ 289 h 10000"/>
                        <a:gd name="connsiteX69" fmla="*/ 8768 w 9857"/>
                        <a:gd name="connsiteY69" fmla="*/ 161 h 10000"/>
                        <a:gd name="connsiteX70" fmla="*/ 8580 w 9857"/>
                        <a:gd name="connsiteY70" fmla="*/ 0 h 10000"/>
                        <a:gd name="connsiteX71" fmla="*/ 8296 w 9857"/>
                        <a:gd name="connsiteY71" fmla="*/ 161 h 10000"/>
                        <a:gd name="connsiteX72" fmla="*/ 8104 w 9857"/>
                        <a:gd name="connsiteY72" fmla="*/ 129 h 10000"/>
                        <a:gd name="connsiteX73" fmla="*/ 7961 w 9857"/>
                        <a:gd name="connsiteY73" fmla="*/ 418 h 10000"/>
                        <a:gd name="connsiteX74" fmla="*/ 7583 w 9857"/>
                        <a:gd name="connsiteY74" fmla="*/ 482 h 10000"/>
                        <a:gd name="connsiteX75" fmla="*/ 7488 w 9857"/>
                        <a:gd name="connsiteY75" fmla="*/ 707 h 10000"/>
                        <a:gd name="connsiteX76" fmla="*/ 7156 w 9857"/>
                        <a:gd name="connsiteY76" fmla="*/ 707 h 10000"/>
                        <a:gd name="connsiteX77" fmla="*/ 6872 w 9857"/>
                        <a:gd name="connsiteY77" fmla="*/ 611 h 10000"/>
                        <a:gd name="connsiteX78" fmla="*/ 6256 w 9857"/>
                        <a:gd name="connsiteY78" fmla="*/ 611 h 10000"/>
                        <a:gd name="connsiteX79" fmla="*/ 5640 w 9857"/>
                        <a:gd name="connsiteY79" fmla="*/ 611 h 10000"/>
                        <a:gd name="connsiteX80" fmla="*/ 5688 w 9857"/>
                        <a:gd name="connsiteY80" fmla="*/ 482 h 10000"/>
                        <a:gd name="connsiteX81" fmla="*/ 5593 w 9857"/>
                        <a:gd name="connsiteY81" fmla="*/ 482 h 10000"/>
                        <a:gd name="connsiteX82" fmla="*/ 5546 w 9857"/>
                        <a:gd name="connsiteY82" fmla="*/ 611 h 10000"/>
                        <a:gd name="connsiteX83" fmla="*/ 4976 w 9857"/>
                        <a:gd name="connsiteY83" fmla="*/ 611 h 10000"/>
                        <a:gd name="connsiteX84" fmla="*/ 4409 w 9857"/>
                        <a:gd name="connsiteY84" fmla="*/ 611 h 10000"/>
                        <a:gd name="connsiteX85" fmla="*/ 3841 w 9857"/>
                        <a:gd name="connsiteY85" fmla="*/ 611 h 10000"/>
                        <a:gd name="connsiteX86" fmla="*/ 3271 w 9857"/>
                        <a:gd name="connsiteY86" fmla="*/ 611 h 10000"/>
                        <a:gd name="connsiteX87" fmla="*/ 2751 w 9857"/>
                        <a:gd name="connsiteY87" fmla="*/ 611 h 10000"/>
                        <a:gd name="connsiteX88" fmla="*/ 2182 w 9857"/>
                        <a:gd name="connsiteY88" fmla="*/ 611 h 10000"/>
                        <a:gd name="connsiteX89" fmla="*/ 1660 w 9857"/>
                        <a:gd name="connsiteY89" fmla="*/ 611 h 10000"/>
                        <a:gd name="connsiteX90" fmla="*/ 1091 w 9857"/>
                        <a:gd name="connsiteY90" fmla="*/ 611 h 10000"/>
                        <a:gd name="connsiteX91" fmla="*/ 1091 w 9857"/>
                        <a:gd name="connsiteY91" fmla="*/ 1061 h 10000"/>
                        <a:gd name="connsiteX92" fmla="*/ 1091 w 9857"/>
                        <a:gd name="connsiteY92" fmla="*/ 1640 h 10000"/>
                        <a:gd name="connsiteX93" fmla="*/ 381 w 9857"/>
                        <a:gd name="connsiteY93" fmla="*/ 1640 h 10000"/>
                        <a:gd name="connsiteX94" fmla="*/ 381 w 9857"/>
                        <a:gd name="connsiteY94" fmla="*/ 1897 h 10000"/>
                        <a:gd name="connsiteX0" fmla="*/ 387 w 9908"/>
                        <a:gd name="connsiteY0" fmla="*/ 1897 h 10000"/>
                        <a:gd name="connsiteX1" fmla="*/ 5971 w 9908"/>
                        <a:gd name="connsiteY1" fmla="*/ 6915 h 10000"/>
                        <a:gd name="connsiteX2" fmla="*/ 5576 w 9908"/>
                        <a:gd name="connsiteY2" fmla="*/ 7114 h 10000"/>
                        <a:gd name="connsiteX3" fmla="*/ 5245 w 9908"/>
                        <a:gd name="connsiteY3" fmla="*/ 6907 h 10000"/>
                        <a:gd name="connsiteX4" fmla="*/ 4764 w 9908"/>
                        <a:gd name="connsiteY4" fmla="*/ 6781 h 10000"/>
                        <a:gd name="connsiteX5" fmla="*/ 4525 w 9908"/>
                        <a:gd name="connsiteY5" fmla="*/ 7064 h 10000"/>
                        <a:gd name="connsiteX6" fmla="*/ 3932 w 9908"/>
                        <a:gd name="connsiteY6" fmla="*/ 7281 h 10000"/>
                        <a:gd name="connsiteX7" fmla="*/ 3553 w 9908"/>
                        <a:gd name="connsiteY7" fmla="*/ 7279 h 10000"/>
                        <a:gd name="connsiteX8" fmla="*/ 2723 w 9908"/>
                        <a:gd name="connsiteY8" fmla="*/ 7095 h 10000"/>
                        <a:gd name="connsiteX9" fmla="*/ 2501 w 9908"/>
                        <a:gd name="connsiteY9" fmla="*/ 7195 h 10000"/>
                        <a:gd name="connsiteX10" fmla="*/ 1947 w 9908"/>
                        <a:gd name="connsiteY10" fmla="*/ 6973 h 10000"/>
                        <a:gd name="connsiteX11" fmla="*/ 1702 w 9908"/>
                        <a:gd name="connsiteY11" fmla="*/ 6638 h 10000"/>
                        <a:gd name="connsiteX12" fmla="*/ 1296 w 9908"/>
                        <a:gd name="connsiteY12" fmla="*/ 6729 h 10000"/>
                        <a:gd name="connsiteX13" fmla="*/ 1185 w 9908"/>
                        <a:gd name="connsiteY13" fmla="*/ 6927 h 10000"/>
                        <a:gd name="connsiteX14" fmla="*/ 756 w 9908"/>
                        <a:gd name="connsiteY14" fmla="*/ 7011 h 10000"/>
                        <a:gd name="connsiteX15" fmla="*/ 472 w 9908"/>
                        <a:gd name="connsiteY15" fmla="*/ 7004 h 10000"/>
                        <a:gd name="connsiteX16" fmla="*/ 316 w 9908"/>
                        <a:gd name="connsiteY16" fmla="*/ 7161 h 10000"/>
                        <a:gd name="connsiteX17" fmla="*/ 51 w 9908"/>
                        <a:gd name="connsiteY17" fmla="*/ 6913 h 10000"/>
                        <a:gd name="connsiteX18" fmla="*/ 0 w 9908"/>
                        <a:gd name="connsiteY18" fmla="*/ 7363 h 10000"/>
                        <a:gd name="connsiteX19" fmla="*/ 96 w 9908"/>
                        <a:gd name="connsiteY19" fmla="*/ 7428 h 10000"/>
                        <a:gd name="connsiteX20" fmla="*/ 482 w 9908"/>
                        <a:gd name="connsiteY20" fmla="*/ 7460 h 10000"/>
                        <a:gd name="connsiteX21" fmla="*/ 532 w 9908"/>
                        <a:gd name="connsiteY21" fmla="*/ 7588 h 10000"/>
                        <a:gd name="connsiteX22" fmla="*/ 962 w 9908"/>
                        <a:gd name="connsiteY22" fmla="*/ 7621 h 10000"/>
                        <a:gd name="connsiteX23" fmla="*/ 1204 w 9908"/>
                        <a:gd name="connsiteY23" fmla="*/ 7749 h 10000"/>
                        <a:gd name="connsiteX24" fmla="*/ 1250 w 9908"/>
                        <a:gd name="connsiteY24" fmla="*/ 7974 h 10000"/>
                        <a:gd name="connsiteX25" fmla="*/ 2022 w 9908"/>
                        <a:gd name="connsiteY25" fmla="*/ 8360 h 10000"/>
                        <a:gd name="connsiteX26" fmla="*/ 2214 w 9908"/>
                        <a:gd name="connsiteY26" fmla="*/ 8746 h 10000"/>
                        <a:gd name="connsiteX27" fmla="*/ 2741 w 9908"/>
                        <a:gd name="connsiteY27" fmla="*/ 8939 h 10000"/>
                        <a:gd name="connsiteX28" fmla="*/ 2934 w 9908"/>
                        <a:gd name="connsiteY28" fmla="*/ 9196 h 10000"/>
                        <a:gd name="connsiteX29" fmla="*/ 3318 w 9908"/>
                        <a:gd name="connsiteY29" fmla="*/ 9518 h 10000"/>
                        <a:gd name="connsiteX30" fmla="*/ 3609 w 9908"/>
                        <a:gd name="connsiteY30" fmla="*/ 9614 h 10000"/>
                        <a:gd name="connsiteX31" fmla="*/ 3800 w 9908"/>
                        <a:gd name="connsiteY31" fmla="*/ 9518 h 10000"/>
                        <a:gd name="connsiteX32" fmla="*/ 4280 w 9908"/>
                        <a:gd name="connsiteY32" fmla="*/ 9550 h 10000"/>
                        <a:gd name="connsiteX33" fmla="*/ 4473 w 9908"/>
                        <a:gd name="connsiteY33" fmla="*/ 9486 h 10000"/>
                        <a:gd name="connsiteX34" fmla="*/ 5337 w 9908"/>
                        <a:gd name="connsiteY34" fmla="*/ 9968 h 10000"/>
                        <a:gd name="connsiteX35" fmla="*/ 5387 w 9908"/>
                        <a:gd name="connsiteY35" fmla="*/ 9968 h 10000"/>
                        <a:gd name="connsiteX36" fmla="*/ 5482 w 9908"/>
                        <a:gd name="connsiteY36" fmla="*/ 9904 h 10000"/>
                        <a:gd name="connsiteX37" fmla="*/ 6104 w 9908"/>
                        <a:gd name="connsiteY37" fmla="*/ 9904 h 10000"/>
                        <a:gd name="connsiteX38" fmla="*/ 6203 w 9908"/>
                        <a:gd name="connsiteY38" fmla="*/ 10000 h 10000"/>
                        <a:gd name="connsiteX39" fmla="*/ 6732 w 9908"/>
                        <a:gd name="connsiteY39" fmla="*/ 9871 h 10000"/>
                        <a:gd name="connsiteX40" fmla="*/ 7211 w 9908"/>
                        <a:gd name="connsiteY40" fmla="*/ 9871 h 10000"/>
                        <a:gd name="connsiteX41" fmla="*/ 7549 w 9908"/>
                        <a:gd name="connsiteY41" fmla="*/ 9743 h 10000"/>
                        <a:gd name="connsiteX42" fmla="*/ 7935 w 9908"/>
                        <a:gd name="connsiteY42" fmla="*/ 9486 h 10000"/>
                        <a:gd name="connsiteX43" fmla="*/ 8944 w 9908"/>
                        <a:gd name="connsiteY43" fmla="*/ 9486 h 10000"/>
                        <a:gd name="connsiteX44" fmla="*/ 8944 w 9908"/>
                        <a:gd name="connsiteY44" fmla="*/ 9132 h 10000"/>
                        <a:gd name="connsiteX45" fmla="*/ 8416 w 9908"/>
                        <a:gd name="connsiteY45" fmla="*/ 8971 h 10000"/>
                        <a:gd name="connsiteX46" fmla="*/ 8126 w 9908"/>
                        <a:gd name="connsiteY46" fmla="*/ 8457 h 10000"/>
                        <a:gd name="connsiteX47" fmla="*/ 7743 w 9908"/>
                        <a:gd name="connsiteY47" fmla="*/ 8264 h 10000"/>
                        <a:gd name="connsiteX48" fmla="*/ 7500 w 9908"/>
                        <a:gd name="connsiteY48" fmla="*/ 8006 h 10000"/>
                        <a:gd name="connsiteX49" fmla="*/ 6876 w 9908"/>
                        <a:gd name="connsiteY49" fmla="*/ 7814 h 10000"/>
                        <a:gd name="connsiteX50" fmla="*/ 7020 w 9908"/>
                        <a:gd name="connsiteY50" fmla="*/ 7749 h 10000"/>
                        <a:gd name="connsiteX51" fmla="*/ 7020 w 9908"/>
                        <a:gd name="connsiteY51" fmla="*/ 7588 h 10000"/>
                        <a:gd name="connsiteX52" fmla="*/ 7455 w 9908"/>
                        <a:gd name="connsiteY52" fmla="*/ 7588 h 10000"/>
                        <a:gd name="connsiteX53" fmla="*/ 7693 w 9908"/>
                        <a:gd name="connsiteY53" fmla="*/ 7460 h 10000"/>
                        <a:gd name="connsiteX54" fmla="*/ 7743 w 9908"/>
                        <a:gd name="connsiteY54" fmla="*/ 6527 h 10000"/>
                        <a:gd name="connsiteX55" fmla="*/ 7789 w 9908"/>
                        <a:gd name="connsiteY55" fmla="*/ 6559 h 10000"/>
                        <a:gd name="connsiteX56" fmla="*/ 7618 w 9908"/>
                        <a:gd name="connsiteY56" fmla="*/ 6618 h 10000"/>
                        <a:gd name="connsiteX57" fmla="*/ 7551 w 9908"/>
                        <a:gd name="connsiteY57" fmla="*/ 6745 h 10000"/>
                        <a:gd name="connsiteX58" fmla="*/ 7121 w 9908"/>
                        <a:gd name="connsiteY58" fmla="*/ 6497 h 10000"/>
                        <a:gd name="connsiteX59" fmla="*/ 7044 w 9908"/>
                        <a:gd name="connsiteY59" fmla="*/ 5828 h 10000"/>
                        <a:gd name="connsiteX60" fmla="*/ 6584 w 9908"/>
                        <a:gd name="connsiteY60" fmla="*/ 6118 h 10000"/>
                        <a:gd name="connsiteX61" fmla="*/ 6591 w 9908"/>
                        <a:gd name="connsiteY61" fmla="*/ 6462 h 10000"/>
                        <a:gd name="connsiteX62" fmla="*/ 6221 w 9908"/>
                        <a:gd name="connsiteY62" fmla="*/ 6670 h 10000"/>
                        <a:gd name="connsiteX63" fmla="*/ 9908 w 9908"/>
                        <a:gd name="connsiteY63" fmla="*/ 1736 h 10000"/>
                        <a:gd name="connsiteX64" fmla="*/ 9908 w 9908"/>
                        <a:gd name="connsiteY64" fmla="*/ 1061 h 10000"/>
                        <a:gd name="connsiteX65" fmla="*/ 9664 w 9908"/>
                        <a:gd name="connsiteY65" fmla="*/ 836 h 10000"/>
                        <a:gd name="connsiteX66" fmla="*/ 9617 w 9908"/>
                        <a:gd name="connsiteY66" fmla="*/ 611 h 10000"/>
                        <a:gd name="connsiteX67" fmla="*/ 9232 w 9908"/>
                        <a:gd name="connsiteY67" fmla="*/ 289 h 10000"/>
                        <a:gd name="connsiteX68" fmla="*/ 8895 w 9908"/>
                        <a:gd name="connsiteY68" fmla="*/ 161 h 10000"/>
                        <a:gd name="connsiteX69" fmla="*/ 8704 w 9908"/>
                        <a:gd name="connsiteY69" fmla="*/ 0 h 10000"/>
                        <a:gd name="connsiteX70" fmla="*/ 8416 w 9908"/>
                        <a:gd name="connsiteY70" fmla="*/ 161 h 10000"/>
                        <a:gd name="connsiteX71" fmla="*/ 8222 w 9908"/>
                        <a:gd name="connsiteY71" fmla="*/ 129 h 10000"/>
                        <a:gd name="connsiteX72" fmla="*/ 8076 w 9908"/>
                        <a:gd name="connsiteY72" fmla="*/ 418 h 10000"/>
                        <a:gd name="connsiteX73" fmla="*/ 7693 w 9908"/>
                        <a:gd name="connsiteY73" fmla="*/ 482 h 10000"/>
                        <a:gd name="connsiteX74" fmla="*/ 7597 w 9908"/>
                        <a:gd name="connsiteY74" fmla="*/ 707 h 10000"/>
                        <a:gd name="connsiteX75" fmla="*/ 7260 w 9908"/>
                        <a:gd name="connsiteY75" fmla="*/ 707 h 10000"/>
                        <a:gd name="connsiteX76" fmla="*/ 6972 w 9908"/>
                        <a:gd name="connsiteY76" fmla="*/ 611 h 10000"/>
                        <a:gd name="connsiteX77" fmla="*/ 6347 w 9908"/>
                        <a:gd name="connsiteY77" fmla="*/ 611 h 10000"/>
                        <a:gd name="connsiteX78" fmla="*/ 5722 w 9908"/>
                        <a:gd name="connsiteY78" fmla="*/ 611 h 10000"/>
                        <a:gd name="connsiteX79" fmla="*/ 5771 w 9908"/>
                        <a:gd name="connsiteY79" fmla="*/ 482 h 10000"/>
                        <a:gd name="connsiteX80" fmla="*/ 5674 w 9908"/>
                        <a:gd name="connsiteY80" fmla="*/ 482 h 10000"/>
                        <a:gd name="connsiteX81" fmla="*/ 5626 w 9908"/>
                        <a:gd name="connsiteY81" fmla="*/ 611 h 10000"/>
                        <a:gd name="connsiteX82" fmla="*/ 5048 w 9908"/>
                        <a:gd name="connsiteY82" fmla="*/ 611 h 10000"/>
                        <a:gd name="connsiteX83" fmla="*/ 4473 w 9908"/>
                        <a:gd name="connsiteY83" fmla="*/ 611 h 10000"/>
                        <a:gd name="connsiteX84" fmla="*/ 3897 w 9908"/>
                        <a:gd name="connsiteY84" fmla="*/ 611 h 10000"/>
                        <a:gd name="connsiteX85" fmla="*/ 3318 w 9908"/>
                        <a:gd name="connsiteY85" fmla="*/ 611 h 10000"/>
                        <a:gd name="connsiteX86" fmla="*/ 2791 w 9908"/>
                        <a:gd name="connsiteY86" fmla="*/ 611 h 10000"/>
                        <a:gd name="connsiteX87" fmla="*/ 2214 w 9908"/>
                        <a:gd name="connsiteY87" fmla="*/ 611 h 10000"/>
                        <a:gd name="connsiteX88" fmla="*/ 1684 w 9908"/>
                        <a:gd name="connsiteY88" fmla="*/ 611 h 10000"/>
                        <a:gd name="connsiteX89" fmla="*/ 1107 w 9908"/>
                        <a:gd name="connsiteY89" fmla="*/ 611 h 10000"/>
                        <a:gd name="connsiteX90" fmla="*/ 1107 w 9908"/>
                        <a:gd name="connsiteY90" fmla="*/ 1061 h 10000"/>
                        <a:gd name="connsiteX91" fmla="*/ 1107 w 9908"/>
                        <a:gd name="connsiteY91" fmla="*/ 1640 h 10000"/>
                        <a:gd name="connsiteX92" fmla="*/ 387 w 9908"/>
                        <a:gd name="connsiteY92" fmla="*/ 1640 h 10000"/>
                        <a:gd name="connsiteX93" fmla="*/ 387 w 9908"/>
                        <a:gd name="connsiteY93" fmla="*/ 1897 h 10000"/>
                        <a:gd name="connsiteX0" fmla="*/ 391 w 10000"/>
                        <a:gd name="connsiteY0" fmla="*/ 1897 h 10000"/>
                        <a:gd name="connsiteX1" fmla="*/ 6026 w 10000"/>
                        <a:gd name="connsiteY1" fmla="*/ 6915 h 10000"/>
                        <a:gd name="connsiteX2" fmla="*/ 5628 w 10000"/>
                        <a:gd name="connsiteY2" fmla="*/ 7114 h 10000"/>
                        <a:gd name="connsiteX3" fmla="*/ 5294 w 10000"/>
                        <a:gd name="connsiteY3" fmla="*/ 6907 h 10000"/>
                        <a:gd name="connsiteX4" fmla="*/ 4808 w 10000"/>
                        <a:gd name="connsiteY4" fmla="*/ 6781 h 10000"/>
                        <a:gd name="connsiteX5" fmla="*/ 4567 w 10000"/>
                        <a:gd name="connsiteY5" fmla="*/ 7064 h 10000"/>
                        <a:gd name="connsiteX6" fmla="*/ 3969 w 10000"/>
                        <a:gd name="connsiteY6" fmla="*/ 7281 h 10000"/>
                        <a:gd name="connsiteX7" fmla="*/ 3586 w 10000"/>
                        <a:gd name="connsiteY7" fmla="*/ 7279 h 10000"/>
                        <a:gd name="connsiteX8" fmla="*/ 2748 w 10000"/>
                        <a:gd name="connsiteY8" fmla="*/ 7095 h 10000"/>
                        <a:gd name="connsiteX9" fmla="*/ 2524 w 10000"/>
                        <a:gd name="connsiteY9" fmla="*/ 7195 h 10000"/>
                        <a:gd name="connsiteX10" fmla="*/ 1965 w 10000"/>
                        <a:gd name="connsiteY10" fmla="*/ 6973 h 10000"/>
                        <a:gd name="connsiteX11" fmla="*/ 1718 w 10000"/>
                        <a:gd name="connsiteY11" fmla="*/ 6638 h 10000"/>
                        <a:gd name="connsiteX12" fmla="*/ 1308 w 10000"/>
                        <a:gd name="connsiteY12" fmla="*/ 6729 h 10000"/>
                        <a:gd name="connsiteX13" fmla="*/ 1196 w 10000"/>
                        <a:gd name="connsiteY13" fmla="*/ 6927 h 10000"/>
                        <a:gd name="connsiteX14" fmla="*/ 763 w 10000"/>
                        <a:gd name="connsiteY14" fmla="*/ 7011 h 10000"/>
                        <a:gd name="connsiteX15" fmla="*/ 476 w 10000"/>
                        <a:gd name="connsiteY15" fmla="*/ 7004 h 10000"/>
                        <a:gd name="connsiteX16" fmla="*/ 319 w 10000"/>
                        <a:gd name="connsiteY16" fmla="*/ 7161 h 10000"/>
                        <a:gd name="connsiteX17" fmla="*/ 51 w 10000"/>
                        <a:gd name="connsiteY17" fmla="*/ 6913 h 10000"/>
                        <a:gd name="connsiteX18" fmla="*/ 0 w 10000"/>
                        <a:gd name="connsiteY18" fmla="*/ 7363 h 10000"/>
                        <a:gd name="connsiteX19" fmla="*/ 97 w 10000"/>
                        <a:gd name="connsiteY19" fmla="*/ 7428 h 10000"/>
                        <a:gd name="connsiteX20" fmla="*/ 486 w 10000"/>
                        <a:gd name="connsiteY20" fmla="*/ 7460 h 10000"/>
                        <a:gd name="connsiteX21" fmla="*/ 537 w 10000"/>
                        <a:gd name="connsiteY21" fmla="*/ 7588 h 10000"/>
                        <a:gd name="connsiteX22" fmla="*/ 971 w 10000"/>
                        <a:gd name="connsiteY22" fmla="*/ 7621 h 10000"/>
                        <a:gd name="connsiteX23" fmla="*/ 1215 w 10000"/>
                        <a:gd name="connsiteY23" fmla="*/ 7749 h 10000"/>
                        <a:gd name="connsiteX24" fmla="*/ 1262 w 10000"/>
                        <a:gd name="connsiteY24" fmla="*/ 7974 h 10000"/>
                        <a:gd name="connsiteX25" fmla="*/ 2041 w 10000"/>
                        <a:gd name="connsiteY25" fmla="*/ 8360 h 10000"/>
                        <a:gd name="connsiteX26" fmla="*/ 2235 w 10000"/>
                        <a:gd name="connsiteY26" fmla="*/ 8746 h 10000"/>
                        <a:gd name="connsiteX27" fmla="*/ 2766 w 10000"/>
                        <a:gd name="connsiteY27" fmla="*/ 8939 h 10000"/>
                        <a:gd name="connsiteX28" fmla="*/ 2961 w 10000"/>
                        <a:gd name="connsiteY28" fmla="*/ 9196 h 10000"/>
                        <a:gd name="connsiteX29" fmla="*/ 3349 w 10000"/>
                        <a:gd name="connsiteY29" fmla="*/ 9518 h 10000"/>
                        <a:gd name="connsiteX30" fmla="*/ 3643 w 10000"/>
                        <a:gd name="connsiteY30" fmla="*/ 9614 h 10000"/>
                        <a:gd name="connsiteX31" fmla="*/ 3835 w 10000"/>
                        <a:gd name="connsiteY31" fmla="*/ 9518 h 10000"/>
                        <a:gd name="connsiteX32" fmla="*/ 4320 w 10000"/>
                        <a:gd name="connsiteY32" fmla="*/ 9550 h 10000"/>
                        <a:gd name="connsiteX33" fmla="*/ 4515 w 10000"/>
                        <a:gd name="connsiteY33" fmla="*/ 9486 h 10000"/>
                        <a:gd name="connsiteX34" fmla="*/ 5387 w 10000"/>
                        <a:gd name="connsiteY34" fmla="*/ 9968 h 10000"/>
                        <a:gd name="connsiteX35" fmla="*/ 5437 w 10000"/>
                        <a:gd name="connsiteY35" fmla="*/ 9968 h 10000"/>
                        <a:gd name="connsiteX36" fmla="*/ 5533 w 10000"/>
                        <a:gd name="connsiteY36" fmla="*/ 9904 h 10000"/>
                        <a:gd name="connsiteX37" fmla="*/ 6161 w 10000"/>
                        <a:gd name="connsiteY37" fmla="*/ 9904 h 10000"/>
                        <a:gd name="connsiteX38" fmla="*/ 6261 w 10000"/>
                        <a:gd name="connsiteY38" fmla="*/ 10000 h 10000"/>
                        <a:gd name="connsiteX39" fmla="*/ 6795 w 10000"/>
                        <a:gd name="connsiteY39" fmla="*/ 9871 h 10000"/>
                        <a:gd name="connsiteX40" fmla="*/ 7278 w 10000"/>
                        <a:gd name="connsiteY40" fmla="*/ 9871 h 10000"/>
                        <a:gd name="connsiteX41" fmla="*/ 7619 w 10000"/>
                        <a:gd name="connsiteY41" fmla="*/ 9743 h 10000"/>
                        <a:gd name="connsiteX42" fmla="*/ 8009 w 10000"/>
                        <a:gd name="connsiteY42" fmla="*/ 9486 h 10000"/>
                        <a:gd name="connsiteX43" fmla="*/ 9027 w 10000"/>
                        <a:gd name="connsiteY43" fmla="*/ 9486 h 10000"/>
                        <a:gd name="connsiteX44" fmla="*/ 9027 w 10000"/>
                        <a:gd name="connsiteY44" fmla="*/ 9132 h 10000"/>
                        <a:gd name="connsiteX45" fmla="*/ 8494 w 10000"/>
                        <a:gd name="connsiteY45" fmla="*/ 8971 h 10000"/>
                        <a:gd name="connsiteX46" fmla="*/ 8201 w 10000"/>
                        <a:gd name="connsiteY46" fmla="*/ 8457 h 10000"/>
                        <a:gd name="connsiteX47" fmla="*/ 7815 w 10000"/>
                        <a:gd name="connsiteY47" fmla="*/ 8264 h 10000"/>
                        <a:gd name="connsiteX48" fmla="*/ 7570 w 10000"/>
                        <a:gd name="connsiteY48" fmla="*/ 8006 h 10000"/>
                        <a:gd name="connsiteX49" fmla="*/ 6940 w 10000"/>
                        <a:gd name="connsiteY49" fmla="*/ 7814 h 10000"/>
                        <a:gd name="connsiteX50" fmla="*/ 7085 w 10000"/>
                        <a:gd name="connsiteY50" fmla="*/ 7749 h 10000"/>
                        <a:gd name="connsiteX51" fmla="*/ 7085 w 10000"/>
                        <a:gd name="connsiteY51" fmla="*/ 7588 h 10000"/>
                        <a:gd name="connsiteX52" fmla="*/ 7524 w 10000"/>
                        <a:gd name="connsiteY52" fmla="*/ 7588 h 10000"/>
                        <a:gd name="connsiteX53" fmla="*/ 7764 w 10000"/>
                        <a:gd name="connsiteY53" fmla="*/ 7460 h 10000"/>
                        <a:gd name="connsiteX54" fmla="*/ 7815 w 10000"/>
                        <a:gd name="connsiteY54" fmla="*/ 6527 h 10000"/>
                        <a:gd name="connsiteX55" fmla="*/ 7861 w 10000"/>
                        <a:gd name="connsiteY55" fmla="*/ 6559 h 10000"/>
                        <a:gd name="connsiteX56" fmla="*/ 7689 w 10000"/>
                        <a:gd name="connsiteY56" fmla="*/ 6618 h 10000"/>
                        <a:gd name="connsiteX57" fmla="*/ 7621 w 10000"/>
                        <a:gd name="connsiteY57" fmla="*/ 6745 h 10000"/>
                        <a:gd name="connsiteX58" fmla="*/ 7187 w 10000"/>
                        <a:gd name="connsiteY58" fmla="*/ 6497 h 10000"/>
                        <a:gd name="connsiteX59" fmla="*/ 7109 w 10000"/>
                        <a:gd name="connsiteY59" fmla="*/ 5828 h 10000"/>
                        <a:gd name="connsiteX60" fmla="*/ 6645 w 10000"/>
                        <a:gd name="connsiteY60" fmla="*/ 6118 h 10000"/>
                        <a:gd name="connsiteX61" fmla="*/ 6652 w 10000"/>
                        <a:gd name="connsiteY61" fmla="*/ 6462 h 10000"/>
                        <a:gd name="connsiteX62" fmla="*/ 6279 w 10000"/>
                        <a:gd name="connsiteY62" fmla="*/ 6670 h 10000"/>
                        <a:gd name="connsiteX63" fmla="*/ 10000 w 10000"/>
                        <a:gd name="connsiteY63" fmla="*/ 1061 h 10000"/>
                        <a:gd name="connsiteX64" fmla="*/ 9754 w 10000"/>
                        <a:gd name="connsiteY64" fmla="*/ 836 h 10000"/>
                        <a:gd name="connsiteX65" fmla="*/ 9706 w 10000"/>
                        <a:gd name="connsiteY65" fmla="*/ 611 h 10000"/>
                        <a:gd name="connsiteX66" fmla="*/ 9318 w 10000"/>
                        <a:gd name="connsiteY66" fmla="*/ 289 h 10000"/>
                        <a:gd name="connsiteX67" fmla="*/ 8978 w 10000"/>
                        <a:gd name="connsiteY67" fmla="*/ 161 h 10000"/>
                        <a:gd name="connsiteX68" fmla="*/ 8785 w 10000"/>
                        <a:gd name="connsiteY68" fmla="*/ 0 h 10000"/>
                        <a:gd name="connsiteX69" fmla="*/ 8494 w 10000"/>
                        <a:gd name="connsiteY69" fmla="*/ 161 h 10000"/>
                        <a:gd name="connsiteX70" fmla="*/ 8298 w 10000"/>
                        <a:gd name="connsiteY70" fmla="*/ 129 h 10000"/>
                        <a:gd name="connsiteX71" fmla="*/ 8151 w 10000"/>
                        <a:gd name="connsiteY71" fmla="*/ 418 h 10000"/>
                        <a:gd name="connsiteX72" fmla="*/ 7764 w 10000"/>
                        <a:gd name="connsiteY72" fmla="*/ 482 h 10000"/>
                        <a:gd name="connsiteX73" fmla="*/ 7668 w 10000"/>
                        <a:gd name="connsiteY73" fmla="*/ 707 h 10000"/>
                        <a:gd name="connsiteX74" fmla="*/ 7327 w 10000"/>
                        <a:gd name="connsiteY74" fmla="*/ 707 h 10000"/>
                        <a:gd name="connsiteX75" fmla="*/ 7037 w 10000"/>
                        <a:gd name="connsiteY75" fmla="*/ 611 h 10000"/>
                        <a:gd name="connsiteX76" fmla="*/ 6406 w 10000"/>
                        <a:gd name="connsiteY76" fmla="*/ 611 h 10000"/>
                        <a:gd name="connsiteX77" fmla="*/ 5775 w 10000"/>
                        <a:gd name="connsiteY77" fmla="*/ 611 h 10000"/>
                        <a:gd name="connsiteX78" fmla="*/ 5825 w 10000"/>
                        <a:gd name="connsiteY78" fmla="*/ 482 h 10000"/>
                        <a:gd name="connsiteX79" fmla="*/ 5727 w 10000"/>
                        <a:gd name="connsiteY79" fmla="*/ 482 h 10000"/>
                        <a:gd name="connsiteX80" fmla="*/ 5678 w 10000"/>
                        <a:gd name="connsiteY80" fmla="*/ 611 h 10000"/>
                        <a:gd name="connsiteX81" fmla="*/ 5095 w 10000"/>
                        <a:gd name="connsiteY81" fmla="*/ 611 h 10000"/>
                        <a:gd name="connsiteX82" fmla="*/ 4515 w 10000"/>
                        <a:gd name="connsiteY82" fmla="*/ 611 h 10000"/>
                        <a:gd name="connsiteX83" fmla="*/ 3933 w 10000"/>
                        <a:gd name="connsiteY83" fmla="*/ 611 h 10000"/>
                        <a:gd name="connsiteX84" fmla="*/ 3349 w 10000"/>
                        <a:gd name="connsiteY84" fmla="*/ 611 h 10000"/>
                        <a:gd name="connsiteX85" fmla="*/ 2817 w 10000"/>
                        <a:gd name="connsiteY85" fmla="*/ 611 h 10000"/>
                        <a:gd name="connsiteX86" fmla="*/ 2235 w 10000"/>
                        <a:gd name="connsiteY86" fmla="*/ 611 h 10000"/>
                        <a:gd name="connsiteX87" fmla="*/ 1700 w 10000"/>
                        <a:gd name="connsiteY87" fmla="*/ 611 h 10000"/>
                        <a:gd name="connsiteX88" fmla="*/ 1117 w 10000"/>
                        <a:gd name="connsiteY88" fmla="*/ 611 h 10000"/>
                        <a:gd name="connsiteX89" fmla="*/ 1117 w 10000"/>
                        <a:gd name="connsiteY89" fmla="*/ 1061 h 10000"/>
                        <a:gd name="connsiteX90" fmla="*/ 1117 w 10000"/>
                        <a:gd name="connsiteY90" fmla="*/ 1640 h 10000"/>
                        <a:gd name="connsiteX91" fmla="*/ 391 w 10000"/>
                        <a:gd name="connsiteY91" fmla="*/ 1640 h 10000"/>
                        <a:gd name="connsiteX92" fmla="*/ 391 w 10000"/>
                        <a:gd name="connsiteY92" fmla="*/ 1897 h 10000"/>
                        <a:gd name="connsiteX0" fmla="*/ 391 w 9754"/>
                        <a:gd name="connsiteY0" fmla="*/ 1897 h 10000"/>
                        <a:gd name="connsiteX1" fmla="*/ 6026 w 9754"/>
                        <a:gd name="connsiteY1" fmla="*/ 6915 h 10000"/>
                        <a:gd name="connsiteX2" fmla="*/ 5628 w 9754"/>
                        <a:gd name="connsiteY2" fmla="*/ 7114 h 10000"/>
                        <a:gd name="connsiteX3" fmla="*/ 5294 w 9754"/>
                        <a:gd name="connsiteY3" fmla="*/ 6907 h 10000"/>
                        <a:gd name="connsiteX4" fmla="*/ 4808 w 9754"/>
                        <a:gd name="connsiteY4" fmla="*/ 6781 h 10000"/>
                        <a:gd name="connsiteX5" fmla="*/ 4567 w 9754"/>
                        <a:gd name="connsiteY5" fmla="*/ 7064 h 10000"/>
                        <a:gd name="connsiteX6" fmla="*/ 3969 w 9754"/>
                        <a:gd name="connsiteY6" fmla="*/ 7281 h 10000"/>
                        <a:gd name="connsiteX7" fmla="*/ 3586 w 9754"/>
                        <a:gd name="connsiteY7" fmla="*/ 7279 h 10000"/>
                        <a:gd name="connsiteX8" fmla="*/ 2748 w 9754"/>
                        <a:gd name="connsiteY8" fmla="*/ 7095 h 10000"/>
                        <a:gd name="connsiteX9" fmla="*/ 2524 w 9754"/>
                        <a:gd name="connsiteY9" fmla="*/ 7195 h 10000"/>
                        <a:gd name="connsiteX10" fmla="*/ 1965 w 9754"/>
                        <a:gd name="connsiteY10" fmla="*/ 6973 h 10000"/>
                        <a:gd name="connsiteX11" fmla="*/ 1718 w 9754"/>
                        <a:gd name="connsiteY11" fmla="*/ 6638 h 10000"/>
                        <a:gd name="connsiteX12" fmla="*/ 1308 w 9754"/>
                        <a:gd name="connsiteY12" fmla="*/ 6729 h 10000"/>
                        <a:gd name="connsiteX13" fmla="*/ 1196 w 9754"/>
                        <a:gd name="connsiteY13" fmla="*/ 6927 h 10000"/>
                        <a:gd name="connsiteX14" fmla="*/ 763 w 9754"/>
                        <a:gd name="connsiteY14" fmla="*/ 7011 h 10000"/>
                        <a:gd name="connsiteX15" fmla="*/ 476 w 9754"/>
                        <a:gd name="connsiteY15" fmla="*/ 7004 h 10000"/>
                        <a:gd name="connsiteX16" fmla="*/ 319 w 9754"/>
                        <a:gd name="connsiteY16" fmla="*/ 7161 h 10000"/>
                        <a:gd name="connsiteX17" fmla="*/ 51 w 9754"/>
                        <a:gd name="connsiteY17" fmla="*/ 6913 h 10000"/>
                        <a:gd name="connsiteX18" fmla="*/ 0 w 9754"/>
                        <a:gd name="connsiteY18" fmla="*/ 7363 h 10000"/>
                        <a:gd name="connsiteX19" fmla="*/ 97 w 9754"/>
                        <a:gd name="connsiteY19" fmla="*/ 7428 h 10000"/>
                        <a:gd name="connsiteX20" fmla="*/ 486 w 9754"/>
                        <a:gd name="connsiteY20" fmla="*/ 7460 h 10000"/>
                        <a:gd name="connsiteX21" fmla="*/ 537 w 9754"/>
                        <a:gd name="connsiteY21" fmla="*/ 7588 h 10000"/>
                        <a:gd name="connsiteX22" fmla="*/ 971 w 9754"/>
                        <a:gd name="connsiteY22" fmla="*/ 7621 h 10000"/>
                        <a:gd name="connsiteX23" fmla="*/ 1215 w 9754"/>
                        <a:gd name="connsiteY23" fmla="*/ 7749 h 10000"/>
                        <a:gd name="connsiteX24" fmla="*/ 1262 w 9754"/>
                        <a:gd name="connsiteY24" fmla="*/ 7974 h 10000"/>
                        <a:gd name="connsiteX25" fmla="*/ 2041 w 9754"/>
                        <a:gd name="connsiteY25" fmla="*/ 8360 h 10000"/>
                        <a:gd name="connsiteX26" fmla="*/ 2235 w 9754"/>
                        <a:gd name="connsiteY26" fmla="*/ 8746 h 10000"/>
                        <a:gd name="connsiteX27" fmla="*/ 2766 w 9754"/>
                        <a:gd name="connsiteY27" fmla="*/ 8939 h 10000"/>
                        <a:gd name="connsiteX28" fmla="*/ 2961 w 9754"/>
                        <a:gd name="connsiteY28" fmla="*/ 9196 h 10000"/>
                        <a:gd name="connsiteX29" fmla="*/ 3349 w 9754"/>
                        <a:gd name="connsiteY29" fmla="*/ 9518 h 10000"/>
                        <a:gd name="connsiteX30" fmla="*/ 3643 w 9754"/>
                        <a:gd name="connsiteY30" fmla="*/ 9614 h 10000"/>
                        <a:gd name="connsiteX31" fmla="*/ 3835 w 9754"/>
                        <a:gd name="connsiteY31" fmla="*/ 9518 h 10000"/>
                        <a:gd name="connsiteX32" fmla="*/ 4320 w 9754"/>
                        <a:gd name="connsiteY32" fmla="*/ 9550 h 10000"/>
                        <a:gd name="connsiteX33" fmla="*/ 4515 w 9754"/>
                        <a:gd name="connsiteY33" fmla="*/ 9486 h 10000"/>
                        <a:gd name="connsiteX34" fmla="*/ 5387 w 9754"/>
                        <a:gd name="connsiteY34" fmla="*/ 9968 h 10000"/>
                        <a:gd name="connsiteX35" fmla="*/ 5437 w 9754"/>
                        <a:gd name="connsiteY35" fmla="*/ 9968 h 10000"/>
                        <a:gd name="connsiteX36" fmla="*/ 5533 w 9754"/>
                        <a:gd name="connsiteY36" fmla="*/ 9904 h 10000"/>
                        <a:gd name="connsiteX37" fmla="*/ 6161 w 9754"/>
                        <a:gd name="connsiteY37" fmla="*/ 9904 h 10000"/>
                        <a:gd name="connsiteX38" fmla="*/ 6261 w 9754"/>
                        <a:gd name="connsiteY38" fmla="*/ 10000 h 10000"/>
                        <a:gd name="connsiteX39" fmla="*/ 6795 w 9754"/>
                        <a:gd name="connsiteY39" fmla="*/ 9871 h 10000"/>
                        <a:gd name="connsiteX40" fmla="*/ 7278 w 9754"/>
                        <a:gd name="connsiteY40" fmla="*/ 9871 h 10000"/>
                        <a:gd name="connsiteX41" fmla="*/ 7619 w 9754"/>
                        <a:gd name="connsiteY41" fmla="*/ 9743 h 10000"/>
                        <a:gd name="connsiteX42" fmla="*/ 8009 w 9754"/>
                        <a:gd name="connsiteY42" fmla="*/ 9486 h 10000"/>
                        <a:gd name="connsiteX43" fmla="*/ 9027 w 9754"/>
                        <a:gd name="connsiteY43" fmla="*/ 9486 h 10000"/>
                        <a:gd name="connsiteX44" fmla="*/ 9027 w 9754"/>
                        <a:gd name="connsiteY44" fmla="*/ 9132 h 10000"/>
                        <a:gd name="connsiteX45" fmla="*/ 8494 w 9754"/>
                        <a:gd name="connsiteY45" fmla="*/ 8971 h 10000"/>
                        <a:gd name="connsiteX46" fmla="*/ 8201 w 9754"/>
                        <a:gd name="connsiteY46" fmla="*/ 8457 h 10000"/>
                        <a:gd name="connsiteX47" fmla="*/ 7815 w 9754"/>
                        <a:gd name="connsiteY47" fmla="*/ 8264 h 10000"/>
                        <a:gd name="connsiteX48" fmla="*/ 7570 w 9754"/>
                        <a:gd name="connsiteY48" fmla="*/ 8006 h 10000"/>
                        <a:gd name="connsiteX49" fmla="*/ 6940 w 9754"/>
                        <a:gd name="connsiteY49" fmla="*/ 7814 h 10000"/>
                        <a:gd name="connsiteX50" fmla="*/ 7085 w 9754"/>
                        <a:gd name="connsiteY50" fmla="*/ 7749 h 10000"/>
                        <a:gd name="connsiteX51" fmla="*/ 7085 w 9754"/>
                        <a:gd name="connsiteY51" fmla="*/ 7588 h 10000"/>
                        <a:gd name="connsiteX52" fmla="*/ 7524 w 9754"/>
                        <a:gd name="connsiteY52" fmla="*/ 7588 h 10000"/>
                        <a:gd name="connsiteX53" fmla="*/ 7764 w 9754"/>
                        <a:gd name="connsiteY53" fmla="*/ 7460 h 10000"/>
                        <a:gd name="connsiteX54" fmla="*/ 7815 w 9754"/>
                        <a:gd name="connsiteY54" fmla="*/ 6527 h 10000"/>
                        <a:gd name="connsiteX55" fmla="*/ 7861 w 9754"/>
                        <a:gd name="connsiteY55" fmla="*/ 6559 h 10000"/>
                        <a:gd name="connsiteX56" fmla="*/ 7689 w 9754"/>
                        <a:gd name="connsiteY56" fmla="*/ 6618 h 10000"/>
                        <a:gd name="connsiteX57" fmla="*/ 7621 w 9754"/>
                        <a:gd name="connsiteY57" fmla="*/ 6745 h 10000"/>
                        <a:gd name="connsiteX58" fmla="*/ 7187 w 9754"/>
                        <a:gd name="connsiteY58" fmla="*/ 6497 h 10000"/>
                        <a:gd name="connsiteX59" fmla="*/ 7109 w 9754"/>
                        <a:gd name="connsiteY59" fmla="*/ 5828 h 10000"/>
                        <a:gd name="connsiteX60" fmla="*/ 6645 w 9754"/>
                        <a:gd name="connsiteY60" fmla="*/ 6118 h 10000"/>
                        <a:gd name="connsiteX61" fmla="*/ 6652 w 9754"/>
                        <a:gd name="connsiteY61" fmla="*/ 6462 h 10000"/>
                        <a:gd name="connsiteX62" fmla="*/ 6279 w 9754"/>
                        <a:gd name="connsiteY62" fmla="*/ 6670 h 10000"/>
                        <a:gd name="connsiteX63" fmla="*/ 9754 w 9754"/>
                        <a:gd name="connsiteY63" fmla="*/ 836 h 10000"/>
                        <a:gd name="connsiteX64" fmla="*/ 9706 w 9754"/>
                        <a:gd name="connsiteY64" fmla="*/ 611 h 10000"/>
                        <a:gd name="connsiteX65" fmla="*/ 9318 w 9754"/>
                        <a:gd name="connsiteY65" fmla="*/ 289 h 10000"/>
                        <a:gd name="connsiteX66" fmla="*/ 8978 w 9754"/>
                        <a:gd name="connsiteY66" fmla="*/ 161 h 10000"/>
                        <a:gd name="connsiteX67" fmla="*/ 8785 w 9754"/>
                        <a:gd name="connsiteY67" fmla="*/ 0 h 10000"/>
                        <a:gd name="connsiteX68" fmla="*/ 8494 w 9754"/>
                        <a:gd name="connsiteY68" fmla="*/ 161 h 10000"/>
                        <a:gd name="connsiteX69" fmla="*/ 8298 w 9754"/>
                        <a:gd name="connsiteY69" fmla="*/ 129 h 10000"/>
                        <a:gd name="connsiteX70" fmla="*/ 8151 w 9754"/>
                        <a:gd name="connsiteY70" fmla="*/ 418 h 10000"/>
                        <a:gd name="connsiteX71" fmla="*/ 7764 w 9754"/>
                        <a:gd name="connsiteY71" fmla="*/ 482 h 10000"/>
                        <a:gd name="connsiteX72" fmla="*/ 7668 w 9754"/>
                        <a:gd name="connsiteY72" fmla="*/ 707 h 10000"/>
                        <a:gd name="connsiteX73" fmla="*/ 7327 w 9754"/>
                        <a:gd name="connsiteY73" fmla="*/ 707 h 10000"/>
                        <a:gd name="connsiteX74" fmla="*/ 7037 w 9754"/>
                        <a:gd name="connsiteY74" fmla="*/ 611 h 10000"/>
                        <a:gd name="connsiteX75" fmla="*/ 6406 w 9754"/>
                        <a:gd name="connsiteY75" fmla="*/ 611 h 10000"/>
                        <a:gd name="connsiteX76" fmla="*/ 5775 w 9754"/>
                        <a:gd name="connsiteY76" fmla="*/ 611 h 10000"/>
                        <a:gd name="connsiteX77" fmla="*/ 5825 w 9754"/>
                        <a:gd name="connsiteY77" fmla="*/ 482 h 10000"/>
                        <a:gd name="connsiteX78" fmla="*/ 5727 w 9754"/>
                        <a:gd name="connsiteY78" fmla="*/ 482 h 10000"/>
                        <a:gd name="connsiteX79" fmla="*/ 5678 w 9754"/>
                        <a:gd name="connsiteY79" fmla="*/ 611 h 10000"/>
                        <a:gd name="connsiteX80" fmla="*/ 5095 w 9754"/>
                        <a:gd name="connsiteY80" fmla="*/ 611 h 10000"/>
                        <a:gd name="connsiteX81" fmla="*/ 4515 w 9754"/>
                        <a:gd name="connsiteY81" fmla="*/ 611 h 10000"/>
                        <a:gd name="connsiteX82" fmla="*/ 3933 w 9754"/>
                        <a:gd name="connsiteY82" fmla="*/ 611 h 10000"/>
                        <a:gd name="connsiteX83" fmla="*/ 3349 w 9754"/>
                        <a:gd name="connsiteY83" fmla="*/ 611 h 10000"/>
                        <a:gd name="connsiteX84" fmla="*/ 2817 w 9754"/>
                        <a:gd name="connsiteY84" fmla="*/ 611 h 10000"/>
                        <a:gd name="connsiteX85" fmla="*/ 2235 w 9754"/>
                        <a:gd name="connsiteY85" fmla="*/ 611 h 10000"/>
                        <a:gd name="connsiteX86" fmla="*/ 1700 w 9754"/>
                        <a:gd name="connsiteY86" fmla="*/ 611 h 10000"/>
                        <a:gd name="connsiteX87" fmla="*/ 1117 w 9754"/>
                        <a:gd name="connsiteY87" fmla="*/ 611 h 10000"/>
                        <a:gd name="connsiteX88" fmla="*/ 1117 w 9754"/>
                        <a:gd name="connsiteY88" fmla="*/ 1061 h 10000"/>
                        <a:gd name="connsiteX89" fmla="*/ 1117 w 9754"/>
                        <a:gd name="connsiteY89" fmla="*/ 1640 h 10000"/>
                        <a:gd name="connsiteX90" fmla="*/ 391 w 9754"/>
                        <a:gd name="connsiteY90" fmla="*/ 1640 h 10000"/>
                        <a:gd name="connsiteX91" fmla="*/ 391 w 9754"/>
                        <a:gd name="connsiteY91" fmla="*/ 1897 h 10000"/>
                        <a:gd name="connsiteX0" fmla="*/ 401 w 9951"/>
                        <a:gd name="connsiteY0" fmla="*/ 1897 h 10000"/>
                        <a:gd name="connsiteX1" fmla="*/ 6178 w 9951"/>
                        <a:gd name="connsiteY1" fmla="*/ 6915 h 10000"/>
                        <a:gd name="connsiteX2" fmla="*/ 5770 w 9951"/>
                        <a:gd name="connsiteY2" fmla="*/ 7114 h 10000"/>
                        <a:gd name="connsiteX3" fmla="*/ 5428 w 9951"/>
                        <a:gd name="connsiteY3" fmla="*/ 6907 h 10000"/>
                        <a:gd name="connsiteX4" fmla="*/ 4929 w 9951"/>
                        <a:gd name="connsiteY4" fmla="*/ 6781 h 10000"/>
                        <a:gd name="connsiteX5" fmla="*/ 4682 w 9951"/>
                        <a:gd name="connsiteY5" fmla="*/ 7064 h 10000"/>
                        <a:gd name="connsiteX6" fmla="*/ 4069 w 9951"/>
                        <a:gd name="connsiteY6" fmla="*/ 7281 h 10000"/>
                        <a:gd name="connsiteX7" fmla="*/ 3676 w 9951"/>
                        <a:gd name="connsiteY7" fmla="*/ 7279 h 10000"/>
                        <a:gd name="connsiteX8" fmla="*/ 2817 w 9951"/>
                        <a:gd name="connsiteY8" fmla="*/ 7095 h 10000"/>
                        <a:gd name="connsiteX9" fmla="*/ 2588 w 9951"/>
                        <a:gd name="connsiteY9" fmla="*/ 7195 h 10000"/>
                        <a:gd name="connsiteX10" fmla="*/ 2015 w 9951"/>
                        <a:gd name="connsiteY10" fmla="*/ 6973 h 10000"/>
                        <a:gd name="connsiteX11" fmla="*/ 1761 w 9951"/>
                        <a:gd name="connsiteY11" fmla="*/ 6638 h 10000"/>
                        <a:gd name="connsiteX12" fmla="*/ 1341 w 9951"/>
                        <a:gd name="connsiteY12" fmla="*/ 6729 h 10000"/>
                        <a:gd name="connsiteX13" fmla="*/ 1226 w 9951"/>
                        <a:gd name="connsiteY13" fmla="*/ 6927 h 10000"/>
                        <a:gd name="connsiteX14" fmla="*/ 782 w 9951"/>
                        <a:gd name="connsiteY14" fmla="*/ 7011 h 10000"/>
                        <a:gd name="connsiteX15" fmla="*/ 488 w 9951"/>
                        <a:gd name="connsiteY15" fmla="*/ 7004 h 10000"/>
                        <a:gd name="connsiteX16" fmla="*/ 327 w 9951"/>
                        <a:gd name="connsiteY16" fmla="*/ 7161 h 10000"/>
                        <a:gd name="connsiteX17" fmla="*/ 52 w 9951"/>
                        <a:gd name="connsiteY17" fmla="*/ 6913 h 10000"/>
                        <a:gd name="connsiteX18" fmla="*/ 0 w 9951"/>
                        <a:gd name="connsiteY18" fmla="*/ 7363 h 10000"/>
                        <a:gd name="connsiteX19" fmla="*/ 99 w 9951"/>
                        <a:gd name="connsiteY19" fmla="*/ 7428 h 10000"/>
                        <a:gd name="connsiteX20" fmla="*/ 498 w 9951"/>
                        <a:gd name="connsiteY20" fmla="*/ 7460 h 10000"/>
                        <a:gd name="connsiteX21" fmla="*/ 551 w 9951"/>
                        <a:gd name="connsiteY21" fmla="*/ 7588 h 10000"/>
                        <a:gd name="connsiteX22" fmla="*/ 995 w 9951"/>
                        <a:gd name="connsiteY22" fmla="*/ 7621 h 10000"/>
                        <a:gd name="connsiteX23" fmla="*/ 1246 w 9951"/>
                        <a:gd name="connsiteY23" fmla="*/ 7749 h 10000"/>
                        <a:gd name="connsiteX24" fmla="*/ 1294 w 9951"/>
                        <a:gd name="connsiteY24" fmla="*/ 7974 h 10000"/>
                        <a:gd name="connsiteX25" fmla="*/ 2092 w 9951"/>
                        <a:gd name="connsiteY25" fmla="*/ 8360 h 10000"/>
                        <a:gd name="connsiteX26" fmla="*/ 2291 w 9951"/>
                        <a:gd name="connsiteY26" fmla="*/ 8746 h 10000"/>
                        <a:gd name="connsiteX27" fmla="*/ 2836 w 9951"/>
                        <a:gd name="connsiteY27" fmla="*/ 8939 h 10000"/>
                        <a:gd name="connsiteX28" fmla="*/ 3036 w 9951"/>
                        <a:gd name="connsiteY28" fmla="*/ 9196 h 10000"/>
                        <a:gd name="connsiteX29" fmla="*/ 3433 w 9951"/>
                        <a:gd name="connsiteY29" fmla="*/ 9518 h 10000"/>
                        <a:gd name="connsiteX30" fmla="*/ 3735 w 9951"/>
                        <a:gd name="connsiteY30" fmla="*/ 9614 h 10000"/>
                        <a:gd name="connsiteX31" fmla="*/ 3932 w 9951"/>
                        <a:gd name="connsiteY31" fmla="*/ 9518 h 10000"/>
                        <a:gd name="connsiteX32" fmla="*/ 4429 w 9951"/>
                        <a:gd name="connsiteY32" fmla="*/ 9550 h 10000"/>
                        <a:gd name="connsiteX33" fmla="*/ 4629 w 9951"/>
                        <a:gd name="connsiteY33" fmla="*/ 9486 h 10000"/>
                        <a:gd name="connsiteX34" fmla="*/ 5523 w 9951"/>
                        <a:gd name="connsiteY34" fmla="*/ 9968 h 10000"/>
                        <a:gd name="connsiteX35" fmla="*/ 5574 w 9951"/>
                        <a:gd name="connsiteY35" fmla="*/ 9968 h 10000"/>
                        <a:gd name="connsiteX36" fmla="*/ 5673 w 9951"/>
                        <a:gd name="connsiteY36" fmla="*/ 9904 h 10000"/>
                        <a:gd name="connsiteX37" fmla="*/ 6316 w 9951"/>
                        <a:gd name="connsiteY37" fmla="*/ 9904 h 10000"/>
                        <a:gd name="connsiteX38" fmla="*/ 6419 w 9951"/>
                        <a:gd name="connsiteY38" fmla="*/ 10000 h 10000"/>
                        <a:gd name="connsiteX39" fmla="*/ 6966 w 9951"/>
                        <a:gd name="connsiteY39" fmla="*/ 9871 h 10000"/>
                        <a:gd name="connsiteX40" fmla="*/ 7462 w 9951"/>
                        <a:gd name="connsiteY40" fmla="*/ 9871 h 10000"/>
                        <a:gd name="connsiteX41" fmla="*/ 7811 w 9951"/>
                        <a:gd name="connsiteY41" fmla="*/ 9743 h 10000"/>
                        <a:gd name="connsiteX42" fmla="*/ 8211 w 9951"/>
                        <a:gd name="connsiteY42" fmla="*/ 9486 h 10000"/>
                        <a:gd name="connsiteX43" fmla="*/ 9255 w 9951"/>
                        <a:gd name="connsiteY43" fmla="*/ 9486 h 10000"/>
                        <a:gd name="connsiteX44" fmla="*/ 9255 w 9951"/>
                        <a:gd name="connsiteY44" fmla="*/ 9132 h 10000"/>
                        <a:gd name="connsiteX45" fmla="*/ 8708 w 9951"/>
                        <a:gd name="connsiteY45" fmla="*/ 8971 h 10000"/>
                        <a:gd name="connsiteX46" fmla="*/ 8408 w 9951"/>
                        <a:gd name="connsiteY46" fmla="*/ 8457 h 10000"/>
                        <a:gd name="connsiteX47" fmla="*/ 8012 w 9951"/>
                        <a:gd name="connsiteY47" fmla="*/ 8264 h 10000"/>
                        <a:gd name="connsiteX48" fmla="*/ 7761 w 9951"/>
                        <a:gd name="connsiteY48" fmla="*/ 8006 h 10000"/>
                        <a:gd name="connsiteX49" fmla="*/ 7115 w 9951"/>
                        <a:gd name="connsiteY49" fmla="*/ 7814 h 10000"/>
                        <a:gd name="connsiteX50" fmla="*/ 7264 w 9951"/>
                        <a:gd name="connsiteY50" fmla="*/ 7749 h 10000"/>
                        <a:gd name="connsiteX51" fmla="*/ 7264 w 9951"/>
                        <a:gd name="connsiteY51" fmla="*/ 7588 h 10000"/>
                        <a:gd name="connsiteX52" fmla="*/ 7714 w 9951"/>
                        <a:gd name="connsiteY52" fmla="*/ 7588 h 10000"/>
                        <a:gd name="connsiteX53" fmla="*/ 7960 w 9951"/>
                        <a:gd name="connsiteY53" fmla="*/ 7460 h 10000"/>
                        <a:gd name="connsiteX54" fmla="*/ 8012 w 9951"/>
                        <a:gd name="connsiteY54" fmla="*/ 6527 h 10000"/>
                        <a:gd name="connsiteX55" fmla="*/ 8059 w 9951"/>
                        <a:gd name="connsiteY55" fmla="*/ 6559 h 10000"/>
                        <a:gd name="connsiteX56" fmla="*/ 7883 w 9951"/>
                        <a:gd name="connsiteY56" fmla="*/ 6618 h 10000"/>
                        <a:gd name="connsiteX57" fmla="*/ 7813 w 9951"/>
                        <a:gd name="connsiteY57" fmla="*/ 6745 h 10000"/>
                        <a:gd name="connsiteX58" fmla="*/ 7368 w 9951"/>
                        <a:gd name="connsiteY58" fmla="*/ 6497 h 10000"/>
                        <a:gd name="connsiteX59" fmla="*/ 7288 w 9951"/>
                        <a:gd name="connsiteY59" fmla="*/ 5828 h 10000"/>
                        <a:gd name="connsiteX60" fmla="*/ 6813 w 9951"/>
                        <a:gd name="connsiteY60" fmla="*/ 6118 h 10000"/>
                        <a:gd name="connsiteX61" fmla="*/ 6820 w 9951"/>
                        <a:gd name="connsiteY61" fmla="*/ 6462 h 10000"/>
                        <a:gd name="connsiteX62" fmla="*/ 6437 w 9951"/>
                        <a:gd name="connsiteY62" fmla="*/ 6670 h 10000"/>
                        <a:gd name="connsiteX63" fmla="*/ 9951 w 9951"/>
                        <a:gd name="connsiteY63" fmla="*/ 611 h 10000"/>
                        <a:gd name="connsiteX64" fmla="*/ 9553 w 9951"/>
                        <a:gd name="connsiteY64" fmla="*/ 289 h 10000"/>
                        <a:gd name="connsiteX65" fmla="*/ 9204 w 9951"/>
                        <a:gd name="connsiteY65" fmla="*/ 161 h 10000"/>
                        <a:gd name="connsiteX66" fmla="*/ 9007 w 9951"/>
                        <a:gd name="connsiteY66" fmla="*/ 0 h 10000"/>
                        <a:gd name="connsiteX67" fmla="*/ 8708 w 9951"/>
                        <a:gd name="connsiteY67" fmla="*/ 161 h 10000"/>
                        <a:gd name="connsiteX68" fmla="*/ 8507 w 9951"/>
                        <a:gd name="connsiteY68" fmla="*/ 129 h 10000"/>
                        <a:gd name="connsiteX69" fmla="*/ 8357 w 9951"/>
                        <a:gd name="connsiteY69" fmla="*/ 418 h 10000"/>
                        <a:gd name="connsiteX70" fmla="*/ 7960 w 9951"/>
                        <a:gd name="connsiteY70" fmla="*/ 482 h 10000"/>
                        <a:gd name="connsiteX71" fmla="*/ 7861 w 9951"/>
                        <a:gd name="connsiteY71" fmla="*/ 707 h 10000"/>
                        <a:gd name="connsiteX72" fmla="*/ 7512 w 9951"/>
                        <a:gd name="connsiteY72" fmla="*/ 707 h 10000"/>
                        <a:gd name="connsiteX73" fmla="*/ 7214 w 9951"/>
                        <a:gd name="connsiteY73" fmla="*/ 611 h 10000"/>
                        <a:gd name="connsiteX74" fmla="*/ 6568 w 9951"/>
                        <a:gd name="connsiteY74" fmla="*/ 611 h 10000"/>
                        <a:gd name="connsiteX75" fmla="*/ 5921 w 9951"/>
                        <a:gd name="connsiteY75" fmla="*/ 611 h 10000"/>
                        <a:gd name="connsiteX76" fmla="*/ 5972 w 9951"/>
                        <a:gd name="connsiteY76" fmla="*/ 482 h 10000"/>
                        <a:gd name="connsiteX77" fmla="*/ 5871 w 9951"/>
                        <a:gd name="connsiteY77" fmla="*/ 482 h 10000"/>
                        <a:gd name="connsiteX78" fmla="*/ 5821 w 9951"/>
                        <a:gd name="connsiteY78" fmla="*/ 611 h 10000"/>
                        <a:gd name="connsiteX79" fmla="*/ 5223 w 9951"/>
                        <a:gd name="connsiteY79" fmla="*/ 611 h 10000"/>
                        <a:gd name="connsiteX80" fmla="*/ 4629 w 9951"/>
                        <a:gd name="connsiteY80" fmla="*/ 611 h 10000"/>
                        <a:gd name="connsiteX81" fmla="*/ 4032 w 9951"/>
                        <a:gd name="connsiteY81" fmla="*/ 611 h 10000"/>
                        <a:gd name="connsiteX82" fmla="*/ 3433 w 9951"/>
                        <a:gd name="connsiteY82" fmla="*/ 611 h 10000"/>
                        <a:gd name="connsiteX83" fmla="*/ 2888 w 9951"/>
                        <a:gd name="connsiteY83" fmla="*/ 611 h 10000"/>
                        <a:gd name="connsiteX84" fmla="*/ 2291 w 9951"/>
                        <a:gd name="connsiteY84" fmla="*/ 611 h 10000"/>
                        <a:gd name="connsiteX85" fmla="*/ 1743 w 9951"/>
                        <a:gd name="connsiteY85" fmla="*/ 611 h 10000"/>
                        <a:gd name="connsiteX86" fmla="*/ 1145 w 9951"/>
                        <a:gd name="connsiteY86" fmla="*/ 611 h 10000"/>
                        <a:gd name="connsiteX87" fmla="*/ 1145 w 9951"/>
                        <a:gd name="connsiteY87" fmla="*/ 1061 h 10000"/>
                        <a:gd name="connsiteX88" fmla="*/ 1145 w 9951"/>
                        <a:gd name="connsiteY88" fmla="*/ 1640 h 10000"/>
                        <a:gd name="connsiteX89" fmla="*/ 401 w 9951"/>
                        <a:gd name="connsiteY89" fmla="*/ 1640 h 10000"/>
                        <a:gd name="connsiteX90" fmla="*/ 401 w 9951"/>
                        <a:gd name="connsiteY90" fmla="*/ 1897 h 10000"/>
                        <a:gd name="connsiteX0" fmla="*/ 403 w 9600"/>
                        <a:gd name="connsiteY0" fmla="*/ 1897 h 10000"/>
                        <a:gd name="connsiteX1" fmla="*/ 6208 w 9600"/>
                        <a:gd name="connsiteY1" fmla="*/ 6915 h 10000"/>
                        <a:gd name="connsiteX2" fmla="*/ 5798 w 9600"/>
                        <a:gd name="connsiteY2" fmla="*/ 7114 h 10000"/>
                        <a:gd name="connsiteX3" fmla="*/ 5455 w 9600"/>
                        <a:gd name="connsiteY3" fmla="*/ 6907 h 10000"/>
                        <a:gd name="connsiteX4" fmla="*/ 4953 w 9600"/>
                        <a:gd name="connsiteY4" fmla="*/ 6781 h 10000"/>
                        <a:gd name="connsiteX5" fmla="*/ 4705 w 9600"/>
                        <a:gd name="connsiteY5" fmla="*/ 7064 h 10000"/>
                        <a:gd name="connsiteX6" fmla="*/ 4089 w 9600"/>
                        <a:gd name="connsiteY6" fmla="*/ 7281 h 10000"/>
                        <a:gd name="connsiteX7" fmla="*/ 3694 w 9600"/>
                        <a:gd name="connsiteY7" fmla="*/ 7279 h 10000"/>
                        <a:gd name="connsiteX8" fmla="*/ 2831 w 9600"/>
                        <a:gd name="connsiteY8" fmla="*/ 7095 h 10000"/>
                        <a:gd name="connsiteX9" fmla="*/ 2601 w 9600"/>
                        <a:gd name="connsiteY9" fmla="*/ 7195 h 10000"/>
                        <a:gd name="connsiteX10" fmla="*/ 2025 w 9600"/>
                        <a:gd name="connsiteY10" fmla="*/ 6973 h 10000"/>
                        <a:gd name="connsiteX11" fmla="*/ 1770 w 9600"/>
                        <a:gd name="connsiteY11" fmla="*/ 6638 h 10000"/>
                        <a:gd name="connsiteX12" fmla="*/ 1348 w 9600"/>
                        <a:gd name="connsiteY12" fmla="*/ 6729 h 10000"/>
                        <a:gd name="connsiteX13" fmla="*/ 1232 w 9600"/>
                        <a:gd name="connsiteY13" fmla="*/ 6927 h 10000"/>
                        <a:gd name="connsiteX14" fmla="*/ 786 w 9600"/>
                        <a:gd name="connsiteY14" fmla="*/ 7011 h 10000"/>
                        <a:gd name="connsiteX15" fmla="*/ 490 w 9600"/>
                        <a:gd name="connsiteY15" fmla="*/ 7004 h 10000"/>
                        <a:gd name="connsiteX16" fmla="*/ 329 w 9600"/>
                        <a:gd name="connsiteY16" fmla="*/ 7161 h 10000"/>
                        <a:gd name="connsiteX17" fmla="*/ 52 w 9600"/>
                        <a:gd name="connsiteY17" fmla="*/ 6913 h 10000"/>
                        <a:gd name="connsiteX18" fmla="*/ 0 w 9600"/>
                        <a:gd name="connsiteY18" fmla="*/ 7363 h 10000"/>
                        <a:gd name="connsiteX19" fmla="*/ 99 w 9600"/>
                        <a:gd name="connsiteY19" fmla="*/ 7428 h 10000"/>
                        <a:gd name="connsiteX20" fmla="*/ 500 w 9600"/>
                        <a:gd name="connsiteY20" fmla="*/ 7460 h 10000"/>
                        <a:gd name="connsiteX21" fmla="*/ 554 w 9600"/>
                        <a:gd name="connsiteY21" fmla="*/ 7588 h 10000"/>
                        <a:gd name="connsiteX22" fmla="*/ 1000 w 9600"/>
                        <a:gd name="connsiteY22" fmla="*/ 7621 h 10000"/>
                        <a:gd name="connsiteX23" fmla="*/ 1252 w 9600"/>
                        <a:gd name="connsiteY23" fmla="*/ 7749 h 10000"/>
                        <a:gd name="connsiteX24" fmla="*/ 1300 w 9600"/>
                        <a:gd name="connsiteY24" fmla="*/ 7974 h 10000"/>
                        <a:gd name="connsiteX25" fmla="*/ 2102 w 9600"/>
                        <a:gd name="connsiteY25" fmla="*/ 8360 h 10000"/>
                        <a:gd name="connsiteX26" fmla="*/ 2302 w 9600"/>
                        <a:gd name="connsiteY26" fmla="*/ 8746 h 10000"/>
                        <a:gd name="connsiteX27" fmla="*/ 2850 w 9600"/>
                        <a:gd name="connsiteY27" fmla="*/ 8939 h 10000"/>
                        <a:gd name="connsiteX28" fmla="*/ 3051 w 9600"/>
                        <a:gd name="connsiteY28" fmla="*/ 9196 h 10000"/>
                        <a:gd name="connsiteX29" fmla="*/ 3450 w 9600"/>
                        <a:gd name="connsiteY29" fmla="*/ 9518 h 10000"/>
                        <a:gd name="connsiteX30" fmla="*/ 3753 w 9600"/>
                        <a:gd name="connsiteY30" fmla="*/ 9614 h 10000"/>
                        <a:gd name="connsiteX31" fmla="*/ 3951 w 9600"/>
                        <a:gd name="connsiteY31" fmla="*/ 9518 h 10000"/>
                        <a:gd name="connsiteX32" fmla="*/ 4451 w 9600"/>
                        <a:gd name="connsiteY32" fmla="*/ 9550 h 10000"/>
                        <a:gd name="connsiteX33" fmla="*/ 4652 w 9600"/>
                        <a:gd name="connsiteY33" fmla="*/ 9486 h 10000"/>
                        <a:gd name="connsiteX34" fmla="*/ 5550 w 9600"/>
                        <a:gd name="connsiteY34" fmla="*/ 9968 h 10000"/>
                        <a:gd name="connsiteX35" fmla="*/ 5601 w 9600"/>
                        <a:gd name="connsiteY35" fmla="*/ 9968 h 10000"/>
                        <a:gd name="connsiteX36" fmla="*/ 5701 w 9600"/>
                        <a:gd name="connsiteY36" fmla="*/ 9904 h 10000"/>
                        <a:gd name="connsiteX37" fmla="*/ 6347 w 9600"/>
                        <a:gd name="connsiteY37" fmla="*/ 9904 h 10000"/>
                        <a:gd name="connsiteX38" fmla="*/ 6451 w 9600"/>
                        <a:gd name="connsiteY38" fmla="*/ 10000 h 10000"/>
                        <a:gd name="connsiteX39" fmla="*/ 7000 w 9600"/>
                        <a:gd name="connsiteY39" fmla="*/ 9871 h 10000"/>
                        <a:gd name="connsiteX40" fmla="*/ 7499 w 9600"/>
                        <a:gd name="connsiteY40" fmla="*/ 9871 h 10000"/>
                        <a:gd name="connsiteX41" fmla="*/ 7849 w 9600"/>
                        <a:gd name="connsiteY41" fmla="*/ 9743 h 10000"/>
                        <a:gd name="connsiteX42" fmla="*/ 8251 w 9600"/>
                        <a:gd name="connsiteY42" fmla="*/ 9486 h 10000"/>
                        <a:gd name="connsiteX43" fmla="*/ 9301 w 9600"/>
                        <a:gd name="connsiteY43" fmla="*/ 9486 h 10000"/>
                        <a:gd name="connsiteX44" fmla="*/ 9301 w 9600"/>
                        <a:gd name="connsiteY44" fmla="*/ 9132 h 10000"/>
                        <a:gd name="connsiteX45" fmla="*/ 8751 w 9600"/>
                        <a:gd name="connsiteY45" fmla="*/ 8971 h 10000"/>
                        <a:gd name="connsiteX46" fmla="*/ 8449 w 9600"/>
                        <a:gd name="connsiteY46" fmla="*/ 8457 h 10000"/>
                        <a:gd name="connsiteX47" fmla="*/ 8051 w 9600"/>
                        <a:gd name="connsiteY47" fmla="*/ 8264 h 10000"/>
                        <a:gd name="connsiteX48" fmla="*/ 7799 w 9600"/>
                        <a:gd name="connsiteY48" fmla="*/ 8006 h 10000"/>
                        <a:gd name="connsiteX49" fmla="*/ 7150 w 9600"/>
                        <a:gd name="connsiteY49" fmla="*/ 7814 h 10000"/>
                        <a:gd name="connsiteX50" fmla="*/ 7300 w 9600"/>
                        <a:gd name="connsiteY50" fmla="*/ 7749 h 10000"/>
                        <a:gd name="connsiteX51" fmla="*/ 7300 w 9600"/>
                        <a:gd name="connsiteY51" fmla="*/ 7588 h 10000"/>
                        <a:gd name="connsiteX52" fmla="*/ 7752 w 9600"/>
                        <a:gd name="connsiteY52" fmla="*/ 7588 h 10000"/>
                        <a:gd name="connsiteX53" fmla="*/ 7999 w 9600"/>
                        <a:gd name="connsiteY53" fmla="*/ 7460 h 10000"/>
                        <a:gd name="connsiteX54" fmla="*/ 8051 w 9600"/>
                        <a:gd name="connsiteY54" fmla="*/ 6527 h 10000"/>
                        <a:gd name="connsiteX55" fmla="*/ 8099 w 9600"/>
                        <a:gd name="connsiteY55" fmla="*/ 6559 h 10000"/>
                        <a:gd name="connsiteX56" fmla="*/ 7922 w 9600"/>
                        <a:gd name="connsiteY56" fmla="*/ 6618 h 10000"/>
                        <a:gd name="connsiteX57" fmla="*/ 7851 w 9600"/>
                        <a:gd name="connsiteY57" fmla="*/ 6745 h 10000"/>
                        <a:gd name="connsiteX58" fmla="*/ 7404 w 9600"/>
                        <a:gd name="connsiteY58" fmla="*/ 6497 h 10000"/>
                        <a:gd name="connsiteX59" fmla="*/ 7324 w 9600"/>
                        <a:gd name="connsiteY59" fmla="*/ 5828 h 10000"/>
                        <a:gd name="connsiteX60" fmla="*/ 6847 w 9600"/>
                        <a:gd name="connsiteY60" fmla="*/ 6118 h 10000"/>
                        <a:gd name="connsiteX61" fmla="*/ 6854 w 9600"/>
                        <a:gd name="connsiteY61" fmla="*/ 6462 h 10000"/>
                        <a:gd name="connsiteX62" fmla="*/ 6469 w 9600"/>
                        <a:gd name="connsiteY62" fmla="*/ 6670 h 10000"/>
                        <a:gd name="connsiteX63" fmla="*/ 9600 w 9600"/>
                        <a:gd name="connsiteY63" fmla="*/ 289 h 10000"/>
                        <a:gd name="connsiteX64" fmla="*/ 9249 w 9600"/>
                        <a:gd name="connsiteY64" fmla="*/ 161 h 10000"/>
                        <a:gd name="connsiteX65" fmla="*/ 9051 w 9600"/>
                        <a:gd name="connsiteY65" fmla="*/ 0 h 10000"/>
                        <a:gd name="connsiteX66" fmla="*/ 8751 w 9600"/>
                        <a:gd name="connsiteY66" fmla="*/ 161 h 10000"/>
                        <a:gd name="connsiteX67" fmla="*/ 8549 w 9600"/>
                        <a:gd name="connsiteY67" fmla="*/ 129 h 10000"/>
                        <a:gd name="connsiteX68" fmla="*/ 8398 w 9600"/>
                        <a:gd name="connsiteY68" fmla="*/ 418 h 10000"/>
                        <a:gd name="connsiteX69" fmla="*/ 7999 w 9600"/>
                        <a:gd name="connsiteY69" fmla="*/ 482 h 10000"/>
                        <a:gd name="connsiteX70" fmla="*/ 7900 w 9600"/>
                        <a:gd name="connsiteY70" fmla="*/ 707 h 10000"/>
                        <a:gd name="connsiteX71" fmla="*/ 7549 w 9600"/>
                        <a:gd name="connsiteY71" fmla="*/ 707 h 10000"/>
                        <a:gd name="connsiteX72" fmla="*/ 7250 w 9600"/>
                        <a:gd name="connsiteY72" fmla="*/ 611 h 10000"/>
                        <a:gd name="connsiteX73" fmla="*/ 6600 w 9600"/>
                        <a:gd name="connsiteY73" fmla="*/ 611 h 10000"/>
                        <a:gd name="connsiteX74" fmla="*/ 5950 w 9600"/>
                        <a:gd name="connsiteY74" fmla="*/ 611 h 10000"/>
                        <a:gd name="connsiteX75" fmla="*/ 6001 w 9600"/>
                        <a:gd name="connsiteY75" fmla="*/ 482 h 10000"/>
                        <a:gd name="connsiteX76" fmla="*/ 5900 w 9600"/>
                        <a:gd name="connsiteY76" fmla="*/ 482 h 10000"/>
                        <a:gd name="connsiteX77" fmla="*/ 5850 w 9600"/>
                        <a:gd name="connsiteY77" fmla="*/ 611 h 10000"/>
                        <a:gd name="connsiteX78" fmla="*/ 5249 w 9600"/>
                        <a:gd name="connsiteY78" fmla="*/ 611 h 10000"/>
                        <a:gd name="connsiteX79" fmla="*/ 4652 w 9600"/>
                        <a:gd name="connsiteY79" fmla="*/ 611 h 10000"/>
                        <a:gd name="connsiteX80" fmla="*/ 4052 w 9600"/>
                        <a:gd name="connsiteY80" fmla="*/ 611 h 10000"/>
                        <a:gd name="connsiteX81" fmla="*/ 3450 w 9600"/>
                        <a:gd name="connsiteY81" fmla="*/ 611 h 10000"/>
                        <a:gd name="connsiteX82" fmla="*/ 2902 w 9600"/>
                        <a:gd name="connsiteY82" fmla="*/ 611 h 10000"/>
                        <a:gd name="connsiteX83" fmla="*/ 2302 w 9600"/>
                        <a:gd name="connsiteY83" fmla="*/ 611 h 10000"/>
                        <a:gd name="connsiteX84" fmla="*/ 1752 w 9600"/>
                        <a:gd name="connsiteY84" fmla="*/ 611 h 10000"/>
                        <a:gd name="connsiteX85" fmla="*/ 1151 w 9600"/>
                        <a:gd name="connsiteY85" fmla="*/ 611 h 10000"/>
                        <a:gd name="connsiteX86" fmla="*/ 1151 w 9600"/>
                        <a:gd name="connsiteY86" fmla="*/ 1061 h 10000"/>
                        <a:gd name="connsiteX87" fmla="*/ 1151 w 9600"/>
                        <a:gd name="connsiteY87" fmla="*/ 1640 h 10000"/>
                        <a:gd name="connsiteX88" fmla="*/ 403 w 9600"/>
                        <a:gd name="connsiteY88" fmla="*/ 1640 h 10000"/>
                        <a:gd name="connsiteX89" fmla="*/ 403 w 9600"/>
                        <a:gd name="connsiteY89" fmla="*/ 1897 h 10000"/>
                        <a:gd name="connsiteX0" fmla="*/ 420 w 9689"/>
                        <a:gd name="connsiteY0" fmla="*/ 1897 h 10000"/>
                        <a:gd name="connsiteX1" fmla="*/ 6467 w 9689"/>
                        <a:gd name="connsiteY1" fmla="*/ 6915 h 10000"/>
                        <a:gd name="connsiteX2" fmla="*/ 6040 w 9689"/>
                        <a:gd name="connsiteY2" fmla="*/ 7114 h 10000"/>
                        <a:gd name="connsiteX3" fmla="*/ 5682 w 9689"/>
                        <a:gd name="connsiteY3" fmla="*/ 6907 h 10000"/>
                        <a:gd name="connsiteX4" fmla="*/ 5159 w 9689"/>
                        <a:gd name="connsiteY4" fmla="*/ 6781 h 10000"/>
                        <a:gd name="connsiteX5" fmla="*/ 4901 w 9689"/>
                        <a:gd name="connsiteY5" fmla="*/ 7064 h 10000"/>
                        <a:gd name="connsiteX6" fmla="*/ 4259 w 9689"/>
                        <a:gd name="connsiteY6" fmla="*/ 7281 h 10000"/>
                        <a:gd name="connsiteX7" fmla="*/ 3848 w 9689"/>
                        <a:gd name="connsiteY7" fmla="*/ 7279 h 10000"/>
                        <a:gd name="connsiteX8" fmla="*/ 2949 w 9689"/>
                        <a:gd name="connsiteY8" fmla="*/ 7095 h 10000"/>
                        <a:gd name="connsiteX9" fmla="*/ 2709 w 9689"/>
                        <a:gd name="connsiteY9" fmla="*/ 7195 h 10000"/>
                        <a:gd name="connsiteX10" fmla="*/ 2109 w 9689"/>
                        <a:gd name="connsiteY10" fmla="*/ 6973 h 10000"/>
                        <a:gd name="connsiteX11" fmla="*/ 1844 w 9689"/>
                        <a:gd name="connsiteY11" fmla="*/ 6638 h 10000"/>
                        <a:gd name="connsiteX12" fmla="*/ 1404 w 9689"/>
                        <a:gd name="connsiteY12" fmla="*/ 6729 h 10000"/>
                        <a:gd name="connsiteX13" fmla="*/ 1283 w 9689"/>
                        <a:gd name="connsiteY13" fmla="*/ 6927 h 10000"/>
                        <a:gd name="connsiteX14" fmla="*/ 819 w 9689"/>
                        <a:gd name="connsiteY14" fmla="*/ 7011 h 10000"/>
                        <a:gd name="connsiteX15" fmla="*/ 510 w 9689"/>
                        <a:gd name="connsiteY15" fmla="*/ 7004 h 10000"/>
                        <a:gd name="connsiteX16" fmla="*/ 343 w 9689"/>
                        <a:gd name="connsiteY16" fmla="*/ 7161 h 10000"/>
                        <a:gd name="connsiteX17" fmla="*/ 54 w 9689"/>
                        <a:gd name="connsiteY17" fmla="*/ 6913 h 10000"/>
                        <a:gd name="connsiteX18" fmla="*/ 0 w 9689"/>
                        <a:gd name="connsiteY18" fmla="*/ 7363 h 10000"/>
                        <a:gd name="connsiteX19" fmla="*/ 103 w 9689"/>
                        <a:gd name="connsiteY19" fmla="*/ 7428 h 10000"/>
                        <a:gd name="connsiteX20" fmla="*/ 521 w 9689"/>
                        <a:gd name="connsiteY20" fmla="*/ 7460 h 10000"/>
                        <a:gd name="connsiteX21" fmla="*/ 577 w 9689"/>
                        <a:gd name="connsiteY21" fmla="*/ 7588 h 10000"/>
                        <a:gd name="connsiteX22" fmla="*/ 1042 w 9689"/>
                        <a:gd name="connsiteY22" fmla="*/ 7621 h 10000"/>
                        <a:gd name="connsiteX23" fmla="*/ 1304 w 9689"/>
                        <a:gd name="connsiteY23" fmla="*/ 7749 h 10000"/>
                        <a:gd name="connsiteX24" fmla="*/ 1354 w 9689"/>
                        <a:gd name="connsiteY24" fmla="*/ 7974 h 10000"/>
                        <a:gd name="connsiteX25" fmla="*/ 2190 w 9689"/>
                        <a:gd name="connsiteY25" fmla="*/ 8360 h 10000"/>
                        <a:gd name="connsiteX26" fmla="*/ 2398 w 9689"/>
                        <a:gd name="connsiteY26" fmla="*/ 8746 h 10000"/>
                        <a:gd name="connsiteX27" fmla="*/ 2969 w 9689"/>
                        <a:gd name="connsiteY27" fmla="*/ 8939 h 10000"/>
                        <a:gd name="connsiteX28" fmla="*/ 3178 w 9689"/>
                        <a:gd name="connsiteY28" fmla="*/ 9196 h 10000"/>
                        <a:gd name="connsiteX29" fmla="*/ 3594 w 9689"/>
                        <a:gd name="connsiteY29" fmla="*/ 9518 h 10000"/>
                        <a:gd name="connsiteX30" fmla="*/ 3909 w 9689"/>
                        <a:gd name="connsiteY30" fmla="*/ 9614 h 10000"/>
                        <a:gd name="connsiteX31" fmla="*/ 4116 w 9689"/>
                        <a:gd name="connsiteY31" fmla="*/ 9518 h 10000"/>
                        <a:gd name="connsiteX32" fmla="*/ 4636 w 9689"/>
                        <a:gd name="connsiteY32" fmla="*/ 9550 h 10000"/>
                        <a:gd name="connsiteX33" fmla="*/ 4846 w 9689"/>
                        <a:gd name="connsiteY33" fmla="*/ 9486 h 10000"/>
                        <a:gd name="connsiteX34" fmla="*/ 5781 w 9689"/>
                        <a:gd name="connsiteY34" fmla="*/ 9968 h 10000"/>
                        <a:gd name="connsiteX35" fmla="*/ 5834 w 9689"/>
                        <a:gd name="connsiteY35" fmla="*/ 9968 h 10000"/>
                        <a:gd name="connsiteX36" fmla="*/ 5939 w 9689"/>
                        <a:gd name="connsiteY36" fmla="*/ 9904 h 10000"/>
                        <a:gd name="connsiteX37" fmla="*/ 6611 w 9689"/>
                        <a:gd name="connsiteY37" fmla="*/ 9904 h 10000"/>
                        <a:gd name="connsiteX38" fmla="*/ 6720 w 9689"/>
                        <a:gd name="connsiteY38" fmla="*/ 10000 h 10000"/>
                        <a:gd name="connsiteX39" fmla="*/ 7292 w 9689"/>
                        <a:gd name="connsiteY39" fmla="*/ 9871 h 10000"/>
                        <a:gd name="connsiteX40" fmla="*/ 7811 w 9689"/>
                        <a:gd name="connsiteY40" fmla="*/ 9871 h 10000"/>
                        <a:gd name="connsiteX41" fmla="*/ 8176 w 9689"/>
                        <a:gd name="connsiteY41" fmla="*/ 9743 h 10000"/>
                        <a:gd name="connsiteX42" fmla="*/ 8595 w 9689"/>
                        <a:gd name="connsiteY42" fmla="*/ 9486 h 10000"/>
                        <a:gd name="connsiteX43" fmla="*/ 9689 w 9689"/>
                        <a:gd name="connsiteY43" fmla="*/ 9486 h 10000"/>
                        <a:gd name="connsiteX44" fmla="*/ 9689 w 9689"/>
                        <a:gd name="connsiteY44" fmla="*/ 9132 h 10000"/>
                        <a:gd name="connsiteX45" fmla="*/ 9116 w 9689"/>
                        <a:gd name="connsiteY45" fmla="*/ 8971 h 10000"/>
                        <a:gd name="connsiteX46" fmla="*/ 8801 w 9689"/>
                        <a:gd name="connsiteY46" fmla="*/ 8457 h 10000"/>
                        <a:gd name="connsiteX47" fmla="*/ 8386 w 9689"/>
                        <a:gd name="connsiteY47" fmla="*/ 8264 h 10000"/>
                        <a:gd name="connsiteX48" fmla="*/ 8124 w 9689"/>
                        <a:gd name="connsiteY48" fmla="*/ 8006 h 10000"/>
                        <a:gd name="connsiteX49" fmla="*/ 7448 w 9689"/>
                        <a:gd name="connsiteY49" fmla="*/ 7814 h 10000"/>
                        <a:gd name="connsiteX50" fmla="*/ 7604 w 9689"/>
                        <a:gd name="connsiteY50" fmla="*/ 7749 h 10000"/>
                        <a:gd name="connsiteX51" fmla="*/ 7604 w 9689"/>
                        <a:gd name="connsiteY51" fmla="*/ 7588 h 10000"/>
                        <a:gd name="connsiteX52" fmla="*/ 8075 w 9689"/>
                        <a:gd name="connsiteY52" fmla="*/ 7588 h 10000"/>
                        <a:gd name="connsiteX53" fmla="*/ 8332 w 9689"/>
                        <a:gd name="connsiteY53" fmla="*/ 7460 h 10000"/>
                        <a:gd name="connsiteX54" fmla="*/ 8386 w 9689"/>
                        <a:gd name="connsiteY54" fmla="*/ 6527 h 10000"/>
                        <a:gd name="connsiteX55" fmla="*/ 8436 w 9689"/>
                        <a:gd name="connsiteY55" fmla="*/ 6559 h 10000"/>
                        <a:gd name="connsiteX56" fmla="*/ 8252 w 9689"/>
                        <a:gd name="connsiteY56" fmla="*/ 6618 h 10000"/>
                        <a:gd name="connsiteX57" fmla="*/ 8178 w 9689"/>
                        <a:gd name="connsiteY57" fmla="*/ 6745 h 10000"/>
                        <a:gd name="connsiteX58" fmla="*/ 7713 w 9689"/>
                        <a:gd name="connsiteY58" fmla="*/ 6497 h 10000"/>
                        <a:gd name="connsiteX59" fmla="*/ 7629 w 9689"/>
                        <a:gd name="connsiteY59" fmla="*/ 5828 h 10000"/>
                        <a:gd name="connsiteX60" fmla="*/ 7132 w 9689"/>
                        <a:gd name="connsiteY60" fmla="*/ 6118 h 10000"/>
                        <a:gd name="connsiteX61" fmla="*/ 7140 w 9689"/>
                        <a:gd name="connsiteY61" fmla="*/ 6462 h 10000"/>
                        <a:gd name="connsiteX62" fmla="*/ 6739 w 9689"/>
                        <a:gd name="connsiteY62" fmla="*/ 6670 h 10000"/>
                        <a:gd name="connsiteX63" fmla="*/ 9634 w 9689"/>
                        <a:gd name="connsiteY63" fmla="*/ 161 h 10000"/>
                        <a:gd name="connsiteX64" fmla="*/ 9428 w 9689"/>
                        <a:gd name="connsiteY64" fmla="*/ 0 h 10000"/>
                        <a:gd name="connsiteX65" fmla="*/ 9116 w 9689"/>
                        <a:gd name="connsiteY65" fmla="*/ 161 h 10000"/>
                        <a:gd name="connsiteX66" fmla="*/ 8905 w 9689"/>
                        <a:gd name="connsiteY66" fmla="*/ 129 h 10000"/>
                        <a:gd name="connsiteX67" fmla="*/ 8748 w 9689"/>
                        <a:gd name="connsiteY67" fmla="*/ 418 h 10000"/>
                        <a:gd name="connsiteX68" fmla="*/ 8332 w 9689"/>
                        <a:gd name="connsiteY68" fmla="*/ 482 h 10000"/>
                        <a:gd name="connsiteX69" fmla="*/ 8229 w 9689"/>
                        <a:gd name="connsiteY69" fmla="*/ 707 h 10000"/>
                        <a:gd name="connsiteX70" fmla="*/ 7864 w 9689"/>
                        <a:gd name="connsiteY70" fmla="*/ 707 h 10000"/>
                        <a:gd name="connsiteX71" fmla="*/ 7552 w 9689"/>
                        <a:gd name="connsiteY71" fmla="*/ 611 h 10000"/>
                        <a:gd name="connsiteX72" fmla="*/ 6875 w 9689"/>
                        <a:gd name="connsiteY72" fmla="*/ 611 h 10000"/>
                        <a:gd name="connsiteX73" fmla="*/ 6198 w 9689"/>
                        <a:gd name="connsiteY73" fmla="*/ 611 h 10000"/>
                        <a:gd name="connsiteX74" fmla="*/ 6251 w 9689"/>
                        <a:gd name="connsiteY74" fmla="*/ 482 h 10000"/>
                        <a:gd name="connsiteX75" fmla="*/ 6146 w 9689"/>
                        <a:gd name="connsiteY75" fmla="*/ 482 h 10000"/>
                        <a:gd name="connsiteX76" fmla="*/ 6094 w 9689"/>
                        <a:gd name="connsiteY76" fmla="*/ 611 h 10000"/>
                        <a:gd name="connsiteX77" fmla="*/ 5468 w 9689"/>
                        <a:gd name="connsiteY77" fmla="*/ 611 h 10000"/>
                        <a:gd name="connsiteX78" fmla="*/ 4846 w 9689"/>
                        <a:gd name="connsiteY78" fmla="*/ 611 h 10000"/>
                        <a:gd name="connsiteX79" fmla="*/ 4221 w 9689"/>
                        <a:gd name="connsiteY79" fmla="*/ 611 h 10000"/>
                        <a:gd name="connsiteX80" fmla="*/ 3594 w 9689"/>
                        <a:gd name="connsiteY80" fmla="*/ 611 h 10000"/>
                        <a:gd name="connsiteX81" fmla="*/ 3023 w 9689"/>
                        <a:gd name="connsiteY81" fmla="*/ 611 h 10000"/>
                        <a:gd name="connsiteX82" fmla="*/ 2398 w 9689"/>
                        <a:gd name="connsiteY82" fmla="*/ 611 h 10000"/>
                        <a:gd name="connsiteX83" fmla="*/ 1825 w 9689"/>
                        <a:gd name="connsiteY83" fmla="*/ 611 h 10000"/>
                        <a:gd name="connsiteX84" fmla="*/ 1199 w 9689"/>
                        <a:gd name="connsiteY84" fmla="*/ 611 h 10000"/>
                        <a:gd name="connsiteX85" fmla="*/ 1199 w 9689"/>
                        <a:gd name="connsiteY85" fmla="*/ 1061 h 10000"/>
                        <a:gd name="connsiteX86" fmla="*/ 1199 w 9689"/>
                        <a:gd name="connsiteY86" fmla="*/ 1640 h 10000"/>
                        <a:gd name="connsiteX87" fmla="*/ 420 w 9689"/>
                        <a:gd name="connsiteY87" fmla="*/ 1640 h 10000"/>
                        <a:gd name="connsiteX88" fmla="*/ 420 w 9689"/>
                        <a:gd name="connsiteY88" fmla="*/ 1897 h 10000"/>
                        <a:gd name="connsiteX0" fmla="*/ 433 w 10000"/>
                        <a:gd name="connsiteY0" fmla="*/ 1897 h 10000"/>
                        <a:gd name="connsiteX1" fmla="*/ 6675 w 10000"/>
                        <a:gd name="connsiteY1" fmla="*/ 6915 h 10000"/>
                        <a:gd name="connsiteX2" fmla="*/ 6234 w 10000"/>
                        <a:gd name="connsiteY2" fmla="*/ 7114 h 10000"/>
                        <a:gd name="connsiteX3" fmla="*/ 5864 w 10000"/>
                        <a:gd name="connsiteY3" fmla="*/ 6907 h 10000"/>
                        <a:gd name="connsiteX4" fmla="*/ 5325 w 10000"/>
                        <a:gd name="connsiteY4" fmla="*/ 6781 h 10000"/>
                        <a:gd name="connsiteX5" fmla="*/ 5058 w 10000"/>
                        <a:gd name="connsiteY5" fmla="*/ 7064 h 10000"/>
                        <a:gd name="connsiteX6" fmla="*/ 4396 w 10000"/>
                        <a:gd name="connsiteY6" fmla="*/ 7281 h 10000"/>
                        <a:gd name="connsiteX7" fmla="*/ 3972 w 10000"/>
                        <a:gd name="connsiteY7" fmla="*/ 7279 h 10000"/>
                        <a:gd name="connsiteX8" fmla="*/ 3044 w 10000"/>
                        <a:gd name="connsiteY8" fmla="*/ 7095 h 10000"/>
                        <a:gd name="connsiteX9" fmla="*/ 2796 w 10000"/>
                        <a:gd name="connsiteY9" fmla="*/ 7195 h 10000"/>
                        <a:gd name="connsiteX10" fmla="*/ 2177 w 10000"/>
                        <a:gd name="connsiteY10" fmla="*/ 6973 h 10000"/>
                        <a:gd name="connsiteX11" fmla="*/ 1903 w 10000"/>
                        <a:gd name="connsiteY11" fmla="*/ 6638 h 10000"/>
                        <a:gd name="connsiteX12" fmla="*/ 1449 w 10000"/>
                        <a:gd name="connsiteY12" fmla="*/ 6729 h 10000"/>
                        <a:gd name="connsiteX13" fmla="*/ 1324 w 10000"/>
                        <a:gd name="connsiteY13" fmla="*/ 6927 h 10000"/>
                        <a:gd name="connsiteX14" fmla="*/ 845 w 10000"/>
                        <a:gd name="connsiteY14" fmla="*/ 7011 h 10000"/>
                        <a:gd name="connsiteX15" fmla="*/ 526 w 10000"/>
                        <a:gd name="connsiteY15" fmla="*/ 7004 h 10000"/>
                        <a:gd name="connsiteX16" fmla="*/ 354 w 10000"/>
                        <a:gd name="connsiteY16" fmla="*/ 7161 h 10000"/>
                        <a:gd name="connsiteX17" fmla="*/ 56 w 10000"/>
                        <a:gd name="connsiteY17" fmla="*/ 6913 h 10000"/>
                        <a:gd name="connsiteX18" fmla="*/ 0 w 10000"/>
                        <a:gd name="connsiteY18" fmla="*/ 7363 h 10000"/>
                        <a:gd name="connsiteX19" fmla="*/ 106 w 10000"/>
                        <a:gd name="connsiteY19" fmla="*/ 7428 h 10000"/>
                        <a:gd name="connsiteX20" fmla="*/ 538 w 10000"/>
                        <a:gd name="connsiteY20" fmla="*/ 7460 h 10000"/>
                        <a:gd name="connsiteX21" fmla="*/ 596 w 10000"/>
                        <a:gd name="connsiteY21" fmla="*/ 7588 h 10000"/>
                        <a:gd name="connsiteX22" fmla="*/ 1075 w 10000"/>
                        <a:gd name="connsiteY22" fmla="*/ 7621 h 10000"/>
                        <a:gd name="connsiteX23" fmla="*/ 1346 w 10000"/>
                        <a:gd name="connsiteY23" fmla="*/ 7749 h 10000"/>
                        <a:gd name="connsiteX24" fmla="*/ 1397 w 10000"/>
                        <a:gd name="connsiteY24" fmla="*/ 7974 h 10000"/>
                        <a:gd name="connsiteX25" fmla="*/ 2260 w 10000"/>
                        <a:gd name="connsiteY25" fmla="*/ 8360 h 10000"/>
                        <a:gd name="connsiteX26" fmla="*/ 2475 w 10000"/>
                        <a:gd name="connsiteY26" fmla="*/ 8746 h 10000"/>
                        <a:gd name="connsiteX27" fmla="*/ 3064 w 10000"/>
                        <a:gd name="connsiteY27" fmla="*/ 8939 h 10000"/>
                        <a:gd name="connsiteX28" fmla="*/ 3280 w 10000"/>
                        <a:gd name="connsiteY28" fmla="*/ 9196 h 10000"/>
                        <a:gd name="connsiteX29" fmla="*/ 3709 w 10000"/>
                        <a:gd name="connsiteY29" fmla="*/ 9518 h 10000"/>
                        <a:gd name="connsiteX30" fmla="*/ 4034 w 10000"/>
                        <a:gd name="connsiteY30" fmla="*/ 9614 h 10000"/>
                        <a:gd name="connsiteX31" fmla="*/ 4248 w 10000"/>
                        <a:gd name="connsiteY31" fmla="*/ 9518 h 10000"/>
                        <a:gd name="connsiteX32" fmla="*/ 4785 w 10000"/>
                        <a:gd name="connsiteY32" fmla="*/ 9550 h 10000"/>
                        <a:gd name="connsiteX33" fmla="*/ 5002 w 10000"/>
                        <a:gd name="connsiteY33" fmla="*/ 9486 h 10000"/>
                        <a:gd name="connsiteX34" fmla="*/ 5967 w 10000"/>
                        <a:gd name="connsiteY34" fmla="*/ 9968 h 10000"/>
                        <a:gd name="connsiteX35" fmla="*/ 6021 w 10000"/>
                        <a:gd name="connsiteY35" fmla="*/ 9968 h 10000"/>
                        <a:gd name="connsiteX36" fmla="*/ 6130 w 10000"/>
                        <a:gd name="connsiteY36" fmla="*/ 9904 h 10000"/>
                        <a:gd name="connsiteX37" fmla="*/ 6823 w 10000"/>
                        <a:gd name="connsiteY37" fmla="*/ 9904 h 10000"/>
                        <a:gd name="connsiteX38" fmla="*/ 6936 w 10000"/>
                        <a:gd name="connsiteY38" fmla="*/ 10000 h 10000"/>
                        <a:gd name="connsiteX39" fmla="*/ 7526 w 10000"/>
                        <a:gd name="connsiteY39" fmla="*/ 9871 h 10000"/>
                        <a:gd name="connsiteX40" fmla="*/ 8062 w 10000"/>
                        <a:gd name="connsiteY40" fmla="*/ 9871 h 10000"/>
                        <a:gd name="connsiteX41" fmla="*/ 8438 w 10000"/>
                        <a:gd name="connsiteY41" fmla="*/ 9743 h 10000"/>
                        <a:gd name="connsiteX42" fmla="*/ 8871 w 10000"/>
                        <a:gd name="connsiteY42" fmla="*/ 9486 h 10000"/>
                        <a:gd name="connsiteX43" fmla="*/ 10000 w 10000"/>
                        <a:gd name="connsiteY43" fmla="*/ 9486 h 10000"/>
                        <a:gd name="connsiteX44" fmla="*/ 10000 w 10000"/>
                        <a:gd name="connsiteY44" fmla="*/ 9132 h 10000"/>
                        <a:gd name="connsiteX45" fmla="*/ 9409 w 10000"/>
                        <a:gd name="connsiteY45" fmla="*/ 8971 h 10000"/>
                        <a:gd name="connsiteX46" fmla="*/ 9083 w 10000"/>
                        <a:gd name="connsiteY46" fmla="*/ 8457 h 10000"/>
                        <a:gd name="connsiteX47" fmla="*/ 8655 w 10000"/>
                        <a:gd name="connsiteY47" fmla="*/ 8264 h 10000"/>
                        <a:gd name="connsiteX48" fmla="*/ 8385 w 10000"/>
                        <a:gd name="connsiteY48" fmla="*/ 8006 h 10000"/>
                        <a:gd name="connsiteX49" fmla="*/ 7687 w 10000"/>
                        <a:gd name="connsiteY49" fmla="*/ 7814 h 10000"/>
                        <a:gd name="connsiteX50" fmla="*/ 7848 w 10000"/>
                        <a:gd name="connsiteY50" fmla="*/ 7749 h 10000"/>
                        <a:gd name="connsiteX51" fmla="*/ 7848 w 10000"/>
                        <a:gd name="connsiteY51" fmla="*/ 7588 h 10000"/>
                        <a:gd name="connsiteX52" fmla="*/ 8334 w 10000"/>
                        <a:gd name="connsiteY52" fmla="*/ 7588 h 10000"/>
                        <a:gd name="connsiteX53" fmla="*/ 8599 w 10000"/>
                        <a:gd name="connsiteY53" fmla="*/ 7460 h 10000"/>
                        <a:gd name="connsiteX54" fmla="*/ 8655 w 10000"/>
                        <a:gd name="connsiteY54" fmla="*/ 6527 h 10000"/>
                        <a:gd name="connsiteX55" fmla="*/ 8707 w 10000"/>
                        <a:gd name="connsiteY55" fmla="*/ 6559 h 10000"/>
                        <a:gd name="connsiteX56" fmla="*/ 8517 w 10000"/>
                        <a:gd name="connsiteY56" fmla="*/ 6618 h 10000"/>
                        <a:gd name="connsiteX57" fmla="*/ 8440 w 10000"/>
                        <a:gd name="connsiteY57" fmla="*/ 6745 h 10000"/>
                        <a:gd name="connsiteX58" fmla="*/ 7961 w 10000"/>
                        <a:gd name="connsiteY58" fmla="*/ 6497 h 10000"/>
                        <a:gd name="connsiteX59" fmla="*/ 7874 w 10000"/>
                        <a:gd name="connsiteY59" fmla="*/ 5828 h 10000"/>
                        <a:gd name="connsiteX60" fmla="*/ 7361 w 10000"/>
                        <a:gd name="connsiteY60" fmla="*/ 6118 h 10000"/>
                        <a:gd name="connsiteX61" fmla="*/ 7369 w 10000"/>
                        <a:gd name="connsiteY61" fmla="*/ 6462 h 10000"/>
                        <a:gd name="connsiteX62" fmla="*/ 6955 w 10000"/>
                        <a:gd name="connsiteY62" fmla="*/ 6670 h 10000"/>
                        <a:gd name="connsiteX63" fmla="*/ 9731 w 10000"/>
                        <a:gd name="connsiteY63" fmla="*/ 0 h 10000"/>
                        <a:gd name="connsiteX64" fmla="*/ 9409 w 10000"/>
                        <a:gd name="connsiteY64" fmla="*/ 161 h 10000"/>
                        <a:gd name="connsiteX65" fmla="*/ 9191 w 10000"/>
                        <a:gd name="connsiteY65" fmla="*/ 129 h 10000"/>
                        <a:gd name="connsiteX66" fmla="*/ 9029 w 10000"/>
                        <a:gd name="connsiteY66" fmla="*/ 418 h 10000"/>
                        <a:gd name="connsiteX67" fmla="*/ 8599 w 10000"/>
                        <a:gd name="connsiteY67" fmla="*/ 482 h 10000"/>
                        <a:gd name="connsiteX68" fmla="*/ 8493 w 10000"/>
                        <a:gd name="connsiteY68" fmla="*/ 707 h 10000"/>
                        <a:gd name="connsiteX69" fmla="*/ 8116 w 10000"/>
                        <a:gd name="connsiteY69" fmla="*/ 707 h 10000"/>
                        <a:gd name="connsiteX70" fmla="*/ 7794 w 10000"/>
                        <a:gd name="connsiteY70" fmla="*/ 611 h 10000"/>
                        <a:gd name="connsiteX71" fmla="*/ 7096 w 10000"/>
                        <a:gd name="connsiteY71" fmla="*/ 611 h 10000"/>
                        <a:gd name="connsiteX72" fmla="*/ 6397 w 10000"/>
                        <a:gd name="connsiteY72" fmla="*/ 611 h 10000"/>
                        <a:gd name="connsiteX73" fmla="*/ 6452 w 10000"/>
                        <a:gd name="connsiteY73" fmla="*/ 482 h 10000"/>
                        <a:gd name="connsiteX74" fmla="*/ 6343 w 10000"/>
                        <a:gd name="connsiteY74" fmla="*/ 482 h 10000"/>
                        <a:gd name="connsiteX75" fmla="*/ 6290 w 10000"/>
                        <a:gd name="connsiteY75" fmla="*/ 611 h 10000"/>
                        <a:gd name="connsiteX76" fmla="*/ 5644 w 10000"/>
                        <a:gd name="connsiteY76" fmla="*/ 611 h 10000"/>
                        <a:gd name="connsiteX77" fmla="*/ 5002 w 10000"/>
                        <a:gd name="connsiteY77" fmla="*/ 611 h 10000"/>
                        <a:gd name="connsiteX78" fmla="*/ 4356 w 10000"/>
                        <a:gd name="connsiteY78" fmla="*/ 611 h 10000"/>
                        <a:gd name="connsiteX79" fmla="*/ 3709 w 10000"/>
                        <a:gd name="connsiteY79" fmla="*/ 611 h 10000"/>
                        <a:gd name="connsiteX80" fmla="*/ 3120 w 10000"/>
                        <a:gd name="connsiteY80" fmla="*/ 611 h 10000"/>
                        <a:gd name="connsiteX81" fmla="*/ 2475 w 10000"/>
                        <a:gd name="connsiteY81" fmla="*/ 611 h 10000"/>
                        <a:gd name="connsiteX82" fmla="*/ 1884 w 10000"/>
                        <a:gd name="connsiteY82" fmla="*/ 611 h 10000"/>
                        <a:gd name="connsiteX83" fmla="*/ 1237 w 10000"/>
                        <a:gd name="connsiteY83" fmla="*/ 611 h 10000"/>
                        <a:gd name="connsiteX84" fmla="*/ 1237 w 10000"/>
                        <a:gd name="connsiteY84" fmla="*/ 1061 h 10000"/>
                        <a:gd name="connsiteX85" fmla="*/ 1237 w 10000"/>
                        <a:gd name="connsiteY85" fmla="*/ 1640 h 10000"/>
                        <a:gd name="connsiteX86" fmla="*/ 433 w 10000"/>
                        <a:gd name="connsiteY86" fmla="*/ 1640 h 10000"/>
                        <a:gd name="connsiteX87" fmla="*/ 433 w 10000"/>
                        <a:gd name="connsiteY87" fmla="*/ 1897 h 10000"/>
                        <a:gd name="connsiteX0" fmla="*/ 433 w 10000"/>
                        <a:gd name="connsiteY0" fmla="*/ 1768 h 9871"/>
                        <a:gd name="connsiteX1" fmla="*/ 6675 w 10000"/>
                        <a:gd name="connsiteY1" fmla="*/ 6786 h 9871"/>
                        <a:gd name="connsiteX2" fmla="*/ 6234 w 10000"/>
                        <a:gd name="connsiteY2" fmla="*/ 6985 h 9871"/>
                        <a:gd name="connsiteX3" fmla="*/ 5864 w 10000"/>
                        <a:gd name="connsiteY3" fmla="*/ 6778 h 9871"/>
                        <a:gd name="connsiteX4" fmla="*/ 5325 w 10000"/>
                        <a:gd name="connsiteY4" fmla="*/ 6652 h 9871"/>
                        <a:gd name="connsiteX5" fmla="*/ 5058 w 10000"/>
                        <a:gd name="connsiteY5" fmla="*/ 6935 h 9871"/>
                        <a:gd name="connsiteX6" fmla="*/ 4396 w 10000"/>
                        <a:gd name="connsiteY6" fmla="*/ 7152 h 9871"/>
                        <a:gd name="connsiteX7" fmla="*/ 3972 w 10000"/>
                        <a:gd name="connsiteY7" fmla="*/ 7150 h 9871"/>
                        <a:gd name="connsiteX8" fmla="*/ 3044 w 10000"/>
                        <a:gd name="connsiteY8" fmla="*/ 6966 h 9871"/>
                        <a:gd name="connsiteX9" fmla="*/ 2796 w 10000"/>
                        <a:gd name="connsiteY9" fmla="*/ 7066 h 9871"/>
                        <a:gd name="connsiteX10" fmla="*/ 2177 w 10000"/>
                        <a:gd name="connsiteY10" fmla="*/ 6844 h 9871"/>
                        <a:gd name="connsiteX11" fmla="*/ 1903 w 10000"/>
                        <a:gd name="connsiteY11" fmla="*/ 6509 h 9871"/>
                        <a:gd name="connsiteX12" fmla="*/ 1449 w 10000"/>
                        <a:gd name="connsiteY12" fmla="*/ 6600 h 9871"/>
                        <a:gd name="connsiteX13" fmla="*/ 1324 w 10000"/>
                        <a:gd name="connsiteY13" fmla="*/ 6798 h 9871"/>
                        <a:gd name="connsiteX14" fmla="*/ 845 w 10000"/>
                        <a:gd name="connsiteY14" fmla="*/ 6882 h 9871"/>
                        <a:gd name="connsiteX15" fmla="*/ 526 w 10000"/>
                        <a:gd name="connsiteY15" fmla="*/ 6875 h 9871"/>
                        <a:gd name="connsiteX16" fmla="*/ 354 w 10000"/>
                        <a:gd name="connsiteY16" fmla="*/ 7032 h 9871"/>
                        <a:gd name="connsiteX17" fmla="*/ 56 w 10000"/>
                        <a:gd name="connsiteY17" fmla="*/ 6784 h 9871"/>
                        <a:gd name="connsiteX18" fmla="*/ 0 w 10000"/>
                        <a:gd name="connsiteY18" fmla="*/ 7234 h 9871"/>
                        <a:gd name="connsiteX19" fmla="*/ 106 w 10000"/>
                        <a:gd name="connsiteY19" fmla="*/ 7299 h 9871"/>
                        <a:gd name="connsiteX20" fmla="*/ 538 w 10000"/>
                        <a:gd name="connsiteY20" fmla="*/ 7331 h 9871"/>
                        <a:gd name="connsiteX21" fmla="*/ 596 w 10000"/>
                        <a:gd name="connsiteY21" fmla="*/ 7459 h 9871"/>
                        <a:gd name="connsiteX22" fmla="*/ 1075 w 10000"/>
                        <a:gd name="connsiteY22" fmla="*/ 7492 h 9871"/>
                        <a:gd name="connsiteX23" fmla="*/ 1346 w 10000"/>
                        <a:gd name="connsiteY23" fmla="*/ 7620 h 9871"/>
                        <a:gd name="connsiteX24" fmla="*/ 1397 w 10000"/>
                        <a:gd name="connsiteY24" fmla="*/ 7845 h 9871"/>
                        <a:gd name="connsiteX25" fmla="*/ 2260 w 10000"/>
                        <a:gd name="connsiteY25" fmla="*/ 8231 h 9871"/>
                        <a:gd name="connsiteX26" fmla="*/ 2475 w 10000"/>
                        <a:gd name="connsiteY26" fmla="*/ 8617 h 9871"/>
                        <a:gd name="connsiteX27" fmla="*/ 3064 w 10000"/>
                        <a:gd name="connsiteY27" fmla="*/ 8810 h 9871"/>
                        <a:gd name="connsiteX28" fmla="*/ 3280 w 10000"/>
                        <a:gd name="connsiteY28" fmla="*/ 9067 h 9871"/>
                        <a:gd name="connsiteX29" fmla="*/ 3709 w 10000"/>
                        <a:gd name="connsiteY29" fmla="*/ 9389 h 9871"/>
                        <a:gd name="connsiteX30" fmla="*/ 4034 w 10000"/>
                        <a:gd name="connsiteY30" fmla="*/ 9485 h 9871"/>
                        <a:gd name="connsiteX31" fmla="*/ 4248 w 10000"/>
                        <a:gd name="connsiteY31" fmla="*/ 9389 h 9871"/>
                        <a:gd name="connsiteX32" fmla="*/ 4785 w 10000"/>
                        <a:gd name="connsiteY32" fmla="*/ 9421 h 9871"/>
                        <a:gd name="connsiteX33" fmla="*/ 5002 w 10000"/>
                        <a:gd name="connsiteY33" fmla="*/ 9357 h 9871"/>
                        <a:gd name="connsiteX34" fmla="*/ 5967 w 10000"/>
                        <a:gd name="connsiteY34" fmla="*/ 9839 h 9871"/>
                        <a:gd name="connsiteX35" fmla="*/ 6021 w 10000"/>
                        <a:gd name="connsiteY35" fmla="*/ 9839 h 9871"/>
                        <a:gd name="connsiteX36" fmla="*/ 6130 w 10000"/>
                        <a:gd name="connsiteY36" fmla="*/ 9775 h 9871"/>
                        <a:gd name="connsiteX37" fmla="*/ 6823 w 10000"/>
                        <a:gd name="connsiteY37" fmla="*/ 9775 h 9871"/>
                        <a:gd name="connsiteX38" fmla="*/ 6936 w 10000"/>
                        <a:gd name="connsiteY38" fmla="*/ 9871 h 9871"/>
                        <a:gd name="connsiteX39" fmla="*/ 7526 w 10000"/>
                        <a:gd name="connsiteY39" fmla="*/ 9742 h 9871"/>
                        <a:gd name="connsiteX40" fmla="*/ 8062 w 10000"/>
                        <a:gd name="connsiteY40" fmla="*/ 9742 h 9871"/>
                        <a:gd name="connsiteX41" fmla="*/ 8438 w 10000"/>
                        <a:gd name="connsiteY41" fmla="*/ 9614 h 9871"/>
                        <a:gd name="connsiteX42" fmla="*/ 8871 w 10000"/>
                        <a:gd name="connsiteY42" fmla="*/ 9357 h 9871"/>
                        <a:gd name="connsiteX43" fmla="*/ 10000 w 10000"/>
                        <a:gd name="connsiteY43" fmla="*/ 9357 h 9871"/>
                        <a:gd name="connsiteX44" fmla="*/ 10000 w 10000"/>
                        <a:gd name="connsiteY44" fmla="*/ 9003 h 9871"/>
                        <a:gd name="connsiteX45" fmla="*/ 9409 w 10000"/>
                        <a:gd name="connsiteY45" fmla="*/ 8842 h 9871"/>
                        <a:gd name="connsiteX46" fmla="*/ 9083 w 10000"/>
                        <a:gd name="connsiteY46" fmla="*/ 8328 h 9871"/>
                        <a:gd name="connsiteX47" fmla="*/ 8655 w 10000"/>
                        <a:gd name="connsiteY47" fmla="*/ 8135 h 9871"/>
                        <a:gd name="connsiteX48" fmla="*/ 8385 w 10000"/>
                        <a:gd name="connsiteY48" fmla="*/ 7877 h 9871"/>
                        <a:gd name="connsiteX49" fmla="*/ 7687 w 10000"/>
                        <a:gd name="connsiteY49" fmla="*/ 7685 h 9871"/>
                        <a:gd name="connsiteX50" fmla="*/ 7848 w 10000"/>
                        <a:gd name="connsiteY50" fmla="*/ 7620 h 9871"/>
                        <a:gd name="connsiteX51" fmla="*/ 7848 w 10000"/>
                        <a:gd name="connsiteY51" fmla="*/ 7459 h 9871"/>
                        <a:gd name="connsiteX52" fmla="*/ 8334 w 10000"/>
                        <a:gd name="connsiteY52" fmla="*/ 7459 h 9871"/>
                        <a:gd name="connsiteX53" fmla="*/ 8599 w 10000"/>
                        <a:gd name="connsiteY53" fmla="*/ 7331 h 9871"/>
                        <a:gd name="connsiteX54" fmla="*/ 8655 w 10000"/>
                        <a:gd name="connsiteY54" fmla="*/ 6398 h 9871"/>
                        <a:gd name="connsiteX55" fmla="*/ 8707 w 10000"/>
                        <a:gd name="connsiteY55" fmla="*/ 6430 h 9871"/>
                        <a:gd name="connsiteX56" fmla="*/ 8517 w 10000"/>
                        <a:gd name="connsiteY56" fmla="*/ 6489 h 9871"/>
                        <a:gd name="connsiteX57" fmla="*/ 8440 w 10000"/>
                        <a:gd name="connsiteY57" fmla="*/ 6616 h 9871"/>
                        <a:gd name="connsiteX58" fmla="*/ 7961 w 10000"/>
                        <a:gd name="connsiteY58" fmla="*/ 6368 h 9871"/>
                        <a:gd name="connsiteX59" fmla="*/ 7874 w 10000"/>
                        <a:gd name="connsiteY59" fmla="*/ 5699 h 9871"/>
                        <a:gd name="connsiteX60" fmla="*/ 7361 w 10000"/>
                        <a:gd name="connsiteY60" fmla="*/ 5989 h 9871"/>
                        <a:gd name="connsiteX61" fmla="*/ 7369 w 10000"/>
                        <a:gd name="connsiteY61" fmla="*/ 6333 h 9871"/>
                        <a:gd name="connsiteX62" fmla="*/ 6955 w 10000"/>
                        <a:gd name="connsiteY62" fmla="*/ 6541 h 9871"/>
                        <a:gd name="connsiteX63" fmla="*/ 9409 w 10000"/>
                        <a:gd name="connsiteY63" fmla="*/ 32 h 9871"/>
                        <a:gd name="connsiteX64" fmla="*/ 9191 w 10000"/>
                        <a:gd name="connsiteY64" fmla="*/ 0 h 9871"/>
                        <a:gd name="connsiteX65" fmla="*/ 9029 w 10000"/>
                        <a:gd name="connsiteY65" fmla="*/ 289 h 9871"/>
                        <a:gd name="connsiteX66" fmla="*/ 8599 w 10000"/>
                        <a:gd name="connsiteY66" fmla="*/ 353 h 9871"/>
                        <a:gd name="connsiteX67" fmla="*/ 8493 w 10000"/>
                        <a:gd name="connsiteY67" fmla="*/ 578 h 9871"/>
                        <a:gd name="connsiteX68" fmla="*/ 8116 w 10000"/>
                        <a:gd name="connsiteY68" fmla="*/ 578 h 9871"/>
                        <a:gd name="connsiteX69" fmla="*/ 7794 w 10000"/>
                        <a:gd name="connsiteY69" fmla="*/ 482 h 9871"/>
                        <a:gd name="connsiteX70" fmla="*/ 7096 w 10000"/>
                        <a:gd name="connsiteY70" fmla="*/ 482 h 9871"/>
                        <a:gd name="connsiteX71" fmla="*/ 6397 w 10000"/>
                        <a:gd name="connsiteY71" fmla="*/ 482 h 9871"/>
                        <a:gd name="connsiteX72" fmla="*/ 6452 w 10000"/>
                        <a:gd name="connsiteY72" fmla="*/ 353 h 9871"/>
                        <a:gd name="connsiteX73" fmla="*/ 6343 w 10000"/>
                        <a:gd name="connsiteY73" fmla="*/ 353 h 9871"/>
                        <a:gd name="connsiteX74" fmla="*/ 6290 w 10000"/>
                        <a:gd name="connsiteY74" fmla="*/ 482 h 9871"/>
                        <a:gd name="connsiteX75" fmla="*/ 5644 w 10000"/>
                        <a:gd name="connsiteY75" fmla="*/ 482 h 9871"/>
                        <a:gd name="connsiteX76" fmla="*/ 5002 w 10000"/>
                        <a:gd name="connsiteY76" fmla="*/ 482 h 9871"/>
                        <a:gd name="connsiteX77" fmla="*/ 4356 w 10000"/>
                        <a:gd name="connsiteY77" fmla="*/ 482 h 9871"/>
                        <a:gd name="connsiteX78" fmla="*/ 3709 w 10000"/>
                        <a:gd name="connsiteY78" fmla="*/ 482 h 9871"/>
                        <a:gd name="connsiteX79" fmla="*/ 3120 w 10000"/>
                        <a:gd name="connsiteY79" fmla="*/ 482 h 9871"/>
                        <a:gd name="connsiteX80" fmla="*/ 2475 w 10000"/>
                        <a:gd name="connsiteY80" fmla="*/ 482 h 9871"/>
                        <a:gd name="connsiteX81" fmla="*/ 1884 w 10000"/>
                        <a:gd name="connsiteY81" fmla="*/ 482 h 9871"/>
                        <a:gd name="connsiteX82" fmla="*/ 1237 w 10000"/>
                        <a:gd name="connsiteY82" fmla="*/ 482 h 9871"/>
                        <a:gd name="connsiteX83" fmla="*/ 1237 w 10000"/>
                        <a:gd name="connsiteY83" fmla="*/ 932 h 9871"/>
                        <a:gd name="connsiteX84" fmla="*/ 1237 w 10000"/>
                        <a:gd name="connsiteY84" fmla="*/ 1511 h 9871"/>
                        <a:gd name="connsiteX85" fmla="*/ 433 w 10000"/>
                        <a:gd name="connsiteY85" fmla="*/ 1511 h 9871"/>
                        <a:gd name="connsiteX86" fmla="*/ 433 w 10000"/>
                        <a:gd name="connsiteY86" fmla="*/ 1768 h 9871"/>
                        <a:gd name="connsiteX0" fmla="*/ 433 w 10000"/>
                        <a:gd name="connsiteY0" fmla="*/ 1791 h 10000"/>
                        <a:gd name="connsiteX1" fmla="*/ 6675 w 10000"/>
                        <a:gd name="connsiteY1" fmla="*/ 6875 h 10000"/>
                        <a:gd name="connsiteX2" fmla="*/ 6234 w 10000"/>
                        <a:gd name="connsiteY2" fmla="*/ 7076 h 10000"/>
                        <a:gd name="connsiteX3" fmla="*/ 5864 w 10000"/>
                        <a:gd name="connsiteY3" fmla="*/ 6867 h 10000"/>
                        <a:gd name="connsiteX4" fmla="*/ 5325 w 10000"/>
                        <a:gd name="connsiteY4" fmla="*/ 6739 h 10000"/>
                        <a:gd name="connsiteX5" fmla="*/ 5058 w 10000"/>
                        <a:gd name="connsiteY5" fmla="*/ 7026 h 10000"/>
                        <a:gd name="connsiteX6" fmla="*/ 4396 w 10000"/>
                        <a:gd name="connsiteY6" fmla="*/ 7245 h 10000"/>
                        <a:gd name="connsiteX7" fmla="*/ 3972 w 10000"/>
                        <a:gd name="connsiteY7" fmla="*/ 7243 h 10000"/>
                        <a:gd name="connsiteX8" fmla="*/ 3044 w 10000"/>
                        <a:gd name="connsiteY8" fmla="*/ 7057 h 10000"/>
                        <a:gd name="connsiteX9" fmla="*/ 2796 w 10000"/>
                        <a:gd name="connsiteY9" fmla="*/ 7158 h 10000"/>
                        <a:gd name="connsiteX10" fmla="*/ 2177 w 10000"/>
                        <a:gd name="connsiteY10" fmla="*/ 6933 h 10000"/>
                        <a:gd name="connsiteX11" fmla="*/ 1903 w 10000"/>
                        <a:gd name="connsiteY11" fmla="*/ 6594 h 10000"/>
                        <a:gd name="connsiteX12" fmla="*/ 1449 w 10000"/>
                        <a:gd name="connsiteY12" fmla="*/ 6686 h 10000"/>
                        <a:gd name="connsiteX13" fmla="*/ 1324 w 10000"/>
                        <a:gd name="connsiteY13" fmla="*/ 6887 h 10000"/>
                        <a:gd name="connsiteX14" fmla="*/ 845 w 10000"/>
                        <a:gd name="connsiteY14" fmla="*/ 6972 h 10000"/>
                        <a:gd name="connsiteX15" fmla="*/ 526 w 10000"/>
                        <a:gd name="connsiteY15" fmla="*/ 6965 h 10000"/>
                        <a:gd name="connsiteX16" fmla="*/ 354 w 10000"/>
                        <a:gd name="connsiteY16" fmla="*/ 7124 h 10000"/>
                        <a:gd name="connsiteX17" fmla="*/ 56 w 10000"/>
                        <a:gd name="connsiteY17" fmla="*/ 6873 h 10000"/>
                        <a:gd name="connsiteX18" fmla="*/ 0 w 10000"/>
                        <a:gd name="connsiteY18" fmla="*/ 7329 h 10000"/>
                        <a:gd name="connsiteX19" fmla="*/ 106 w 10000"/>
                        <a:gd name="connsiteY19" fmla="*/ 7394 h 10000"/>
                        <a:gd name="connsiteX20" fmla="*/ 538 w 10000"/>
                        <a:gd name="connsiteY20" fmla="*/ 7427 h 10000"/>
                        <a:gd name="connsiteX21" fmla="*/ 596 w 10000"/>
                        <a:gd name="connsiteY21" fmla="*/ 7556 h 10000"/>
                        <a:gd name="connsiteX22" fmla="*/ 1075 w 10000"/>
                        <a:gd name="connsiteY22" fmla="*/ 7590 h 10000"/>
                        <a:gd name="connsiteX23" fmla="*/ 1346 w 10000"/>
                        <a:gd name="connsiteY23" fmla="*/ 7720 h 10000"/>
                        <a:gd name="connsiteX24" fmla="*/ 1397 w 10000"/>
                        <a:gd name="connsiteY24" fmla="*/ 7948 h 10000"/>
                        <a:gd name="connsiteX25" fmla="*/ 2260 w 10000"/>
                        <a:gd name="connsiteY25" fmla="*/ 8339 h 10000"/>
                        <a:gd name="connsiteX26" fmla="*/ 2475 w 10000"/>
                        <a:gd name="connsiteY26" fmla="*/ 8730 h 10000"/>
                        <a:gd name="connsiteX27" fmla="*/ 3064 w 10000"/>
                        <a:gd name="connsiteY27" fmla="*/ 8925 h 10000"/>
                        <a:gd name="connsiteX28" fmla="*/ 3280 w 10000"/>
                        <a:gd name="connsiteY28" fmla="*/ 9185 h 10000"/>
                        <a:gd name="connsiteX29" fmla="*/ 3709 w 10000"/>
                        <a:gd name="connsiteY29" fmla="*/ 9512 h 10000"/>
                        <a:gd name="connsiteX30" fmla="*/ 4034 w 10000"/>
                        <a:gd name="connsiteY30" fmla="*/ 9609 h 10000"/>
                        <a:gd name="connsiteX31" fmla="*/ 4248 w 10000"/>
                        <a:gd name="connsiteY31" fmla="*/ 9512 h 10000"/>
                        <a:gd name="connsiteX32" fmla="*/ 4785 w 10000"/>
                        <a:gd name="connsiteY32" fmla="*/ 9544 h 10000"/>
                        <a:gd name="connsiteX33" fmla="*/ 5002 w 10000"/>
                        <a:gd name="connsiteY33" fmla="*/ 9479 h 10000"/>
                        <a:gd name="connsiteX34" fmla="*/ 5967 w 10000"/>
                        <a:gd name="connsiteY34" fmla="*/ 9968 h 10000"/>
                        <a:gd name="connsiteX35" fmla="*/ 6021 w 10000"/>
                        <a:gd name="connsiteY35" fmla="*/ 9968 h 10000"/>
                        <a:gd name="connsiteX36" fmla="*/ 6130 w 10000"/>
                        <a:gd name="connsiteY36" fmla="*/ 9903 h 10000"/>
                        <a:gd name="connsiteX37" fmla="*/ 6823 w 10000"/>
                        <a:gd name="connsiteY37" fmla="*/ 9903 h 10000"/>
                        <a:gd name="connsiteX38" fmla="*/ 6936 w 10000"/>
                        <a:gd name="connsiteY38" fmla="*/ 10000 h 10000"/>
                        <a:gd name="connsiteX39" fmla="*/ 7526 w 10000"/>
                        <a:gd name="connsiteY39" fmla="*/ 9869 h 10000"/>
                        <a:gd name="connsiteX40" fmla="*/ 8062 w 10000"/>
                        <a:gd name="connsiteY40" fmla="*/ 9869 h 10000"/>
                        <a:gd name="connsiteX41" fmla="*/ 8438 w 10000"/>
                        <a:gd name="connsiteY41" fmla="*/ 9740 h 10000"/>
                        <a:gd name="connsiteX42" fmla="*/ 8871 w 10000"/>
                        <a:gd name="connsiteY42" fmla="*/ 9479 h 10000"/>
                        <a:gd name="connsiteX43" fmla="*/ 10000 w 10000"/>
                        <a:gd name="connsiteY43" fmla="*/ 9479 h 10000"/>
                        <a:gd name="connsiteX44" fmla="*/ 10000 w 10000"/>
                        <a:gd name="connsiteY44" fmla="*/ 9121 h 10000"/>
                        <a:gd name="connsiteX45" fmla="*/ 9409 w 10000"/>
                        <a:gd name="connsiteY45" fmla="*/ 8958 h 10000"/>
                        <a:gd name="connsiteX46" fmla="*/ 9083 w 10000"/>
                        <a:gd name="connsiteY46" fmla="*/ 8437 h 10000"/>
                        <a:gd name="connsiteX47" fmla="*/ 8655 w 10000"/>
                        <a:gd name="connsiteY47" fmla="*/ 8241 h 10000"/>
                        <a:gd name="connsiteX48" fmla="*/ 8385 w 10000"/>
                        <a:gd name="connsiteY48" fmla="*/ 7980 h 10000"/>
                        <a:gd name="connsiteX49" fmla="*/ 7687 w 10000"/>
                        <a:gd name="connsiteY49" fmla="*/ 7785 h 10000"/>
                        <a:gd name="connsiteX50" fmla="*/ 7848 w 10000"/>
                        <a:gd name="connsiteY50" fmla="*/ 7720 h 10000"/>
                        <a:gd name="connsiteX51" fmla="*/ 7848 w 10000"/>
                        <a:gd name="connsiteY51" fmla="*/ 7556 h 10000"/>
                        <a:gd name="connsiteX52" fmla="*/ 8334 w 10000"/>
                        <a:gd name="connsiteY52" fmla="*/ 7556 h 10000"/>
                        <a:gd name="connsiteX53" fmla="*/ 8599 w 10000"/>
                        <a:gd name="connsiteY53" fmla="*/ 7427 h 10000"/>
                        <a:gd name="connsiteX54" fmla="*/ 8655 w 10000"/>
                        <a:gd name="connsiteY54" fmla="*/ 6482 h 10000"/>
                        <a:gd name="connsiteX55" fmla="*/ 8707 w 10000"/>
                        <a:gd name="connsiteY55" fmla="*/ 6514 h 10000"/>
                        <a:gd name="connsiteX56" fmla="*/ 8517 w 10000"/>
                        <a:gd name="connsiteY56" fmla="*/ 6574 h 10000"/>
                        <a:gd name="connsiteX57" fmla="*/ 8440 w 10000"/>
                        <a:gd name="connsiteY57" fmla="*/ 6702 h 10000"/>
                        <a:gd name="connsiteX58" fmla="*/ 7961 w 10000"/>
                        <a:gd name="connsiteY58" fmla="*/ 6451 h 10000"/>
                        <a:gd name="connsiteX59" fmla="*/ 7874 w 10000"/>
                        <a:gd name="connsiteY59" fmla="*/ 5773 h 10000"/>
                        <a:gd name="connsiteX60" fmla="*/ 7361 w 10000"/>
                        <a:gd name="connsiteY60" fmla="*/ 6067 h 10000"/>
                        <a:gd name="connsiteX61" fmla="*/ 7369 w 10000"/>
                        <a:gd name="connsiteY61" fmla="*/ 6416 h 10000"/>
                        <a:gd name="connsiteX62" fmla="*/ 6955 w 10000"/>
                        <a:gd name="connsiteY62" fmla="*/ 6626 h 10000"/>
                        <a:gd name="connsiteX63" fmla="*/ 9191 w 10000"/>
                        <a:gd name="connsiteY63" fmla="*/ 0 h 10000"/>
                        <a:gd name="connsiteX64" fmla="*/ 9029 w 10000"/>
                        <a:gd name="connsiteY64" fmla="*/ 293 h 10000"/>
                        <a:gd name="connsiteX65" fmla="*/ 8599 w 10000"/>
                        <a:gd name="connsiteY65" fmla="*/ 358 h 10000"/>
                        <a:gd name="connsiteX66" fmla="*/ 8493 w 10000"/>
                        <a:gd name="connsiteY66" fmla="*/ 586 h 10000"/>
                        <a:gd name="connsiteX67" fmla="*/ 8116 w 10000"/>
                        <a:gd name="connsiteY67" fmla="*/ 586 h 10000"/>
                        <a:gd name="connsiteX68" fmla="*/ 7794 w 10000"/>
                        <a:gd name="connsiteY68" fmla="*/ 488 h 10000"/>
                        <a:gd name="connsiteX69" fmla="*/ 7096 w 10000"/>
                        <a:gd name="connsiteY69" fmla="*/ 488 h 10000"/>
                        <a:gd name="connsiteX70" fmla="*/ 6397 w 10000"/>
                        <a:gd name="connsiteY70" fmla="*/ 488 h 10000"/>
                        <a:gd name="connsiteX71" fmla="*/ 6452 w 10000"/>
                        <a:gd name="connsiteY71" fmla="*/ 358 h 10000"/>
                        <a:gd name="connsiteX72" fmla="*/ 6343 w 10000"/>
                        <a:gd name="connsiteY72" fmla="*/ 358 h 10000"/>
                        <a:gd name="connsiteX73" fmla="*/ 6290 w 10000"/>
                        <a:gd name="connsiteY73" fmla="*/ 488 h 10000"/>
                        <a:gd name="connsiteX74" fmla="*/ 5644 w 10000"/>
                        <a:gd name="connsiteY74" fmla="*/ 488 h 10000"/>
                        <a:gd name="connsiteX75" fmla="*/ 5002 w 10000"/>
                        <a:gd name="connsiteY75" fmla="*/ 488 h 10000"/>
                        <a:gd name="connsiteX76" fmla="*/ 4356 w 10000"/>
                        <a:gd name="connsiteY76" fmla="*/ 488 h 10000"/>
                        <a:gd name="connsiteX77" fmla="*/ 3709 w 10000"/>
                        <a:gd name="connsiteY77" fmla="*/ 488 h 10000"/>
                        <a:gd name="connsiteX78" fmla="*/ 3120 w 10000"/>
                        <a:gd name="connsiteY78" fmla="*/ 488 h 10000"/>
                        <a:gd name="connsiteX79" fmla="*/ 2475 w 10000"/>
                        <a:gd name="connsiteY79" fmla="*/ 488 h 10000"/>
                        <a:gd name="connsiteX80" fmla="*/ 1884 w 10000"/>
                        <a:gd name="connsiteY80" fmla="*/ 488 h 10000"/>
                        <a:gd name="connsiteX81" fmla="*/ 1237 w 10000"/>
                        <a:gd name="connsiteY81" fmla="*/ 488 h 10000"/>
                        <a:gd name="connsiteX82" fmla="*/ 1237 w 10000"/>
                        <a:gd name="connsiteY82" fmla="*/ 944 h 10000"/>
                        <a:gd name="connsiteX83" fmla="*/ 1237 w 10000"/>
                        <a:gd name="connsiteY83" fmla="*/ 1531 h 10000"/>
                        <a:gd name="connsiteX84" fmla="*/ 433 w 10000"/>
                        <a:gd name="connsiteY84" fmla="*/ 1531 h 10000"/>
                        <a:gd name="connsiteX85" fmla="*/ 433 w 10000"/>
                        <a:gd name="connsiteY85" fmla="*/ 1791 h 10000"/>
                        <a:gd name="connsiteX0" fmla="*/ 433 w 10000"/>
                        <a:gd name="connsiteY0" fmla="*/ 1498 h 9707"/>
                        <a:gd name="connsiteX1" fmla="*/ 6675 w 10000"/>
                        <a:gd name="connsiteY1" fmla="*/ 6582 h 9707"/>
                        <a:gd name="connsiteX2" fmla="*/ 6234 w 10000"/>
                        <a:gd name="connsiteY2" fmla="*/ 6783 h 9707"/>
                        <a:gd name="connsiteX3" fmla="*/ 5864 w 10000"/>
                        <a:gd name="connsiteY3" fmla="*/ 6574 h 9707"/>
                        <a:gd name="connsiteX4" fmla="*/ 5325 w 10000"/>
                        <a:gd name="connsiteY4" fmla="*/ 6446 h 9707"/>
                        <a:gd name="connsiteX5" fmla="*/ 5058 w 10000"/>
                        <a:gd name="connsiteY5" fmla="*/ 6733 h 9707"/>
                        <a:gd name="connsiteX6" fmla="*/ 4396 w 10000"/>
                        <a:gd name="connsiteY6" fmla="*/ 6952 h 9707"/>
                        <a:gd name="connsiteX7" fmla="*/ 3972 w 10000"/>
                        <a:gd name="connsiteY7" fmla="*/ 6950 h 9707"/>
                        <a:gd name="connsiteX8" fmla="*/ 3044 w 10000"/>
                        <a:gd name="connsiteY8" fmla="*/ 6764 h 9707"/>
                        <a:gd name="connsiteX9" fmla="*/ 2796 w 10000"/>
                        <a:gd name="connsiteY9" fmla="*/ 6865 h 9707"/>
                        <a:gd name="connsiteX10" fmla="*/ 2177 w 10000"/>
                        <a:gd name="connsiteY10" fmla="*/ 6640 h 9707"/>
                        <a:gd name="connsiteX11" fmla="*/ 1903 w 10000"/>
                        <a:gd name="connsiteY11" fmla="*/ 6301 h 9707"/>
                        <a:gd name="connsiteX12" fmla="*/ 1449 w 10000"/>
                        <a:gd name="connsiteY12" fmla="*/ 6393 h 9707"/>
                        <a:gd name="connsiteX13" fmla="*/ 1324 w 10000"/>
                        <a:gd name="connsiteY13" fmla="*/ 6594 h 9707"/>
                        <a:gd name="connsiteX14" fmla="*/ 845 w 10000"/>
                        <a:gd name="connsiteY14" fmla="*/ 6679 h 9707"/>
                        <a:gd name="connsiteX15" fmla="*/ 526 w 10000"/>
                        <a:gd name="connsiteY15" fmla="*/ 6672 h 9707"/>
                        <a:gd name="connsiteX16" fmla="*/ 354 w 10000"/>
                        <a:gd name="connsiteY16" fmla="*/ 6831 h 9707"/>
                        <a:gd name="connsiteX17" fmla="*/ 56 w 10000"/>
                        <a:gd name="connsiteY17" fmla="*/ 6580 h 9707"/>
                        <a:gd name="connsiteX18" fmla="*/ 0 w 10000"/>
                        <a:gd name="connsiteY18" fmla="*/ 7036 h 9707"/>
                        <a:gd name="connsiteX19" fmla="*/ 106 w 10000"/>
                        <a:gd name="connsiteY19" fmla="*/ 7101 h 9707"/>
                        <a:gd name="connsiteX20" fmla="*/ 538 w 10000"/>
                        <a:gd name="connsiteY20" fmla="*/ 7134 h 9707"/>
                        <a:gd name="connsiteX21" fmla="*/ 596 w 10000"/>
                        <a:gd name="connsiteY21" fmla="*/ 7263 h 9707"/>
                        <a:gd name="connsiteX22" fmla="*/ 1075 w 10000"/>
                        <a:gd name="connsiteY22" fmla="*/ 7297 h 9707"/>
                        <a:gd name="connsiteX23" fmla="*/ 1346 w 10000"/>
                        <a:gd name="connsiteY23" fmla="*/ 7427 h 9707"/>
                        <a:gd name="connsiteX24" fmla="*/ 1397 w 10000"/>
                        <a:gd name="connsiteY24" fmla="*/ 7655 h 9707"/>
                        <a:gd name="connsiteX25" fmla="*/ 2260 w 10000"/>
                        <a:gd name="connsiteY25" fmla="*/ 8046 h 9707"/>
                        <a:gd name="connsiteX26" fmla="*/ 2475 w 10000"/>
                        <a:gd name="connsiteY26" fmla="*/ 8437 h 9707"/>
                        <a:gd name="connsiteX27" fmla="*/ 3064 w 10000"/>
                        <a:gd name="connsiteY27" fmla="*/ 8632 h 9707"/>
                        <a:gd name="connsiteX28" fmla="*/ 3280 w 10000"/>
                        <a:gd name="connsiteY28" fmla="*/ 8892 h 9707"/>
                        <a:gd name="connsiteX29" fmla="*/ 3709 w 10000"/>
                        <a:gd name="connsiteY29" fmla="*/ 9219 h 9707"/>
                        <a:gd name="connsiteX30" fmla="*/ 4034 w 10000"/>
                        <a:gd name="connsiteY30" fmla="*/ 9316 h 9707"/>
                        <a:gd name="connsiteX31" fmla="*/ 4248 w 10000"/>
                        <a:gd name="connsiteY31" fmla="*/ 9219 h 9707"/>
                        <a:gd name="connsiteX32" fmla="*/ 4785 w 10000"/>
                        <a:gd name="connsiteY32" fmla="*/ 9251 h 9707"/>
                        <a:gd name="connsiteX33" fmla="*/ 5002 w 10000"/>
                        <a:gd name="connsiteY33" fmla="*/ 9186 h 9707"/>
                        <a:gd name="connsiteX34" fmla="*/ 5967 w 10000"/>
                        <a:gd name="connsiteY34" fmla="*/ 9675 h 9707"/>
                        <a:gd name="connsiteX35" fmla="*/ 6021 w 10000"/>
                        <a:gd name="connsiteY35" fmla="*/ 9675 h 9707"/>
                        <a:gd name="connsiteX36" fmla="*/ 6130 w 10000"/>
                        <a:gd name="connsiteY36" fmla="*/ 9610 h 9707"/>
                        <a:gd name="connsiteX37" fmla="*/ 6823 w 10000"/>
                        <a:gd name="connsiteY37" fmla="*/ 9610 h 9707"/>
                        <a:gd name="connsiteX38" fmla="*/ 6936 w 10000"/>
                        <a:gd name="connsiteY38" fmla="*/ 9707 h 9707"/>
                        <a:gd name="connsiteX39" fmla="*/ 7526 w 10000"/>
                        <a:gd name="connsiteY39" fmla="*/ 9576 h 9707"/>
                        <a:gd name="connsiteX40" fmla="*/ 8062 w 10000"/>
                        <a:gd name="connsiteY40" fmla="*/ 9576 h 9707"/>
                        <a:gd name="connsiteX41" fmla="*/ 8438 w 10000"/>
                        <a:gd name="connsiteY41" fmla="*/ 9447 h 9707"/>
                        <a:gd name="connsiteX42" fmla="*/ 8871 w 10000"/>
                        <a:gd name="connsiteY42" fmla="*/ 9186 h 9707"/>
                        <a:gd name="connsiteX43" fmla="*/ 10000 w 10000"/>
                        <a:gd name="connsiteY43" fmla="*/ 9186 h 9707"/>
                        <a:gd name="connsiteX44" fmla="*/ 10000 w 10000"/>
                        <a:gd name="connsiteY44" fmla="*/ 8828 h 9707"/>
                        <a:gd name="connsiteX45" fmla="*/ 9409 w 10000"/>
                        <a:gd name="connsiteY45" fmla="*/ 8665 h 9707"/>
                        <a:gd name="connsiteX46" fmla="*/ 9083 w 10000"/>
                        <a:gd name="connsiteY46" fmla="*/ 8144 h 9707"/>
                        <a:gd name="connsiteX47" fmla="*/ 8655 w 10000"/>
                        <a:gd name="connsiteY47" fmla="*/ 7948 h 9707"/>
                        <a:gd name="connsiteX48" fmla="*/ 8385 w 10000"/>
                        <a:gd name="connsiteY48" fmla="*/ 7687 h 9707"/>
                        <a:gd name="connsiteX49" fmla="*/ 7687 w 10000"/>
                        <a:gd name="connsiteY49" fmla="*/ 7492 h 9707"/>
                        <a:gd name="connsiteX50" fmla="*/ 7848 w 10000"/>
                        <a:gd name="connsiteY50" fmla="*/ 7427 h 9707"/>
                        <a:gd name="connsiteX51" fmla="*/ 7848 w 10000"/>
                        <a:gd name="connsiteY51" fmla="*/ 7263 h 9707"/>
                        <a:gd name="connsiteX52" fmla="*/ 8334 w 10000"/>
                        <a:gd name="connsiteY52" fmla="*/ 7263 h 9707"/>
                        <a:gd name="connsiteX53" fmla="*/ 8599 w 10000"/>
                        <a:gd name="connsiteY53" fmla="*/ 7134 h 9707"/>
                        <a:gd name="connsiteX54" fmla="*/ 8655 w 10000"/>
                        <a:gd name="connsiteY54" fmla="*/ 6189 h 9707"/>
                        <a:gd name="connsiteX55" fmla="*/ 8707 w 10000"/>
                        <a:gd name="connsiteY55" fmla="*/ 6221 h 9707"/>
                        <a:gd name="connsiteX56" fmla="*/ 8517 w 10000"/>
                        <a:gd name="connsiteY56" fmla="*/ 6281 h 9707"/>
                        <a:gd name="connsiteX57" fmla="*/ 8440 w 10000"/>
                        <a:gd name="connsiteY57" fmla="*/ 6409 h 9707"/>
                        <a:gd name="connsiteX58" fmla="*/ 7961 w 10000"/>
                        <a:gd name="connsiteY58" fmla="*/ 6158 h 9707"/>
                        <a:gd name="connsiteX59" fmla="*/ 7874 w 10000"/>
                        <a:gd name="connsiteY59" fmla="*/ 5480 h 9707"/>
                        <a:gd name="connsiteX60" fmla="*/ 7361 w 10000"/>
                        <a:gd name="connsiteY60" fmla="*/ 5774 h 9707"/>
                        <a:gd name="connsiteX61" fmla="*/ 7369 w 10000"/>
                        <a:gd name="connsiteY61" fmla="*/ 6123 h 9707"/>
                        <a:gd name="connsiteX62" fmla="*/ 6955 w 10000"/>
                        <a:gd name="connsiteY62" fmla="*/ 6333 h 9707"/>
                        <a:gd name="connsiteX63" fmla="*/ 9029 w 10000"/>
                        <a:gd name="connsiteY63" fmla="*/ 0 h 9707"/>
                        <a:gd name="connsiteX64" fmla="*/ 8599 w 10000"/>
                        <a:gd name="connsiteY64" fmla="*/ 65 h 9707"/>
                        <a:gd name="connsiteX65" fmla="*/ 8493 w 10000"/>
                        <a:gd name="connsiteY65" fmla="*/ 293 h 9707"/>
                        <a:gd name="connsiteX66" fmla="*/ 8116 w 10000"/>
                        <a:gd name="connsiteY66" fmla="*/ 293 h 9707"/>
                        <a:gd name="connsiteX67" fmla="*/ 7794 w 10000"/>
                        <a:gd name="connsiteY67" fmla="*/ 195 h 9707"/>
                        <a:gd name="connsiteX68" fmla="*/ 7096 w 10000"/>
                        <a:gd name="connsiteY68" fmla="*/ 195 h 9707"/>
                        <a:gd name="connsiteX69" fmla="*/ 6397 w 10000"/>
                        <a:gd name="connsiteY69" fmla="*/ 195 h 9707"/>
                        <a:gd name="connsiteX70" fmla="*/ 6452 w 10000"/>
                        <a:gd name="connsiteY70" fmla="*/ 65 h 9707"/>
                        <a:gd name="connsiteX71" fmla="*/ 6343 w 10000"/>
                        <a:gd name="connsiteY71" fmla="*/ 65 h 9707"/>
                        <a:gd name="connsiteX72" fmla="*/ 6290 w 10000"/>
                        <a:gd name="connsiteY72" fmla="*/ 195 h 9707"/>
                        <a:gd name="connsiteX73" fmla="*/ 5644 w 10000"/>
                        <a:gd name="connsiteY73" fmla="*/ 195 h 9707"/>
                        <a:gd name="connsiteX74" fmla="*/ 5002 w 10000"/>
                        <a:gd name="connsiteY74" fmla="*/ 195 h 9707"/>
                        <a:gd name="connsiteX75" fmla="*/ 4356 w 10000"/>
                        <a:gd name="connsiteY75" fmla="*/ 195 h 9707"/>
                        <a:gd name="connsiteX76" fmla="*/ 3709 w 10000"/>
                        <a:gd name="connsiteY76" fmla="*/ 195 h 9707"/>
                        <a:gd name="connsiteX77" fmla="*/ 3120 w 10000"/>
                        <a:gd name="connsiteY77" fmla="*/ 195 h 9707"/>
                        <a:gd name="connsiteX78" fmla="*/ 2475 w 10000"/>
                        <a:gd name="connsiteY78" fmla="*/ 195 h 9707"/>
                        <a:gd name="connsiteX79" fmla="*/ 1884 w 10000"/>
                        <a:gd name="connsiteY79" fmla="*/ 195 h 9707"/>
                        <a:gd name="connsiteX80" fmla="*/ 1237 w 10000"/>
                        <a:gd name="connsiteY80" fmla="*/ 195 h 9707"/>
                        <a:gd name="connsiteX81" fmla="*/ 1237 w 10000"/>
                        <a:gd name="connsiteY81" fmla="*/ 651 h 9707"/>
                        <a:gd name="connsiteX82" fmla="*/ 1237 w 10000"/>
                        <a:gd name="connsiteY82" fmla="*/ 1238 h 9707"/>
                        <a:gd name="connsiteX83" fmla="*/ 433 w 10000"/>
                        <a:gd name="connsiteY83" fmla="*/ 1238 h 9707"/>
                        <a:gd name="connsiteX84" fmla="*/ 433 w 10000"/>
                        <a:gd name="connsiteY84" fmla="*/ 1498 h 9707"/>
                        <a:gd name="connsiteX0" fmla="*/ 433 w 10000"/>
                        <a:gd name="connsiteY0" fmla="*/ 1476 h 9933"/>
                        <a:gd name="connsiteX1" fmla="*/ 6675 w 10000"/>
                        <a:gd name="connsiteY1" fmla="*/ 6714 h 9933"/>
                        <a:gd name="connsiteX2" fmla="*/ 6234 w 10000"/>
                        <a:gd name="connsiteY2" fmla="*/ 6921 h 9933"/>
                        <a:gd name="connsiteX3" fmla="*/ 5864 w 10000"/>
                        <a:gd name="connsiteY3" fmla="*/ 6705 h 9933"/>
                        <a:gd name="connsiteX4" fmla="*/ 5325 w 10000"/>
                        <a:gd name="connsiteY4" fmla="*/ 6574 h 9933"/>
                        <a:gd name="connsiteX5" fmla="*/ 5058 w 10000"/>
                        <a:gd name="connsiteY5" fmla="*/ 6869 h 9933"/>
                        <a:gd name="connsiteX6" fmla="*/ 4396 w 10000"/>
                        <a:gd name="connsiteY6" fmla="*/ 7095 h 9933"/>
                        <a:gd name="connsiteX7" fmla="*/ 3972 w 10000"/>
                        <a:gd name="connsiteY7" fmla="*/ 7093 h 9933"/>
                        <a:gd name="connsiteX8" fmla="*/ 3044 w 10000"/>
                        <a:gd name="connsiteY8" fmla="*/ 6901 h 9933"/>
                        <a:gd name="connsiteX9" fmla="*/ 2796 w 10000"/>
                        <a:gd name="connsiteY9" fmla="*/ 7005 h 9933"/>
                        <a:gd name="connsiteX10" fmla="*/ 2177 w 10000"/>
                        <a:gd name="connsiteY10" fmla="*/ 6773 h 9933"/>
                        <a:gd name="connsiteX11" fmla="*/ 1903 w 10000"/>
                        <a:gd name="connsiteY11" fmla="*/ 6424 h 9933"/>
                        <a:gd name="connsiteX12" fmla="*/ 1449 w 10000"/>
                        <a:gd name="connsiteY12" fmla="*/ 6519 h 9933"/>
                        <a:gd name="connsiteX13" fmla="*/ 1324 w 10000"/>
                        <a:gd name="connsiteY13" fmla="*/ 6726 h 9933"/>
                        <a:gd name="connsiteX14" fmla="*/ 845 w 10000"/>
                        <a:gd name="connsiteY14" fmla="*/ 6814 h 9933"/>
                        <a:gd name="connsiteX15" fmla="*/ 526 w 10000"/>
                        <a:gd name="connsiteY15" fmla="*/ 6806 h 9933"/>
                        <a:gd name="connsiteX16" fmla="*/ 354 w 10000"/>
                        <a:gd name="connsiteY16" fmla="*/ 6970 h 9933"/>
                        <a:gd name="connsiteX17" fmla="*/ 56 w 10000"/>
                        <a:gd name="connsiteY17" fmla="*/ 6712 h 9933"/>
                        <a:gd name="connsiteX18" fmla="*/ 0 w 10000"/>
                        <a:gd name="connsiteY18" fmla="*/ 7181 h 9933"/>
                        <a:gd name="connsiteX19" fmla="*/ 106 w 10000"/>
                        <a:gd name="connsiteY19" fmla="*/ 7248 h 9933"/>
                        <a:gd name="connsiteX20" fmla="*/ 538 w 10000"/>
                        <a:gd name="connsiteY20" fmla="*/ 7282 h 9933"/>
                        <a:gd name="connsiteX21" fmla="*/ 596 w 10000"/>
                        <a:gd name="connsiteY21" fmla="*/ 7415 h 9933"/>
                        <a:gd name="connsiteX22" fmla="*/ 1075 w 10000"/>
                        <a:gd name="connsiteY22" fmla="*/ 7450 h 9933"/>
                        <a:gd name="connsiteX23" fmla="*/ 1346 w 10000"/>
                        <a:gd name="connsiteY23" fmla="*/ 7584 h 9933"/>
                        <a:gd name="connsiteX24" fmla="*/ 1397 w 10000"/>
                        <a:gd name="connsiteY24" fmla="*/ 7819 h 9933"/>
                        <a:gd name="connsiteX25" fmla="*/ 2260 w 10000"/>
                        <a:gd name="connsiteY25" fmla="*/ 8222 h 9933"/>
                        <a:gd name="connsiteX26" fmla="*/ 2475 w 10000"/>
                        <a:gd name="connsiteY26" fmla="*/ 8625 h 9933"/>
                        <a:gd name="connsiteX27" fmla="*/ 3064 w 10000"/>
                        <a:gd name="connsiteY27" fmla="*/ 8826 h 9933"/>
                        <a:gd name="connsiteX28" fmla="*/ 3280 w 10000"/>
                        <a:gd name="connsiteY28" fmla="*/ 9093 h 9933"/>
                        <a:gd name="connsiteX29" fmla="*/ 3709 w 10000"/>
                        <a:gd name="connsiteY29" fmla="*/ 9430 h 9933"/>
                        <a:gd name="connsiteX30" fmla="*/ 4034 w 10000"/>
                        <a:gd name="connsiteY30" fmla="*/ 9530 h 9933"/>
                        <a:gd name="connsiteX31" fmla="*/ 4248 w 10000"/>
                        <a:gd name="connsiteY31" fmla="*/ 9430 h 9933"/>
                        <a:gd name="connsiteX32" fmla="*/ 4785 w 10000"/>
                        <a:gd name="connsiteY32" fmla="*/ 9463 h 9933"/>
                        <a:gd name="connsiteX33" fmla="*/ 5002 w 10000"/>
                        <a:gd name="connsiteY33" fmla="*/ 9396 h 9933"/>
                        <a:gd name="connsiteX34" fmla="*/ 5967 w 10000"/>
                        <a:gd name="connsiteY34" fmla="*/ 9900 h 9933"/>
                        <a:gd name="connsiteX35" fmla="*/ 6021 w 10000"/>
                        <a:gd name="connsiteY35" fmla="*/ 9900 h 9933"/>
                        <a:gd name="connsiteX36" fmla="*/ 6130 w 10000"/>
                        <a:gd name="connsiteY36" fmla="*/ 9833 h 9933"/>
                        <a:gd name="connsiteX37" fmla="*/ 6823 w 10000"/>
                        <a:gd name="connsiteY37" fmla="*/ 9833 h 9933"/>
                        <a:gd name="connsiteX38" fmla="*/ 6936 w 10000"/>
                        <a:gd name="connsiteY38" fmla="*/ 9933 h 9933"/>
                        <a:gd name="connsiteX39" fmla="*/ 7526 w 10000"/>
                        <a:gd name="connsiteY39" fmla="*/ 9798 h 9933"/>
                        <a:gd name="connsiteX40" fmla="*/ 8062 w 10000"/>
                        <a:gd name="connsiteY40" fmla="*/ 9798 h 9933"/>
                        <a:gd name="connsiteX41" fmla="*/ 8438 w 10000"/>
                        <a:gd name="connsiteY41" fmla="*/ 9665 h 9933"/>
                        <a:gd name="connsiteX42" fmla="*/ 8871 w 10000"/>
                        <a:gd name="connsiteY42" fmla="*/ 9396 h 9933"/>
                        <a:gd name="connsiteX43" fmla="*/ 10000 w 10000"/>
                        <a:gd name="connsiteY43" fmla="*/ 9396 h 9933"/>
                        <a:gd name="connsiteX44" fmla="*/ 10000 w 10000"/>
                        <a:gd name="connsiteY44" fmla="*/ 9027 h 9933"/>
                        <a:gd name="connsiteX45" fmla="*/ 9409 w 10000"/>
                        <a:gd name="connsiteY45" fmla="*/ 8860 h 9933"/>
                        <a:gd name="connsiteX46" fmla="*/ 9083 w 10000"/>
                        <a:gd name="connsiteY46" fmla="*/ 8323 h 9933"/>
                        <a:gd name="connsiteX47" fmla="*/ 8655 w 10000"/>
                        <a:gd name="connsiteY47" fmla="*/ 8121 h 9933"/>
                        <a:gd name="connsiteX48" fmla="*/ 8385 w 10000"/>
                        <a:gd name="connsiteY48" fmla="*/ 7852 h 9933"/>
                        <a:gd name="connsiteX49" fmla="*/ 7687 w 10000"/>
                        <a:gd name="connsiteY49" fmla="*/ 7651 h 9933"/>
                        <a:gd name="connsiteX50" fmla="*/ 7848 w 10000"/>
                        <a:gd name="connsiteY50" fmla="*/ 7584 h 9933"/>
                        <a:gd name="connsiteX51" fmla="*/ 7848 w 10000"/>
                        <a:gd name="connsiteY51" fmla="*/ 7415 h 9933"/>
                        <a:gd name="connsiteX52" fmla="*/ 8334 w 10000"/>
                        <a:gd name="connsiteY52" fmla="*/ 7415 h 9933"/>
                        <a:gd name="connsiteX53" fmla="*/ 8599 w 10000"/>
                        <a:gd name="connsiteY53" fmla="*/ 7282 h 9933"/>
                        <a:gd name="connsiteX54" fmla="*/ 8655 w 10000"/>
                        <a:gd name="connsiteY54" fmla="*/ 6309 h 9933"/>
                        <a:gd name="connsiteX55" fmla="*/ 8707 w 10000"/>
                        <a:gd name="connsiteY55" fmla="*/ 6342 h 9933"/>
                        <a:gd name="connsiteX56" fmla="*/ 8517 w 10000"/>
                        <a:gd name="connsiteY56" fmla="*/ 6404 h 9933"/>
                        <a:gd name="connsiteX57" fmla="*/ 8440 w 10000"/>
                        <a:gd name="connsiteY57" fmla="*/ 6535 h 9933"/>
                        <a:gd name="connsiteX58" fmla="*/ 7961 w 10000"/>
                        <a:gd name="connsiteY58" fmla="*/ 6277 h 9933"/>
                        <a:gd name="connsiteX59" fmla="*/ 7874 w 10000"/>
                        <a:gd name="connsiteY59" fmla="*/ 5578 h 9933"/>
                        <a:gd name="connsiteX60" fmla="*/ 7361 w 10000"/>
                        <a:gd name="connsiteY60" fmla="*/ 5881 h 9933"/>
                        <a:gd name="connsiteX61" fmla="*/ 7369 w 10000"/>
                        <a:gd name="connsiteY61" fmla="*/ 6241 h 9933"/>
                        <a:gd name="connsiteX62" fmla="*/ 6955 w 10000"/>
                        <a:gd name="connsiteY62" fmla="*/ 6457 h 9933"/>
                        <a:gd name="connsiteX63" fmla="*/ 8599 w 10000"/>
                        <a:gd name="connsiteY63" fmla="*/ 0 h 9933"/>
                        <a:gd name="connsiteX64" fmla="*/ 8493 w 10000"/>
                        <a:gd name="connsiteY64" fmla="*/ 235 h 9933"/>
                        <a:gd name="connsiteX65" fmla="*/ 8116 w 10000"/>
                        <a:gd name="connsiteY65" fmla="*/ 235 h 9933"/>
                        <a:gd name="connsiteX66" fmla="*/ 7794 w 10000"/>
                        <a:gd name="connsiteY66" fmla="*/ 134 h 9933"/>
                        <a:gd name="connsiteX67" fmla="*/ 7096 w 10000"/>
                        <a:gd name="connsiteY67" fmla="*/ 134 h 9933"/>
                        <a:gd name="connsiteX68" fmla="*/ 6397 w 10000"/>
                        <a:gd name="connsiteY68" fmla="*/ 134 h 9933"/>
                        <a:gd name="connsiteX69" fmla="*/ 6452 w 10000"/>
                        <a:gd name="connsiteY69" fmla="*/ 0 h 9933"/>
                        <a:gd name="connsiteX70" fmla="*/ 6343 w 10000"/>
                        <a:gd name="connsiteY70" fmla="*/ 0 h 9933"/>
                        <a:gd name="connsiteX71" fmla="*/ 6290 w 10000"/>
                        <a:gd name="connsiteY71" fmla="*/ 134 h 9933"/>
                        <a:gd name="connsiteX72" fmla="*/ 5644 w 10000"/>
                        <a:gd name="connsiteY72" fmla="*/ 134 h 9933"/>
                        <a:gd name="connsiteX73" fmla="*/ 5002 w 10000"/>
                        <a:gd name="connsiteY73" fmla="*/ 134 h 9933"/>
                        <a:gd name="connsiteX74" fmla="*/ 4356 w 10000"/>
                        <a:gd name="connsiteY74" fmla="*/ 134 h 9933"/>
                        <a:gd name="connsiteX75" fmla="*/ 3709 w 10000"/>
                        <a:gd name="connsiteY75" fmla="*/ 134 h 9933"/>
                        <a:gd name="connsiteX76" fmla="*/ 3120 w 10000"/>
                        <a:gd name="connsiteY76" fmla="*/ 134 h 9933"/>
                        <a:gd name="connsiteX77" fmla="*/ 2475 w 10000"/>
                        <a:gd name="connsiteY77" fmla="*/ 134 h 9933"/>
                        <a:gd name="connsiteX78" fmla="*/ 1884 w 10000"/>
                        <a:gd name="connsiteY78" fmla="*/ 134 h 9933"/>
                        <a:gd name="connsiteX79" fmla="*/ 1237 w 10000"/>
                        <a:gd name="connsiteY79" fmla="*/ 134 h 9933"/>
                        <a:gd name="connsiteX80" fmla="*/ 1237 w 10000"/>
                        <a:gd name="connsiteY80" fmla="*/ 604 h 9933"/>
                        <a:gd name="connsiteX81" fmla="*/ 1237 w 10000"/>
                        <a:gd name="connsiteY81" fmla="*/ 1208 h 9933"/>
                        <a:gd name="connsiteX82" fmla="*/ 433 w 10000"/>
                        <a:gd name="connsiteY82" fmla="*/ 1208 h 9933"/>
                        <a:gd name="connsiteX83" fmla="*/ 433 w 10000"/>
                        <a:gd name="connsiteY83" fmla="*/ 1476 h 9933"/>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8493 w 10000"/>
                        <a:gd name="connsiteY63" fmla="*/ 237 h 10000"/>
                        <a:gd name="connsiteX64" fmla="*/ 8116 w 10000"/>
                        <a:gd name="connsiteY64" fmla="*/ 237 h 10000"/>
                        <a:gd name="connsiteX65" fmla="*/ 7794 w 10000"/>
                        <a:gd name="connsiteY65" fmla="*/ 135 h 10000"/>
                        <a:gd name="connsiteX66" fmla="*/ 7096 w 10000"/>
                        <a:gd name="connsiteY66" fmla="*/ 135 h 10000"/>
                        <a:gd name="connsiteX67" fmla="*/ 6397 w 10000"/>
                        <a:gd name="connsiteY67" fmla="*/ 135 h 10000"/>
                        <a:gd name="connsiteX68" fmla="*/ 6452 w 10000"/>
                        <a:gd name="connsiteY68" fmla="*/ 0 h 10000"/>
                        <a:gd name="connsiteX69" fmla="*/ 6343 w 10000"/>
                        <a:gd name="connsiteY69" fmla="*/ 0 h 10000"/>
                        <a:gd name="connsiteX70" fmla="*/ 6290 w 10000"/>
                        <a:gd name="connsiteY70" fmla="*/ 135 h 10000"/>
                        <a:gd name="connsiteX71" fmla="*/ 5644 w 10000"/>
                        <a:gd name="connsiteY71" fmla="*/ 135 h 10000"/>
                        <a:gd name="connsiteX72" fmla="*/ 5002 w 10000"/>
                        <a:gd name="connsiteY72" fmla="*/ 135 h 10000"/>
                        <a:gd name="connsiteX73" fmla="*/ 4356 w 10000"/>
                        <a:gd name="connsiteY73" fmla="*/ 135 h 10000"/>
                        <a:gd name="connsiteX74" fmla="*/ 3709 w 10000"/>
                        <a:gd name="connsiteY74" fmla="*/ 135 h 10000"/>
                        <a:gd name="connsiteX75" fmla="*/ 3120 w 10000"/>
                        <a:gd name="connsiteY75" fmla="*/ 135 h 10000"/>
                        <a:gd name="connsiteX76" fmla="*/ 2475 w 10000"/>
                        <a:gd name="connsiteY76" fmla="*/ 135 h 10000"/>
                        <a:gd name="connsiteX77" fmla="*/ 1884 w 10000"/>
                        <a:gd name="connsiteY77" fmla="*/ 135 h 10000"/>
                        <a:gd name="connsiteX78" fmla="*/ 1237 w 10000"/>
                        <a:gd name="connsiteY78" fmla="*/ 135 h 10000"/>
                        <a:gd name="connsiteX79" fmla="*/ 1237 w 10000"/>
                        <a:gd name="connsiteY79" fmla="*/ 608 h 10000"/>
                        <a:gd name="connsiteX80" fmla="*/ 1237 w 10000"/>
                        <a:gd name="connsiteY80" fmla="*/ 1216 h 10000"/>
                        <a:gd name="connsiteX81" fmla="*/ 433 w 10000"/>
                        <a:gd name="connsiteY81" fmla="*/ 1216 h 10000"/>
                        <a:gd name="connsiteX82" fmla="*/ 433 w 10000"/>
                        <a:gd name="connsiteY82" fmla="*/ 1486 h 10000"/>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8116 w 10000"/>
                        <a:gd name="connsiteY63" fmla="*/ 237 h 10000"/>
                        <a:gd name="connsiteX64" fmla="*/ 7794 w 10000"/>
                        <a:gd name="connsiteY64" fmla="*/ 135 h 10000"/>
                        <a:gd name="connsiteX65" fmla="*/ 7096 w 10000"/>
                        <a:gd name="connsiteY65" fmla="*/ 135 h 10000"/>
                        <a:gd name="connsiteX66" fmla="*/ 6397 w 10000"/>
                        <a:gd name="connsiteY66" fmla="*/ 135 h 10000"/>
                        <a:gd name="connsiteX67" fmla="*/ 6452 w 10000"/>
                        <a:gd name="connsiteY67" fmla="*/ 0 h 10000"/>
                        <a:gd name="connsiteX68" fmla="*/ 6343 w 10000"/>
                        <a:gd name="connsiteY68" fmla="*/ 0 h 10000"/>
                        <a:gd name="connsiteX69" fmla="*/ 6290 w 10000"/>
                        <a:gd name="connsiteY69" fmla="*/ 135 h 10000"/>
                        <a:gd name="connsiteX70" fmla="*/ 5644 w 10000"/>
                        <a:gd name="connsiteY70" fmla="*/ 135 h 10000"/>
                        <a:gd name="connsiteX71" fmla="*/ 5002 w 10000"/>
                        <a:gd name="connsiteY71" fmla="*/ 135 h 10000"/>
                        <a:gd name="connsiteX72" fmla="*/ 4356 w 10000"/>
                        <a:gd name="connsiteY72" fmla="*/ 135 h 10000"/>
                        <a:gd name="connsiteX73" fmla="*/ 3709 w 10000"/>
                        <a:gd name="connsiteY73" fmla="*/ 135 h 10000"/>
                        <a:gd name="connsiteX74" fmla="*/ 3120 w 10000"/>
                        <a:gd name="connsiteY74" fmla="*/ 135 h 10000"/>
                        <a:gd name="connsiteX75" fmla="*/ 2475 w 10000"/>
                        <a:gd name="connsiteY75" fmla="*/ 135 h 10000"/>
                        <a:gd name="connsiteX76" fmla="*/ 1884 w 10000"/>
                        <a:gd name="connsiteY76" fmla="*/ 135 h 10000"/>
                        <a:gd name="connsiteX77" fmla="*/ 1237 w 10000"/>
                        <a:gd name="connsiteY77" fmla="*/ 135 h 10000"/>
                        <a:gd name="connsiteX78" fmla="*/ 1237 w 10000"/>
                        <a:gd name="connsiteY78" fmla="*/ 608 h 10000"/>
                        <a:gd name="connsiteX79" fmla="*/ 1237 w 10000"/>
                        <a:gd name="connsiteY79" fmla="*/ 1216 h 10000"/>
                        <a:gd name="connsiteX80" fmla="*/ 433 w 10000"/>
                        <a:gd name="connsiteY80" fmla="*/ 1216 h 10000"/>
                        <a:gd name="connsiteX81" fmla="*/ 433 w 10000"/>
                        <a:gd name="connsiteY81" fmla="*/ 1486 h 10000"/>
                        <a:gd name="connsiteX0" fmla="*/ 433 w 10000"/>
                        <a:gd name="connsiteY0" fmla="*/ 2412 h 10926"/>
                        <a:gd name="connsiteX1" fmla="*/ 6675 w 10000"/>
                        <a:gd name="connsiteY1" fmla="*/ 7685 h 10926"/>
                        <a:gd name="connsiteX2" fmla="*/ 6234 w 10000"/>
                        <a:gd name="connsiteY2" fmla="*/ 7894 h 10926"/>
                        <a:gd name="connsiteX3" fmla="*/ 5864 w 10000"/>
                        <a:gd name="connsiteY3" fmla="*/ 7676 h 10926"/>
                        <a:gd name="connsiteX4" fmla="*/ 5325 w 10000"/>
                        <a:gd name="connsiteY4" fmla="*/ 7544 h 10926"/>
                        <a:gd name="connsiteX5" fmla="*/ 5058 w 10000"/>
                        <a:gd name="connsiteY5" fmla="*/ 7841 h 10926"/>
                        <a:gd name="connsiteX6" fmla="*/ 4396 w 10000"/>
                        <a:gd name="connsiteY6" fmla="*/ 8069 h 10926"/>
                        <a:gd name="connsiteX7" fmla="*/ 3972 w 10000"/>
                        <a:gd name="connsiteY7" fmla="*/ 8067 h 10926"/>
                        <a:gd name="connsiteX8" fmla="*/ 3044 w 10000"/>
                        <a:gd name="connsiteY8" fmla="*/ 7874 h 10926"/>
                        <a:gd name="connsiteX9" fmla="*/ 2796 w 10000"/>
                        <a:gd name="connsiteY9" fmla="*/ 7978 h 10926"/>
                        <a:gd name="connsiteX10" fmla="*/ 2177 w 10000"/>
                        <a:gd name="connsiteY10" fmla="*/ 7745 h 10926"/>
                        <a:gd name="connsiteX11" fmla="*/ 1903 w 10000"/>
                        <a:gd name="connsiteY11" fmla="*/ 7393 h 10926"/>
                        <a:gd name="connsiteX12" fmla="*/ 1449 w 10000"/>
                        <a:gd name="connsiteY12" fmla="*/ 7489 h 10926"/>
                        <a:gd name="connsiteX13" fmla="*/ 1324 w 10000"/>
                        <a:gd name="connsiteY13" fmla="*/ 7697 h 10926"/>
                        <a:gd name="connsiteX14" fmla="*/ 845 w 10000"/>
                        <a:gd name="connsiteY14" fmla="*/ 7786 h 10926"/>
                        <a:gd name="connsiteX15" fmla="*/ 526 w 10000"/>
                        <a:gd name="connsiteY15" fmla="*/ 7778 h 10926"/>
                        <a:gd name="connsiteX16" fmla="*/ 354 w 10000"/>
                        <a:gd name="connsiteY16" fmla="*/ 7943 h 10926"/>
                        <a:gd name="connsiteX17" fmla="*/ 56 w 10000"/>
                        <a:gd name="connsiteY17" fmla="*/ 7683 h 10926"/>
                        <a:gd name="connsiteX18" fmla="*/ 0 w 10000"/>
                        <a:gd name="connsiteY18" fmla="*/ 8155 h 10926"/>
                        <a:gd name="connsiteX19" fmla="*/ 106 w 10000"/>
                        <a:gd name="connsiteY19" fmla="*/ 8223 h 10926"/>
                        <a:gd name="connsiteX20" fmla="*/ 538 w 10000"/>
                        <a:gd name="connsiteY20" fmla="*/ 8257 h 10926"/>
                        <a:gd name="connsiteX21" fmla="*/ 596 w 10000"/>
                        <a:gd name="connsiteY21" fmla="*/ 8391 h 10926"/>
                        <a:gd name="connsiteX22" fmla="*/ 1075 w 10000"/>
                        <a:gd name="connsiteY22" fmla="*/ 8426 h 10926"/>
                        <a:gd name="connsiteX23" fmla="*/ 1346 w 10000"/>
                        <a:gd name="connsiteY23" fmla="*/ 8561 h 10926"/>
                        <a:gd name="connsiteX24" fmla="*/ 1397 w 10000"/>
                        <a:gd name="connsiteY24" fmla="*/ 8798 h 10926"/>
                        <a:gd name="connsiteX25" fmla="*/ 2260 w 10000"/>
                        <a:gd name="connsiteY25" fmla="*/ 9203 h 10926"/>
                        <a:gd name="connsiteX26" fmla="*/ 2475 w 10000"/>
                        <a:gd name="connsiteY26" fmla="*/ 9609 h 10926"/>
                        <a:gd name="connsiteX27" fmla="*/ 3064 w 10000"/>
                        <a:gd name="connsiteY27" fmla="*/ 9812 h 10926"/>
                        <a:gd name="connsiteX28" fmla="*/ 3280 w 10000"/>
                        <a:gd name="connsiteY28" fmla="*/ 10080 h 10926"/>
                        <a:gd name="connsiteX29" fmla="*/ 3709 w 10000"/>
                        <a:gd name="connsiteY29" fmla="*/ 10420 h 10926"/>
                        <a:gd name="connsiteX30" fmla="*/ 4034 w 10000"/>
                        <a:gd name="connsiteY30" fmla="*/ 10520 h 10926"/>
                        <a:gd name="connsiteX31" fmla="*/ 4248 w 10000"/>
                        <a:gd name="connsiteY31" fmla="*/ 10420 h 10926"/>
                        <a:gd name="connsiteX32" fmla="*/ 4785 w 10000"/>
                        <a:gd name="connsiteY32" fmla="*/ 10453 h 10926"/>
                        <a:gd name="connsiteX33" fmla="*/ 5002 w 10000"/>
                        <a:gd name="connsiteY33" fmla="*/ 10385 h 10926"/>
                        <a:gd name="connsiteX34" fmla="*/ 5967 w 10000"/>
                        <a:gd name="connsiteY34" fmla="*/ 10893 h 10926"/>
                        <a:gd name="connsiteX35" fmla="*/ 6021 w 10000"/>
                        <a:gd name="connsiteY35" fmla="*/ 10893 h 10926"/>
                        <a:gd name="connsiteX36" fmla="*/ 6130 w 10000"/>
                        <a:gd name="connsiteY36" fmla="*/ 10825 h 10926"/>
                        <a:gd name="connsiteX37" fmla="*/ 6823 w 10000"/>
                        <a:gd name="connsiteY37" fmla="*/ 10825 h 10926"/>
                        <a:gd name="connsiteX38" fmla="*/ 6936 w 10000"/>
                        <a:gd name="connsiteY38" fmla="*/ 10926 h 10926"/>
                        <a:gd name="connsiteX39" fmla="*/ 7526 w 10000"/>
                        <a:gd name="connsiteY39" fmla="*/ 10790 h 10926"/>
                        <a:gd name="connsiteX40" fmla="*/ 8062 w 10000"/>
                        <a:gd name="connsiteY40" fmla="*/ 10790 h 10926"/>
                        <a:gd name="connsiteX41" fmla="*/ 8438 w 10000"/>
                        <a:gd name="connsiteY41" fmla="*/ 10656 h 10926"/>
                        <a:gd name="connsiteX42" fmla="*/ 8871 w 10000"/>
                        <a:gd name="connsiteY42" fmla="*/ 10385 h 10926"/>
                        <a:gd name="connsiteX43" fmla="*/ 10000 w 10000"/>
                        <a:gd name="connsiteY43" fmla="*/ 10385 h 10926"/>
                        <a:gd name="connsiteX44" fmla="*/ 10000 w 10000"/>
                        <a:gd name="connsiteY44" fmla="*/ 10014 h 10926"/>
                        <a:gd name="connsiteX45" fmla="*/ 9409 w 10000"/>
                        <a:gd name="connsiteY45" fmla="*/ 9846 h 10926"/>
                        <a:gd name="connsiteX46" fmla="*/ 9083 w 10000"/>
                        <a:gd name="connsiteY46" fmla="*/ 9305 h 10926"/>
                        <a:gd name="connsiteX47" fmla="*/ 8655 w 10000"/>
                        <a:gd name="connsiteY47" fmla="*/ 9102 h 10926"/>
                        <a:gd name="connsiteX48" fmla="*/ 8385 w 10000"/>
                        <a:gd name="connsiteY48" fmla="*/ 8831 h 10926"/>
                        <a:gd name="connsiteX49" fmla="*/ 7687 w 10000"/>
                        <a:gd name="connsiteY49" fmla="*/ 8629 h 10926"/>
                        <a:gd name="connsiteX50" fmla="*/ 7848 w 10000"/>
                        <a:gd name="connsiteY50" fmla="*/ 8561 h 10926"/>
                        <a:gd name="connsiteX51" fmla="*/ 7848 w 10000"/>
                        <a:gd name="connsiteY51" fmla="*/ 8391 h 10926"/>
                        <a:gd name="connsiteX52" fmla="*/ 8334 w 10000"/>
                        <a:gd name="connsiteY52" fmla="*/ 8391 h 10926"/>
                        <a:gd name="connsiteX53" fmla="*/ 8599 w 10000"/>
                        <a:gd name="connsiteY53" fmla="*/ 8257 h 10926"/>
                        <a:gd name="connsiteX54" fmla="*/ 8655 w 10000"/>
                        <a:gd name="connsiteY54" fmla="*/ 7278 h 10926"/>
                        <a:gd name="connsiteX55" fmla="*/ 8707 w 10000"/>
                        <a:gd name="connsiteY55" fmla="*/ 7311 h 10926"/>
                        <a:gd name="connsiteX56" fmla="*/ 8517 w 10000"/>
                        <a:gd name="connsiteY56" fmla="*/ 7373 h 10926"/>
                        <a:gd name="connsiteX57" fmla="*/ 8440 w 10000"/>
                        <a:gd name="connsiteY57" fmla="*/ 7505 h 10926"/>
                        <a:gd name="connsiteX58" fmla="*/ 7961 w 10000"/>
                        <a:gd name="connsiteY58" fmla="*/ 7245 h 10926"/>
                        <a:gd name="connsiteX59" fmla="*/ 7874 w 10000"/>
                        <a:gd name="connsiteY59" fmla="*/ 6542 h 10926"/>
                        <a:gd name="connsiteX60" fmla="*/ 7361 w 10000"/>
                        <a:gd name="connsiteY60" fmla="*/ 6847 h 10926"/>
                        <a:gd name="connsiteX61" fmla="*/ 7369 w 10000"/>
                        <a:gd name="connsiteY61" fmla="*/ 7209 h 10926"/>
                        <a:gd name="connsiteX62" fmla="*/ 6955 w 10000"/>
                        <a:gd name="connsiteY62" fmla="*/ 7427 h 10926"/>
                        <a:gd name="connsiteX63" fmla="*/ 7794 w 10000"/>
                        <a:gd name="connsiteY63" fmla="*/ 1061 h 10926"/>
                        <a:gd name="connsiteX64" fmla="*/ 7096 w 10000"/>
                        <a:gd name="connsiteY64" fmla="*/ 1061 h 10926"/>
                        <a:gd name="connsiteX65" fmla="*/ 6397 w 10000"/>
                        <a:gd name="connsiteY65" fmla="*/ 1061 h 10926"/>
                        <a:gd name="connsiteX66" fmla="*/ 6452 w 10000"/>
                        <a:gd name="connsiteY66" fmla="*/ 926 h 10926"/>
                        <a:gd name="connsiteX67" fmla="*/ 6343 w 10000"/>
                        <a:gd name="connsiteY67" fmla="*/ 926 h 10926"/>
                        <a:gd name="connsiteX68" fmla="*/ 6290 w 10000"/>
                        <a:gd name="connsiteY68" fmla="*/ 1061 h 10926"/>
                        <a:gd name="connsiteX69" fmla="*/ 5644 w 10000"/>
                        <a:gd name="connsiteY69" fmla="*/ 1061 h 10926"/>
                        <a:gd name="connsiteX70" fmla="*/ 5002 w 10000"/>
                        <a:gd name="connsiteY70" fmla="*/ 1061 h 10926"/>
                        <a:gd name="connsiteX71" fmla="*/ 4356 w 10000"/>
                        <a:gd name="connsiteY71" fmla="*/ 1061 h 10926"/>
                        <a:gd name="connsiteX72" fmla="*/ 3709 w 10000"/>
                        <a:gd name="connsiteY72" fmla="*/ 1061 h 10926"/>
                        <a:gd name="connsiteX73" fmla="*/ 3120 w 10000"/>
                        <a:gd name="connsiteY73" fmla="*/ 1061 h 10926"/>
                        <a:gd name="connsiteX74" fmla="*/ 2475 w 10000"/>
                        <a:gd name="connsiteY74" fmla="*/ 1061 h 10926"/>
                        <a:gd name="connsiteX75" fmla="*/ 1884 w 10000"/>
                        <a:gd name="connsiteY75" fmla="*/ 1061 h 10926"/>
                        <a:gd name="connsiteX76" fmla="*/ 1237 w 10000"/>
                        <a:gd name="connsiteY76" fmla="*/ 1061 h 10926"/>
                        <a:gd name="connsiteX77" fmla="*/ 1237 w 10000"/>
                        <a:gd name="connsiteY77" fmla="*/ 1534 h 10926"/>
                        <a:gd name="connsiteX78" fmla="*/ 1237 w 10000"/>
                        <a:gd name="connsiteY78" fmla="*/ 2142 h 10926"/>
                        <a:gd name="connsiteX79" fmla="*/ 433 w 10000"/>
                        <a:gd name="connsiteY79" fmla="*/ 2142 h 10926"/>
                        <a:gd name="connsiteX80" fmla="*/ 433 w 10000"/>
                        <a:gd name="connsiteY80" fmla="*/ 2412 h 10926"/>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7096 w 10000"/>
                        <a:gd name="connsiteY63" fmla="*/ 135 h 10000"/>
                        <a:gd name="connsiteX64" fmla="*/ 6397 w 10000"/>
                        <a:gd name="connsiteY64" fmla="*/ 135 h 10000"/>
                        <a:gd name="connsiteX65" fmla="*/ 6452 w 10000"/>
                        <a:gd name="connsiteY65" fmla="*/ 0 h 10000"/>
                        <a:gd name="connsiteX66" fmla="*/ 6343 w 10000"/>
                        <a:gd name="connsiteY66" fmla="*/ 0 h 10000"/>
                        <a:gd name="connsiteX67" fmla="*/ 6290 w 10000"/>
                        <a:gd name="connsiteY67" fmla="*/ 135 h 10000"/>
                        <a:gd name="connsiteX68" fmla="*/ 5644 w 10000"/>
                        <a:gd name="connsiteY68" fmla="*/ 135 h 10000"/>
                        <a:gd name="connsiteX69" fmla="*/ 5002 w 10000"/>
                        <a:gd name="connsiteY69" fmla="*/ 135 h 10000"/>
                        <a:gd name="connsiteX70" fmla="*/ 4356 w 10000"/>
                        <a:gd name="connsiteY70" fmla="*/ 135 h 10000"/>
                        <a:gd name="connsiteX71" fmla="*/ 3709 w 10000"/>
                        <a:gd name="connsiteY71" fmla="*/ 135 h 10000"/>
                        <a:gd name="connsiteX72" fmla="*/ 3120 w 10000"/>
                        <a:gd name="connsiteY72" fmla="*/ 135 h 10000"/>
                        <a:gd name="connsiteX73" fmla="*/ 2475 w 10000"/>
                        <a:gd name="connsiteY73" fmla="*/ 135 h 10000"/>
                        <a:gd name="connsiteX74" fmla="*/ 1884 w 10000"/>
                        <a:gd name="connsiteY74" fmla="*/ 135 h 10000"/>
                        <a:gd name="connsiteX75" fmla="*/ 1237 w 10000"/>
                        <a:gd name="connsiteY75" fmla="*/ 135 h 10000"/>
                        <a:gd name="connsiteX76" fmla="*/ 1237 w 10000"/>
                        <a:gd name="connsiteY76" fmla="*/ 608 h 10000"/>
                        <a:gd name="connsiteX77" fmla="*/ 1237 w 10000"/>
                        <a:gd name="connsiteY77" fmla="*/ 1216 h 10000"/>
                        <a:gd name="connsiteX78" fmla="*/ 433 w 10000"/>
                        <a:gd name="connsiteY78" fmla="*/ 1216 h 10000"/>
                        <a:gd name="connsiteX79" fmla="*/ 433 w 10000"/>
                        <a:gd name="connsiteY79" fmla="*/ 1486 h 10000"/>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6397 w 10000"/>
                        <a:gd name="connsiteY63" fmla="*/ 135 h 10000"/>
                        <a:gd name="connsiteX64" fmla="*/ 6452 w 10000"/>
                        <a:gd name="connsiteY64" fmla="*/ 0 h 10000"/>
                        <a:gd name="connsiteX65" fmla="*/ 6343 w 10000"/>
                        <a:gd name="connsiteY65" fmla="*/ 0 h 10000"/>
                        <a:gd name="connsiteX66" fmla="*/ 6290 w 10000"/>
                        <a:gd name="connsiteY66" fmla="*/ 135 h 10000"/>
                        <a:gd name="connsiteX67" fmla="*/ 5644 w 10000"/>
                        <a:gd name="connsiteY67" fmla="*/ 135 h 10000"/>
                        <a:gd name="connsiteX68" fmla="*/ 5002 w 10000"/>
                        <a:gd name="connsiteY68" fmla="*/ 135 h 10000"/>
                        <a:gd name="connsiteX69" fmla="*/ 4356 w 10000"/>
                        <a:gd name="connsiteY69" fmla="*/ 135 h 10000"/>
                        <a:gd name="connsiteX70" fmla="*/ 3709 w 10000"/>
                        <a:gd name="connsiteY70" fmla="*/ 135 h 10000"/>
                        <a:gd name="connsiteX71" fmla="*/ 3120 w 10000"/>
                        <a:gd name="connsiteY71" fmla="*/ 135 h 10000"/>
                        <a:gd name="connsiteX72" fmla="*/ 2475 w 10000"/>
                        <a:gd name="connsiteY72" fmla="*/ 135 h 10000"/>
                        <a:gd name="connsiteX73" fmla="*/ 1884 w 10000"/>
                        <a:gd name="connsiteY73" fmla="*/ 135 h 10000"/>
                        <a:gd name="connsiteX74" fmla="*/ 1237 w 10000"/>
                        <a:gd name="connsiteY74" fmla="*/ 135 h 10000"/>
                        <a:gd name="connsiteX75" fmla="*/ 1237 w 10000"/>
                        <a:gd name="connsiteY75" fmla="*/ 608 h 10000"/>
                        <a:gd name="connsiteX76" fmla="*/ 1237 w 10000"/>
                        <a:gd name="connsiteY76" fmla="*/ 1216 h 10000"/>
                        <a:gd name="connsiteX77" fmla="*/ 433 w 10000"/>
                        <a:gd name="connsiteY77" fmla="*/ 1216 h 10000"/>
                        <a:gd name="connsiteX78" fmla="*/ 433 w 10000"/>
                        <a:gd name="connsiteY78" fmla="*/ 1486 h 10000"/>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6452 w 10000"/>
                        <a:gd name="connsiteY63" fmla="*/ 0 h 10000"/>
                        <a:gd name="connsiteX64" fmla="*/ 6343 w 10000"/>
                        <a:gd name="connsiteY64" fmla="*/ 0 h 10000"/>
                        <a:gd name="connsiteX65" fmla="*/ 6290 w 10000"/>
                        <a:gd name="connsiteY65" fmla="*/ 135 h 10000"/>
                        <a:gd name="connsiteX66" fmla="*/ 5644 w 10000"/>
                        <a:gd name="connsiteY66" fmla="*/ 135 h 10000"/>
                        <a:gd name="connsiteX67" fmla="*/ 5002 w 10000"/>
                        <a:gd name="connsiteY67" fmla="*/ 135 h 10000"/>
                        <a:gd name="connsiteX68" fmla="*/ 4356 w 10000"/>
                        <a:gd name="connsiteY68" fmla="*/ 135 h 10000"/>
                        <a:gd name="connsiteX69" fmla="*/ 3709 w 10000"/>
                        <a:gd name="connsiteY69" fmla="*/ 135 h 10000"/>
                        <a:gd name="connsiteX70" fmla="*/ 3120 w 10000"/>
                        <a:gd name="connsiteY70" fmla="*/ 135 h 10000"/>
                        <a:gd name="connsiteX71" fmla="*/ 2475 w 10000"/>
                        <a:gd name="connsiteY71" fmla="*/ 135 h 10000"/>
                        <a:gd name="connsiteX72" fmla="*/ 1884 w 10000"/>
                        <a:gd name="connsiteY72" fmla="*/ 135 h 10000"/>
                        <a:gd name="connsiteX73" fmla="*/ 1237 w 10000"/>
                        <a:gd name="connsiteY73" fmla="*/ 135 h 10000"/>
                        <a:gd name="connsiteX74" fmla="*/ 1237 w 10000"/>
                        <a:gd name="connsiteY74" fmla="*/ 608 h 10000"/>
                        <a:gd name="connsiteX75" fmla="*/ 1237 w 10000"/>
                        <a:gd name="connsiteY75" fmla="*/ 1216 h 10000"/>
                        <a:gd name="connsiteX76" fmla="*/ 433 w 10000"/>
                        <a:gd name="connsiteY76" fmla="*/ 1216 h 10000"/>
                        <a:gd name="connsiteX77" fmla="*/ 433 w 10000"/>
                        <a:gd name="connsiteY77" fmla="*/ 1486 h 10000"/>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6452 w 10000"/>
                        <a:gd name="connsiteY63" fmla="*/ 0 h 10000"/>
                        <a:gd name="connsiteX64" fmla="*/ 6343 w 10000"/>
                        <a:gd name="connsiteY64" fmla="*/ 0 h 10000"/>
                        <a:gd name="connsiteX65" fmla="*/ 5644 w 10000"/>
                        <a:gd name="connsiteY65" fmla="*/ 135 h 10000"/>
                        <a:gd name="connsiteX66" fmla="*/ 5002 w 10000"/>
                        <a:gd name="connsiteY66" fmla="*/ 135 h 10000"/>
                        <a:gd name="connsiteX67" fmla="*/ 4356 w 10000"/>
                        <a:gd name="connsiteY67" fmla="*/ 135 h 10000"/>
                        <a:gd name="connsiteX68" fmla="*/ 3709 w 10000"/>
                        <a:gd name="connsiteY68" fmla="*/ 135 h 10000"/>
                        <a:gd name="connsiteX69" fmla="*/ 3120 w 10000"/>
                        <a:gd name="connsiteY69" fmla="*/ 135 h 10000"/>
                        <a:gd name="connsiteX70" fmla="*/ 2475 w 10000"/>
                        <a:gd name="connsiteY70" fmla="*/ 135 h 10000"/>
                        <a:gd name="connsiteX71" fmla="*/ 1884 w 10000"/>
                        <a:gd name="connsiteY71" fmla="*/ 135 h 10000"/>
                        <a:gd name="connsiteX72" fmla="*/ 1237 w 10000"/>
                        <a:gd name="connsiteY72" fmla="*/ 135 h 10000"/>
                        <a:gd name="connsiteX73" fmla="*/ 1237 w 10000"/>
                        <a:gd name="connsiteY73" fmla="*/ 608 h 10000"/>
                        <a:gd name="connsiteX74" fmla="*/ 1237 w 10000"/>
                        <a:gd name="connsiteY74" fmla="*/ 1216 h 10000"/>
                        <a:gd name="connsiteX75" fmla="*/ 433 w 10000"/>
                        <a:gd name="connsiteY75" fmla="*/ 1216 h 10000"/>
                        <a:gd name="connsiteX76" fmla="*/ 433 w 10000"/>
                        <a:gd name="connsiteY76" fmla="*/ 1486 h 10000"/>
                        <a:gd name="connsiteX0" fmla="*/ 433 w 10000"/>
                        <a:gd name="connsiteY0" fmla="*/ 1486 h 10000"/>
                        <a:gd name="connsiteX1" fmla="*/ 6675 w 10000"/>
                        <a:gd name="connsiteY1" fmla="*/ 6759 h 10000"/>
                        <a:gd name="connsiteX2" fmla="*/ 6234 w 10000"/>
                        <a:gd name="connsiteY2" fmla="*/ 6968 h 10000"/>
                        <a:gd name="connsiteX3" fmla="*/ 5864 w 10000"/>
                        <a:gd name="connsiteY3" fmla="*/ 6750 h 10000"/>
                        <a:gd name="connsiteX4" fmla="*/ 5325 w 10000"/>
                        <a:gd name="connsiteY4" fmla="*/ 6618 h 10000"/>
                        <a:gd name="connsiteX5" fmla="*/ 5058 w 10000"/>
                        <a:gd name="connsiteY5" fmla="*/ 6915 h 10000"/>
                        <a:gd name="connsiteX6" fmla="*/ 4396 w 10000"/>
                        <a:gd name="connsiteY6" fmla="*/ 7143 h 10000"/>
                        <a:gd name="connsiteX7" fmla="*/ 3972 w 10000"/>
                        <a:gd name="connsiteY7" fmla="*/ 7141 h 10000"/>
                        <a:gd name="connsiteX8" fmla="*/ 3044 w 10000"/>
                        <a:gd name="connsiteY8" fmla="*/ 6948 h 10000"/>
                        <a:gd name="connsiteX9" fmla="*/ 2796 w 10000"/>
                        <a:gd name="connsiteY9" fmla="*/ 7052 h 10000"/>
                        <a:gd name="connsiteX10" fmla="*/ 2177 w 10000"/>
                        <a:gd name="connsiteY10" fmla="*/ 6819 h 10000"/>
                        <a:gd name="connsiteX11" fmla="*/ 1903 w 10000"/>
                        <a:gd name="connsiteY11" fmla="*/ 6467 h 10000"/>
                        <a:gd name="connsiteX12" fmla="*/ 1449 w 10000"/>
                        <a:gd name="connsiteY12" fmla="*/ 6563 h 10000"/>
                        <a:gd name="connsiteX13" fmla="*/ 1324 w 10000"/>
                        <a:gd name="connsiteY13" fmla="*/ 6771 h 10000"/>
                        <a:gd name="connsiteX14" fmla="*/ 845 w 10000"/>
                        <a:gd name="connsiteY14" fmla="*/ 6860 h 10000"/>
                        <a:gd name="connsiteX15" fmla="*/ 526 w 10000"/>
                        <a:gd name="connsiteY15" fmla="*/ 6852 h 10000"/>
                        <a:gd name="connsiteX16" fmla="*/ 354 w 10000"/>
                        <a:gd name="connsiteY16" fmla="*/ 7017 h 10000"/>
                        <a:gd name="connsiteX17" fmla="*/ 56 w 10000"/>
                        <a:gd name="connsiteY17" fmla="*/ 6757 h 10000"/>
                        <a:gd name="connsiteX18" fmla="*/ 0 w 10000"/>
                        <a:gd name="connsiteY18" fmla="*/ 7229 h 10000"/>
                        <a:gd name="connsiteX19" fmla="*/ 106 w 10000"/>
                        <a:gd name="connsiteY19" fmla="*/ 7297 h 10000"/>
                        <a:gd name="connsiteX20" fmla="*/ 538 w 10000"/>
                        <a:gd name="connsiteY20" fmla="*/ 7331 h 10000"/>
                        <a:gd name="connsiteX21" fmla="*/ 596 w 10000"/>
                        <a:gd name="connsiteY21" fmla="*/ 7465 h 10000"/>
                        <a:gd name="connsiteX22" fmla="*/ 1075 w 10000"/>
                        <a:gd name="connsiteY22" fmla="*/ 7500 h 10000"/>
                        <a:gd name="connsiteX23" fmla="*/ 1346 w 10000"/>
                        <a:gd name="connsiteY23" fmla="*/ 7635 h 10000"/>
                        <a:gd name="connsiteX24" fmla="*/ 1397 w 10000"/>
                        <a:gd name="connsiteY24" fmla="*/ 7872 h 10000"/>
                        <a:gd name="connsiteX25" fmla="*/ 2260 w 10000"/>
                        <a:gd name="connsiteY25" fmla="*/ 8277 h 10000"/>
                        <a:gd name="connsiteX26" fmla="*/ 2475 w 10000"/>
                        <a:gd name="connsiteY26" fmla="*/ 8683 h 10000"/>
                        <a:gd name="connsiteX27" fmla="*/ 3064 w 10000"/>
                        <a:gd name="connsiteY27" fmla="*/ 8886 h 10000"/>
                        <a:gd name="connsiteX28" fmla="*/ 3280 w 10000"/>
                        <a:gd name="connsiteY28" fmla="*/ 9154 h 10000"/>
                        <a:gd name="connsiteX29" fmla="*/ 3709 w 10000"/>
                        <a:gd name="connsiteY29" fmla="*/ 9494 h 10000"/>
                        <a:gd name="connsiteX30" fmla="*/ 4034 w 10000"/>
                        <a:gd name="connsiteY30" fmla="*/ 9594 h 10000"/>
                        <a:gd name="connsiteX31" fmla="*/ 4248 w 10000"/>
                        <a:gd name="connsiteY31" fmla="*/ 9494 h 10000"/>
                        <a:gd name="connsiteX32" fmla="*/ 4785 w 10000"/>
                        <a:gd name="connsiteY32" fmla="*/ 9527 h 10000"/>
                        <a:gd name="connsiteX33" fmla="*/ 5002 w 10000"/>
                        <a:gd name="connsiteY33" fmla="*/ 9459 h 10000"/>
                        <a:gd name="connsiteX34" fmla="*/ 5967 w 10000"/>
                        <a:gd name="connsiteY34" fmla="*/ 9967 h 10000"/>
                        <a:gd name="connsiteX35" fmla="*/ 6021 w 10000"/>
                        <a:gd name="connsiteY35" fmla="*/ 9967 h 10000"/>
                        <a:gd name="connsiteX36" fmla="*/ 6130 w 10000"/>
                        <a:gd name="connsiteY36" fmla="*/ 9899 h 10000"/>
                        <a:gd name="connsiteX37" fmla="*/ 6823 w 10000"/>
                        <a:gd name="connsiteY37" fmla="*/ 9899 h 10000"/>
                        <a:gd name="connsiteX38" fmla="*/ 6936 w 10000"/>
                        <a:gd name="connsiteY38" fmla="*/ 10000 h 10000"/>
                        <a:gd name="connsiteX39" fmla="*/ 7526 w 10000"/>
                        <a:gd name="connsiteY39" fmla="*/ 9864 h 10000"/>
                        <a:gd name="connsiteX40" fmla="*/ 8062 w 10000"/>
                        <a:gd name="connsiteY40" fmla="*/ 9864 h 10000"/>
                        <a:gd name="connsiteX41" fmla="*/ 8438 w 10000"/>
                        <a:gd name="connsiteY41" fmla="*/ 9730 h 10000"/>
                        <a:gd name="connsiteX42" fmla="*/ 8871 w 10000"/>
                        <a:gd name="connsiteY42" fmla="*/ 9459 h 10000"/>
                        <a:gd name="connsiteX43" fmla="*/ 10000 w 10000"/>
                        <a:gd name="connsiteY43" fmla="*/ 9459 h 10000"/>
                        <a:gd name="connsiteX44" fmla="*/ 10000 w 10000"/>
                        <a:gd name="connsiteY44" fmla="*/ 9088 h 10000"/>
                        <a:gd name="connsiteX45" fmla="*/ 9409 w 10000"/>
                        <a:gd name="connsiteY45" fmla="*/ 8920 h 10000"/>
                        <a:gd name="connsiteX46" fmla="*/ 9083 w 10000"/>
                        <a:gd name="connsiteY46" fmla="*/ 8379 h 10000"/>
                        <a:gd name="connsiteX47" fmla="*/ 8655 w 10000"/>
                        <a:gd name="connsiteY47" fmla="*/ 8176 h 10000"/>
                        <a:gd name="connsiteX48" fmla="*/ 8385 w 10000"/>
                        <a:gd name="connsiteY48" fmla="*/ 7905 h 10000"/>
                        <a:gd name="connsiteX49" fmla="*/ 7687 w 10000"/>
                        <a:gd name="connsiteY49" fmla="*/ 7703 h 10000"/>
                        <a:gd name="connsiteX50" fmla="*/ 7848 w 10000"/>
                        <a:gd name="connsiteY50" fmla="*/ 7635 h 10000"/>
                        <a:gd name="connsiteX51" fmla="*/ 7848 w 10000"/>
                        <a:gd name="connsiteY51" fmla="*/ 7465 h 10000"/>
                        <a:gd name="connsiteX52" fmla="*/ 8334 w 10000"/>
                        <a:gd name="connsiteY52" fmla="*/ 7465 h 10000"/>
                        <a:gd name="connsiteX53" fmla="*/ 8599 w 10000"/>
                        <a:gd name="connsiteY53" fmla="*/ 7331 h 10000"/>
                        <a:gd name="connsiteX54" fmla="*/ 8655 w 10000"/>
                        <a:gd name="connsiteY54" fmla="*/ 6352 h 10000"/>
                        <a:gd name="connsiteX55" fmla="*/ 8707 w 10000"/>
                        <a:gd name="connsiteY55" fmla="*/ 6385 h 10000"/>
                        <a:gd name="connsiteX56" fmla="*/ 8517 w 10000"/>
                        <a:gd name="connsiteY56" fmla="*/ 6447 h 10000"/>
                        <a:gd name="connsiteX57" fmla="*/ 8440 w 10000"/>
                        <a:gd name="connsiteY57" fmla="*/ 6579 h 10000"/>
                        <a:gd name="connsiteX58" fmla="*/ 7961 w 10000"/>
                        <a:gd name="connsiteY58" fmla="*/ 6319 h 10000"/>
                        <a:gd name="connsiteX59" fmla="*/ 7874 w 10000"/>
                        <a:gd name="connsiteY59" fmla="*/ 5616 h 10000"/>
                        <a:gd name="connsiteX60" fmla="*/ 7361 w 10000"/>
                        <a:gd name="connsiteY60" fmla="*/ 5921 h 10000"/>
                        <a:gd name="connsiteX61" fmla="*/ 7369 w 10000"/>
                        <a:gd name="connsiteY61" fmla="*/ 6283 h 10000"/>
                        <a:gd name="connsiteX62" fmla="*/ 6955 w 10000"/>
                        <a:gd name="connsiteY62" fmla="*/ 6501 h 10000"/>
                        <a:gd name="connsiteX63" fmla="*/ 6452 w 10000"/>
                        <a:gd name="connsiteY63" fmla="*/ 0 h 10000"/>
                        <a:gd name="connsiteX64" fmla="*/ 5644 w 10000"/>
                        <a:gd name="connsiteY64" fmla="*/ 135 h 10000"/>
                        <a:gd name="connsiteX65" fmla="*/ 5002 w 10000"/>
                        <a:gd name="connsiteY65" fmla="*/ 135 h 10000"/>
                        <a:gd name="connsiteX66" fmla="*/ 4356 w 10000"/>
                        <a:gd name="connsiteY66" fmla="*/ 135 h 10000"/>
                        <a:gd name="connsiteX67" fmla="*/ 3709 w 10000"/>
                        <a:gd name="connsiteY67" fmla="*/ 135 h 10000"/>
                        <a:gd name="connsiteX68" fmla="*/ 3120 w 10000"/>
                        <a:gd name="connsiteY68" fmla="*/ 135 h 10000"/>
                        <a:gd name="connsiteX69" fmla="*/ 2475 w 10000"/>
                        <a:gd name="connsiteY69" fmla="*/ 135 h 10000"/>
                        <a:gd name="connsiteX70" fmla="*/ 1884 w 10000"/>
                        <a:gd name="connsiteY70" fmla="*/ 135 h 10000"/>
                        <a:gd name="connsiteX71" fmla="*/ 1237 w 10000"/>
                        <a:gd name="connsiteY71" fmla="*/ 135 h 10000"/>
                        <a:gd name="connsiteX72" fmla="*/ 1237 w 10000"/>
                        <a:gd name="connsiteY72" fmla="*/ 608 h 10000"/>
                        <a:gd name="connsiteX73" fmla="*/ 1237 w 10000"/>
                        <a:gd name="connsiteY73" fmla="*/ 1216 h 10000"/>
                        <a:gd name="connsiteX74" fmla="*/ 433 w 10000"/>
                        <a:gd name="connsiteY74" fmla="*/ 1216 h 10000"/>
                        <a:gd name="connsiteX75" fmla="*/ 433 w 10000"/>
                        <a:gd name="connsiteY75" fmla="*/ 1486 h 10000"/>
                        <a:gd name="connsiteX0" fmla="*/ 433 w 10000"/>
                        <a:gd name="connsiteY0" fmla="*/ 2412 h 10926"/>
                        <a:gd name="connsiteX1" fmla="*/ 6675 w 10000"/>
                        <a:gd name="connsiteY1" fmla="*/ 7685 h 10926"/>
                        <a:gd name="connsiteX2" fmla="*/ 6234 w 10000"/>
                        <a:gd name="connsiteY2" fmla="*/ 7894 h 10926"/>
                        <a:gd name="connsiteX3" fmla="*/ 5864 w 10000"/>
                        <a:gd name="connsiteY3" fmla="*/ 7676 h 10926"/>
                        <a:gd name="connsiteX4" fmla="*/ 5325 w 10000"/>
                        <a:gd name="connsiteY4" fmla="*/ 7544 h 10926"/>
                        <a:gd name="connsiteX5" fmla="*/ 5058 w 10000"/>
                        <a:gd name="connsiteY5" fmla="*/ 7841 h 10926"/>
                        <a:gd name="connsiteX6" fmla="*/ 4396 w 10000"/>
                        <a:gd name="connsiteY6" fmla="*/ 8069 h 10926"/>
                        <a:gd name="connsiteX7" fmla="*/ 3972 w 10000"/>
                        <a:gd name="connsiteY7" fmla="*/ 8067 h 10926"/>
                        <a:gd name="connsiteX8" fmla="*/ 3044 w 10000"/>
                        <a:gd name="connsiteY8" fmla="*/ 7874 h 10926"/>
                        <a:gd name="connsiteX9" fmla="*/ 2796 w 10000"/>
                        <a:gd name="connsiteY9" fmla="*/ 7978 h 10926"/>
                        <a:gd name="connsiteX10" fmla="*/ 2177 w 10000"/>
                        <a:gd name="connsiteY10" fmla="*/ 7745 h 10926"/>
                        <a:gd name="connsiteX11" fmla="*/ 1903 w 10000"/>
                        <a:gd name="connsiteY11" fmla="*/ 7393 h 10926"/>
                        <a:gd name="connsiteX12" fmla="*/ 1449 w 10000"/>
                        <a:gd name="connsiteY12" fmla="*/ 7489 h 10926"/>
                        <a:gd name="connsiteX13" fmla="*/ 1324 w 10000"/>
                        <a:gd name="connsiteY13" fmla="*/ 7697 h 10926"/>
                        <a:gd name="connsiteX14" fmla="*/ 845 w 10000"/>
                        <a:gd name="connsiteY14" fmla="*/ 7786 h 10926"/>
                        <a:gd name="connsiteX15" fmla="*/ 526 w 10000"/>
                        <a:gd name="connsiteY15" fmla="*/ 7778 h 10926"/>
                        <a:gd name="connsiteX16" fmla="*/ 354 w 10000"/>
                        <a:gd name="connsiteY16" fmla="*/ 7943 h 10926"/>
                        <a:gd name="connsiteX17" fmla="*/ 56 w 10000"/>
                        <a:gd name="connsiteY17" fmla="*/ 7683 h 10926"/>
                        <a:gd name="connsiteX18" fmla="*/ 0 w 10000"/>
                        <a:gd name="connsiteY18" fmla="*/ 8155 h 10926"/>
                        <a:gd name="connsiteX19" fmla="*/ 106 w 10000"/>
                        <a:gd name="connsiteY19" fmla="*/ 8223 h 10926"/>
                        <a:gd name="connsiteX20" fmla="*/ 538 w 10000"/>
                        <a:gd name="connsiteY20" fmla="*/ 8257 h 10926"/>
                        <a:gd name="connsiteX21" fmla="*/ 596 w 10000"/>
                        <a:gd name="connsiteY21" fmla="*/ 8391 h 10926"/>
                        <a:gd name="connsiteX22" fmla="*/ 1075 w 10000"/>
                        <a:gd name="connsiteY22" fmla="*/ 8426 h 10926"/>
                        <a:gd name="connsiteX23" fmla="*/ 1346 w 10000"/>
                        <a:gd name="connsiteY23" fmla="*/ 8561 h 10926"/>
                        <a:gd name="connsiteX24" fmla="*/ 1397 w 10000"/>
                        <a:gd name="connsiteY24" fmla="*/ 8798 h 10926"/>
                        <a:gd name="connsiteX25" fmla="*/ 2260 w 10000"/>
                        <a:gd name="connsiteY25" fmla="*/ 9203 h 10926"/>
                        <a:gd name="connsiteX26" fmla="*/ 2475 w 10000"/>
                        <a:gd name="connsiteY26" fmla="*/ 9609 h 10926"/>
                        <a:gd name="connsiteX27" fmla="*/ 3064 w 10000"/>
                        <a:gd name="connsiteY27" fmla="*/ 9812 h 10926"/>
                        <a:gd name="connsiteX28" fmla="*/ 3280 w 10000"/>
                        <a:gd name="connsiteY28" fmla="*/ 10080 h 10926"/>
                        <a:gd name="connsiteX29" fmla="*/ 3709 w 10000"/>
                        <a:gd name="connsiteY29" fmla="*/ 10420 h 10926"/>
                        <a:gd name="connsiteX30" fmla="*/ 4034 w 10000"/>
                        <a:gd name="connsiteY30" fmla="*/ 10520 h 10926"/>
                        <a:gd name="connsiteX31" fmla="*/ 4248 w 10000"/>
                        <a:gd name="connsiteY31" fmla="*/ 10420 h 10926"/>
                        <a:gd name="connsiteX32" fmla="*/ 4785 w 10000"/>
                        <a:gd name="connsiteY32" fmla="*/ 10453 h 10926"/>
                        <a:gd name="connsiteX33" fmla="*/ 5002 w 10000"/>
                        <a:gd name="connsiteY33" fmla="*/ 10385 h 10926"/>
                        <a:gd name="connsiteX34" fmla="*/ 5967 w 10000"/>
                        <a:gd name="connsiteY34" fmla="*/ 10893 h 10926"/>
                        <a:gd name="connsiteX35" fmla="*/ 6021 w 10000"/>
                        <a:gd name="connsiteY35" fmla="*/ 10893 h 10926"/>
                        <a:gd name="connsiteX36" fmla="*/ 6130 w 10000"/>
                        <a:gd name="connsiteY36" fmla="*/ 10825 h 10926"/>
                        <a:gd name="connsiteX37" fmla="*/ 6823 w 10000"/>
                        <a:gd name="connsiteY37" fmla="*/ 10825 h 10926"/>
                        <a:gd name="connsiteX38" fmla="*/ 6936 w 10000"/>
                        <a:gd name="connsiteY38" fmla="*/ 10926 h 10926"/>
                        <a:gd name="connsiteX39" fmla="*/ 7526 w 10000"/>
                        <a:gd name="connsiteY39" fmla="*/ 10790 h 10926"/>
                        <a:gd name="connsiteX40" fmla="*/ 8062 w 10000"/>
                        <a:gd name="connsiteY40" fmla="*/ 10790 h 10926"/>
                        <a:gd name="connsiteX41" fmla="*/ 8438 w 10000"/>
                        <a:gd name="connsiteY41" fmla="*/ 10656 h 10926"/>
                        <a:gd name="connsiteX42" fmla="*/ 8871 w 10000"/>
                        <a:gd name="connsiteY42" fmla="*/ 10385 h 10926"/>
                        <a:gd name="connsiteX43" fmla="*/ 10000 w 10000"/>
                        <a:gd name="connsiteY43" fmla="*/ 10385 h 10926"/>
                        <a:gd name="connsiteX44" fmla="*/ 10000 w 10000"/>
                        <a:gd name="connsiteY44" fmla="*/ 10014 h 10926"/>
                        <a:gd name="connsiteX45" fmla="*/ 9409 w 10000"/>
                        <a:gd name="connsiteY45" fmla="*/ 9846 h 10926"/>
                        <a:gd name="connsiteX46" fmla="*/ 9083 w 10000"/>
                        <a:gd name="connsiteY46" fmla="*/ 9305 h 10926"/>
                        <a:gd name="connsiteX47" fmla="*/ 8655 w 10000"/>
                        <a:gd name="connsiteY47" fmla="*/ 9102 h 10926"/>
                        <a:gd name="connsiteX48" fmla="*/ 8385 w 10000"/>
                        <a:gd name="connsiteY48" fmla="*/ 8831 h 10926"/>
                        <a:gd name="connsiteX49" fmla="*/ 7687 w 10000"/>
                        <a:gd name="connsiteY49" fmla="*/ 8629 h 10926"/>
                        <a:gd name="connsiteX50" fmla="*/ 7848 w 10000"/>
                        <a:gd name="connsiteY50" fmla="*/ 8561 h 10926"/>
                        <a:gd name="connsiteX51" fmla="*/ 7848 w 10000"/>
                        <a:gd name="connsiteY51" fmla="*/ 8391 h 10926"/>
                        <a:gd name="connsiteX52" fmla="*/ 8334 w 10000"/>
                        <a:gd name="connsiteY52" fmla="*/ 8391 h 10926"/>
                        <a:gd name="connsiteX53" fmla="*/ 8599 w 10000"/>
                        <a:gd name="connsiteY53" fmla="*/ 8257 h 10926"/>
                        <a:gd name="connsiteX54" fmla="*/ 8655 w 10000"/>
                        <a:gd name="connsiteY54" fmla="*/ 7278 h 10926"/>
                        <a:gd name="connsiteX55" fmla="*/ 8707 w 10000"/>
                        <a:gd name="connsiteY55" fmla="*/ 7311 h 10926"/>
                        <a:gd name="connsiteX56" fmla="*/ 8517 w 10000"/>
                        <a:gd name="connsiteY56" fmla="*/ 7373 h 10926"/>
                        <a:gd name="connsiteX57" fmla="*/ 8440 w 10000"/>
                        <a:gd name="connsiteY57" fmla="*/ 7505 h 10926"/>
                        <a:gd name="connsiteX58" fmla="*/ 7961 w 10000"/>
                        <a:gd name="connsiteY58" fmla="*/ 7245 h 10926"/>
                        <a:gd name="connsiteX59" fmla="*/ 7874 w 10000"/>
                        <a:gd name="connsiteY59" fmla="*/ 6542 h 10926"/>
                        <a:gd name="connsiteX60" fmla="*/ 7361 w 10000"/>
                        <a:gd name="connsiteY60" fmla="*/ 6847 h 10926"/>
                        <a:gd name="connsiteX61" fmla="*/ 7369 w 10000"/>
                        <a:gd name="connsiteY61" fmla="*/ 7209 h 10926"/>
                        <a:gd name="connsiteX62" fmla="*/ 6955 w 10000"/>
                        <a:gd name="connsiteY62" fmla="*/ 7427 h 10926"/>
                        <a:gd name="connsiteX63" fmla="*/ 5644 w 10000"/>
                        <a:gd name="connsiteY63" fmla="*/ 1061 h 10926"/>
                        <a:gd name="connsiteX64" fmla="*/ 5002 w 10000"/>
                        <a:gd name="connsiteY64" fmla="*/ 1061 h 10926"/>
                        <a:gd name="connsiteX65" fmla="*/ 4356 w 10000"/>
                        <a:gd name="connsiteY65" fmla="*/ 1061 h 10926"/>
                        <a:gd name="connsiteX66" fmla="*/ 3709 w 10000"/>
                        <a:gd name="connsiteY66" fmla="*/ 1061 h 10926"/>
                        <a:gd name="connsiteX67" fmla="*/ 3120 w 10000"/>
                        <a:gd name="connsiteY67" fmla="*/ 1061 h 10926"/>
                        <a:gd name="connsiteX68" fmla="*/ 2475 w 10000"/>
                        <a:gd name="connsiteY68" fmla="*/ 1061 h 10926"/>
                        <a:gd name="connsiteX69" fmla="*/ 1884 w 10000"/>
                        <a:gd name="connsiteY69" fmla="*/ 1061 h 10926"/>
                        <a:gd name="connsiteX70" fmla="*/ 1237 w 10000"/>
                        <a:gd name="connsiteY70" fmla="*/ 1061 h 10926"/>
                        <a:gd name="connsiteX71" fmla="*/ 1237 w 10000"/>
                        <a:gd name="connsiteY71" fmla="*/ 1534 h 10926"/>
                        <a:gd name="connsiteX72" fmla="*/ 1237 w 10000"/>
                        <a:gd name="connsiteY72" fmla="*/ 2142 h 10926"/>
                        <a:gd name="connsiteX73" fmla="*/ 433 w 10000"/>
                        <a:gd name="connsiteY73" fmla="*/ 2142 h 10926"/>
                        <a:gd name="connsiteX74" fmla="*/ 433 w 10000"/>
                        <a:gd name="connsiteY74" fmla="*/ 2412 h 10926"/>
                        <a:gd name="connsiteX0" fmla="*/ 433 w 10000"/>
                        <a:gd name="connsiteY0" fmla="*/ 2412 h 10926"/>
                        <a:gd name="connsiteX1" fmla="*/ 6675 w 10000"/>
                        <a:gd name="connsiteY1" fmla="*/ 7685 h 10926"/>
                        <a:gd name="connsiteX2" fmla="*/ 6234 w 10000"/>
                        <a:gd name="connsiteY2" fmla="*/ 7894 h 10926"/>
                        <a:gd name="connsiteX3" fmla="*/ 5864 w 10000"/>
                        <a:gd name="connsiteY3" fmla="*/ 7676 h 10926"/>
                        <a:gd name="connsiteX4" fmla="*/ 5325 w 10000"/>
                        <a:gd name="connsiteY4" fmla="*/ 7544 h 10926"/>
                        <a:gd name="connsiteX5" fmla="*/ 5058 w 10000"/>
                        <a:gd name="connsiteY5" fmla="*/ 7841 h 10926"/>
                        <a:gd name="connsiteX6" fmla="*/ 4396 w 10000"/>
                        <a:gd name="connsiteY6" fmla="*/ 8069 h 10926"/>
                        <a:gd name="connsiteX7" fmla="*/ 3972 w 10000"/>
                        <a:gd name="connsiteY7" fmla="*/ 8067 h 10926"/>
                        <a:gd name="connsiteX8" fmla="*/ 3044 w 10000"/>
                        <a:gd name="connsiteY8" fmla="*/ 7874 h 10926"/>
                        <a:gd name="connsiteX9" fmla="*/ 2796 w 10000"/>
                        <a:gd name="connsiteY9" fmla="*/ 7978 h 10926"/>
                        <a:gd name="connsiteX10" fmla="*/ 2177 w 10000"/>
                        <a:gd name="connsiteY10" fmla="*/ 7745 h 10926"/>
                        <a:gd name="connsiteX11" fmla="*/ 1903 w 10000"/>
                        <a:gd name="connsiteY11" fmla="*/ 7393 h 10926"/>
                        <a:gd name="connsiteX12" fmla="*/ 1449 w 10000"/>
                        <a:gd name="connsiteY12" fmla="*/ 7489 h 10926"/>
                        <a:gd name="connsiteX13" fmla="*/ 1324 w 10000"/>
                        <a:gd name="connsiteY13" fmla="*/ 7697 h 10926"/>
                        <a:gd name="connsiteX14" fmla="*/ 845 w 10000"/>
                        <a:gd name="connsiteY14" fmla="*/ 7786 h 10926"/>
                        <a:gd name="connsiteX15" fmla="*/ 526 w 10000"/>
                        <a:gd name="connsiteY15" fmla="*/ 7778 h 10926"/>
                        <a:gd name="connsiteX16" fmla="*/ 354 w 10000"/>
                        <a:gd name="connsiteY16" fmla="*/ 7943 h 10926"/>
                        <a:gd name="connsiteX17" fmla="*/ 56 w 10000"/>
                        <a:gd name="connsiteY17" fmla="*/ 7683 h 10926"/>
                        <a:gd name="connsiteX18" fmla="*/ 0 w 10000"/>
                        <a:gd name="connsiteY18" fmla="*/ 8155 h 10926"/>
                        <a:gd name="connsiteX19" fmla="*/ 106 w 10000"/>
                        <a:gd name="connsiteY19" fmla="*/ 8223 h 10926"/>
                        <a:gd name="connsiteX20" fmla="*/ 538 w 10000"/>
                        <a:gd name="connsiteY20" fmla="*/ 8257 h 10926"/>
                        <a:gd name="connsiteX21" fmla="*/ 596 w 10000"/>
                        <a:gd name="connsiteY21" fmla="*/ 8391 h 10926"/>
                        <a:gd name="connsiteX22" fmla="*/ 1075 w 10000"/>
                        <a:gd name="connsiteY22" fmla="*/ 8426 h 10926"/>
                        <a:gd name="connsiteX23" fmla="*/ 1346 w 10000"/>
                        <a:gd name="connsiteY23" fmla="*/ 8561 h 10926"/>
                        <a:gd name="connsiteX24" fmla="*/ 1397 w 10000"/>
                        <a:gd name="connsiteY24" fmla="*/ 8798 h 10926"/>
                        <a:gd name="connsiteX25" fmla="*/ 2260 w 10000"/>
                        <a:gd name="connsiteY25" fmla="*/ 9203 h 10926"/>
                        <a:gd name="connsiteX26" fmla="*/ 2475 w 10000"/>
                        <a:gd name="connsiteY26" fmla="*/ 9609 h 10926"/>
                        <a:gd name="connsiteX27" fmla="*/ 3064 w 10000"/>
                        <a:gd name="connsiteY27" fmla="*/ 9812 h 10926"/>
                        <a:gd name="connsiteX28" fmla="*/ 3280 w 10000"/>
                        <a:gd name="connsiteY28" fmla="*/ 10080 h 10926"/>
                        <a:gd name="connsiteX29" fmla="*/ 3709 w 10000"/>
                        <a:gd name="connsiteY29" fmla="*/ 10420 h 10926"/>
                        <a:gd name="connsiteX30" fmla="*/ 4034 w 10000"/>
                        <a:gd name="connsiteY30" fmla="*/ 10520 h 10926"/>
                        <a:gd name="connsiteX31" fmla="*/ 4248 w 10000"/>
                        <a:gd name="connsiteY31" fmla="*/ 10420 h 10926"/>
                        <a:gd name="connsiteX32" fmla="*/ 4785 w 10000"/>
                        <a:gd name="connsiteY32" fmla="*/ 10453 h 10926"/>
                        <a:gd name="connsiteX33" fmla="*/ 5002 w 10000"/>
                        <a:gd name="connsiteY33" fmla="*/ 10385 h 10926"/>
                        <a:gd name="connsiteX34" fmla="*/ 5967 w 10000"/>
                        <a:gd name="connsiteY34" fmla="*/ 10893 h 10926"/>
                        <a:gd name="connsiteX35" fmla="*/ 6021 w 10000"/>
                        <a:gd name="connsiteY35" fmla="*/ 10893 h 10926"/>
                        <a:gd name="connsiteX36" fmla="*/ 6130 w 10000"/>
                        <a:gd name="connsiteY36" fmla="*/ 10825 h 10926"/>
                        <a:gd name="connsiteX37" fmla="*/ 6823 w 10000"/>
                        <a:gd name="connsiteY37" fmla="*/ 10825 h 10926"/>
                        <a:gd name="connsiteX38" fmla="*/ 6936 w 10000"/>
                        <a:gd name="connsiteY38" fmla="*/ 10926 h 10926"/>
                        <a:gd name="connsiteX39" fmla="*/ 7526 w 10000"/>
                        <a:gd name="connsiteY39" fmla="*/ 10790 h 10926"/>
                        <a:gd name="connsiteX40" fmla="*/ 8062 w 10000"/>
                        <a:gd name="connsiteY40" fmla="*/ 10790 h 10926"/>
                        <a:gd name="connsiteX41" fmla="*/ 8438 w 10000"/>
                        <a:gd name="connsiteY41" fmla="*/ 10656 h 10926"/>
                        <a:gd name="connsiteX42" fmla="*/ 8871 w 10000"/>
                        <a:gd name="connsiteY42" fmla="*/ 10385 h 10926"/>
                        <a:gd name="connsiteX43" fmla="*/ 10000 w 10000"/>
                        <a:gd name="connsiteY43" fmla="*/ 10385 h 10926"/>
                        <a:gd name="connsiteX44" fmla="*/ 10000 w 10000"/>
                        <a:gd name="connsiteY44" fmla="*/ 10014 h 10926"/>
                        <a:gd name="connsiteX45" fmla="*/ 9409 w 10000"/>
                        <a:gd name="connsiteY45" fmla="*/ 9846 h 10926"/>
                        <a:gd name="connsiteX46" fmla="*/ 9083 w 10000"/>
                        <a:gd name="connsiteY46" fmla="*/ 9305 h 10926"/>
                        <a:gd name="connsiteX47" fmla="*/ 8655 w 10000"/>
                        <a:gd name="connsiteY47" fmla="*/ 9102 h 10926"/>
                        <a:gd name="connsiteX48" fmla="*/ 8385 w 10000"/>
                        <a:gd name="connsiteY48" fmla="*/ 8831 h 10926"/>
                        <a:gd name="connsiteX49" fmla="*/ 7687 w 10000"/>
                        <a:gd name="connsiteY49" fmla="*/ 8629 h 10926"/>
                        <a:gd name="connsiteX50" fmla="*/ 7848 w 10000"/>
                        <a:gd name="connsiteY50" fmla="*/ 8561 h 10926"/>
                        <a:gd name="connsiteX51" fmla="*/ 7848 w 10000"/>
                        <a:gd name="connsiteY51" fmla="*/ 8391 h 10926"/>
                        <a:gd name="connsiteX52" fmla="*/ 8334 w 10000"/>
                        <a:gd name="connsiteY52" fmla="*/ 8391 h 10926"/>
                        <a:gd name="connsiteX53" fmla="*/ 8599 w 10000"/>
                        <a:gd name="connsiteY53" fmla="*/ 8257 h 10926"/>
                        <a:gd name="connsiteX54" fmla="*/ 8655 w 10000"/>
                        <a:gd name="connsiteY54" fmla="*/ 7278 h 10926"/>
                        <a:gd name="connsiteX55" fmla="*/ 8707 w 10000"/>
                        <a:gd name="connsiteY55" fmla="*/ 7311 h 10926"/>
                        <a:gd name="connsiteX56" fmla="*/ 8517 w 10000"/>
                        <a:gd name="connsiteY56" fmla="*/ 7373 h 10926"/>
                        <a:gd name="connsiteX57" fmla="*/ 8440 w 10000"/>
                        <a:gd name="connsiteY57" fmla="*/ 7505 h 10926"/>
                        <a:gd name="connsiteX58" fmla="*/ 7961 w 10000"/>
                        <a:gd name="connsiteY58" fmla="*/ 7245 h 10926"/>
                        <a:gd name="connsiteX59" fmla="*/ 7874 w 10000"/>
                        <a:gd name="connsiteY59" fmla="*/ 6542 h 10926"/>
                        <a:gd name="connsiteX60" fmla="*/ 7361 w 10000"/>
                        <a:gd name="connsiteY60" fmla="*/ 6847 h 10926"/>
                        <a:gd name="connsiteX61" fmla="*/ 7369 w 10000"/>
                        <a:gd name="connsiteY61" fmla="*/ 7209 h 10926"/>
                        <a:gd name="connsiteX62" fmla="*/ 6955 w 10000"/>
                        <a:gd name="connsiteY62" fmla="*/ 7427 h 10926"/>
                        <a:gd name="connsiteX63" fmla="*/ 5002 w 10000"/>
                        <a:gd name="connsiteY63" fmla="*/ 1061 h 10926"/>
                        <a:gd name="connsiteX64" fmla="*/ 4356 w 10000"/>
                        <a:gd name="connsiteY64" fmla="*/ 1061 h 10926"/>
                        <a:gd name="connsiteX65" fmla="*/ 3709 w 10000"/>
                        <a:gd name="connsiteY65" fmla="*/ 1061 h 10926"/>
                        <a:gd name="connsiteX66" fmla="*/ 3120 w 10000"/>
                        <a:gd name="connsiteY66" fmla="*/ 1061 h 10926"/>
                        <a:gd name="connsiteX67" fmla="*/ 2475 w 10000"/>
                        <a:gd name="connsiteY67" fmla="*/ 1061 h 10926"/>
                        <a:gd name="connsiteX68" fmla="*/ 1884 w 10000"/>
                        <a:gd name="connsiteY68" fmla="*/ 1061 h 10926"/>
                        <a:gd name="connsiteX69" fmla="*/ 1237 w 10000"/>
                        <a:gd name="connsiteY69" fmla="*/ 1061 h 10926"/>
                        <a:gd name="connsiteX70" fmla="*/ 1237 w 10000"/>
                        <a:gd name="connsiteY70" fmla="*/ 1534 h 10926"/>
                        <a:gd name="connsiteX71" fmla="*/ 1237 w 10000"/>
                        <a:gd name="connsiteY71" fmla="*/ 2142 h 10926"/>
                        <a:gd name="connsiteX72" fmla="*/ 433 w 10000"/>
                        <a:gd name="connsiteY72" fmla="*/ 2142 h 10926"/>
                        <a:gd name="connsiteX73" fmla="*/ 433 w 10000"/>
                        <a:gd name="connsiteY73" fmla="*/ 2412 h 10926"/>
                        <a:gd name="connsiteX0" fmla="*/ 433 w 10000"/>
                        <a:gd name="connsiteY0" fmla="*/ 1351 h 9865"/>
                        <a:gd name="connsiteX1" fmla="*/ 6675 w 10000"/>
                        <a:gd name="connsiteY1" fmla="*/ 6624 h 9865"/>
                        <a:gd name="connsiteX2" fmla="*/ 6234 w 10000"/>
                        <a:gd name="connsiteY2" fmla="*/ 6833 h 9865"/>
                        <a:gd name="connsiteX3" fmla="*/ 5864 w 10000"/>
                        <a:gd name="connsiteY3" fmla="*/ 6615 h 9865"/>
                        <a:gd name="connsiteX4" fmla="*/ 5325 w 10000"/>
                        <a:gd name="connsiteY4" fmla="*/ 6483 h 9865"/>
                        <a:gd name="connsiteX5" fmla="*/ 5058 w 10000"/>
                        <a:gd name="connsiteY5" fmla="*/ 6780 h 9865"/>
                        <a:gd name="connsiteX6" fmla="*/ 4396 w 10000"/>
                        <a:gd name="connsiteY6" fmla="*/ 7008 h 9865"/>
                        <a:gd name="connsiteX7" fmla="*/ 3972 w 10000"/>
                        <a:gd name="connsiteY7" fmla="*/ 7006 h 9865"/>
                        <a:gd name="connsiteX8" fmla="*/ 3044 w 10000"/>
                        <a:gd name="connsiteY8" fmla="*/ 6813 h 9865"/>
                        <a:gd name="connsiteX9" fmla="*/ 2796 w 10000"/>
                        <a:gd name="connsiteY9" fmla="*/ 6917 h 9865"/>
                        <a:gd name="connsiteX10" fmla="*/ 2177 w 10000"/>
                        <a:gd name="connsiteY10" fmla="*/ 6684 h 9865"/>
                        <a:gd name="connsiteX11" fmla="*/ 1903 w 10000"/>
                        <a:gd name="connsiteY11" fmla="*/ 6332 h 9865"/>
                        <a:gd name="connsiteX12" fmla="*/ 1449 w 10000"/>
                        <a:gd name="connsiteY12" fmla="*/ 6428 h 9865"/>
                        <a:gd name="connsiteX13" fmla="*/ 1324 w 10000"/>
                        <a:gd name="connsiteY13" fmla="*/ 6636 h 9865"/>
                        <a:gd name="connsiteX14" fmla="*/ 845 w 10000"/>
                        <a:gd name="connsiteY14" fmla="*/ 6725 h 9865"/>
                        <a:gd name="connsiteX15" fmla="*/ 526 w 10000"/>
                        <a:gd name="connsiteY15" fmla="*/ 6717 h 9865"/>
                        <a:gd name="connsiteX16" fmla="*/ 354 w 10000"/>
                        <a:gd name="connsiteY16" fmla="*/ 6882 h 9865"/>
                        <a:gd name="connsiteX17" fmla="*/ 56 w 10000"/>
                        <a:gd name="connsiteY17" fmla="*/ 6622 h 9865"/>
                        <a:gd name="connsiteX18" fmla="*/ 0 w 10000"/>
                        <a:gd name="connsiteY18" fmla="*/ 7094 h 9865"/>
                        <a:gd name="connsiteX19" fmla="*/ 106 w 10000"/>
                        <a:gd name="connsiteY19" fmla="*/ 7162 h 9865"/>
                        <a:gd name="connsiteX20" fmla="*/ 538 w 10000"/>
                        <a:gd name="connsiteY20" fmla="*/ 7196 h 9865"/>
                        <a:gd name="connsiteX21" fmla="*/ 596 w 10000"/>
                        <a:gd name="connsiteY21" fmla="*/ 7330 h 9865"/>
                        <a:gd name="connsiteX22" fmla="*/ 1075 w 10000"/>
                        <a:gd name="connsiteY22" fmla="*/ 7365 h 9865"/>
                        <a:gd name="connsiteX23" fmla="*/ 1346 w 10000"/>
                        <a:gd name="connsiteY23" fmla="*/ 7500 h 9865"/>
                        <a:gd name="connsiteX24" fmla="*/ 1397 w 10000"/>
                        <a:gd name="connsiteY24" fmla="*/ 7737 h 9865"/>
                        <a:gd name="connsiteX25" fmla="*/ 2260 w 10000"/>
                        <a:gd name="connsiteY25" fmla="*/ 8142 h 9865"/>
                        <a:gd name="connsiteX26" fmla="*/ 2475 w 10000"/>
                        <a:gd name="connsiteY26" fmla="*/ 8548 h 9865"/>
                        <a:gd name="connsiteX27" fmla="*/ 3064 w 10000"/>
                        <a:gd name="connsiteY27" fmla="*/ 8751 h 9865"/>
                        <a:gd name="connsiteX28" fmla="*/ 3280 w 10000"/>
                        <a:gd name="connsiteY28" fmla="*/ 9019 h 9865"/>
                        <a:gd name="connsiteX29" fmla="*/ 3709 w 10000"/>
                        <a:gd name="connsiteY29" fmla="*/ 9359 h 9865"/>
                        <a:gd name="connsiteX30" fmla="*/ 4034 w 10000"/>
                        <a:gd name="connsiteY30" fmla="*/ 9459 h 9865"/>
                        <a:gd name="connsiteX31" fmla="*/ 4248 w 10000"/>
                        <a:gd name="connsiteY31" fmla="*/ 9359 h 9865"/>
                        <a:gd name="connsiteX32" fmla="*/ 4785 w 10000"/>
                        <a:gd name="connsiteY32" fmla="*/ 9392 h 9865"/>
                        <a:gd name="connsiteX33" fmla="*/ 5002 w 10000"/>
                        <a:gd name="connsiteY33" fmla="*/ 9324 h 9865"/>
                        <a:gd name="connsiteX34" fmla="*/ 5967 w 10000"/>
                        <a:gd name="connsiteY34" fmla="*/ 9832 h 9865"/>
                        <a:gd name="connsiteX35" fmla="*/ 6021 w 10000"/>
                        <a:gd name="connsiteY35" fmla="*/ 9832 h 9865"/>
                        <a:gd name="connsiteX36" fmla="*/ 6130 w 10000"/>
                        <a:gd name="connsiteY36" fmla="*/ 9764 h 9865"/>
                        <a:gd name="connsiteX37" fmla="*/ 6823 w 10000"/>
                        <a:gd name="connsiteY37" fmla="*/ 9764 h 9865"/>
                        <a:gd name="connsiteX38" fmla="*/ 6936 w 10000"/>
                        <a:gd name="connsiteY38" fmla="*/ 9865 h 9865"/>
                        <a:gd name="connsiteX39" fmla="*/ 7526 w 10000"/>
                        <a:gd name="connsiteY39" fmla="*/ 9729 h 9865"/>
                        <a:gd name="connsiteX40" fmla="*/ 8062 w 10000"/>
                        <a:gd name="connsiteY40" fmla="*/ 9729 h 9865"/>
                        <a:gd name="connsiteX41" fmla="*/ 8438 w 10000"/>
                        <a:gd name="connsiteY41" fmla="*/ 9595 h 9865"/>
                        <a:gd name="connsiteX42" fmla="*/ 8871 w 10000"/>
                        <a:gd name="connsiteY42" fmla="*/ 9324 h 9865"/>
                        <a:gd name="connsiteX43" fmla="*/ 10000 w 10000"/>
                        <a:gd name="connsiteY43" fmla="*/ 9324 h 9865"/>
                        <a:gd name="connsiteX44" fmla="*/ 10000 w 10000"/>
                        <a:gd name="connsiteY44" fmla="*/ 8953 h 9865"/>
                        <a:gd name="connsiteX45" fmla="*/ 9409 w 10000"/>
                        <a:gd name="connsiteY45" fmla="*/ 8785 h 9865"/>
                        <a:gd name="connsiteX46" fmla="*/ 9083 w 10000"/>
                        <a:gd name="connsiteY46" fmla="*/ 8244 h 9865"/>
                        <a:gd name="connsiteX47" fmla="*/ 8655 w 10000"/>
                        <a:gd name="connsiteY47" fmla="*/ 8041 h 9865"/>
                        <a:gd name="connsiteX48" fmla="*/ 8385 w 10000"/>
                        <a:gd name="connsiteY48" fmla="*/ 7770 h 9865"/>
                        <a:gd name="connsiteX49" fmla="*/ 7687 w 10000"/>
                        <a:gd name="connsiteY49" fmla="*/ 7568 h 9865"/>
                        <a:gd name="connsiteX50" fmla="*/ 7848 w 10000"/>
                        <a:gd name="connsiteY50" fmla="*/ 7500 h 9865"/>
                        <a:gd name="connsiteX51" fmla="*/ 7848 w 10000"/>
                        <a:gd name="connsiteY51" fmla="*/ 7330 h 9865"/>
                        <a:gd name="connsiteX52" fmla="*/ 8334 w 10000"/>
                        <a:gd name="connsiteY52" fmla="*/ 7330 h 9865"/>
                        <a:gd name="connsiteX53" fmla="*/ 8599 w 10000"/>
                        <a:gd name="connsiteY53" fmla="*/ 7196 h 9865"/>
                        <a:gd name="connsiteX54" fmla="*/ 8655 w 10000"/>
                        <a:gd name="connsiteY54" fmla="*/ 6217 h 9865"/>
                        <a:gd name="connsiteX55" fmla="*/ 8707 w 10000"/>
                        <a:gd name="connsiteY55" fmla="*/ 6250 h 9865"/>
                        <a:gd name="connsiteX56" fmla="*/ 8517 w 10000"/>
                        <a:gd name="connsiteY56" fmla="*/ 6312 h 9865"/>
                        <a:gd name="connsiteX57" fmla="*/ 8440 w 10000"/>
                        <a:gd name="connsiteY57" fmla="*/ 6444 h 9865"/>
                        <a:gd name="connsiteX58" fmla="*/ 7961 w 10000"/>
                        <a:gd name="connsiteY58" fmla="*/ 6184 h 9865"/>
                        <a:gd name="connsiteX59" fmla="*/ 7874 w 10000"/>
                        <a:gd name="connsiteY59" fmla="*/ 5481 h 9865"/>
                        <a:gd name="connsiteX60" fmla="*/ 7361 w 10000"/>
                        <a:gd name="connsiteY60" fmla="*/ 5786 h 9865"/>
                        <a:gd name="connsiteX61" fmla="*/ 7369 w 10000"/>
                        <a:gd name="connsiteY61" fmla="*/ 6148 h 9865"/>
                        <a:gd name="connsiteX62" fmla="*/ 6955 w 10000"/>
                        <a:gd name="connsiteY62" fmla="*/ 6366 h 9865"/>
                        <a:gd name="connsiteX63" fmla="*/ 4356 w 10000"/>
                        <a:gd name="connsiteY63" fmla="*/ 0 h 9865"/>
                        <a:gd name="connsiteX64" fmla="*/ 3709 w 10000"/>
                        <a:gd name="connsiteY64" fmla="*/ 0 h 9865"/>
                        <a:gd name="connsiteX65" fmla="*/ 3120 w 10000"/>
                        <a:gd name="connsiteY65" fmla="*/ 0 h 9865"/>
                        <a:gd name="connsiteX66" fmla="*/ 2475 w 10000"/>
                        <a:gd name="connsiteY66" fmla="*/ 0 h 9865"/>
                        <a:gd name="connsiteX67" fmla="*/ 1884 w 10000"/>
                        <a:gd name="connsiteY67" fmla="*/ 0 h 9865"/>
                        <a:gd name="connsiteX68" fmla="*/ 1237 w 10000"/>
                        <a:gd name="connsiteY68" fmla="*/ 0 h 9865"/>
                        <a:gd name="connsiteX69" fmla="*/ 1237 w 10000"/>
                        <a:gd name="connsiteY69" fmla="*/ 473 h 9865"/>
                        <a:gd name="connsiteX70" fmla="*/ 1237 w 10000"/>
                        <a:gd name="connsiteY70" fmla="*/ 1081 h 9865"/>
                        <a:gd name="connsiteX71" fmla="*/ 433 w 10000"/>
                        <a:gd name="connsiteY71" fmla="*/ 1081 h 9865"/>
                        <a:gd name="connsiteX72" fmla="*/ 433 w 10000"/>
                        <a:gd name="connsiteY72" fmla="*/ 1351 h 9865"/>
                        <a:gd name="connsiteX0" fmla="*/ 433 w 10000"/>
                        <a:gd name="connsiteY0" fmla="*/ 1369 h 10000"/>
                        <a:gd name="connsiteX1" fmla="*/ 6675 w 10000"/>
                        <a:gd name="connsiteY1" fmla="*/ 6715 h 10000"/>
                        <a:gd name="connsiteX2" fmla="*/ 6234 w 10000"/>
                        <a:gd name="connsiteY2" fmla="*/ 6927 h 10000"/>
                        <a:gd name="connsiteX3" fmla="*/ 5864 w 10000"/>
                        <a:gd name="connsiteY3" fmla="*/ 6706 h 10000"/>
                        <a:gd name="connsiteX4" fmla="*/ 5325 w 10000"/>
                        <a:gd name="connsiteY4" fmla="*/ 6572 h 10000"/>
                        <a:gd name="connsiteX5" fmla="*/ 5058 w 10000"/>
                        <a:gd name="connsiteY5" fmla="*/ 6873 h 10000"/>
                        <a:gd name="connsiteX6" fmla="*/ 4396 w 10000"/>
                        <a:gd name="connsiteY6" fmla="*/ 7104 h 10000"/>
                        <a:gd name="connsiteX7" fmla="*/ 3972 w 10000"/>
                        <a:gd name="connsiteY7" fmla="*/ 7102 h 10000"/>
                        <a:gd name="connsiteX8" fmla="*/ 3044 w 10000"/>
                        <a:gd name="connsiteY8" fmla="*/ 6906 h 10000"/>
                        <a:gd name="connsiteX9" fmla="*/ 2796 w 10000"/>
                        <a:gd name="connsiteY9" fmla="*/ 7012 h 10000"/>
                        <a:gd name="connsiteX10" fmla="*/ 2177 w 10000"/>
                        <a:gd name="connsiteY10" fmla="*/ 6775 h 10000"/>
                        <a:gd name="connsiteX11" fmla="*/ 1903 w 10000"/>
                        <a:gd name="connsiteY11" fmla="*/ 6419 h 10000"/>
                        <a:gd name="connsiteX12" fmla="*/ 1449 w 10000"/>
                        <a:gd name="connsiteY12" fmla="*/ 6516 h 10000"/>
                        <a:gd name="connsiteX13" fmla="*/ 1324 w 10000"/>
                        <a:gd name="connsiteY13" fmla="*/ 6727 h 10000"/>
                        <a:gd name="connsiteX14" fmla="*/ 845 w 10000"/>
                        <a:gd name="connsiteY14" fmla="*/ 6817 h 10000"/>
                        <a:gd name="connsiteX15" fmla="*/ 526 w 10000"/>
                        <a:gd name="connsiteY15" fmla="*/ 6809 h 10000"/>
                        <a:gd name="connsiteX16" fmla="*/ 354 w 10000"/>
                        <a:gd name="connsiteY16" fmla="*/ 6976 h 10000"/>
                        <a:gd name="connsiteX17" fmla="*/ 56 w 10000"/>
                        <a:gd name="connsiteY17" fmla="*/ 6713 h 10000"/>
                        <a:gd name="connsiteX18" fmla="*/ 0 w 10000"/>
                        <a:gd name="connsiteY18" fmla="*/ 7191 h 10000"/>
                        <a:gd name="connsiteX19" fmla="*/ 106 w 10000"/>
                        <a:gd name="connsiteY19" fmla="*/ 7260 h 10000"/>
                        <a:gd name="connsiteX20" fmla="*/ 538 w 10000"/>
                        <a:gd name="connsiteY20" fmla="*/ 7294 h 10000"/>
                        <a:gd name="connsiteX21" fmla="*/ 596 w 10000"/>
                        <a:gd name="connsiteY21" fmla="*/ 7430 h 10000"/>
                        <a:gd name="connsiteX22" fmla="*/ 1075 w 10000"/>
                        <a:gd name="connsiteY22" fmla="*/ 7466 h 10000"/>
                        <a:gd name="connsiteX23" fmla="*/ 1346 w 10000"/>
                        <a:gd name="connsiteY23" fmla="*/ 7603 h 10000"/>
                        <a:gd name="connsiteX24" fmla="*/ 1397 w 10000"/>
                        <a:gd name="connsiteY24" fmla="*/ 7843 h 10000"/>
                        <a:gd name="connsiteX25" fmla="*/ 2260 w 10000"/>
                        <a:gd name="connsiteY25" fmla="*/ 8253 h 10000"/>
                        <a:gd name="connsiteX26" fmla="*/ 2475 w 10000"/>
                        <a:gd name="connsiteY26" fmla="*/ 8665 h 10000"/>
                        <a:gd name="connsiteX27" fmla="*/ 3064 w 10000"/>
                        <a:gd name="connsiteY27" fmla="*/ 8871 h 10000"/>
                        <a:gd name="connsiteX28" fmla="*/ 3280 w 10000"/>
                        <a:gd name="connsiteY28" fmla="*/ 9142 h 10000"/>
                        <a:gd name="connsiteX29" fmla="*/ 3709 w 10000"/>
                        <a:gd name="connsiteY29" fmla="*/ 9487 h 10000"/>
                        <a:gd name="connsiteX30" fmla="*/ 4034 w 10000"/>
                        <a:gd name="connsiteY30" fmla="*/ 9588 h 10000"/>
                        <a:gd name="connsiteX31" fmla="*/ 4248 w 10000"/>
                        <a:gd name="connsiteY31" fmla="*/ 9487 h 10000"/>
                        <a:gd name="connsiteX32" fmla="*/ 4785 w 10000"/>
                        <a:gd name="connsiteY32" fmla="*/ 9521 h 10000"/>
                        <a:gd name="connsiteX33" fmla="*/ 5002 w 10000"/>
                        <a:gd name="connsiteY33" fmla="*/ 9452 h 10000"/>
                        <a:gd name="connsiteX34" fmla="*/ 5967 w 10000"/>
                        <a:gd name="connsiteY34" fmla="*/ 9967 h 10000"/>
                        <a:gd name="connsiteX35" fmla="*/ 6021 w 10000"/>
                        <a:gd name="connsiteY35" fmla="*/ 9967 h 10000"/>
                        <a:gd name="connsiteX36" fmla="*/ 6130 w 10000"/>
                        <a:gd name="connsiteY36" fmla="*/ 9898 h 10000"/>
                        <a:gd name="connsiteX37" fmla="*/ 6823 w 10000"/>
                        <a:gd name="connsiteY37" fmla="*/ 9898 h 10000"/>
                        <a:gd name="connsiteX38" fmla="*/ 6936 w 10000"/>
                        <a:gd name="connsiteY38" fmla="*/ 10000 h 10000"/>
                        <a:gd name="connsiteX39" fmla="*/ 7526 w 10000"/>
                        <a:gd name="connsiteY39" fmla="*/ 9862 h 10000"/>
                        <a:gd name="connsiteX40" fmla="*/ 8062 w 10000"/>
                        <a:gd name="connsiteY40" fmla="*/ 9862 h 10000"/>
                        <a:gd name="connsiteX41" fmla="*/ 8438 w 10000"/>
                        <a:gd name="connsiteY41" fmla="*/ 9726 h 10000"/>
                        <a:gd name="connsiteX42" fmla="*/ 8871 w 10000"/>
                        <a:gd name="connsiteY42" fmla="*/ 9452 h 10000"/>
                        <a:gd name="connsiteX43" fmla="*/ 10000 w 10000"/>
                        <a:gd name="connsiteY43" fmla="*/ 9452 h 10000"/>
                        <a:gd name="connsiteX44" fmla="*/ 10000 w 10000"/>
                        <a:gd name="connsiteY44" fmla="*/ 9076 h 10000"/>
                        <a:gd name="connsiteX45" fmla="*/ 9409 w 10000"/>
                        <a:gd name="connsiteY45" fmla="*/ 8905 h 10000"/>
                        <a:gd name="connsiteX46" fmla="*/ 9083 w 10000"/>
                        <a:gd name="connsiteY46" fmla="*/ 8357 h 10000"/>
                        <a:gd name="connsiteX47" fmla="*/ 8655 w 10000"/>
                        <a:gd name="connsiteY47" fmla="*/ 8151 h 10000"/>
                        <a:gd name="connsiteX48" fmla="*/ 8385 w 10000"/>
                        <a:gd name="connsiteY48" fmla="*/ 7876 h 10000"/>
                        <a:gd name="connsiteX49" fmla="*/ 7687 w 10000"/>
                        <a:gd name="connsiteY49" fmla="*/ 7672 h 10000"/>
                        <a:gd name="connsiteX50" fmla="*/ 7848 w 10000"/>
                        <a:gd name="connsiteY50" fmla="*/ 7603 h 10000"/>
                        <a:gd name="connsiteX51" fmla="*/ 7848 w 10000"/>
                        <a:gd name="connsiteY51" fmla="*/ 7430 h 10000"/>
                        <a:gd name="connsiteX52" fmla="*/ 8334 w 10000"/>
                        <a:gd name="connsiteY52" fmla="*/ 7430 h 10000"/>
                        <a:gd name="connsiteX53" fmla="*/ 8599 w 10000"/>
                        <a:gd name="connsiteY53" fmla="*/ 7294 h 10000"/>
                        <a:gd name="connsiteX54" fmla="*/ 8655 w 10000"/>
                        <a:gd name="connsiteY54" fmla="*/ 6302 h 10000"/>
                        <a:gd name="connsiteX55" fmla="*/ 8707 w 10000"/>
                        <a:gd name="connsiteY55" fmla="*/ 6336 h 10000"/>
                        <a:gd name="connsiteX56" fmla="*/ 8517 w 10000"/>
                        <a:gd name="connsiteY56" fmla="*/ 6398 h 10000"/>
                        <a:gd name="connsiteX57" fmla="*/ 8440 w 10000"/>
                        <a:gd name="connsiteY57" fmla="*/ 6532 h 10000"/>
                        <a:gd name="connsiteX58" fmla="*/ 7961 w 10000"/>
                        <a:gd name="connsiteY58" fmla="*/ 6269 h 10000"/>
                        <a:gd name="connsiteX59" fmla="*/ 7874 w 10000"/>
                        <a:gd name="connsiteY59" fmla="*/ 5556 h 10000"/>
                        <a:gd name="connsiteX60" fmla="*/ 7361 w 10000"/>
                        <a:gd name="connsiteY60" fmla="*/ 5865 h 10000"/>
                        <a:gd name="connsiteX61" fmla="*/ 7369 w 10000"/>
                        <a:gd name="connsiteY61" fmla="*/ 6232 h 10000"/>
                        <a:gd name="connsiteX62" fmla="*/ 6955 w 10000"/>
                        <a:gd name="connsiteY62" fmla="*/ 6453 h 10000"/>
                        <a:gd name="connsiteX63" fmla="*/ 3709 w 10000"/>
                        <a:gd name="connsiteY63" fmla="*/ 0 h 10000"/>
                        <a:gd name="connsiteX64" fmla="*/ 3120 w 10000"/>
                        <a:gd name="connsiteY64" fmla="*/ 0 h 10000"/>
                        <a:gd name="connsiteX65" fmla="*/ 2475 w 10000"/>
                        <a:gd name="connsiteY65" fmla="*/ 0 h 10000"/>
                        <a:gd name="connsiteX66" fmla="*/ 1884 w 10000"/>
                        <a:gd name="connsiteY66" fmla="*/ 0 h 10000"/>
                        <a:gd name="connsiteX67" fmla="*/ 1237 w 10000"/>
                        <a:gd name="connsiteY67" fmla="*/ 0 h 10000"/>
                        <a:gd name="connsiteX68" fmla="*/ 1237 w 10000"/>
                        <a:gd name="connsiteY68" fmla="*/ 479 h 10000"/>
                        <a:gd name="connsiteX69" fmla="*/ 1237 w 10000"/>
                        <a:gd name="connsiteY69" fmla="*/ 1096 h 10000"/>
                        <a:gd name="connsiteX70" fmla="*/ 433 w 10000"/>
                        <a:gd name="connsiteY70" fmla="*/ 1096 h 10000"/>
                        <a:gd name="connsiteX71" fmla="*/ 433 w 10000"/>
                        <a:gd name="connsiteY71" fmla="*/ 1369 h 10000"/>
                        <a:gd name="connsiteX0" fmla="*/ 433 w 10000"/>
                        <a:gd name="connsiteY0" fmla="*/ 1369 h 10000"/>
                        <a:gd name="connsiteX1" fmla="*/ 6675 w 10000"/>
                        <a:gd name="connsiteY1" fmla="*/ 6715 h 10000"/>
                        <a:gd name="connsiteX2" fmla="*/ 6234 w 10000"/>
                        <a:gd name="connsiteY2" fmla="*/ 6927 h 10000"/>
                        <a:gd name="connsiteX3" fmla="*/ 5864 w 10000"/>
                        <a:gd name="connsiteY3" fmla="*/ 6706 h 10000"/>
                        <a:gd name="connsiteX4" fmla="*/ 5325 w 10000"/>
                        <a:gd name="connsiteY4" fmla="*/ 6572 h 10000"/>
                        <a:gd name="connsiteX5" fmla="*/ 5058 w 10000"/>
                        <a:gd name="connsiteY5" fmla="*/ 6873 h 10000"/>
                        <a:gd name="connsiteX6" fmla="*/ 4396 w 10000"/>
                        <a:gd name="connsiteY6" fmla="*/ 7104 h 10000"/>
                        <a:gd name="connsiteX7" fmla="*/ 3972 w 10000"/>
                        <a:gd name="connsiteY7" fmla="*/ 7102 h 10000"/>
                        <a:gd name="connsiteX8" fmla="*/ 3044 w 10000"/>
                        <a:gd name="connsiteY8" fmla="*/ 6906 h 10000"/>
                        <a:gd name="connsiteX9" fmla="*/ 2796 w 10000"/>
                        <a:gd name="connsiteY9" fmla="*/ 7012 h 10000"/>
                        <a:gd name="connsiteX10" fmla="*/ 2177 w 10000"/>
                        <a:gd name="connsiteY10" fmla="*/ 6775 h 10000"/>
                        <a:gd name="connsiteX11" fmla="*/ 1903 w 10000"/>
                        <a:gd name="connsiteY11" fmla="*/ 6419 h 10000"/>
                        <a:gd name="connsiteX12" fmla="*/ 1449 w 10000"/>
                        <a:gd name="connsiteY12" fmla="*/ 6516 h 10000"/>
                        <a:gd name="connsiteX13" fmla="*/ 1324 w 10000"/>
                        <a:gd name="connsiteY13" fmla="*/ 6727 h 10000"/>
                        <a:gd name="connsiteX14" fmla="*/ 845 w 10000"/>
                        <a:gd name="connsiteY14" fmla="*/ 6817 h 10000"/>
                        <a:gd name="connsiteX15" fmla="*/ 526 w 10000"/>
                        <a:gd name="connsiteY15" fmla="*/ 6809 h 10000"/>
                        <a:gd name="connsiteX16" fmla="*/ 354 w 10000"/>
                        <a:gd name="connsiteY16" fmla="*/ 6976 h 10000"/>
                        <a:gd name="connsiteX17" fmla="*/ 56 w 10000"/>
                        <a:gd name="connsiteY17" fmla="*/ 6713 h 10000"/>
                        <a:gd name="connsiteX18" fmla="*/ 0 w 10000"/>
                        <a:gd name="connsiteY18" fmla="*/ 7191 h 10000"/>
                        <a:gd name="connsiteX19" fmla="*/ 106 w 10000"/>
                        <a:gd name="connsiteY19" fmla="*/ 7260 h 10000"/>
                        <a:gd name="connsiteX20" fmla="*/ 538 w 10000"/>
                        <a:gd name="connsiteY20" fmla="*/ 7294 h 10000"/>
                        <a:gd name="connsiteX21" fmla="*/ 596 w 10000"/>
                        <a:gd name="connsiteY21" fmla="*/ 7430 h 10000"/>
                        <a:gd name="connsiteX22" fmla="*/ 1075 w 10000"/>
                        <a:gd name="connsiteY22" fmla="*/ 7466 h 10000"/>
                        <a:gd name="connsiteX23" fmla="*/ 1346 w 10000"/>
                        <a:gd name="connsiteY23" fmla="*/ 7603 h 10000"/>
                        <a:gd name="connsiteX24" fmla="*/ 1397 w 10000"/>
                        <a:gd name="connsiteY24" fmla="*/ 7843 h 10000"/>
                        <a:gd name="connsiteX25" fmla="*/ 2260 w 10000"/>
                        <a:gd name="connsiteY25" fmla="*/ 8253 h 10000"/>
                        <a:gd name="connsiteX26" fmla="*/ 2475 w 10000"/>
                        <a:gd name="connsiteY26" fmla="*/ 8665 h 10000"/>
                        <a:gd name="connsiteX27" fmla="*/ 3064 w 10000"/>
                        <a:gd name="connsiteY27" fmla="*/ 8871 h 10000"/>
                        <a:gd name="connsiteX28" fmla="*/ 3280 w 10000"/>
                        <a:gd name="connsiteY28" fmla="*/ 9142 h 10000"/>
                        <a:gd name="connsiteX29" fmla="*/ 3709 w 10000"/>
                        <a:gd name="connsiteY29" fmla="*/ 9487 h 10000"/>
                        <a:gd name="connsiteX30" fmla="*/ 4034 w 10000"/>
                        <a:gd name="connsiteY30" fmla="*/ 9588 h 10000"/>
                        <a:gd name="connsiteX31" fmla="*/ 4248 w 10000"/>
                        <a:gd name="connsiteY31" fmla="*/ 9487 h 10000"/>
                        <a:gd name="connsiteX32" fmla="*/ 4785 w 10000"/>
                        <a:gd name="connsiteY32" fmla="*/ 9521 h 10000"/>
                        <a:gd name="connsiteX33" fmla="*/ 5002 w 10000"/>
                        <a:gd name="connsiteY33" fmla="*/ 9452 h 10000"/>
                        <a:gd name="connsiteX34" fmla="*/ 5967 w 10000"/>
                        <a:gd name="connsiteY34" fmla="*/ 9967 h 10000"/>
                        <a:gd name="connsiteX35" fmla="*/ 6021 w 10000"/>
                        <a:gd name="connsiteY35" fmla="*/ 9967 h 10000"/>
                        <a:gd name="connsiteX36" fmla="*/ 6130 w 10000"/>
                        <a:gd name="connsiteY36" fmla="*/ 9898 h 10000"/>
                        <a:gd name="connsiteX37" fmla="*/ 6823 w 10000"/>
                        <a:gd name="connsiteY37" fmla="*/ 9898 h 10000"/>
                        <a:gd name="connsiteX38" fmla="*/ 6936 w 10000"/>
                        <a:gd name="connsiteY38" fmla="*/ 10000 h 10000"/>
                        <a:gd name="connsiteX39" fmla="*/ 7526 w 10000"/>
                        <a:gd name="connsiteY39" fmla="*/ 9862 h 10000"/>
                        <a:gd name="connsiteX40" fmla="*/ 8062 w 10000"/>
                        <a:gd name="connsiteY40" fmla="*/ 9862 h 10000"/>
                        <a:gd name="connsiteX41" fmla="*/ 8438 w 10000"/>
                        <a:gd name="connsiteY41" fmla="*/ 9726 h 10000"/>
                        <a:gd name="connsiteX42" fmla="*/ 8871 w 10000"/>
                        <a:gd name="connsiteY42" fmla="*/ 9452 h 10000"/>
                        <a:gd name="connsiteX43" fmla="*/ 10000 w 10000"/>
                        <a:gd name="connsiteY43" fmla="*/ 9452 h 10000"/>
                        <a:gd name="connsiteX44" fmla="*/ 10000 w 10000"/>
                        <a:gd name="connsiteY44" fmla="*/ 9076 h 10000"/>
                        <a:gd name="connsiteX45" fmla="*/ 9409 w 10000"/>
                        <a:gd name="connsiteY45" fmla="*/ 8905 h 10000"/>
                        <a:gd name="connsiteX46" fmla="*/ 9083 w 10000"/>
                        <a:gd name="connsiteY46" fmla="*/ 8357 h 10000"/>
                        <a:gd name="connsiteX47" fmla="*/ 8655 w 10000"/>
                        <a:gd name="connsiteY47" fmla="*/ 8151 h 10000"/>
                        <a:gd name="connsiteX48" fmla="*/ 8385 w 10000"/>
                        <a:gd name="connsiteY48" fmla="*/ 7876 h 10000"/>
                        <a:gd name="connsiteX49" fmla="*/ 7687 w 10000"/>
                        <a:gd name="connsiteY49" fmla="*/ 7672 h 10000"/>
                        <a:gd name="connsiteX50" fmla="*/ 7848 w 10000"/>
                        <a:gd name="connsiteY50" fmla="*/ 7603 h 10000"/>
                        <a:gd name="connsiteX51" fmla="*/ 7848 w 10000"/>
                        <a:gd name="connsiteY51" fmla="*/ 7430 h 10000"/>
                        <a:gd name="connsiteX52" fmla="*/ 8334 w 10000"/>
                        <a:gd name="connsiteY52" fmla="*/ 7430 h 10000"/>
                        <a:gd name="connsiteX53" fmla="*/ 8599 w 10000"/>
                        <a:gd name="connsiteY53" fmla="*/ 7294 h 10000"/>
                        <a:gd name="connsiteX54" fmla="*/ 8655 w 10000"/>
                        <a:gd name="connsiteY54" fmla="*/ 6302 h 10000"/>
                        <a:gd name="connsiteX55" fmla="*/ 8707 w 10000"/>
                        <a:gd name="connsiteY55" fmla="*/ 6336 h 10000"/>
                        <a:gd name="connsiteX56" fmla="*/ 8517 w 10000"/>
                        <a:gd name="connsiteY56" fmla="*/ 6398 h 10000"/>
                        <a:gd name="connsiteX57" fmla="*/ 8440 w 10000"/>
                        <a:gd name="connsiteY57" fmla="*/ 6532 h 10000"/>
                        <a:gd name="connsiteX58" fmla="*/ 7961 w 10000"/>
                        <a:gd name="connsiteY58" fmla="*/ 6269 h 10000"/>
                        <a:gd name="connsiteX59" fmla="*/ 7874 w 10000"/>
                        <a:gd name="connsiteY59" fmla="*/ 5556 h 10000"/>
                        <a:gd name="connsiteX60" fmla="*/ 7361 w 10000"/>
                        <a:gd name="connsiteY60" fmla="*/ 5865 h 10000"/>
                        <a:gd name="connsiteX61" fmla="*/ 7369 w 10000"/>
                        <a:gd name="connsiteY61" fmla="*/ 6232 h 10000"/>
                        <a:gd name="connsiteX62" fmla="*/ 6955 w 10000"/>
                        <a:gd name="connsiteY62" fmla="*/ 6453 h 10000"/>
                        <a:gd name="connsiteX63" fmla="*/ 3120 w 10000"/>
                        <a:gd name="connsiteY63" fmla="*/ 0 h 10000"/>
                        <a:gd name="connsiteX64" fmla="*/ 2475 w 10000"/>
                        <a:gd name="connsiteY64" fmla="*/ 0 h 10000"/>
                        <a:gd name="connsiteX65" fmla="*/ 1884 w 10000"/>
                        <a:gd name="connsiteY65" fmla="*/ 0 h 10000"/>
                        <a:gd name="connsiteX66" fmla="*/ 1237 w 10000"/>
                        <a:gd name="connsiteY66" fmla="*/ 0 h 10000"/>
                        <a:gd name="connsiteX67" fmla="*/ 1237 w 10000"/>
                        <a:gd name="connsiteY67" fmla="*/ 479 h 10000"/>
                        <a:gd name="connsiteX68" fmla="*/ 1237 w 10000"/>
                        <a:gd name="connsiteY68" fmla="*/ 1096 h 10000"/>
                        <a:gd name="connsiteX69" fmla="*/ 433 w 10000"/>
                        <a:gd name="connsiteY69" fmla="*/ 1096 h 10000"/>
                        <a:gd name="connsiteX70" fmla="*/ 433 w 10000"/>
                        <a:gd name="connsiteY70" fmla="*/ 1369 h 10000"/>
                        <a:gd name="connsiteX0" fmla="*/ 433 w 10000"/>
                        <a:gd name="connsiteY0" fmla="*/ 1369 h 10000"/>
                        <a:gd name="connsiteX1" fmla="*/ 6675 w 10000"/>
                        <a:gd name="connsiteY1" fmla="*/ 6715 h 10000"/>
                        <a:gd name="connsiteX2" fmla="*/ 6234 w 10000"/>
                        <a:gd name="connsiteY2" fmla="*/ 6927 h 10000"/>
                        <a:gd name="connsiteX3" fmla="*/ 5864 w 10000"/>
                        <a:gd name="connsiteY3" fmla="*/ 6706 h 10000"/>
                        <a:gd name="connsiteX4" fmla="*/ 5325 w 10000"/>
                        <a:gd name="connsiteY4" fmla="*/ 6572 h 10000"/>
                        <a:gd name="connsiteX5" fmla="*/ 5058 w 10000"/>
                        <a:gd name="connsiteY5" fmla="*/ 6873 h 10000"/>
                        <a:gd name="connsiteX6" fmla="*/ 4396 w 10000"/>
                        <a:gd name="connsiteY6" fmla="*/ 7104 h 10000"/>
                        <a:gd name="connsiteX7" fmla="*/ 3972 w 10000"/>
                        <a:gd name="connsiteY7" fmla="*/ 7102 h 10000"/>
                        <a:gd name="connsiteX8" fmla="*/ 3044 w 10000"/>
                        <a:gd name="connsiteY8" fmla="*/ 6906 h 10000"/>
                        <a:gd name="connsiteX9" fmla="*/ 2796 w 10000"/>
                        <a:gd name="connsiteY9" fmla="*/ 7012 h 10000"/>
                        <a:gd name="connsiteX10" fmla="*/ 2177 w 10000"/>
                        <a:gd name="connsiteY10" fmla="*/ 6775 h 10000"/>
                        <a:gd name="connsiteX11" fmla="*/ 1903 w 10000"/>
                        <a:gd name="connsiteY11" fmla="*/ 6419 h 10000"/>
                        <a:gd name="connsiteX12" fmla="*/ 1449 w 10000"/>
                        <a:gd name="connsiteY12" fmla="*/ 6516 h 10000"/>
                        <a:gd name="connsiteX13" fmla="*/ 1324 w 10000"/>
                        <a:gd name="connsiteY13" fmla="*/ 6727 h 10000"/>
                        <a:gd name="connsiteX14" fmla="*/ 845 w 10000"/>
                        <a:gd name="connsiteY14" fmla="*/ 6817 h 10000"/>
                        <a:gd name="connsiteX15" fmla="*/ 526 w 10000"/>
                        <a:gd name="connsiteY15" fmla="*/ 6809 h 10000"/>
                        <a:gd name="connsiteX16" fmla="*/ 354 w 10000"/>
                        <a:gd name="connsiteY16" fmla="*/ 6976 h 10000"/>
                        <a:gd name="connsiteX17" fmla="*/ 56 w 10000"/>
                        <a:gd name="connsiteY17" fmla="*/ 6713 h 10000"/>
                        <a:gd name="connsiteX18" fmla="*/ 0 w 10000"/>
                        <a:gd name="connsiteY18" fmla="*/ 7191 h 10000"/>
                        <a:gd name="connsiteX19" fmla="*/ 106 w 10000"/>
                        <a:gd name="connsiteY19" fmla="*/ 7260 h 10000"/>
                        <a:gd name="connsiteX20" fmla="*/ 538 w 10000"/>
                        <a:gd name="connsiteY20" fmla="*/ 7294 h 10000"/>
                        <a:gd name="connsiteX21" fmla="*/ 596 w 10000"/>
                        <a:gd name="connsiteY21" fmla="*/ 7430 h 10000"/>
                        <a:gd name="connsiteX22" fmla="*/ 1075 w 10000"/>
                        <a:gd name="connsiteY22" fmla="*/ 7466 h 10000"/>
                        <a:gd name="connsiteX23" fmla="*/ 1346 w 10000"/>
                        <a:gd name="connsiteY23" fmla="*/ 7603 h 10000"/>
                        <a:gd name="connsiteX24" fmla="*/ 1397 w 10000"/>
                        <a:gd name="connsiteY24" fmla="*/ 7843 h 10000"/>
                        <a:gd name="connsiteX25" fmla="*/ 2260 w 10000"/>
                        <a:gd name="connsiteY25" fmla="*/ 8253 h 10000"/>
                        <a:gd name="connsiteX26" fmla="*/ 2475 w 10000"/>
                        <a:gd name="connsiteY26" fmla="*/ 8665 h 10000"/>
                        <a:gd name="connsiteX27" fmla="*/ 3064 w 10000"/>
                        <a:gd name="connsiteY27" fmla="*/ 8871 h 10000"/>
                        <a:gd name="connsiteX28" fmla="*/ 3280 w 10000"/>
                        <a:gd name="connsiteY28" fmla="*/ 9142 h 10000"/>
                        <a:gd name="connsiteX29" fmla="*/ 3709 w 10000"/>
                        <a:gd name="connsiteY29" fmla="*/ 9487 h 10000"/>
                        <a:gd name="connsiteX30" fmla="*/ 4034 w 10000"/>
                        <a:gd name="connsiteY30" fmla="*/ 9588 h 10000"/>
                        <a:gd name="connsiteX31" fmla="*/ 4248 w 10000"/>
                        <a:gd name="connsiteY31" fmla="*/ 9487 h 10000"/>
                        <a:gd name="connsiteX32" fmla="*/ 4785 w 10000"/>
                        <a:gd name="connsiteY32" fmla="*/ 9521 h 10000"/>
                        <a:gd name="connsiteX33" fmla="*/ 5002 w 10000"/>
                        <a:gd name="connsiteY33" fmla="*/ 9452 h 10000"/>
                        <a:gd name="connsiteX34" fmla="*/ 5967 w 10000"/>
                        <a:gd name="connsiteY34" fmla="*/ 9967 h 10000"/>
                        <a:gd name="connsiteX35" fmla="*/ 6021 w 10000"/>
                        <a:gd name="connsiteY35" fmla="*/ 9967 h 10000"/>
                        <a:gd name="connsiteX36" fmla="*/ 6130 w 10000"/>
                        <a:gd name="connsiteY36" fmla="*/ 9898 h 10000"/>
                        <a:gd name="connsiteX37" fmla="*/ 6823 w 10000"/>
                        <a:gd name="connsiteY37" fmla="*/ 9898 h 10000"/>
                        <a:gd name="connsiteX38" fmla="*/ 6936 w 10000"/>
                        <a:gd name="connsiteY38" fmla="*/ 10000 h 10000"/>
                        <a:gd name="connsiteX39" fmla="*/ 7526 w 10000"/>
                        <a:gd name="connsiteY39" fmla="*/ 9862 h 10000"/>
                        <a:gd name="connsiteX40" fmla="*/ 8062 w 10000"/>
                        <a:gd name="connsiteY40" fmla="*/ 9862 h 10000"/>
                        <a:gd name="connsiteX41" fmla="*/ 8438 w 10000"/>
                        <a:gd name="connsiteY41" fmla="*/ 9726 h 10000"/>
                        <a:gd name="connsiteX42" fmla="*/ 8871 w 10000"/>
                        <a:gd name="connsiteY42" fmla="*/ 9452 h 10000"/>
                        <a:gd name="connsiteX43" fmla="*/ 10000 w 10000"/>
                        <a:gd name="connsiteY43" fmla="*/ 9452 h 10000"/>
                        <a:gd name="connsiteX44" fmla="*/ 10000 w 10000"/>
                        <a:gd name="connsiteY44" fmla="*/ 9076 h 10000"/>
                        <a:gd name="connsiteX45" fmla="*/ 9409 w 10000"/>
                        <a:gd name="connsiteY45" fmla="*/ 8905 h 10000"/>
                        <a:gd name="connsiteX46" fmla="*/ 9083 w 10000"/>
                        <a:gd name="connsiteY46" fmla="*/ 8357 h 10000"/>
                        <a:gd name="connsiteX47" fmla="*/ 8655 w 10000"/>
                        <a:gd name="connsiteY47" fmla="*/ 8151 h 10000"/>
                        <a:gd name="connsiteX48" fmla="*/ 8385 w 10000"/>
                        <a:gd name="connsiteY48" fmla="*/ 7876 h 10000"/>
                        <a:gd name="connsiteX49" fmla="*/ 7687 w 10000"/>
                        <a:gd name="connsiteY49" fmla="*/ 7672 h 10000"/>
                        <a:gd name="connsiteX50" fmla="*/ 7848 w 10000"/>
                        <a:gd name="connsiteY50" fmla="*/ 7603 h 10000"/>
                        <a:gd name="connsiteX51" fmla="*/ 7848 w 10000"/>
                        <a:gd name="connsiteY51" fmla="*/ 7430 h 10000"/>
                        <a:gd name="connsiteX52" fmla="*/ 8334 w 10000"/>
                        <a:gd name="connsiteY52" fmla="*/ 7430 h 10000"/>
                        <a:gd name="connsiteX53" fmla="*/ 8599 w 10000"/>
                        <a:gd name="connsiteY53" fmla="*/ 7294 h 10000"/>
                        <a:gd name="connsiteX54" fmla="*/ 8655 w 10000"/>
                        <a:gd name="connsiteY54" fmla="*/ 6302 h 10000"/>
                        <a:gd name="connsiteX55" fmla="*/ 8707 w 10000"/>
                        <a:gd name="connsiteY55" fmla="*/ 6336 h 10000"/>
                        <a:gd name="connsiteX56" fmla="*/ 8517 w 10000"/>
                        <a:gd name="connsiteY56" fmla="*/ 6398 h 10000"/>
                        <a:gd name="connsiteX57" fmla="*/ 8440 w 10000"/>
                        <a:gd name="connsiteY57" fmla="*/ 6532 h 10000"/>
                        <a:gd name="connsiteX58" fmla="*/ 7961 w 10000"/>
                        <a:gd name="connsiteY58" fmla="*/ 6269 h 10000"/>
                        <a:gd name="connsiteX59" fmla="*/ 7874 w 10000"/>
                        <a:gd name="connsiteY59" fmla="*/ 5556 h 10000"/>
                        <a:gd name="connsiteX60" fmla="*/ 7361 w 10000"/>
                        <a:gd name="connsiteY60" fmla="*/ 5865 h 10000"/>
                        <a:gd name="connsiteX61" fmla="*/ 7369 w 10000"/>
                        <a:gd name="connsiteY61" fmla="*/ 6232 h 10000"/>
                        <a:gd name="connsiteX62" fmla="*/ 6955 w 10000"/>
                        <a:gd name="connsiteY62" fmla="*/ 6453 h 10000"/>
                        <a:gd name="connsiteX63" fmla="*/ 2475 w 10000"/>
                        <a:gd name="connsiteY63" fmla="*/ 0 h 10000"/>
                        <a:gd name="connsiteX64" fmla="*/ 1884 w 10000"/>
                        <a:gd name="connsiteY64" fmla="*/ 0 h 10000"/>
                        <a:gd name="connsiteX65" fmla="*/ 1237 w 10000"/>
                        <a:gd name="connsiteY65" fmla="*/ 0 h 10000"/>
                        <a:gd name="connsiteX66" fmla="*/ 1237 w 10000"/>
                        <a:gd name="connsiteY66" fmla="*/ 479 h 10000"/>
                        <a:gd name="connsiteX67" fmla="*/ 1237 w 10000"/>
                        <a:gd name="connsiteY67" fmla="*/ 1096 h 10000"/>
                        <a:gd name="connsiteX68" fmla="*/ 433 w 10000"/>
                        <a:gd name="connsiteY68" fmla="*/ 1096 h 10000"/>
                        <a:gd name="connsiteX69" fmla="*/ 433 w 10000"/>
                        <a:gd name="connsiteY69" fmla="*/ 1369 h 10000"/>
                        <a:gd name="connsiteX0" fmla="*/ 433 w 10000"/>
                        <a:gd name="connsiteY0" fmla="*/ 1369 h 10000"/>
                        <a:gd name="connsiteX1" fmla="*/ 6675 w 10000"/>
                        <a:gd name="connsiteY1" fmla="*/ 6715 h 10000"/>
                        <a:gd name="connsiteX2" fmla="*/ 6234 w 10000"/>
                        <a:gd name="connsiteY2" fmla="*/ 6927 h 10000"/>
                        <a:gd name="connsiteX3" fmla="*/ 5864 w 10000"/>
                        <a:gd name="connsiteY3" fmla="*/ 6706 h 10000"/>
                        <a:gd name="connsiteX4" fmla="*/ 5325 w 10000"/>
                        <a:gd name="connsiteY4" fmla="*/ 6572 h 10000"/>
                        <a:gd name="connsiteX5" fmla="*/ 5058 w 10000"/>
                        <a:gd name="connsiteY5" fmla="*/ 6873 h 10000"/>
                        <a:gd name="connsiteX6" fmla="*/ 4396 w 10000"/>
                        <a:gd name="connsiteY6" fmla="*/ 7104 h 10000"/>
                        <a:gd name="connsiteX7" fmla="*/ 3972 w 10000"/>
                        <a:gd name="connsiteY7" fmla="*/ 7102 h 10000"/>
                        <a:gd name="connsiteX8" fmla="*/ 3044 w 10000"/>
                        <a:gd name="connsiteY8" fmla="*/ 6906 h 10000"/>
                        <a:gd name="connsiteX9" fmla="*/ 2796 w 10000"/>
                        <a:gd name="connsiteY9" fmla="*/ 7012 h 10000"/>
                        <a:gd name="connsiteX10" fmla="*/ 2177 w 10000"/>
                        <a:gd name="connsiteY10" fmla="*/ 6775 h 10000"/>
                        <a:gd name="connsiteX11" fmla="*/ 1903 w 10000"/>
                        <a:gd name="connsiteY11" fmla="*/ 6419 h 10000"/>
                        <a:gd name="connsiteX12" fmla="*/ 1449 w 10000"/>
                        <a:gd name="connsiteY12" fmla="*/ 6516 h 10000"/>
                        <a:gd name="connsiteX13" fmla="*/ 1324 w 10000"/>
                        <a:gd name="connsiteY13" fmla="*/ 6727 h 10000"/>
                        <a:gd name="connsiteX14" fmla="*/ 845 w 10000"/>
                        <a:gd name="connsiteY14" fmla="*/ 6817 h 10000"/>
                        <a:gd name="connsiteX15" fmla="*/ 526 w 10000"/>
                        <a:gd name="connsiteY15" fmla="*/ 6809 h 10000"/>
                        <a:gd name="connsiteX16" fmla="*/ 354 w 10000"/>
                        <a:gd name="connsiteY16" fmla="*/ 6976 h 10000"/>
                        <a:gd name="connsiteX17" fmla="*/ 56 w 10000"/>
                        <a:gd name="connsiteY17" fmla="*/ 6713 h 10000"/>
                        <a:gd name="connsiteX18" fmla="*/ 0 w 10000"/>
                        <a:gd name="connsiteY18" fmla="*/ 7191 h 10000"/>
                        <a:gd name="connsiteX19" fmla="*/ 106 w 10000"/>
                        <a:gd name="connsiteY19" fmla="*/ 7260 h 10000"/>
                        <a:gd name="connsiteX20" fmla="*/ 538 w 10000"/>
                        <a:gd name="connsiteY20" fmla="*/ 7294 h 10000"/>
                        <a:gd name="connsiteX21" fmla="*/ 596 w 10000"/>
                        <a:gd name="connsiteY21" fmla="*/ 7430 h 10000"/>
                        <a:gd name="connsiteX22" fmla="*/ 1075 w 10000"/>
                        <a:gd name="connsiteY22" fmla="*/ 7466 h 10000"/>
                        <a:gd name="connsiteX23" fmla="*/ 1346 w 10000"/>
                        <a:gd name="connsiteY23" fmla="*/ 7603 h 10000"/>
                        <a:gd name="connsiteX24" fmla="*/ 1397 w 10000"/>
                        <a:gd name="connsiteY24" fmla="*/ 7843 h 10000"/>
                        <a:gd name="connsiteX25" fmla="*/ 2260 w 10000"/>
                        <a:gd name="connsiteY25" fmla="*/ 8253 h 10000"/>
                        <a:gd name="connsiteX26" fmla="*/ 2475 w 10000"/>
                        <a:gd name="connsiteY26" fmla="*/ 8665 h 10000"/>
                        <a:gd name="connsiteX27" fmla="*/ 3064 w 10000"/>
                        <a:gd name="connsiteY27" fmla="*/ 8871 h 10000"/>
                        <a:gd name="connsiteX28" fmla="*/ 3280 w 10000"/>
                        <a:gd name="connsiteY28" fmla="*/ 9142 h 10000"/>
                        <a:gd name="connsiteX29" fmla="*/ 3709 w 10000"/>
                        <a:gd name="connsiteY29" fmla="*/ 9487 h 10000"/>
                        <a:gd name="connsiteX30" fmla="*/ 4034 w 10000"/>
                        <a:gd name="connsiteY30" fmla="*/ 9588 h 10000"/>
                        <a:gd name="connsiteX31" fmla="*/ 4248 w 10000"/>
                        <a:gd name="connsiteY31" fmla="*/ 9487 h 10000"/>
                        <a:gd name="connsiteX32" fmla="*/ 4785 w 10000"/>
                        <a:gd name="connsiteY32" fmla="*/ 9521 h 10000"/>
                        <a:gd name="connsiteX33" fmla="*/ 5002 w 10000"/>
                        <a:gd name="connsiteY33" fmla="*/ 9452 h 10000"/>
                        <a:gd name="connsiteX34" fmla="*/ 5967 w 10000"/>
                        <a:gd name="connsiteY34" fmla="*/ 9967 h 10000"/>
                        <a:gd name="connsiteX35" fmla="*/ 6021 w 10000"/>
                        <a:gd name="connsiteY35" fmla="*/ 9967 h 10000"/>
                        <a:gd name="connsiteX36" fmla="*/ 6130 w 10000"/>
                        <a:gd name="connsiteY36" fmla="*/ 9898 h 10000"/>
                        <a:gd name="connsiteX37" fmla="*/ 6823 w 10000"/>
                        <a:gd name="connsiteY37" fmla="*/ 9898 h 10000"/>
                        <a:gd name="connsiteX38" fmla="*/ 6936 w 10000"/>
                        <a:gd name="connsiteY38" fmla="*/ 10000 h 10000"/>
                        <a:gd name="connsiteX39" fmla="*/ 7526 w 10000"/>
                        <a:gd name="connsiteY39" fmla="*/ 9862 h 10000"/>
                        <a:gd name="connsiteX40" fmla="*/ 8062 w 10000"/>
                        <a:gd name="connsiteY40" fmla="*/ 9862 h 10000"/>
                        <a:gd name="connsiteX41" fmla="*/ 8438 w 10000"/>
                        <a:gd name="connsiteY41" fmla="*/ 9726 h 10000"/>
                        <a:gd name="connsiteX42" fmla="*/ 8871 w 10000"/>
                        <a:gd name="connsiteY42" fmla="*/ 9452 h 10000"/>
                        <a:gd name="connsiteX43" fmla="*/ 10000 w 10000"/>
                        <a:gd name="connsiteY43" fmla="*/ 9452 h 10000"/>
                        <a:gd name="connsiteX44" fmla="*/ 10000 w 10000"/>
                        <a:gd name="connsiteY44" fmla="*/ 9076 h 10000"/>
                        <a:gd name="connsiteX45" fmla="*/ 9409 w 10000"/>
                        <a:gd name="connsiteY45" fmla="*/ 8905 h 10000"/>
                        <a:gd name="connsiteX46" fmla="*/ 9083 w 10000"/>
                        <a:gd name="connsiteY46" fmla="*/ 8357 h 10000"/>
                        <a:gd name="connsiteX47" fmla="*/ 8655 w 10000"/>
                        <a:gd name="connsiteY47" fmla="*/ 8151 h 10000"/>
                        <a:gd name="connsiteX48" fmla="*/ 8385 w 10000"/>
                        <a:gd name="connsiteY48" fmla="*/ 7876 h 10000"/>
                        <a:gd name="connsiteX49" fmla="*/ 7687 w 10000"/>
                        <a:gd name="connsiteY49" fmla="*/ 7672 h 10000"/>
                        <a:gd name="connsiteX50" fmla="*/ 7848 w 10000"/>
                        <a:gd name="connsiteY50" fmla="*/ 7603 h 10000"/>
                        <a:gd name="connsiteX51" fmla="*/ 7848 w 10000"/>
                        <a:gd name="connsiteY51" fmla="*/ 7430 h 10000"/>
                        <a:gd name="connsiteX52" fmla="*/ 8334 w 10000"/>
                        <a:gd name="connsiteY52" fmla="*/ 7430 h 10000"/>
                        <a:gd name="connsiteX53" fmla="*/ 8599 w 10000"/>
                        <a:gd name="connsiteY53" fmla="*/ 7294 h 10000"/>
                        <a:gd name="connsiteX54" fmla="*/ 8655 w 10000"/>
                        <a:gd name="connsiteY54" fmla="*/ 6302 h 10000"/>
                        <a:gd name="connsiteX55" fmla="*/ 8707 w 10000"/>
                        <a:gd name="connsiteY55" fmla="*/ 6336 h 10000"/>
                        <a:gd name="connsiteX56" fmla="*/ 8517 w 10000"/>
                        <a:gd name="connsiteY56" fmla="*/ 6398 h 10000"/>
                        <a:gd name="connsiteX57" fmla="*/ 8440 w 10000"/>
                        <a:gd name="connsiteY57" fmla="*/ 6532 h 10000"/>
                        <a:gd name="connsiteX58" fmla="*/ 7961 w 10000"/>
                        <a:gd name="connsiteY58" fmla="*/ 6269 h 10000"/>
                        <a:gd name="connsiteX59" fmla="*/ 7874 w 10000"/>
                        <a:gd name="connsiteY59" fmla="*/ 5556 h 10000"/>
                        <a:gd name="connsiteX60" fmla="*/ 7361 w 10000"/>
                        <a:gd name="connsiteY60" fmla="*/ 5865 h 10000"/>
                        <a:gd name="connsiteX61" fmla="*/ 7369 w 10000"/>
                        <a:gd name="connsiteY61" fmla="*/ 6232 h 10000"/>
                        <a:gd name="connsiteX62" fmla="*/ 6955 w 10000"/>
                        <a:gd name="connsiteY62" fmla="*/ 6453 h 10000"/>
                        <a:gd name="connsiteX63" fmla="*/ 1884 w 10000"/>
                        <a:gd name="connsiteY63" fmla="*/ 0 h 10000"/>
                        <a:gd name="connsiteX64" fmla="*/ 1237 w 10000"/>
                        <a:gd name="connsiteY64" fmla="*/ 0 h 10000"/>
                        <a:gd name="connsiteX65" fmla="*/ 1237 w 10000"/>
                        <a:gd name="connsiteY65" fmla="*/ 479 h 10000"/>
                        <a:gd name="connsiteX66" fmla="*/ 1237 w 10000"/>
                        <a:gd name="connsiteY66" fmla="*/ 1096 h 10000"/>
                        <a:gd name="connsiteX67" fmla="*/ 433 w 10000"/>
                        <a:gd name="connsiteY67" fmla="*/ 1096 h 10000"/>
                        <a:gd name="connsiteX68" fmla="*/ 433 w 10000"/>
                        <a:gd name="connsiteY68" fmla="*/ 1369 h 10000"/>
                        <a:gd name="connsiteX0" fmla="*/ 433 w 10000"/>
                        <a:gd name="connsiteY0" fmla="*/ 1369 h 10000"/>
                        <a:gd name="connsiteX1" fmla="*/ 6675 w 10000"/>
                        <a:gd name="connsiteY1" fmla="*/ 6715 h 10000"/>
                        <a:gd name="connsiteX2" fmla="*/ 6234 w 10000"/>
                        <a:gd name="connsiteY2" fmla="*/ 6927 h 10000"/>
                        <a:gd name="connsiteX3" fmla="*/ 5864 w 10000"/>
                        <a:gd name="connsiteY3" fmla="*/ 6706 h 10000"/>
                        <a:gd name="connsiteX4" fmla="*/ 5325 w 10000"/>
                        <a:gd name="connsiteY4" fmla="*/ 6572 h 10000"/>
                        <a:gd name="connsiteX5" fmla="*/ 5058 w 10000"/>
                        <a:gd name="connsiteY5" fmla="*/ 6873 h 10000"/>
                        <a:gd name="connsiteX6" fmla="*/ 4396 w 10000"/>
                        <a:gd name="connsiteY6" fmla="*/ 7104 h 10000"/>
                        <a:gd name="connsiteX7" fmla="*/ 3972 w 10000"/>
                        <a:gd name="connsiteY7" fmla="*/ 7102 h 10000"/>
                        <a:gd name="connsiteX8" fmla="*/ 3044 w 10000"/>
                        <a:gd name="connsiteY8" fmla="*/ 6906 h 10000"/>
                        <a:gd name="connsiteX9" fmla="*/ 2796 w 10000"/>
                        <a:gd name="connsiteY9" fmla="*/ 7012 h 10000"/>
                        <a:gd name="connsiteX10" fmla="*/ 2177 w 10000"/>
                        <a:gd name="connsiteY10" fmla="*/ 6775 h 10000"/>
                        <a:gd name="connsiteX11" fmla="*/ 1903 w 10000"/>
                        <a:gd name="connsiteY11" fmla="*/ 6419 h 10000"/>
                        <a:gd name="connsiteX12" fmla="*/ 1449 w 10000"/>
                        <a:gd name="connsiteY12" fmla="*/ 6516 h 10000"/>
                        <a:gd name="connsiteX13" fmla="*/ 1324 w 10000"/>
                        <a:gd name="connsiteY13" fmla="*/ 6727 h 10000"/>
                        <a:gd name="connsiteX14" fmla="*/ 845 w 10000"/>
                        <a:gd name="connsiteY14" fmla="*/ 6817 h 10000"/>
                        <a:gd name="connsiteX15" fmla="*/ 526 w 10000"/>
                        <a:gd name="connsiteY15" fmla="*/ 6809 h 10000"/>
                        <a:gd name="connsiteX16" fmla="*/ 354 w 10000"/>
                        <a:gd name="connsiteY16" fmla="*/ 6976 h 10000"/>
                        <a:gd name="connsiteX17" fmla="*/ 56 w 10000"/>
                        <a:gd name="connsiteY17" fmla="*/ 6713 h 10000"/>
                        <a:gd name="connsiteX18" fmla="*/ 0 w 10000"/>
                        <a:gd name="connsiteY18" fmla="*/ 7191 h 10000"/>
                        <a:gd name="connsiteX19" fmla="*/ 106 w 10000"/>
                        <a:gd name="connsiteY19" fmla="*/ 7260 h 10000"/>
                        <a:gd name="connsiteX20" fmla="*/ 538 w 10000"/>
                        <a:gd name="connsiteY20" fmla="*/ 7294 h 10000"/>
                        <a:gd name="connsiteX21" fmla="*/ 596 w 10000"/>
                        <a:gd name="connsiteY21" fmla="*/ 7430 h 10000"/>
                        <a:gd name="connsiteX22" fmla="*/ 1075 w 10000"/>
                        <a:gd name="connsiteY22" fmla="*/ 7466 h 10000"/>
                        <a:gd name="connsiteX23" fmla="*/ 1346 w 10000"/>
                        <a:gd name="connsiteY23" fmla="*/ 7603 h 10000"/>
                        <a:gd name="connsiteX24" fmla="*/ 1397 w 10000"/>
                        <a:gd name="connsiteY24" fmla="*/ 7843 h 10000"/>
                        <a:gd name="connsiteX25" fmla="*/ 2260 w 10000"/>
                        <a:gd name="connsiteY25" fmla="*/ 8253 h 10000"/>
                        <a:gd name="connsiteX26" fmla="*/ 2475 w 10000"/>
                        <a:gd name="connsiteY26" fmla="*/ 8665 h 10000"/>
                        <a:gd name="connsiteX27" fmla="*/ 3064 w 10000"/>
                        <a:gd name="connsiteY27" fmla="*/ 8871 h 10000"/>
                        <a:gd name="connsiteX28" fmla="*/ 3280 w 10000"/>
                        <a:gd name="connsiteY28" fmla="*/ 9142 h 10000"/>
                        <a:gd name="connsiteX29" fmla="*/ 3709 w 10000"/>
                        <a:gd name="connsiteY29" fmla="*/ 9487 h 10000"/>
                        <a:gd name="connsiteX30" fmla="*/ 4034 w 10000"/>
                        <a:gd name="connsiteY30" fmla="*/ 9588 h 10000"/>
                        <a:gd name="connsiteX31" fmla="*/ 4248 w 10000"/>
                        <a:gd name="connsiteY31" fmla="*/ 9487 h 10000"/>
                        <a:gd name="connsiteX32" fmla="*/ 4785 w 10000"/>
                        <a:gd name="connsiteY32" fmla="*/ 9521 h 10000"/>
                        <a:gd name="connsiteX33" fmla="*/ 5002 w 10000"/>
                        <a:gd name="connsiteY33" fmla="*/ 9452 h 10000"/>
                        <a:gd name="connsiteX34" fmla="*/ 5967 w 10000"/>
                        <a:gd name="connsiteY34" fmla="*/ 9967 h 10000"/>
                        <a:gd name="connsiteX35" fmla="*/ 6021 w 10000"/>
                        <a:gd name="connsiteY35" fmla="*/ 9967 h 10000"/>
                        <a:gd name="connsiteX36" fmla="*/ 6130 w 10000"/>
                        <a:gd name="connsiteY36" fmla="*/ 9898 h 10000"/>
                        <a:gd name="connsiteX37" fmla="*/ 6823 w 10000"/>
                        <a:gd name="connsiteY37" fmla="*/ 9898 h 10000"/>
                        <a:gd name="connsiteX38" fmla="*/ 6936 w 10000"/>
                        <a:gd name="connsiteY38" fmla="*/ 10000 h 10000"/>
                        <a:gd name="connsiteX39" fmla="*/ 7526 w 10000"/>
                        <a:gd name="connsiteY39" fmla="*/ 9862 h 10000"/>
                        <a:gd name="connsiteX40" fmla="*/ 8062 w 10000"/>
                        <a:gd name="connsiteY40" fmla="*/ 9862 h 10000"/>
                        <a:gd name="connsiteX41" fmla="*/ 8438 w 10000"/>
                        <a:gd name="connsiteY41" fmla="*/ 9726 h 10000"/>
                        <a:gd name="connsiteX42" fmla="*/ 8871 w 10000"/>
                        <a:gd name="connsiteY42" fmla="*/ 9452 h 10000"/>
                        <a:gd name="connsiteX43" fmla="*/ 10000 w 10000"/>
                        <a:gd name="connsiteY43" fmla="*/ 9452 h 10000"/>
                        <a:gd name="connsiteX44" fmla="*/ 10000 w 10000"/>
                        <a:gd name="connsiteY44" fmla="*/ 9076 h 10000"/>
                        <a:gd name="connsiteX45" fmla="*/ 9409 w 10000"/>
                        <a:gd name="connsiteY45" fmla="*/ 8905 h 10000"/>
                        <a:gd name="connsiteX46" fmla="*/ 9083 w 10000"/>
                        <a:gd name="connsiteY46" fmla="*/ 8357 h 10000"/>
                        <a:gd name="connsiteX47" fmla="*/ 8655 w 10000"/>
                        <a:gd name="connsiteY47" fmla="*/ 8151 h 10000"/>
                        <a:gd name="connsiteX48" fmla="*/ 8385 w 10000"/>
                        <a:gd name="connsiteY48" fmla="*/ 7876 h 10000"/>
                        <a:gd name="connsiteX49" fmla="*/ 7687 w 10000"/>
                        <a:gd name="connsiteY49" fmla="*/ 7672 h 10000"/>
                        <a:gd name="connsiteX50" fmla="*/ 7848 w 10000"/>
                        <a:gd name="connsiteY50" fmla="*/ 7603 h 10000"/>
                        <a:gd name="connsiteX51" fmla="*/ 7848 w 10000"/>
                        <a:gd name="connsiteY51" fmla="*/ 7430 h 10000"/>
                        <a:gd name="connsiteX52" fmla="*/ 8334 w 10000"/>
                        <a:gd name="connsiteY52" fmla="*/ 7430 h 10000"/>
                        <a:gd name="connsiteX53" fmla="*/ 8599 w 10000"/>
                        <a:gd name="connsiteY53" fmla="*/ 7294 h 10000"/>
                        <a:gd name="connsiteX54" fmla="*/ 8655 w 10000"/>
                        <a:gd name="connsiteY54" fmla="*/ 6302 h 10000"/>
                        <a:gd name="connsiteX55" fmla="*/ 8707 w 10000"/>
                        <a:gd name="connsiteY55" fmla="*/ 6336 h 10000"/>
                        <a:gd name="connsiteX56" fmla="*/ 8517 w 10000"/>
                        <a:gd name="connsiteY56" fmla="*/ 6398 h 10000"/>
                        <a:gd name="connsiteX57" fmla="*/ 8440 w 10000"/>
                        <a:gd name="connsiteY57" fmla="*/ 6532 h 10000"/>
                        <a:gd name="connsiteX58" fmla="*/ 7961 w 10000"/>
                        <a:gd name="connsiteY58" fmla="*/ 6269 h 10000"/>
                        <a:gd name="connsiteX59" fmla="*/ 7874 w 10000"/>
                        <a:gd name="connsiteY59" fmla="*/ 5556 h 10000"/>
                        <a:gd name="connsiteX60" fmla="*/ 7361 w 10000"/>
                        <a:gd name="connsiteY60" fmla="*/ 5865 h 10000"/>
                        <a:gd name="connsiteX61" fmla="*/ 7369 w 10000"/>
                        <a:gd name="connsiteY61" fmla="*/ 6232 h 10000"/>
                        <a:gd name="connsiteX62" fmla="*/ 6955 w 10000"/>
                        <a:gd name="connsiteY62" fmla="*/ 6453 h 10000"/>
                        <a:gd name="connsiteX63" fmla="*/ 1237 w 10000"/>
                        <a:gd name="connsiteY63" fmla="*/ 0 h 10000"/>
                        <a:gd name="connsiteX64" fmla="*/ 1237 w 10000"/>
                        <a:gd name="connsiteY64" fmla="*/ 479 h 10000"/>
                        <a:gd name="connsiteX65" fmla="*/ 1237 w 10000"/>
                        <a:gd name="connsiteY65" fmla="*/ 1096 h 10000"/>
                        <a:gd name="connsiteX66" fmla="*/ 433 w 10000"/>
                        <a:gd name="connsiteY66" fmla="*/ 1096 h 10000"/>
                        <a:gd name="connsiteX67" fmla="*/ 433 w 10000"/>
                        <a:gd name="connsiteY67" fmla="*/ 1369 h 10000"/>
                        <a:gd name="connsiteX0" fmla="*/ 433 w 10000"/>
                        <a:gd name="connsiteY0" fmla="*/ 890 h 9521"/>
                        <a:gd name="connsiteX1" fmla="*/ 6675 w 10000"/>
                        <a:gd name="connsiteY1" fmla="*/ 6236 h 9521"/>
                        <a:gd name="connsiteX2" fmla="*/ 6234 w 10000"/>
                        <a:gd name="connsiteY2" fmla="*/ 6448 h 9521"/>
                        <a:gd name="connsiteX3" fmla="*/ 5864 w 10000"/>
                        <a:gd name="connsiteY3" fmla="*/ 6227 h 9521"/>
                        <a:gd name="connsiteX4" fmla="*/ 5325 w 10000"/>
                        <a:gd name="connsiteY4" fmla="*/ 6093 h 9521"/>
                        <a:gd name="connsiteX5" fmla="*/ 5058 w 10000"/>
                        <a:gd name="connsiteY5" fmla="*/ 6394 h 9521"/>
                        <a:gd name="connsiteX6" fmla="*/ 4396 w 10000"/>
                        <a:gd name="connsiteY6" fmla="*/ 6625 h 9521"/>
                        <a:gd name="connsiteX7" fmla="*/ 3972 w 10000"/>
                        <a:gd name="connsiteY7" fmla="*/ 6623 h 9521"/>
                        <a:gd name="connsiteX8" fmla="*/ 3044 w 10000"/>
                        <a:gd name="connsiteY8" fmla="*/ 6427 h 9521"/>
                        <a:gd name="connsiteX9" fmla="*/ 2796 w 10000"/>
                        <a:gd name="connsiteY9" fmla="*/ 6533 h 9521"/>
                        <a:gd name="connsiteX10" fmla="*/ 2177 w 10000"/>
                        <a:gd name="connsiteY10" fmla="*/ 6296 h 9521"/>
                        <a:gd name="connsiteX11" fmla="*/ 1903 w 10000"/>
                        <a:gd name="connsiteY11" fmla="*/ 5940 h 9521"/>
                        <a:gd name="connsiteX12" fmla="*/ 1449 w 10000"/>
                        <a:gd name="connsiteY12" fmla="*/ 6037 h 9521"/>
                        <a:gd name="connsiteX13" fmla="*/ 1324 w 10000"/>
                        <a:gd name="connsiteY13" fmla="*/ 6248 h 9521"/>
                        <a:gd name="connsiteX14" fmla="*/ 845 w 10000"/>
                        <a:gd name="connsiteY14" fmla="*/ 6338 h 9521"/>
                        <a:gd name="connsiteX15" fmla="*/ 526 w 10000"/>
                        <a:gd name="connsiteY15" fmla="*/ 6330 h 9521"/>
                        <a:gd name="connsiteX16" fmla="*/ 354 w 10000"/>
                        <a:gd name="connsiteY16" fmla="*/ 6497 h 9521"/>
                        <a:gd name="connsiteX17" fmla="*/ 56 w 10000"/>
                        <a:gd name="connsiteY17" fmla="*/ 6234 h 9521"/>
                        <a:gd name="connsiteX18" fmla="*/ 0 w 10000"/>
                        <a:gd name="connsiteY18" fmla="*/ 6712 h 9521"/>
                        <a:gd name="connsiteX19" fmla="*/ 106 w 10000"/>
                        <a:gd name="connsiteY19" fmla="*/ 6781 h 9521"/>
                        <a:gd name="connsiteX20" fmla="*/ 538 w 10000"/>
                        <a:gd name="connsiteY20" fmla="*/ 6815 h 9521"/>
                        <a:gd name="connsiteX21" fmla="*/ 596 w 10000"/>
                        <a:gd name="connsiteY21" fmla="*/ 6951 h 9521"/>
                        <a:gd name="connsiteX22" fmla="*/ 1075 w 10000"/>
                        <a:gd name="connsiteY22" fmla="*/ 6987 h 9521"/>
                        <a:gd name="connsiteX23" fmla="*/ 1346 w 10000"/>
                        <a:gd name="connsiteY23" fmla="*/ 7124 h 9521"/>
                        <a:gd name="connsiteX24" fmla="*/ 1397 w 10000"/>
                        <a:gd name="connsiteY24" fmla="*/ 7364 h 9521"/>
                        <a:gd name="connsiteX25" fmla="*/ 2260 w 10000"/>
                        <a:gd name="connsiteY25" fmla="*/ 7774 h 9521"/>
                        <a:gd name="connsiteX26" fmla="*/ 2475 w 10000"/>
                        <a:gd name="connsiteY26" fmla="*/ 8186 h 9521"/>
                        <a:gd name="connsiteX27" fmla="*/ 3064 w 10000"/>
                        <a:gd name="connsiteY27" fmla="*/ 8392 h 9521"/>
                        <a:gd name="connsiteX28" fmla="*/ 3280 w 10000"/>
                        <a:gd name="connsiteY28" fmla="*/ 8663 h 9521"/>
                        <a:gd name="connsiteX29" fmla="*/ 3709 w 10000"/>
                        <a:gd name="connsiteY29" fmla="*/ 9008 h 9521"/>
                        <a:gd name="connsiteX30" fmla="*/ 4034 w 10000"/>
                        <a:gd name="connsiteY30" fmla="*/ 9109 h 9521"/>
                        <a:gd name="connsiteX31" fmla="*/ 4248 w 10000"/>
                        <a:gd name="connsiteY31" fmla="*/ 9008 h 9521"/>
                        <a:gd name="connsiteX32" fmla="*/ 4785 w 10000"/>
                        <a:gd name="connsiteY32" fmla="*/ 9042 h 9521"/>
                        <a:gd name="connsiteX33" fmla="*/ 5002 w 10000"/>
                        <a:gd name="connsiteY33" fmla="*/ 8973 h 9521"/>
                        <a:gd name="connsiteX34" fmla="*/ 5967 w 10000"/>
                        <a:gd name="connsiteY34" fmla="*/ 9488 h 9521"/>
                        <a:gd name="connsiteX35" fmla="*/ 6021 w 10000"/>
                        <a:gd name="connsiteY35" fmla="*/ 9488 h 9521"/>
                        <a:gd name="connsiteX36" fmla="*/ 6130 w 10000"/>
                        <a:gd name="connsiteY36" fmla="*/ 9419 h 9521"/>
                        <a:gd name="connsiteX37" fmla="*/ 6823 w 10000"/>
                        <a:gd name="connsiteY37" fmla="*/ 9419 h 9521"/>
                        <a:gd name="connsiteX38" fmla="*/ 6936 w 10000"/>
                        <a:gd name="connsiteY38" fmla="*/ 9521 h 9521"/>
                        <a:gd name="connsiteX39" fmla="*/ 7526 w 10000"/>
                        <a:gd name="connsiteY39" fmla="*/ 9383 h 9521"/>
                        <a:gd name="connsiteX40" fmla="*/ 8062 w 10000"/>
                        <a:gd name="connsiteY40" fmla="*/ 9383 h 9521"/>
                        <a:gd name="connsiteX41" fmla="*/ 8438 w 10000"/>
                        <a:gd name="connsiteY41" fmla="*/ 9247 h 9521"/>
                        <a:gd name="connsiteX42" fmla="*/ 8871 w 10000"/>
                        <a:gd name="connsiteY42" fmla="*/ 8973 h 9521"/>
                        <a:gd name="connsiteX43" fmla="*/ 10000 w 10000"/>
                        <a:gd name="connsiteY43" fmla="*/ 8973 h 9521"/>
                        <a:gd name="connsiteX44" fmla="*/ 10000 w 10000"/>
                        <a:gd name="connsiteY44" fmla="*/ 8597 h 9521"/>
                        <a:gd name="connsiteX45" fmla="*/ 9409 w 10000"/>
                        <a:gd name="connsiteY45" fmla="*/ 8426 h 9521"/>
                        <a:gd name="connsiteX46" fmla="*/ 9083 w 10000"/>
                        <a:gd name="connsiteY46" fmla="*/ 7878 h 9521"/>
                        <a:gd name="connsiteX47" fmla="*/ 8655 w 10000"/>
                        <a:gd name="connsiteY47" fmla="*/ 7672 h 9521"/>
                        <a:gd name="connsiteX48" fmla="*/ 8385 w 10000"/>
                        <a:gd name="connsiteY48" fmla="*/ 7397 h 9521"/>
                        <a:gd name="connsiteX49" fmla="*/ 7687 w 10000"/>
                        <a:gd name="connsiteY49" fmla="*/ 7193 h 9521"/>
                        <a:gd name="connsiteX50" fmla="*/ 7848 w 10000"/>
                        <a:gd name="connsiteY50" fmla="*/ 7124 h 9521"/>
                        <a:gd name="connsiteX51" fmla="*/ 7848 w 10000"/>
                        <a:gd name="connsiteY51" fmla="*/ 6951 h 9521"/>
                        <a:gd name="connsiteX52" fmla="*/ 8334 w 10000"/>
                        <a:gd name="connsiteY52" fmla="*/ 6951 h 9521"/>
                        <a:gd name="connsiteX53" fmla="*/ 8599 w 10000"/>
                        <a:gd name="connsiteY53" fmla="*/ 6815 h 9521"/>
                        <a:gd name="connsiteX54" fmla="*/ 8655 w 10000"/>
                        <a:gd name="connsiteY54" fmla="*/ 5823 h 9521"/>
                        <a:gd name="connsiteX55" fmla="*/ 8707 w 10000"/>
                        <a:gd name="connsiteY55" fmla="*/ 5857 h 9521"/>
                        <a:gd name="connsiteX56" fmla="*/ 8517 w 10000"/>
                        <a:gd name="connsiteY56" fmla="*/ 5919 h 9521"/>
                        <a:gd name="connsiteX57" fmla="*/ 8440 w 10000"/>
                        <a:gd name="connsiteY57" fmla="*/ 6053 h 9521"/>
                        <a:gd name="connsiteX58" fmla="*/ 7961 w 10000"/>
                        <a:gd name="connsiteY58" fmla="*/ 5790 h 9521"/>
                        <a:gd name="connsiteX59" fmla="*/ 7874 w 10000"/>
                        <a:gd name="connsiteY59" fmla="*/ 5077 h 9521"/>
                        <a:gd name="connsiteX60" fmla="*/ 7361 w 10000"/>
                        <a:gd name="connsiteY60" fmla="*/ 5386 h 9521"/>
                        <a:gd name="connsiteX61" fmla="*/ 7369 w 10000"/>
                        <a:gd name="connsiteY61" fmla="*/ 5753 h 9521"/>
                        <a:gd name="connsiteX62" fmla="*/ 6955 w 10000"/>
                        <a:gd name="connsiteY62" fmla="*/ 5974 h 9521"/>
                        <a:gd name="connsiteX63" fmla="*/ 1237 w 10000"/>
                        <a:gd name="connsiteY63" fmla="*/ 0 h 9521"/>
                        <a:gd name="connsiteX64" fmla="*/ 1237 w 10000"/>
                        <a:gd name="connsiteY64" fmla="*/ 617 h 9521"/>
                        <a:gd name="connsiteX65" fmla="*/ 433 w 10000"/>
                        <a:gd name="connsiteY65" fmla="*/ 617 h 9521"/>
                        <a:gd name="connsiteX66" fmla="*/ 433 w 10000"/>
                        <a:gd name="connsiteY66" fmla="*/ 890 h 9521"/>
                        <a:gd name="connsiteX0" fmla="*/ 433 w 10000"/>
                        <a:gd name="connsiteY0" fmla="*/ 287 h 9352"/>
                        <a:gd name="connsiteX1" fmla="*/ 6675 w 10000"/>
                        <a:gd name="connsiteY1" fmla="*/ 5902 h 9352"/>
                        <a:gd name="connsiteX2" fmla="*/ 6234 w 10000"/>
                        <a:gd name="connsiteY2" fmla="*/ 6124 h 9352"/>
                        <a:gd name="connsiteX3" fmla="*/ 5864 w 10000"/>
                        <a:gd name="connsiteY3" fmla="*/ 5892 h 9352"/>
                        <a:gd name="connsiteX4" fmla="*/ 5325 w 10000"/>
                        <a:gd name="connsiteY4" fmla="*/ 5752 h 9352"/>
                        <a:gd name="connsiteX5" fmla="*/ 5058 w 10000"/>
                        <a:gd name="connsiteY5" fmla="*/ 6068 h 9352"/>
                        <a:gd name="connsiteX6" fmla="*/ 4396 w 10000"/>
                        <a:gd name="connsiteY6" fmla="*/ 6310 h 9352"/>
                        <a:gd name="connsiteX7" fmla="*/ 3972 w 10000"/>
                        <a:gd name="connsiteY7" fmla="*/ 6308 h 9352"/>
                        <a:gd name="connsiteX8" fmla="*/ 3044 w 10000"/>
                        <a:gd name="connsiteY8" fmla="*/ 6102 h 9352"/>
                        <a:gd name="connsiteX9" fmla="*/ 2796 w 10000"/>
                        <a:gd name="connsiteY9" fmla="*/ 6214 h 9352"/>
                        <a:gd name="connsiteX10" fmla="*/ 2177 w 10000"/>
                        <a:gd name="connsiteY10" fmla="*/ 5965 h 9352"/>
                        <a:gd name="connsiteX11" fmla="*/ 1903 w 10000"/>
                        <a:gd name="connsiteY11" fmla="*/ 5591 h 9352"/>
                        <a:gd name="connsiteX12" fmla="*/ 1449 w 10000"/>
                        <a:gd name="connsiteY12" fmla="*/ 5693 h 9352"/>
                        <a:gd name="connsiteX13" fmla="*/ 1324 w 10000"/>
                        <a:gd name="connsiteY13" fmla="*/ 5914 h 9352"/>
                        <a:gd name="connsiteX14" fmla="*/ 845 w 10000"/>
                        <a:gd name="connsiteY14" fmla="*/ 6009 h 9352"/>
                        <a:gd name="connsiteX15" fmla="*/ 526 w 10000"/>
                        <a:gd name="connsiteY15" fmla="*/ 6000 h 9352"/>
                        <a:gd name="connsiteX16" fmla="*/ 354 w 10000"/>
                        <a:gd name="connsiteY16" fmla="*/ 6176 h 9352"/>
                        <a:gd name="connsiteX17" fmla="*/ 56 w 10000"/>
                        <a:gd name="connsiteY17" fmla="*/ 5900 h 9352"/>
                        <a:gd name="connsiteX18" fmla="*/ 0 w 10000"/>
                        <a:gd name="connsiteY18" fmla="*/ 6402 h 9352"/>
                        <a:gd name="connsiteX19" fmla="*/ 106 w 10000"/>
                        <a:gd name="connsiteY19" fmla="*/ 6474 h 9352"/>
                        <a:gd name="connsiteX20" fmla="*/ 538 w 10000"/>
                        <a:gd name="connsiteY20" fmla="*/ 6510 h 9352"/>
                        <a:gd name="connsiteX21" fmla="*/ 596 w 10000"/>
                        <a:gd name="connsiteY21" fmla="*/ 6653 h 9352"/>
                        <a:gd name="connsiteX22" fmla="*/ 1075 w 10000"/>
                        <a:gd name="connsiteY22" fmla="*/ 6691 h 9352"/>
                        <a:gd name="connsiteX23" fmla="*/ 1346 w 10000"/>
                        <a:gd name="connsiteY23" fmla="*/ 6834 h 9352"/>
                        <a:gd name="connsiteX24" fmla="*/ 1397 w 10000"/>
                        <a:gd name="connsiteY24" fmla="*/ 7086 h 9352"/>
                        <a:gd name="connsiteX25" fmla="*/ 2260 w 10000"/>
                        <a:gd name="connsiteY25" fmla="*/ 7517 h 9352"/>
                        <a:gd name="connsiteX26" fmla="*/ 2475 w 10000"/>
                        <a:gd name="connsiteY26" fmla="*/ 7950 h 9352"/>
                        <a:gd name="connsiteX27" fmla="*/ 3064 w 10000"/>
                        <a:gd name="connsiteY27" fmla="*/ 8166 h 9352"/>
                        <a:gd name="connsiteX28" fmla="*/ 3280 w 10000"/>
                        <a:gd name="connsiteY28" fmla="*/ 8451 h 9352"/>
                        <a:gd name="connsiteX29" fmla="*/ 3709 w 10000"/>
                        <a:gd name="connsiteY29" fmla="*/ 8813 h 9352"/>
                        <a:gd name="connsiteX30" fmla="*/ 4034 w 10000"/>
                        <a:gd name="connsiteY30" fmla="*/ 8919 h 9352"/>
                        <a:gd name="connsiteX31" fmla="*/ 4248 w 10000"/>
                        <a:gd name="connsiteY31" fmla="*/ 8813 h 9352"/>
                        <a:gd name="connsiteX32" fmla="*/ 4785 w 10000"/>
                        <a:gd name="connsiteY32" fmla="*/ 8849 h 9352"/>
                        <a:gd name="connsiteX33" fmla="*/ 5002 w 10000"/>
                        <a:gd name="connsiteY33" fmla="*/ 8776 h 9352"/>
                        <a:gd name="connsiteX34" fmla="*/ 5967 w 10000"/>
                        <a:gd name="connsiteY34" fmla="*/ 9317 h 9352"/>
                        <a:gd name="connsiteX35" fmla="*/ 6021 w 10000"/>
                        <a:gd name="connsiteY35" fmla="*/ 9317 h 9352"/>
                        <a:gd name="connsiteX36" fmla="*/ 6130 w 10000"/>
                        <a:gd name="connsiteY36" fmla="*/ 9245 h 9352"/>
                        <a:gd name="connsiteX37" fmla="*/ 6823 w 10000"/>
                        <a:gd name="connsiteY37" fmla="*/ 9245 h 9352"/>
                        <a:gd name="connsiteX38" fmla="*/ 6936 w 10000"/>
                        <a:gd name="connsiteY38" fmla="*/ 9352 h 9352"/>
                        <a:gd name="connsiteX39" fmla="*/ 7526 w 10000"/>
                        <a:gd name="connsiteY39" fmla="*/ 9207 h 9352"/>
                        <a:gd name="connsiteX40" fmla="*/ 8062 w 10000"/>
                        <a:gd name="connsiteY40" fmla="*/ 9207 h 9352"/>
                        <a:gd name="connsiteX41" fmla="*/ 8438 w 10000"/>
                        <a:gd name="connsiteY41" fmla="*/ 9064 h 9352"/>
                        <a:gd name="connsiteX42" fmla="*/ 8871 w 10000"/>
                        <a:gd name="connsiteY42" fmla="*/ 8776 h 9352"/>
                        <a:gd name="connsiteX43" fmla="*/ 10000 w 10000"/>
                        <a:gd name="connsiteY43" fmla="*/ 8776 h 9352"/>
                        <a:gd name="connsiteX44" fmla="*/ 10000 w 10000"/>
                        <a:gd name="connsiteY44" fmla="*/ 8382 h 9352"/>
                        <a:gd name="connsiteX45" fmla="*/ 9409 w 10000"/>
                        <a:gd name="connsiteY45" fmla="*/ 8202 h 9352"/>
                        <a:gd name="connsiteX46" fmla="*/ 9083 w 10000"/>
                        <a:gd name="connsiteY46" fmla="*/ 7626 h 9352"/>
                        <a:gd name="connsiteX47" fmla="*/ 8655 w 10000"/>
                        <a:gd name="connsiteY47" fmla="*/ 7410 h 9352"/>
                        <a:gd name="connsiteX48" fmla="*/ 8385 w 10000"/>
                        <a:gd name="connsiteY48" fmla="*/ 7121 h 9352"/>
                        <a:gd name="connsiteX49" fmla="*/ 7687 w 10000"/>
                        <a:gd name="connsiteY49" fmla="*/ 6907 h 9352"/>
                        <a:gd name="connsiteX50" fmla="*/ 7848 w 10000"/>
                        <a:gd name="connsiteY50" fmla="*/ 6834 h 9352"/>
                        <a:gd name="connsiteX51" fmla="*/ 7848 w 10000"/>
                        <a:gd name="connsiteY51" fmla="*/ 6653 h 9352"/>
                        <a:gd name="connsiteX52" fmla="*/ 8334 w 10000"/>
                        <a:gd name="connsiteY52" fmla="*/ 6653 h 9352"/>
                        <a:gd name="connsiteX53" fmla="*/ 8599 w 10000"/>
                        <a:gd name="connsiteY53" fmla="*/ 6510 h 9352"/>
                        <a:gd name="connsiteX54" fmla="*/ 8655 w 10000"/>
                        <a:gd name="connsiteY54" fmla="*/ 5468 h 9352"/>
                        <a:gd name="connsiteX55" fmla="*/ 8707 w 10000"/>
                        <a:gd name="connsiteY55" fmla="*/ 5504 h 9352"/>
                        <a:gd name="connsiteX56" fmla="*/ 8517 w 10000"/>
                        <a:gd name="connsiteY56" fmla="*/ 5569 h 9352"/>
                        <a:gd name="connsiteX57" fmla="*/ 8440 w 10000"/>
                        <a:gd name="connsiteY57" fmla="*/ 5710 h 9352"/>
                        <a:gd name="connsiteX58" fmla="*/ 7961 w 10000"/>
                        <a:gd name="connsiteY58" fmla="*/ 5433 h 9352"/>
                        <a:gd name="connsiteX59" fmla="*/ 7874 w 10000"/>
                        <a:gd name="connsiteY59" fmla="*/ 4684 h 9352"/>
                        <a:gd name="connsiteX60" fmla="*/ 7361 w 10000"/>
                        <a:gd name="connsiteY60" fmla="*/ 5009 h 9352"/>
                        <a:gd name="connsiteX61" fmla="*/ 7369 w 10000"/>
                        <a:gd name="connsiteY61" fmla="*/ 5394 h 9352"/>
                        <a:gd name="connsiteX62" fmla="*/ 6955 w 10000"/>
                        <a:gd name="connsiteY62" fmla="*/ 5627 h 9352"/>
                        <a:gd name="connsiteX63" fmla="*/ 1237 w 10000"/>
                        <a:gd name="connsiteY63" fmla="*/ 0 h 9352"/>
                        <a:gd name="connsiteX64" fmla="*/ 433 w 10000"/>
                        <a:gd name="connsiteY64" fmla="*/ 0 h 9352"/>
                        <a:gd name="connsiteX65" fmla="*/ 433 w 10000"/>
                        <a:gd name="connsiteY65" fmla="*/ 287 h 9352"/>
                        <a:gd name="connsiteX0" fmla="*/ 433 w 10000"/>
                        <a:gd name="connsiteY0" fmla="*/ 307 h 10000"/>
                        <a:gd name="connsiteX1" fmla="*/ 6675 w 10000"/>
                        <a:gd name="connsiteY1" fmla="*/ 6311 h 10000"/>
                        <a:gd name="connsiteX2" fmla="*/ 6234 w 10000"/>
                        <a:gd name="connsiteY2" fmla="*/ 6548 h 10000"/>
                        <a:gd name="connsiteX3" fmla="*/ 5864 w 10000"/>
                        <a:gd name="connsiteY3" fmla="*/ 6300 h 10000"/>
                        <a:gd name="connsiteX4" fmla="*/ 5325 w 10000"/>
                        <a:gd name="connsiteY4" fmla="*/ 6151 h 10000"/>
                        <a:gd name="connsiteX5" fmla="*/ 5058 w 10000"/>
                        <a:gd name="connsiteY5" fmla="*/ 6488 h 10000"/>
                        <a:gd name="connsiteX6" fmla="*/ 4396 w 10000"/>
                        <a:gd name="connsiteY6" fmla="*/ 6747 h 10000"/>
                        <a:gd name="connsiteX7" fmla="*/ 3972 w 10000"/>
                        <a:gd name="connsiteY7" fmla="*/ 6745 h 10000"/>
                        <a:gd name="connsiteX8" fmla="*/ 3044 w 10000"/>
                        <a:gd name="connsiteY8" fmla="*/ 6525 h 10000"/>
                        <a:gd name="connsiteX9" fmla="*/ 2796 w 10000"/>
                        <a:gd name="connsiteY9" fmla="*/ 6645 h 10000"/>
                        <a:gd name="connsiteX10" fmla="*/ 2177 w 10000"/>
                        <a:gd name="connsiteY10" fmla="*/ 6378 h 10000"/>
                        <a:gd name="connsiteX11" fmla="*/ 1903 w 10000"/>
                        <a:gd name="connsiteY11" fmla="*/ 5978 h 10000"/>
                        <a:gd name="connsiteX12" fmla="*/ 1449 w 10000"/>
                        <a:gd name="connsiteY12" fmla="*/ 6087 h 10000"/>
                        <a:gd name="connsiteX13" fmla="*/ 1324 w 10000"/>
                        <a:gd name="connsiteY13" fmla="*/ 6324 h 10000"/>
                        <a:gd name="connsiteX14" fmla="*/ 845 w 10000"/>
                        <a:gd name="connsiteY14" fmla="*/ 6425 h 10000"/>
                        <a:gd name="connsiteX15" fmla="*/ 526 w 10000"/>
                        <a:gd name="connsiteY15" fmla="*/ 6416 h 10000"/>
                        <a:gd name="connsiteX16" fmla="*/ 354 w 10000"/>
                        <a:gd name="connsiteY16" fmla="*/ 6604 h 10000"/>
                        <a:gd name="connsiteX17" fmla="*/ 56 w 10000"/>
                        <a:gd name="connsiteY17" fmla="*/ 6309 h 10000"/>
                        <a:gd name="connsiteX18" fmla="*/ 0 w 10000"/>
                        <a:gd name="connsiteY18" fmla="*/ 6846 h 10000"/>
                        <a:gd name="connsiteX19" fmla="*/ 106 w 10000"/>
                        <a:gd name="connsiteY19" fmla="*/ 6923 h 10000"/>
                        <a:gd name="connsiteX20" fmla="*/ 538 w 10000"/>
                        <a:gd name="connsiteY20" fmla="*/ 6961 h 10000"/>
                        <a:gd name="connsiteX21" fmla="*/ 596 w 10000"/>
                        <a:gd name="connsiteY21" fmla="*/ 7114 h 10000"/>
                        <a:gd name="connsiteX22" fmla="*/ 1075 w 10000"/>
                        <a:gd name="connsiteY22" fmla="*/ 7155 h 10000"/>
                        <a:gd name="connsiteX23" fmla="*/ 1346 w 10000"/>
                        <a:gd name="connsiteY23" fmla="*/ 7308 h 10000"/>
                        <a:gd name="connsiteX24" fmla="*/ 1397 w 10000"/>
                        <a:gd name="connsiteY24" fmla="*/ 7577 h 10000"/>
                        <a:gd name="connsiteX25" fmla="*/ 2260 w 10000"/>
                        <a:gd name="connsiteY25" fmla="*/ 8038 h 10000"/>
                        <a:gd name="connsiteX26" fmla="*/ 2475 w 10000"/>
                        <a:gd name="connsiteY26" fmla="*/ 8501 h 10000"/>
                        <a:gd name="connsiteX27" fmla="*/ 3064 w 10000"/>
                        <a:gd name="connsiteY27" fmla="*/ 8732 h 10000"/>
                        <a:gd name="connsiteX28" fmla="*/ 3280 w 10000"/>
                        <a:gd name="connsiteY28" fmla="*/ 9037 h 10000"/>
                        <a:gd name="connsiteX29" fmla="*/ 3709 w 10000"/>
                        <a:gd name="connsiteY29" fmla="*/ 9424 h 10000"/>
                        <a:gd name="connsiteX30" fmla="*/ 4034 w 10000"/>
                        <a:gd name="connsiteY30" fmla="*/ 9537 h 10000"/>
                        <a:gd name="connsiteX31" fmla="*/ 4248 w 10000"/>
                        <a:gd name="connsiteY31" fmla="*/ 9424 h 10000"/>
                        <a:gd name="connsiteX32" fmla="*/ 4785 w 10000"/>
                        <a:gd name="connsiteY32" fmla="*/ 9462 h 10000"/>
                        <a:gd name="connsiteX33" fmla="*/ 5002 w 10000"/>
                        <a:gd name="connsiteY33" fmla="*/ 9384 h 10000"/>
                        <a:gd name="connsiteX34" fmla="*/ 5967 w 10000"/>
                        <a:gd name="connsiteY34" fmla="*/ 9963 h 10000"/>
                        <a:gd name="connsiteX35" fmla="*/ 6021 w 10000"/>
                        <a:gd name="connsiteY35" fmla="*/ 9963 h 10000"/>
                        <a:gd name="connsiteX36" fmla="*/ 6130 w 10000"/>
                        <a:gd name="connsiteY36" fmla="*/ 9886 h 10000"/>
                        <a:gd name="connsiteX37" fmla="*/ 6823 w 10000"/>
                        <a:gd name="connsiteY37" fmla="*/ 9886 h 10000"/>
                        <a:gd name="connsiteX38" fmla="*/ 6936 w 10000"/>
                        <a:gd name="connsiteY38" fmla="*/ 10000 h 10000"/>
                        <a:gd name="connsiteX39" fmla="*/ 7526 w 10000"/>
                        <a:gd name="connsiteY39" fmla="*/ 9845 h 10000"/>
                        <a:gd name="connsiteX40" fmla="*/ 8062 w 10000"/>
                        <a:gd name="connsiteY40" fmla="*/ 9845 h 10000"/>
                        <a:gd name="connsiteX41" fmla="*/ 8438 w 10000"/>
                        <a:gd name="connsiteY41" fmla="*/ 9692 h 10000"/>
                        <a:gd name="connsiteX42" fmla="*/ 8871 w 10000"/>
                        <a:gd name="connsiteY42" fmla="*/ 9384 h 10000"/>
                        <a:gd name="connsiteX43" fmla="*/ 10000 w 10000"/>
                        <a:gd name="connsiteY43" fmla="*/ 9384 h 10000"/>
                        <a:gd name="connsiteX44" fmla="*/ 10000 w 10000"/>
                        <a:gd name="connsiteY44" fmla="*/ 8963 h 10000"/>
                        <a:gd name="connsiteX45" fmla="*/ 9409 w 10000"/>
                        <a:gd name="connsiteY45" fmla="*/ 8770 h 10000"/>
                        <a:gd name="connsiteX46" fmla="*/ 9083 w 10000"/>
                        <a:gd name="connsiteY46" fmla="*/ 8154 h 10000"/>
                        <a:gd name="connsiteX47" fmla="*/ 8655 w 10000"/>
                        <a:gd name="connsiteY47" fmla="*/ 7923 h 10000"/>
                        <a:gd name="connsiteX48" fmla="*/ 8385 w 10000"/>
                        <a:gd name="connsiteY48" fmla="*/ 7614 h 10000"/>
                        <a:gd name="connsiteX49" fmla="*/ 7687 w 10000"/>
                        <a:gd name="connsiteY49" fmla="*/ 7386 h 10000"/>
                        <a:gd name="connsiteX50" fmla="*/ 7848 w 10000"/>
                        <a:gd name="connsiteY50" fmla="*/ 7308 h 10000"/>
                        <a:gd name="connsiteX51" fmla="*/ 7848 w 10000"/>
                        <a:gd name="connsiteY51" fmla="*/ 7114 h 10000"/>
                        <a:gd name="connsiteX52" fmla="*/ 8334 w 10000"/>
                        <a:gd name="connsiteY52" fmla="*/ 7114 h 10000"/>
                        <a:gd name="connsiteX53" fmla="*/ 8599 w 10000"/>
                        <a:gd name="connsiteY53" fmla="*/ 6961 h 10000"/>
                        <a:gd name="connsiteX54" fmla="*/ 8655 w 10000"/>
                        <a:gd name="connsiteY54" fmla="*/ 5847 h 10000"/>
                        <a:gd name="connsiteX55" fmla="*/ 8707 w 10000"/>
                        <a:gd name="connsiteY55" fmla="*/ 5885 h 10000"/>
                        <a:gd name="connsiteX56" fmla="*/ 8517 w 10000"/>
                        <a:gd name="connsiteY56" fmla="*/ 5955 h 10000"/>
                        <a:gd name="connsiteX57" fmla="*/ 8440 w 10000"/>
                        <a:gd name="connsiteY57" fmla="*/ 6106 h 10000"/>
                        <a:gd name="connsiteX58" fmla="*/ 7961 w 10000"/>
                        <a:gd name="connsiteY58" fmla="*/ 5809 h 10000"/>
                        <a:gd name="connsiteX59" fmla="*/ 7874 w 10000"/>
                        <a:gd name="connsiteY59" fmla="*/ 5009 h 10000"/>
                        <a:gd name="connsiteX60" fmla="*/ 7361 w 10000"/>
                        <a:gd name="connsiteY60" fmla="*/ 5356 h 10000"/>
                        <a:gd name="connsiteX61" fmla="*/ 7369 w 10000"/>
                        <a:gd name="connsiteY61" fmla="*/ 5768 h 10000"/>
                        <a:gd name="connsiteX62" fmla="*/ 6955 w 10000"/>
                        <a:gd name="connsiteY62" fmla="*/ 6017 h 10000"/>
                        <a:gd name="connsiteX63" fmla="*/ 433 w 10000"/>
                        <a:gd name="connsiteY63" fmla="*/ 0 h 10000"/>
                        <a:gd name="connsiteX64" fmla="*/ 433 w 10000"/>
                        <a:gd name="connsiteY64" fmla="*/ 307 h 10000"/>
                        <a:gd name="connsiteX0" fmla="*/ 433 w 10000"/>
                        <a:gd name="connsiteY0" fmla="*/ 49 h 9742"/>
                        <a:gd name="connsiteX1" fmla="*/ 6675 w 10000"/>
                        <a:gd name="connsiteY1" fmla="*/ 6053 h 9742"/>
                        <a:gd name="connsiteX2" fmla="*/ 6234 w 10000"/>
                        <a:gd name="connsiteY2" fmla="*/ 6290 h 9742"/>
                        <a:gd name="connsiteX3" fmla="*/ 5864 w 10000"/>
                        <a:gd name="connsiteY3" fmla="*/ 6042 h 9742"/>
                        <a:gd name="connsiteX4" fmla="*/ 5325 w 10000"/>
                        <a:gd name="connsiteY4" fmla="*/ 5893 h 9742"/>
                        <a:gd name="connsiteX5" fmla="*/ 5058 w 10000"/>
                        <a:gd name="connsiteY5" fmla="*/ 6230 h 9742"/>
                        <a:gd name="connsiteX6" fmla="*/ 4396 w 10000"/>
                        <a:gd name="connsiteY6" fmla="*/ 6489 h 9742"/>
                        <a:gd name="connsiteX7" fmla="*/ 3972 w 10000"/>
                        <a:gd name="connsiteY7" fmla="*/ 6487 h 9742"/>
                        <a:gd name="connsiteX8" fmla="*/ 3044 w 10000"/>
                        <a:gd name="connsiteY8" fmla="*/ 6267 h 9742"/>
                        <a:gd name="connsiteX9" fmla="*/ 2796 w 10000"/>
                        <a:gd name="connsiteY9" fmla="*/ 6387 h 9742"/>
                        <a:gd name="connsiteX10" fmla="*/ 2177 w 10000"/>
                        <a:gd name="connsiteY10" fmla="*/ 6120 h 9742"/>
                        <a:gd name="connsiteX11" fmla="*/ 1903 w 10000"/>
                        <a:gd name="connsiteY11" fmla="*/ 5720 h 9742"/>
                        <a:gd name="connsiteX12" fmla="*/ 1449 w 10000"/>
                        <a:gd name="connsiteY12" fmla="*/ 5829 h 9742"/>
                        <a:gd name="connsiteX13" fmla="*/ 1324 w 10000"/>
                        <a:gd name="connsiteY13" fmla="*/ 6066 h 9742"/>
                        <a:gd name="connsiteX14" fmla="*/ 845 w 10000"/>
                        <a:gd name="connsiteY14" fmla="*/ 6167 h 9742"/>
                        <a:gd name="connsiteX15" fmla="*/ 526 w 10000"/>
                        <a:gd name="connsiteY15" fmla="*/ 6158 h 9742"/>
                        <a:gd name="connsiteX16" fmla="*/ 354 w 10000"/>
                        <a:gd name="connsiteY16" fmla="*/ 6346 h 9742"/>
                        <a:gd name="connsiteX17" fmla="*/ 56 w 10000"/>
                        <a:gd name="connsiteY17" fmla="*/ 6051 h 9742"/>
                        <a:gd name="connsiteX18" fmla="*/ 0 w 10000"/>
                        <a:gd name="connsiteY18" fmla="*/ 6588 h 9742"/>
                        <a:gd name="connsiteX19" fmla="*/ 106 w 10000"/>
                        <a:gd name="connsiteY19" fmla="*/ 6665 h 9742"/>
                        <a:gd name="connsiteX20" fmla="*/ 538 w 10000"/>
                        <a:gd name="connsiteY20" fmla="*/ 6703 h 9742"/>
                        <a:gd name="connsiteX21" fmla="*/ 596 w 10000"/>
                        <a:gd name="connsiteY21" fmla="*/ 6856 h 9742"/>
                        <a:gd name="connsiteX22" fmla="*/ 1075 w 10000"/>
                        <a:gd name="connsiteY22" fmla="*/ 6897 h 9742"/>
                        <a:gd name="connsiteX23" fmla="*/ 1346 w 10000"/>
                        <a:gd name="connsiteY23" fmla="*/ 7050 h 9742"/>
                        <a:gd name="connsiteX24" fmla="*/ 1397 w 10000"/>
                        <a:gd name="connsiteY24" fmla="*/ 7319 h 9742"/>
                        <a:gd name="connsiteX25" fmla="*/ 2260 w 10000"/>
                        <a:gd name="connsiteY25" fmla="*/ 7780 h 9742"/>
                        <a:gd name="connsiteX26" fmla="*/ 2475 w 10000"/>
                        <a:gd name="connsiteY26" fmla="*/ 8243 h 9742"/>
                        <a:gd name="connsiteX27" fmla="*/ 3064 w 10000"/>
                        <a:gd name="connsiteY27" fmla="*/ 8474 h 9742"/>
                        <a:gd name="connsiteX28" fmla="*/ 3280 w 10000"/>
                        <a:gd name="connsiteY28" fmla="*/ 8779 h 9742"/>
                        <a:gd name="connsiteX29" fmla="*/ 3709 w 10000"/>
                        <a:gd name="connsiteY29" fmla="*/ 9166 h 9742"/>
                        <a:gd name="connsiteX30" fmla="*/ 4034 w 10000"/>
                        <a:gd name="connsiteY30" fmla="*/ 9279 h 9742"/>
                        <a:gd name="connsiteX31" fmla="*/ 4248 w 10000"/>
                        <a:gd name="connsiteY31" fmla="*/ 9166 h 9742"/>
                        <a:gd name="connsiteX32" fmla="*/ 4785 w 10000"/>
                        <a:gd name="connsiteY32" fmla="*/ 9204 h 9742"/>
                        <a:gd name="connsiteX33" fmla="*/ 5002 w 10000"/>
                        <a:gd name="connsiteY33" fmla="*/ 9126 h 9742"/>
                        <a:gd name="connsiteX34" fmla="*/ 5967 w 10000"/>
                        <a:gd name="connsiteY34" fmla="*/ 9705 h 9742"/>
                        <a:gd name="connsiteX35" fmla="*/ 6021 w 10000"/>
                        <a:gd name="connsiteY35" fmla="*/ 9705 h 9742"/>
                        <a:gd name="connsiteX36" fmla="*/ 6130 w 10000"/>
                        <a:gd name="connsiteY36" fmla="*/ 9628 h 9742"/>
                        <a:gd name="connsiteX37" fmla="*/ 6823 w 10000"/>
                        <a:gd name="connsiteY37" fmla="*/ 9628 h 9742"/>
                        <a:gd name="connsiteX38" fmla="*/ 6936 w 10000"/>
                        <a:gd name="connsiteY38" fmla="*/ 9742 h 9742"/>
                        <a:gd name="connsiteX39" fmla="*/ 7526 w 10000"/>
                        <a:gd name="connsiteY39" fmla="*/ 9587 h 9742"/>
                        <a:gd name="connsiteX40" fmla="*/ 8062 w 10000"/>
                        <a:gd name="connsiteY40" fmla="*/ 9587 h 9742"/>
                        <a:gd name="connsiteX41" fmla="*/ 8438 w 10000"/>
                        <a:gd name="connsiteY41" fmla="*/ 9434 h 9742"/>
                        <a:gd name="connsiteX42" fmla="*/ 8871 w 10000"/>
                        <a:gd name="connsiteY42" fmla="*/ 9126 h 9742"/>
                        <a:gd name="connsiteX43" fmla="*/ 10000 w 10000"/>
                        <a:gd name="connsiteY43" fmla="*/ 9126 h 9742"/>
                        <a:gd name="connsiteX44" fmla="*/ 10000 w 10000"/>
                        <a:gd name="connsiteY44" fmla="*/ 8705 h 9742"/>
                        <a:gd name="connsiteX45" fmla="*/ 9409 w 10000"/>
                        <a:gd name="connsiteY45" fmla="*/ 8512 h 9742"/>
                        <a:gd name="connsiteX46" fmla="*/ 9083 w 10000"/>
                        <a:gd name="connsiteY46" fmla="*/ 7896 h 9742"/>
                        <a:gd name="connsiteX47" fmla="*/ 8655 w 10000"/>
                        <a:gd name="connsiteY47" fmla="*/ 7665 h 9742"/>
                        <a:gd name="connsiteX48" fmla="*/ 8385 w 10000"/>
                        <a:gd name="connsiteY48" fmla="*/ 7356 h 9742"/>
                        <a:gd name="connsiteX49" fmla="*/ 7687 w 10000"/>
                        <a:gd name="connsiteY49" fmla="*/ 7128 h 9742"/>
                        <a:gd name="connsiteX50" fmla="*/ 7848 w 10000"/>
                        <a:gd name="connsiteY50" fmla="*/ 7050 h 9742"/>
                        <a:gd name="connsiteX51" fmla="*/ 7848 w 10000"/>
                        <a:gd name="connsiteY51" fmla="*/ 6856 h 9742"/>
                        <a:gd name="connsiteX52" fmla="*/ 8334 w 10000"/>
                        <a:gd name="connsiteY52" fmla="*/ 6856 h 9742"/>
                        <a:gd name="connsiteX53" fmla="*/ 8599 w 10000"/>
                        <a:gd name="connsiteY53" fmla="*/ 6703 h 9742"/>
                        <a:gd name="connsiteX54" fmla="*/ 8655 w 10000"/>
                        <a:gd name="connsiteY54" fmla="*/ 5589 h 9742"/>
                        <a:gd name="connsiteX55" fmla="*/ 8707 w 10000"/>
                        <a:gd name="connsiteY55" fmla="*/ 5627 h 9742"/>
                        <a:gd name="connsiteX56" fmla="*/ 8517 w 10000"/>
                        <a:gd name="connsiteY56" fmla="*/ 5697 h 9742"/>
                        <a:gd name="connsiteX57" fmla="*/ 8440 w 10000"/>
                        <a:gd name="connsiteY57" fmla="*/ 5848 h 9742"/>
                        <a:gd name="connsiteX58" fmla="*/ 7961 w 10000"/>
                        <a:gd name="connsiteY58" fmla="*/ 5551 h 9742"/>
                        <a:gd name="connsiteX59" fmla="*/ 7874 w 10000"/>
                        <a:gd name="connsiteY59" fmla="*/ 4751 h 9742"/>
                        <a:gd name="connsiteX60" fmla="*/ 7361 w 10000"/>
                        <a:gd name="connsiteY60" fmla="*/ 5098 h 9742"/>
                        <a:gd name="connsiteX61" fmla="*/ 7369 w 10000"/>
                        <a:gd name="connsiteY61" fmla="*/ 5510 h 9742"/>
                        <a:gd name="connsiteX62" fmla="*/ 6955 w 10000"/>
                        <a:gd name="connsiteY62" fmla="*/ 5759 h 9742"/>
                        <a:gd name="connsiteX63" fmla="*/ 433 w 10000"/>
                        <a:gd name="connsiteY63" fmla="*/ 49 h 9742"/>
                        <a:gd name="connsiteX0" fmla="*/ 6955 w 10000"/>
                        <a:gd name="connsiteY0" fmla="*/ 1035 h 5123"/>
                        <a:gd name="connsiteX1" fmla="*/ 6675 w 10000"/>
                        <a:gd name="connsiteY1" fmla="*/ 1336 h 5123"/>
                        <a:gd name="connsiteX2" fmla="*/ 6234 w 10000"/>
                        <a:gd name="connsiteY2" fmla="*/ 1580 h 5123"/>
                        <a:gd name="connsiteX3" fmla="*/ 5864 w 10000"/>
                        <a:gd name="connsiteY3" fmla="*/ 1325 h 5123"/>
                        <a:gd name="connsiteX4" fmla="*/ 5325 w 10000"/>
                        <a:gd name="connsiteY4" fmla="*/ 1172 h 5123"/>
                        <a:gd name="connsiteX5" fmla="*/ 5058 w 10000"/>
                        <a:gd name="connsiteY5" fmla="*/ 1518 h 5123"/>
                        <a:gd name="connsiteX6" fmla="*/ 4396 w 10000"/>
                        <a:gd name="connsiteY6" fmla="*/ 1784 h 5123"/>
                        <a:gd name="connsiteX7" fmla="*/ 3972 w 10000"/>
                        <a:gd name="connsiteY7" fmla="*/ 1782 h 5123"/>
                        <a:gd name="connsiteX8" fmla="*/ 3044 w 10000"/>
                        <a:gd name="connsiteY8" fmla="*/ 1556 h 5123"/>
                        <a:gd name="connsiteX9" fmla="*/ 2796 w 10000"/>
                        <a:gd name="connsiteY9" fmla="*/ 1679 h 5123"/>
                        <a:gd name="connsiteX10" fmla="*/ 2177 w 10000"/>
                        <a:gd name="connsiteY10" fmla="*/ 1405 h 5123"/>
                        <a:gd name="connsiteX11" fmla="*/ 1903 w 10000"/>
                        <a:gd name="connsiteY11" fmla="*/ 994 h 5123"/>
                        <a:gd name="connsiteX12" fmla="*/ 1449 w 10000"/>
                        <a:gd name="connsiteY12" fmla="*/ 1106 h 5123"/>
                        <a:gd name="connsiteX13" fmla="*/ 1324 w 10000"/>
                        <a:gd name="connsiteY13" fmla="*/ 1350 h 5123"/>
                        <a:gd name="connsiteX14" fmla="*/ 845 w 10000"/>
                        <a:gd name="connsiteY14" fmla="*/ 1453 h 5123"/>
                        <a:gd name="connsiteX15" fmla="*/ 526 w 10000"/>
                        <a:gd name="connsiteY15" fmla="*/ 1444 h 5123"/>
                        <a:gd name="connsiteX16" fmla="*/ 354 w 10000"/>
                        <a:gd name="connsiteY16" fmla="*/ 1637 h 5123"/>
                        <a:gd name="connsiteX17" fmla="*/ 56 w 10000"/>
                        <a:gd name="connsiteY17" fmla="*/ 1334 h 5123"/>
                        <a:gd name="connsiteX18" fmla="*/ 0 w 10000"/>
                        <a:gd name="connsiteY18" fmla="*/ 1885 h 5123"/>
                        <a:gd name="connsiteX19" fmla="*/ 106 w 10000"/>
                        <a:gd name="connsiteY19" fmla="*/ 1965 h 5123"/>
                        <a:gd name="connsiteX20" fmla="*/ 538 w 10000"/>
                        <a:gd name="connsiteY20" fmla="*/ 2004 h 5123"/>
                        <a:gd name="connsiteX21" fmla="*/ 596 w 10000"/>
                        <a:gd name="connsiteY21" fmla="*/ 2161 h 5123"/>
                        <a:gd name="connsiteX22" fmla="*/ 1075 w 10000"/>
                        <a:gd name="connsiteY22" fmla="*/ 2203 h 5123"/>
                        <a:gd name="connsiteX23" fmla="*/ 1346 w 10000"/>
                        <a:gd name="connsiteY23" fmla="*/ 2360 h 5123"/>
                        <a:gd name="connsiteX24" fmla="*/ 1397 w 10000"/>
                        <a:gd name="connsiteY24" fmla="*/ 2636 h 5123"/>
                        <a:gd name="connsiteX25" fmla="*/ 2260 w 10000"/>
                        <a:gd name="connsiteY25" fmla="*/ 3109 h 5123"/>
                        <a:gd name="connsiteX26" fmla="*/ 2475 w 10000"/>
                        <a:gd name="connsiteY26" fmla="*/ 3584 h 5123"/>
                        <a:gd name="connsiteX27" fmla="*/ 3064 w 10000"/>
                        <a:gd name="connsiteY27" fmla="*/ 3821 h 5123"/>
                        <a:gd name="connsiteX28" fmla="*/ 3280 w 10000"/>
                        <a:gd name="connsiteY28" fmla="*/ 4134 h 5123"/>
                        <a:gd name="connsiteX29" fmla="*/ 3709 w 10000"/>
                        <a:gd name="connsiteY29" fmla="*/ 4532 h 5123"/>
                        <a:gd name="connsiteX30" fmla="*/ 4034 w 10000"/>
                        <a:gd name="connsiteY30" fmla="*/ 4648 h 5123"/>
                        <a:gd name="connsiteX31" fmla="*/ 4248 w 10000"/>
                        <a:gd name="connsiteY31" fmla="*/ 4532 h 5123"/>
                        <a:gd name="connsiteX32" fmla="*/ 4785 w 10000"/>
                        <a:gd name="connsiteY32" fmla="*/ 4571 h 5123"/>
                        <a:gd name="connsiteX33" fmla="*/ 5002 w 10000"/>
                        <a:gd name="connsiteY33" fmla="*/ 4491 h 5123"/>
                        <a:gd name="connsiteX34" fmla="*/ 5967 w 10000"/>
                        <a:gd name="connsiteY34" fmla="*/ 5085 h 5123"/>
                        <a:gd name="connsiteX35" fmla="*/ 6021 w 10000"/>
                        <a:gd name="connsiteY35" fmla="*/ 5085 h 5123"/>
                        <a:gd name="connsiteX36" fmla="*/ 6130 w 10000"/>
                        <a:gd name="connsiteY36" fmla="*/ 5006 h 5123"/>
                        <a:gd name="connsiteX37" fmla="*/ 6823 w 10000"/>
                        <a:gd name="connsiteY37" fmla="*/ 5006 h 5123"/>
                        <a:gd name="connsiteX38" fmla="*/ 6936 w 10000"/>
                        <a:gd name="connsiteY38" fmla="*/ 5123 h 5123"/>
                        <a:gd name="connsiteX39" fmla="*/ 7526 w 10000"/>
                        <a:gd name="connsiteY39" fmla="*/ 4964 h 5123"/>
                        <a:gd name="connsiteX40" fmla="*/ 8062 w 10000"/>
                        <a:gd name="connsiteY40" fmla="*/ 4964 h 5123"/>
                        <a:gd name="connsiteX41" fmla="*/ 8438 w 10000"/>
                        <a:gd name="connsiteY41" fmla="*/ 4807 h 5123"/>
                        <a:gd name="connsiteX42" fmla="*/ 8871 w 10000"/>
                        <a:gd name="connsiteY42" fmla="*/ 4491 h 5123"/>
                        <a:gd name="connsiteX43" fmla="*/ 10000 w 10000"/>
                        <a:gd name="connsiteY43" fmla="*/ 4491 h 5123"/>
                        <a:gd name="connsiteX44" fmla="*/ 10000 w 10000"/>
                        <a:gd name="connsiteY44" fmla="*/ 4059 h 5123"/>
                        <a:gd name="connsiteX45" fmla="*/ 9409 w 10000"/>
                        <a:gd name="connsiteY45" fmla="*/ 3860 h 5123"/>
                        <a:gd name="connsiteX46" fmla="*/ 9083 w 10000"/>
                        <a:gd name="connsiteY46" fmla="*/ 3228 h 5123"/>
                        <a:gd name="connsiteX47" fmla="*/ 8655 w 10000"/>
                        <a:gd name="connsiteY47" fmla="*/ 2991 h 5123"/>
                        <a:gd name="connsiteX48" fmla="*/ 8385 w 10000"/>
                        <a:gd name="connsiteY48" fmla="*/ 2674 h 5123"/>
                        <a:gd name="connsiteX49" fmla="*/ 7687 w 10000"/>
                        <a:gd name="connsiteY49" fmla="*/ 2440 h 5123"/>
                        <a:gd name="connsiteX50" fmla="*/ 7848 w 10000"/>
                        <a:gd name="connsiteY50" fmla="*/ 2360 h 5123"/>
                        <a:gd name="connsiteX51" fmla="*/ 7848 w 10000"/>
                        <a:gd name="connsiteY51" fmla="*/ 2161 h 5123"/>
                        <a:gd name="connsiteX52" fmla="*/ 8334 w 10000"/>
                        <a:gd name="connsiteY52" fmla="*/ 2161 h 5123"/>
                        <a:gd name="connsiteX53" fmla="*/ 8599 w 10000"/>
                        <a:gd name="connsiteY53" fmla="*/ 2004 h 5123"/>
                        <a:gd name="connsiteX54" fmla="*/ 8655 w 10000"/>
                        <a:gd name="connsiteY54" fmla="*/ 860 h 5123"/>
                        <a:gd name="connsiteX55" fmla="*/ 8707 w 10000"/>
                        <a:gd name="connsiteY55" fmla="*/ 899 h 5123"/>
                        <a:gd name="connsiteX56" fmla="*/ 8517 w 10000"/>
                        <a:gd name="connsiteY56" fmla="*/ 971 h 5123"/>
                        <a:gd name="connsiteX57" fmla="*/ 8440 w 10000"/>
                        <a:gd name="connsiteY57" fmla="*/ 1126 h 5123"/>
                        <a:gd name="connsiteX58" fmla="*/ 7961 w 10000"/>
                        <a:gd name="connsiteY58" fmla="*/ 821 h 5123"/>
                        <a:gd name="connsiteX59" fmla="*/ 7874 w 10000"/>
                        <a:gd name="connsiteY59" fmla="*/ 0 h 5123"/>
                        <a:gd name="connsiteX60" fmla="*/ 7361 w 10000"/>
                        <a:gd name="connsiteY60" fmla="*/ 356 h 5123"/>
                        <a:gd name="connsiteX61" fmla="*/ 7369 w 10000"/>
                        <a:gd name="connsiteY61" fmla="*/ 779 h 5123"/>
                        <a:gd name="connsiteX62" fmla="*/ 6955 w 10000"/>
                        <a:gd name="connsiteY62" fmla="*/ 1035 h 5123"/>
                        <a:gd name="connsiteX0" fmla="*/ 6955 w 10000"/>
                        <a:gd name="connsiteY0" fmla="*/ 2020 h 10000"/>
                        <a:gd name="connsiteX1" fmla="*/ 6675 w 10000"/>
                        <a:gd name="connsiteY1" fmla="*/ 2608 h 10000"/>
                        <a:gd name="connsiteX2" fmla="*/ 6234 w 10000"/>
                        <a:gd name="connsiteY2" fmla="*/ 3084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96 w 10000"/>
                        <a:gd name="connsiteY9" fmla="*/ 3277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361 w 10000"/>
                        <a:gd name="connsiteY60" fmla="*/ 695 h 10000"/>
                        <a:gd name="connsiteX61" fmla="*/ 7237 w 10000"/>
                        <a:gd name="connsiteY61" fmla="*/ 1489 h 10000"/>
                        <a:gd name="connsiteX62" fmla="*/ 6955 w 10000"/>
                        <a:gd name="connsiteY62" fmla="*/ 2020 h 10000"/>
                        <a:gd name="connsiteX0" fmla="*/ 6955 w 10000"/>
                        <a:gd name="connsiteY0" fmla="*/ 2020 h 10000"/>
                        <a:gd name="connsiteX1" fmla="*/ 6675 w 10000"/>
                        <a:gd name="connsiteY1" fmla="*/ 2608 h 10000"/>
                        <a:gd name="connsiteX2" fmla="*/ 6234 w 10000"/>
                        <a:gd name="connsiteY2" fmla="*/ 3084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361 w 10000"/>
                        <a:gd name="connsiteY60" fmla="*/ 695 h 10000"/>
                        <a:gd name="connsiteX61" fmla="*/ 7237 w 10000"/>
                        <a:gd name="connsiteY61" fmla="*/ 1489 h 10000"/>
                        <a:gd name="connsiteX62" fmla="*/ 6955 w 10000"/>
                        <a:gd name="connsiteY62"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361 w 10000"/>
                        <a:gd name="connsiteY60" fmla="*/ 695 h 10000"/>
                        <a:gd name="connsiteX61" fmla="*/ 7237 w 10000"/>
                        <a:gd name="connsiteY61" fmla="*/ 1489 h 10000"/>
                        <a:gd name="connsiteX62" fmla="*/ 6955 w 10000"/>
                        <a:gd name="connsiteY62"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582 w 10000"/>
                        <a:gd name="connsiteY60" fmla="*/ 379 h 10000"/>
                        <a:gd name="connsiteX61" fmla="*/ 7237 w 10000"/>
                        <a:gd name="connsiteY61" fmla="*/ 1489 h 10000"/>
                        <a:gd name="connsiteX62" fmla="*/ 6955 w 10000"/>
                        <a:gd name="connsiteY62"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582 w 10000"/>
                        <a:gd name="connsiteY60" fmla="*/ 379 h 10000"/>
                        <a:gd name="connsiteX61" fmla="*/ 7329 w 10000"/>
                        <a:gd name="connsiteY61" fmla="*/ 1075 h 10000"/>
                        <a:gd name="connsiteX62" fmla="*/ 7237 w 10000"/>
                        <a:gd name="connsiteY62" fmla="*/ 1489 h 10000"/>
                        <a:gd name="connsiteX63" fmla="*/ 6955 w 10000"/>
                        <a:gd name="connsiteY63"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582 w 10000"/>
                        <a:gd name="connsiteY60" fmla="*/ 379 h 10000"/>
                        <a:gd name="connsiteX61" fmla="*/ 7506 w 10000"/>
                        <a:gd name="connsiteY61" fmla="*/ 885 h 10000"/>
                        <a:gd name="connsiteX62" fmla="*/ 7237 w 10000"/>
                        <a:gd name="connsiteY62" fmla="*/ 1489 h 10000"/>
                        <a:gd name="connsiteX63" fmla="*/ 6955 w 10000"/>
                        <a:gd name="connsiteY63"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972 w 10000"/>
                        <a:gd name="connsiteY7" fmla="*/ 3478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582 w 10000"/>
                        <a:gd name="connsiteY60" fmla="*/ 379 h 10000"/>
                        <a:gd name="connsiteX61" fmla="*/ 7506 w 10000"/>
                        <a:gd name="connsiteY61" fmla="*/ 885 h 10000"/>
                        <a:gd name="connsiteX62" fmla="*/ 7351 w 10000"/>
                        <a:gd name="connsiteY62" fmla="*/ 1297 h 10000"/>
                        <a:gd name="connsiteX63" fmla="*/ 7237 w 10000"/>
                        <a:gd name="connsiteY63" fmla="*/ 1489 h 10000"/>
                        <a:gd name="connsiteX64" fmla="*/ 6955 w 10000"/>
                        <a:gd name="connsiteY64"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840 w 10000"/>
                        <a:gd name="connsiteY7" fmla="*/ 3351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582 w 10000"/>
                        <a:gd name="connsiteY60" fmla="*/ 379 h 10000"/>
                        <a:gd name="connsiteX61" fmla="*/ 7506 w 10000"/>
                        <a:gd name="connsiteY61" fmla="*/ 885 h 10000"/>
                        <a:gd name="connsiteX62" fmla="*/ 7351 w 10000"/>
                        <a:gd name="connsiteY62" fmla="*/ 1297 h 10000"/>
                        <a:gd name="connsiteX63" fmla="*/ 7237 w 10000"/>
                        <a:gd name="connsiteY63" fmla="*/ 1489 h 10000"/>
                        <a:gd name="connsiteX64" fmla="*/ 6955 w 10000"/>
                        <a:gd name="connsiteY64" fmla="*/ 2020 h 10000"/>
                        <a:gd name="connsiteX0" fmla="*/ 6955 w 10000"/>
                        <a:gd name="connsiteY0" fmla="*/ 2020 h 10000"/>
                        <a:gd name="connsiteX1" fmla="*/ 6675 w 10000"/>
                        <a:gd name="connsiteY1" fmla="*/ 2608 h 10000"/>
                        <a:gd name="connsiteX2" fmla="*/ 6212 w 10000"/>
                        <a:gd name="connsiteY2" fmla="*/ 2957 h 10000"/>
                        <a:gd name="connsiteX3" fmla="*/ 5864 w 10000"/>
                        <a:gd name="connsiteY3" fmla="*/ 2586 h 10000"/>
                        <a:gd name="connsiteX4" fmla="*/ 5325 w 10000"/>
                        <a:gd name="connsiteY4" fmla="*/ 2288 h 10000"/>
                        <a:gd name="connsiteX5" fmla="*/ 5058 w 10000"/>
                        <a:gd name="connsiteY5" fmla="*/ 2963 h 10000"/>
                        <a:gd name="connsiteX6" fmla="*/ 4396 w 10000"/>
                        <a:gd name="connsiteY6" fmla="*/ 3482 h 10000"/>
                        <a:gd name="connsiteX7" fmla="*/ 3840 w 10000"/>
                        <a:gd name="connsiteY7" fmla="*/ 3351 h 10000"/>
                        <a:gd name="connsiteX8" fmla="*/ 3044 w 10000"/>
                        <a:gd name="connsiteY8" fmla="*/ 3037 h 10000"/>
                        <a:gd name="connsiteX9" fmla="*/ 2774 w 10000"/>
                        <a:gd name="connsiteY9" fmla="*/ 3182 h 10000"/>
                        <a:gd name="connsiteX10" fmla="*/ 2177 w 10000"/>
                        <a:gd name="connsiteY10" fmla="*/ 2743 h 10000"/>
                        <a:gd name="connsiteX11" fmla="*/ 1903 w 10000"/>
                        <a:gd name="connsiteY11" fmla="*/ 1940 h 10000"/>
                        <a:gd name="connsiteX12" fmla="*/ 1449 w 10000"/>
                        <a:gd name="connsiteY12" fmla="*/ 2159 h 10000"/>
                        <a:gd name="connsiteX13" fmla="*/ 1324 w 10000"/>
                        <a:gd name="connsiteY13" fmla="*/ 2635 h 10000"/>
                        <a:gd name="connsiteX14" fmla="*/ 845 w 10000"/>
                        <a:gd name="connsiteY14" fmla="*/ 2836 h 10000"/>
                        <a:gd name="connsiteX15" fmla="*/ 526 w 10000"/>
                        <a:gd name="connsiteY15" fmla="*/ 2819 h 10000"/>
                        <a:gd name="connsiteX16" fmla="*/ 354 w 10000"/>
                        <a:gd name="connsiteY16" fmla="*/ 3195 h 10000"/>
                        <a:gd name="connsiteX17" fmla="*/ 56 w 10000"/>
                        <a:gd name="connsiteY17" fmla="*/ 2604 h 10000"/>
                        <a:gd name="connsiteX18" fmla="*/ 0 w 10000"/>
                        <a:gd name="connsiteY18" fmla="*/ 3679 h 10000"/>
                        <a:gd name="connsiteX19" fmla="*/ 106 w 10000"/>
                        <a:gd name="connsiteY19" fmla="*/ 3836 h 10000"/>
                        <a:gd name="connsiteX20" fmla="*/ 538 w 10000"/>
                        <a:gd name="connsiteY20" fmla="*/ 3912 h 10000"/>
                        <a:gd name="connsiteX21" fmla="*/ 596 w 10000"/>
                        <a:gd name="connsiteY21" fmla="*/ 4218 h 10000"/>
                        <a:gd name="connsiteX22" fmla="*/ 1075 w 10000"/>
                        <a:gd name="connsiteY22" fmla="*/ 4300 h 10000"/>
                        <a:gd name="connsiteX23" fmla="*/ 1346 w 10000"/>
                        <a:gd name="connsiteY23" fmla="*/ 4607 h 10000"/>
                        <a:gd name="connsiteX24" fmla="*/ 1397 w 10000"/>
                        <a:gd name="connsiteY24" fmla="*/ 5145 h 10000"/>
                        <a:gd name="connsiteX25" fmla="*/ 2260 w 10000"/>
                        <a:gd name="connsiteY25" fmla="*/ 6069 h 10000"/>
                        <a:gd name="connsiteX26" fmla="*/ 2475 w 10000"/>
                        <a:gd name="connsiteY26" fmla="*/ 6996 h 10000"/>
                        <a:gd name="connsiteX27" fmla="*/ 3064 w 10000"/>
                        <a:gd name="connsiteY27" fmla="*/ 7459 h 10000"/>
                        <a:gd name="connsiteX28" fmla="*/ 3280 w 10000"/>
                        <a:gd name="connsiteY28" fmla="*/ 8069 h 10000"/>
                        <a:gd name="connsiteX29" fmla="*/ 3709 w 10000"/>
                        <a:gd name="connsiteY29" fmla="*/ 8846 h 10000"/>
                        <a:gd name="connsiteX30" fmla="*/ 4034 w 10000"/>
                        <a:gd name="connsiteY30" fmla="*/ 9073 h 10000"/>
                        <a:gd name="connsiteX31" fmla="*/ 4248 w 10000"/>
                        <a:gd name="connsiteY31" fmla="*/ 8846 h 10000"/>
                        <a:gd name="connsiteX32" fmla="*/ 4785 w 10000"/>
                        <a:gd name="connsiteY32" fmla="*/ 8923 h 10000"/>
                        <a:gd name="connsiteX33" fmla="*/ 5002 w 10000"/>
                        <a:gd name="connsiteY33" fmla="*/ 8766 h 10000"/>
                        <a:gd name="connsiteX34" fmla="*/ 5967 w 10000"/>
                        <a:gd name="connsiteY34" fmla="*/ 9926 h 10000"/>
                        <a:gd name="connsiteX35" fmla="*/ 6021 w 10000"/>
                        <a:gd name="connsiteY35" fmla="*/ 9926 h 10000"/>
                        <a:gd name="connsiteX36" fmla="*/ 6130 w 10000"/>
                        <a:gd name="connsiteY36" fmla="*/ 9772 h 10000"/>
                        <a:gd name="connsiteX37" fmla="*/ 6823 w 10000"/>
                        <a:gd name="connsiteY37" fmla="*/ 9772 h 10000"/>
                        <a:gd name="connsiteX38" fmla="*/ 6936 w 10000"/>
                        <a:gd name="connsiteY38" fmla="*/ 10000 h 10000"/>
                        <a:gd name="connsiteX39" fmla="*/ 7526 w 10000"/>
                        <a:gd name="connsiteY39" fmla="*/ 9690 h 10000"/>
                        <a:gd name="connsiteX40" fmla="*/ 8062 w 10000"/>
                        <a:gd name="connsiteY40" fmla="*/ 9690 h 10000"/>
                        <a:gd name="connsiteX41" fmla="*/ 8438 w 10000"/>
                        <a:gd name="connsiteY41" fmla="*/ 9383 h 10000"/>
                        <a:gd name="connsiteX42" fmla="*/ 8871 w 10000"/>
                        <a:gd name="connsiteY42" fmla="*/ 8766 h 10000"/>
                        <a:gd name="connsiteX43" fmla="*/ 10000 w 10000"/>
                        <a:gd name="connsiteY43" fmla="*/ 8766 h 10000"/>
                        <a:gd name="connsiteX44" fmla="*/ 10000 w 10000"/>
                        <a:gd name="connsiteY44" fmla="*/ 7923 h 10000"/>
                        <a:gd name="connsiteX45" fmla="*/ 9409 w 10000"/>
                        <a:gd name="connsiteY45" fmla="*/ 7535 h 10000"/>
                        <a:gd name="connsiteX46" fmla="*/ 9083 w 10000"/>
                        <a:gd name="connsiteY46" fmla="*/ 6301 h 10000"/>
                        <a:gd name="connsiteX47" fmla="*/ 8655 w 10000"/>
                        <a:gd name="connsiteY47" fmla="*/ 5838 h 10000"/>
                        <a:gd name="connsiteX48" fmla="*/ 8385 w 10000"/>
                        <a:gd name="connsiteY48" fmla="*/ 5220 h 10000"/>
                        <a:gd name="connsiteX49" fmla="*/ 7687 w 10000"/>
                        <a:gd name="connsiteY49" fmla="*/ 4763 h 10000"/>
                        <a:gd name="connsiteX50" fmla="*/ 7848 w 10000"/>
                        <a:gd name="connsiteY50" fmla="*/ 4607 h 10000"/>
                        <a:gd name="connsiteX51" fmla="*/ 7848 w 10000"/>
                        <a:gd name="connsiteY51" fmla="*/ 4218 h 10000"/>
                        <a:gd name="connsiteX52" fmla="*/ 8334 w 10000"/>
                        <a:gd name="connsiteY52" fmla="*/ 4218 h 10000"/>
                        <a:gd name="connsiteX53" fmla="*/ 8599 w 10000"/>
                        <a:gd name="connsiteY53" fmla="*/ 3912 h 10000"/>
                        <a:gd name="connsiteX54" fmla="*/ 8655 w 10000"/>
                        <a:gd name="connsiteY54" fmla="*/ 1679 h 10000"/>
                        <a:gd name="connsiteX55" fmla="*/ 8707 w 10000"/>
                        <a:gd name="connsiteY55" fmla="*/ 1755 h 10000"/>
                        <a:gd name="connsiteX56" fmla="*/ 8517 w 10000"/>
                        <a:gd name="connsiteY56" fmla="*/ 1895 h 10000"/>
                        <a:gd name="connsiteX57" fmla="*/ 8440 w 10000"/>
                        <a:gd name="connsiteY57" fmla="*/ 2198 h 10000"/>
                        <a:gd name="connsiteX58" fmla="*/ 7961 w 10000"/>
                        <a:gd name="connsiteY58" fmla="*/ 1603 h 10000"/>
                        <a:gd name="connsiteX59" fmla="*/ 7874 w 10000"/>
                        <a:gd name="connsiteY59" fmla="*/ 0 h 10000"/>
                        <a:gd name="connsiteX60" fmla="*/ 7538 w 10000"/>
                        <a:gd name="connsiteY60" fmla="*/ 316 h 10000"/>
                        <a:gd name="connsiteX61" fmla="*/ 7506 w 10000"/>
                        <a:gd name="connsiteY61" fmla="*/ 885 h 10000"/>
                        <a:gd name="connsiteX62" fmla="*/ 7351 w 10000"/>
                        <a:gd name="connsiteY62" fmla="*/ 1297 h 10000"/>
                        <a:gd name="connsiteX63" fmla="*/ 7237 w 10000"/>
                        <a:gd name="connsiteY63" fmla="*/ 1489 h 10000"/>
                        <a:gd name="connsiteX64" fmla="*/ 6955 w 10000"/>
                        <a:gd name="connsiteY64" fmla="*/ 202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000" h="10000">
                          <a:moveTo>
                            <a:pt x="6955" y="2020"/>
                          </a:moveTo>
                          <a:cubicBezTo>
                            <a:pt x="6839" y="2202"/>
                            <a:pt x="6795" y="2430"/>
                            <a:pt x="6675" y="2608"/>
                          </a:cubicBezTo>
                          <a:lnTo>
                            <a:pt x="6212" y="2957"/>
                          </a:lnTo>
                          <a:lnTo>
                            <a:pt x="5864" y="2586"/>
                          </a:lnTo>
                          <a:cubicBezTo>
                            <a:pt x="5808" y="2795"/>
                            <a:pt x="5376" y="2079"/>
                            <a:pt x="5325" y="2288"/>
                          </a:cubicBezTo>
                          <a:lnTo>
                            <a:pt x="5058" y="2963"/>
                          </a:lnTo>
                          <a:lnTo>
                            <a:pt x="4396" y="3482"/>
                          </a:lnTo>
                          <a:cubicBezTo>
                            <a:pt x="4343" y="3535"/>
                            <a:pt x="3891" y="3301"/>
                            <a:pt x="3840" y="3351"/>
                          </a:cubicBezTo>
                          <a:lnTo>
                            <a:pt x="3044" y="3037"/>
                          </a:lnTo>
                          <a:lnTo>
                            <a:pt x="2774" y="3182"/>
                          </a:lnTo>
                          <a:lnTo>
                            <a:pt x="2177" y="2743"/>
                          </a:lnTo>
                          <a:cubicBezTo>
                            <a:pt x="2086" y="2475"/>
                            <a:pt x="1994" y="2208"/>
                            <a:pt x="1903" y="1940"/>
                          </a:cubicBezTo>
                          <a:cubicBezTo>
                            <a:pt x="1921" y="2173"/>
                            <a:pt x="1434" y="1931"/>
                            <a:pt x="1449" y="2159"/>
                          </a:cubicBezTo>
                          <a:cubicBezTo>
                            <a:pt x="1409" y="2317"/>
                            <a:pt x="1369" y="2479"/>
                            <a:pt x="1324" y="2635"/>
                          </a:cubicBezTo>
                          <a:lnTo>
                            <a:pt x="845" y="2836"/>
                          </a:lnTo>
                          <a:lnTo>
                            <a:pt x="526" y="2819"/>
                          </a:lnTo>
                          <a:cubicBezTo>
                            <a:pt x="469" y="2946"/>
                            <a:pt x="411" y="3069"/>
                            <a:pt x="354" y="3195"/>
                          </a:cubicBezTo>
                          <a:cubicBezTo>
                            <a:pt x="373" y="3326"/>
                            <a:pt x="37" y="2475"/>
                            <a:pt x="56" y="2604"/>
                          </a:cubicBezTo>
                          <a:cubicBezTo>
                            <a:pt x="37" y="2961"/>
                            <a:pt x="17" y="3322"/>
                            <a:pt x="0" y="3679"/>
                          </a:cubicBezTo>
                          <a:cubicBezTo>
                            <a:pt x="36" y="3732"/>
                            <a:pt x="73" y="3785"/>
                            <a:pt x="106" y="3836"/>
                          </a:cubicBezTo>
                          <a:lnTo>
                            <a:pt x="538" y="3912"/>
                          </a:lnTo>
                          <a:cubicBezTo>
                            <a:pt x="559" y="4013"/>
                            <a:pt x="575" y="4117"/>
                            <a:pt x="596" y="4218"/>
                          </a:cubicBezTo>
                          <a:lnTo>
                            <a:pt x="1075" y="4300"/>
                          </a:lnTo>
                          <a:lnTo>
                            <a:pt x="1346" y="4607"/>
                          </a:lnTo>
                          <a:cubicBezTo>
                            <a:pt x="1361" y="4784"/>
                            <a:pt x="1382" y="4964"/>
                            <a:pt x="1397" y="5145"/>
                          </a:cubicBezTo>
                          <a:lnTo>
                            <a:pt x="2260" y="6069"/>
                          </a:lnTo>
                          <a:cubicBezTo>
                            <a:pt x="2330" y="6377"/>
                            <a:pt x="2404" y="6686"/>
                            <a:pt x="2475" y="6996"/>
                          </a:cubicBezTo>
                          <a:lnTo>
                            <a:pt x="3064" y="7459"/>
                          </a:lnTo>
                          <a:lnTo>
                            <a:pt x="3280" y="8069"/>
                          </a:lnTo>
                          <a:lnTo>
                            <a:pt x="3709" y="8846"/>
                          </a:lnTo>
                          <a:lnTo>
                            <a:pt x="4034" y="9073"/>
                          </a:lnTo>
                          <a:lnTo>
                            <a:pt x="4248" y="8846"/>
                          </a:lnTo>
                          <a:lnTo>
                            <a:pt x="4785" y="8923"/>
                          </a:lnTo>
                          <a:lnTo>
                            <a:pt x="5002" y="8766"/>
                          </a:lnTo>
                          <a:lnTo>
                            <a:pt x="5967" y="9926"/>
                          </a:lnTo>
                          <a:lnTo>
                            <a:pt x="6021" y="9926"/>
                          </a:lnTo>
                          <a:cubicBezTo>
                            <a:pt x="6057" y="9871"/>
                            <a:pt x="6094" y="9822"/>
                            <a:pt x="6130" y="9772"/>
                          </a:cubicBezTo>
                          <a:lnTo>
                            <a:pt x="6823" y="9772"/>
                          </a:lnTo>
                          <a:cubicBezTo>
                            <a:pt x="6863" y="9848"/>
                            <a:pt x="6901" y="9926"/>
                            <a:pt x="6936" y="10000"/>
                          </a:cubicBezTo>
                          <a:lnTo>
                            <a:pt x="7526" y="9690"/>
                          </a:lnTo>
                          <a:lnTo>
                            <a:pt x="8062" y="9690"/>
                          </a:lnTo>
                          <a:lnTo>
                            <a:pt x="8438" y="9383"/>
                          </a:lnTo>
                          <a:lnTo>
                            <a:pt x="8871" y="8766"/>
                          </a:lnTo>
                          <a:lnTo>
                            <a:pt x="10000" y="8766"/>
                          </a:lnTo>
                          <a:lnTo>
                            <a:pt x="10000" y="7923"/>
                          </a:lnTo>
                          <a:lnTo>
                            <a:pt x="9409" y="7535"/>
                          </a:lnTo>
                          <a:cubicBezTo>
                            <a:pt x="9299" y="7125"/>
                            <a:pt x="9193" y="6711"/>
                            <a:pt x="9083" y="6301"/>
                          </a:cubicBezTo>
                          <a:lnTo>
                            <a:pt x="8655" y="5838"/>
                          </a:lnTo>
                          <a:lnTo>
                            <a:pt x="8385" y="5220"/>
                          </a:lnTo>
                          <a:lnTo>
                            <a:pt x="7687" y="4763"/>
                          </a:lnTo>
                          <a:cubicBezTo>
                            <a:pt x="7740" y="4706"/>
                            <a:pt x="7794" y="4657"/>
                            <a:pt x="7848" y="4607"/>
                          </a:cubicBezTo>
                          <a:lnTo>
                            <a:pt x="7848" y="4218"/>
                          </a:lnTo>
                          <a:lnTo>
                            <a:pt x="8334" y="4218"/>
                          </a:lnTo>
                          <a:lnTo>
                            <a:pt x="8599" y="3912"/>
                          </a:lnTo>
                          <a:cubicBezTo>
                            <a:pt x="8620" y="3168"/>
                            <a:pt x="8640" y="2424"/>
                            <a:pt x="8655" y="1679"/>
                          </a:cubicBezTo>
                          <a:cubicBezTo>
                            <a:pt x="8673" y="1704"/>
                            <a:pt x="8690" y="1726"/>
                            <a:pt x="8707" y="1755"/>
                          </a:cubicBezTo>
                          <a:cubicBezTo>
                            <a:pt x="8758" y="1599"/>
                            <a:pt x="8463" y="2050"/>
                            <a:pt x="8517" y="1895"/>
                          </a:cubicBezTo>
                          <a:cubicBezTo>
                            <a:pt x="8491" y="1993"/>
                            <a:pt x="8467" y="2098"/>
                            <a:pt x="8440" y="2198"/>
                          </a:cubicBezTo>
                          <a:cubicBezTo>
                            <a:pt x="8494" y="1917"/>
                            <a:pt x="7910" y="1888"/>
                            <a:pt x="7961" y="1603"/>
                          </a:cubicBezTo>
                          <a:cubicBezTo>
                            <a:pt x="7933" y="1068"/>
                            <a:pt x="7903" y="533"/>
                            <a:pt x="7874" y="0"/>
                          </a:cubicBezTo>
                          <a:lnTo>
                            <a:pt x="7538" y="316"/>
                          </a:lnTo>
                          <a:cubicBezTo>
                            <a:pt x="7447" y="495"/>
                            <a:pt x="7563" y="700"/>
                            <a:pt x="7506" y="885"/>
                          </a:cubicBezTo>
                          <a:cubicBezTo>
                            <a:pt x="7468" y="1038"/>
                            <a:pt x="7396" y="1196"/>
                            <a:pt x="7351" y="1297"/>
                          </a:cubicBezTo>
                          <a:cubicBezTo>
                            <a:pt x="7306" y="1398"/>
                            <a:pt x="7303" y="1368"/>
                            <a:pt x="7237" y="1489"/>
                          </a:cubicBezTo>
                          <a:lnTo>
                            <a:pt x="6955" y="2020"/>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22" name="Freeform 441"/>
                    <p:cNvSpPr>
                      <a:spLocks/>
                    </p:cNvSpPr>
                    <p:nvPr/>
                  </p:nvSpPr>
                  <p:spPr bwMode="gray">
                    <a:xfrm>
                      <a:off x="4781224" y="2152019"/>
                      <a:ext cx="1155110" cy="1055896"/>
                    </a:xfrm>
                    <a:custGeom>
                      <a:avLst/>
                      <a:gdLst>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7189 w 10000"/>
                        <a:gd name="connsiteY54" fmla="*/ 7588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758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27 w 10000"/>
                        <a:gd name="connsiteY52" fmla="*/ 7749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7814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7229 w 10000"/>
                        <a:gd name="connsiteY50" fmla="*/ 8006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7430 w 10000"/>
                        <a:gd name="connsiteY49" fmla="*/ 8264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7751 w 10000"/>
                        <a:gd name="connsiteY48" fmla="*/ 8457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7992 w 10000"/>
                        <a:gd name="connsiteY47" fmla="*/ 8971 h 10000"/>
                        <a:gd name="connsiteX48" fmla="*/ 6531 w 10000"/>
                        <a:gd name="connsiteY48" fmla="*/ 6265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8434 w 10000"/>
                        <a:gd name="connsiteY46" fmla="*/ 9132 h 10000"/>
                        <a:gd name="connsiteX47" fmla="*/ 6524 w 10000"/>
                        <a:gd name="connsiteY47" fmla="*/ 6396 h 10000"/>
                        <a:gd name="connsiteX48" fmla="*/ 6531 w 10000"/>
                        <a:gd name="connsiteY48" fmla="*/ 6265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8434 w 10000"/>
                        <a:gd name="connsiteY45" fmla="*/ 9486 h 10000"/>
                        <a:gd name="connsiteX46" fmla="*/ 6389 w 10000"/>
                        <a:gd name="connsiteY46" fmla="*/ 6438 h 10000"/>
                        <a:gd name="connsiteX47" fmla="*/ 6524 w 10000"/>
                        <a:gd name="connsiteY47" fmla="*/ 6396 h 10000"/>
                        <a:gd name="connsiteX48" fmla="*/ 6531 w 10000"/>
                        <a:gd name="connsiteY48" fmla="*/ 6265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7590 w 10000"/>
                        <a:gd name="connsiteY44" fmla="*/ 9486 h 10000"/>
                        <a:gd name="connsiteX45" fmla="*/ 6274 w 10000"/>
                        <a:gd name="connsiteY45" fmla="*/ 6541 h 10000"/>
                        <a:gd name="connsiteX46" fmla="*/ 6389 w 10000"/>
                        <a:gd name="connsiteY46" fmla="*/ 6438 h 10000"/>
                        <a:gd name="connsiteX47" fmla="*/ 6524 w 10000"/>
                        <a:gd name="connsiteY47" fmla="*/ 6396 h 10000"/>
                        <a:gd name="connsiteX48" fmla="*/ 6531 w 10000"/>
                        <a:gd name="connsiteY48" fmla="*/ 6265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7269 w 10000"/>
                        <a:gd name="connsiteY43" fmla="*/ 9743 h 10000"/>
                        <a:gd name="connsiteX44" fmla="*/ 6089 w 10000"/>
                        <a:gd name="connsiteY44" fmla="*/ 6766 h 10000"/>
                        <a:gd name="connsiteX45" fmla="*/ 6274 w 10000"/>
                        <a:gd name="connsiteY45" fmla="*/ 6541 h 10000"/>
                        <a:gd name="connsiteX46" fmla="*/ 6389 w 10000"/>
                        <a:gd name="connsiteY46" fmla="*/ 6438 h 10000"/>
                        <a:gd name="connsiteX47" fmla="*/ 6524 w 10000"/>
                        <a:gd name="connsiteY47" fmla="*/ 6396 h 10000"/>
                        <a:gd name="connsiteX48" fmla="*/ 6531 w 10000"/>
                        <a:gd name="connsiteY48" fmla="*/ 6265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6988 w 10000"/>
                        <a:gd name="connsiteY42" fmla="*/ 9871 h 10000"/>
                        <a:gd name="connsiteX43" fmla="*/ 5933 w 10000"/>
                        <a:gd name="connsiteY43" fmla="*/ 6931 h 10000"/>
                        <a:gd name="connsiteX44" fmla="*/ 6089 w 10000"/>
                        <a:gd name="connsiteY44" fmla="*/ 6766 h 10000"/>
                        <a:gd name="connsiteX45" fmla="*/ 6274 w 10000"/>
                        <a:gd name="connsiteY45" fmla="*/ 6541 h 10000"/>
                        <a:gd name="connsiteX46" fmla="*/ 6389 w 10000"/>
                        <a:gd name="connsiteY46" fmla="*/ 6438 h 10000"/>
                        <a:gd name="connsiteX47" fmla="*/ 6524 w 10000"/>
                        <a:gd name="connsiteY47" fmla="*/ 6396 h 10000"/>
                        <a:gd name="connsiteX48" fmla="*/ 6531 w 10000"/>
                        <a:gd name="connsiteY48" fmla="*/ 6265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6586 w 10000"/>
                        <a:gd name="connsiteY41" fmla="*/ 9871 h 10000"/>
                        <a:gd name="connsiteX42" fmla="*/ 5768 w 10000"/>
                        <a:gd name="connsiteY42" fmla="*/ 7006 h 10000"/>
                        <a:gd name="connsiteX43" fmla="*/ 5933 w 10000"/>
                        <a:gd name="connsiteY43" fmla="*/ 6931 h 10000"/>
                        <a:gd name="connsiteX44" fmla="*/ 6089 w 10000"/>
                        <a:gd name="connsiteY44" fmla="*/ 6766 h 10000"/>
                        <a:gd name="connsiteX45" fmla="*/ 6274 w 10000"/>
                        <a:gd name="connsiteY45" fmla="*/ 6541 h 10000"/>
                        <a:gd name="connsiteX46" fmla="*/ 6389 w 10000"/>
                        <a:gd name="connsiteY46" fmla="*/ 6438 h 10000"/>
                        <a:gd name="connsiteX47" fmla="*/ 6524 w 10000"/>
                        <a:gd name="connsiteY47" fmla="*/ 6396 h 10000"/>
                        <a:gd name="connsiteX48" fmla="*/ 6531 w 10000"/>
                        <a:gd name="connsiteY48" fmla="*/ 6265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6064 w 10000"/>
                        <a:gd name="connsiteY39" fmla="*/ 9904 h 10000"/>
                        <a:gd name="connsiteX40" fmla="*/ 6145 w 10000"/>
                        <a:gd name="connsiteY40" fmla="*/ 10000 h 10000"/>
                        <a:gd name="connsiteX41" fmla="*/ 5564 w 10000"/>
                        <a:gd name="connsiteY41" fmla="*/ 7085 h 10000"/>
                        <a:gd name="connsiteX42" fmla="*/ 5768 w 10000"/>
                        <a:gd name="connsiteY42" fmla="*/ 7006 h 10000"/>
                        <a:gd name="connsiteX43" fmla="*/ 5933 w 10000"/>
                        <a:gd name="connsiteY43" fmla="*/ 6931 h 10000"/>
                        <a:gd name="connsiteX44" fmla="*/ 6089 w 10000"/>
                        <a:gd name="connsiteY44" fmla="*/ 6766 h 10000"/>
                        <a:gd name="connsiteX45" fmla="*/ 6274 w 10000"/>
                        <a:gd name="connsiteY45" fmla="*/ 6541 h 10000"/>
                        <a:gd name="connsiteX46" fmla="*/ 6389 w 10000"/>
                        <a:gd name="connsiteY46" fmla="*/ 6438 h 10000"/>
                        <a:gd name="connsiteX47" fmla="*/ 6524 w 10000"/>
                        <a:gd name="connsiteY47" fmla="*/ 6396 h 10000"/>
                        <a:gd name="connsiteX48" fmla="*/ 6531 w 10000"/>
                        <a:gd name="connsiteY48" fmla="*/ 6265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10000"/>
                        <a:gd name="connsiteX1" fmla="*/ 1285 w 10000"/>
                        <a:gd name="connsiteY1" fmla="*/ 2412 h 10000"/>
                        <a:gd name="connsiteX2" fmla="*/ 1285 w 10000"/>
                        <a:gd name="connsiteY2" fmla="*/ 2894 h 10000"/>
                        <a:gd name="connsiteX3" fmla="*/ 1285 w 10000"/>
                        <a:gd name="connsiteY3" fmla="*/ 3376 h 10000"/>
                        <a:gd name="connsiteX4" fmla="*/ 1285 w 10000"/>
                        <a:gd name="connsiteY4" fmla="*/ 3826 h 10000"/>
                        <a:gd name="connsiteX5" fmla="*/ 643 w 10000"/>
                        <a:gd name="connsiteY5" fmla="*/ 3923 h 10000"/>
                        <a:gd name="connsiteX6" fmla="*/ 522 w 10000"/>
                        <a:gd name="connsiteY6" fmla="*/ 4180 h 10000"/>
                        <a:gd name="connsiteX7" fmla="*/ 241 w 10000"/>
                        <a:gd name="connsiteY7" fmla="*/ 4502 h 10000"/>
                        <a:gd name="connsiteX8" fmla="*/ 241 w 10000"/>
                        <a:gd name="connsiteY8" fmla="*/ 4759 h 10000"/>
                        <a:gd name="connsiteX9" fmla="*/ 120 w 10000"/>
                        <a:gd name="connsiteY9" fmla="*/ 4823 h 10000"/>
                        <a:gd name="connsiteX10" fmla="*/ 120 w 10000"/>
                        <a:gd name="connsiteY10" fmla="*/ 5048 h 10000"/>
                        <a:gd name="connsiteX11" fmla="*/ 0 w 10000"/>
                        <a:gd name="connsiteY11" fmla="*/ 5241 h 10000"/>
                        <a:gd name="connsiteX12" fmla="*/ 0 w 10000"/>
                        <a:gd name="connsiteY12" fmla="*/ 5402 h 10000"/>
                        <a:gd name="connsiteX13" fmla="*/ 241 w 10000"/>
                        <a:gd name="connsiteY13" fmla="*/ 5370 h 10000"/>
                        <a:gd name="connsiteX14" fmla="*/ 281 w 10000"/>
                        <a:gd name="connsiteY14" fmla="*/ 5659 h 10000"/>
                        <a:gd name="connsiteX15" fmla="*/ 602 w 10000"/>
                        <a:gd name="connsiteY15" fmla="*/ 6174 h 10000"/>
                        <a:gd name="connsiteX16" fmla="*/ 602 w 10000"/>
                        <a:gd name="connsiteY16" fmla="*/ 6206 h 10000"/>
                        <a:gd name="connsiteX17" fmla="*/ 482 w 10000"/>
                        <a:gd name="connsiteY17" fmla="*/ 6238 h 10000"/>
                        <a:gd name="connsiteX18" fmla="*/ 964 w 10000"/>
                        <a:gd name="connsiteY18" fmla="*/ 6752 h 10000"/>
                        <a:gd name="connsiteX19" fmla="*/ 1004 w 10000"/>
                        <a:gd name="connsiteY19" fmla="*/ 6913 h 10000"/>
                        <a:gd name="connsiteX20" fmla="*/ 964 w 10000"/>
                        <a:gd name="connsiteY20" fmla="*/ 7363 h 10000"/>
                        <a:gd name="connsiteX21" fmla="*/ 1044 w 10000"/>
                        <a:gd name="connsiteY21" fmla="*/ 7428 h 10000"/>
                        <a:gd name="connsiteX22" fmla="*/ 1365 w 10000"/>
                        <a:gd name="connsiteY22" fmla="*/ 7460 h 10000"/>
                        <a:gd name="connsiteX23" fmla="*/ 1406 w 10000"/>
                        <a:gd name="connsiteY23" fmla="*/ 7588 h 10000"/>
                        <a:gd name="connsiteX24" fmla="*/ 1767 w 10000"/>
                        <a:gd name="connsiteY24" fmla="*/ 7621 h 10000"/>
                        <a:gd name="connsiteX25" fmla="*/ 1968 w 10000"/>
                        <a:gd name="connsiteY25" fmla="*/ 7749 h 10000"/>
                        <a:gd name="connsiteX26" fmla="*/ 2008 w 10000"/>
                        <a:gd name="connsiteY26" fmla="*/ 7974 h 10000"/>
                        <a:gd name="connsiteX27" fmla="*/ 2651 w 10000"/>
                        <a:gd name="connsiteY27" fmla="*/ 8360 h 10000"/>
                        <a:gd name="connsiteX28" fmla="*/ 2811 w 10000"/>
                        <a:gd name="connsiteY28" fmla="*/ 8746 h 10000"/>
                        <a:gd name="connsiteX29" fmla="*/ 3253 w 10000"/>
                        <a:gd name="connsiteY29" fmla="*/ 8939 h 10000"/>
                        <a:gd name="connsiteX30" fmla="*/ 3414 w 10000"/>
                        <a:gd name="connsiteY30" fmla="*/ 9196 h 10000"/>
                        <a:gd name="connsiteX31" fmla="*/ 3735 w 10000"/>
                        <a:gd name="connsiteY31" fmla="*/ 9518 h 10000"/>
                        <a:gd name="connsiteX32" fmla="*/ 3976 w 10000"/>
                        <a:gd name="connsiteY32" fmla="*/ 9614 h 10000"/>
                        <a:gd name="connsiteX33" fmla="*/ 4137 w 10000"/>
                        <a:gd name="connsiteY33" fmla="*/ 9518 h 10000"/>
                        <a:gd name="connsiteX34" fmla="*/ 4538 w 10000"/>
                        <a:gd name="connsiteY34" fmla="*/ 9550 h 10000"/>
                        <a:gd name="connsiteX35" fmla="*/ 4699 w 10000"/>
                        <a:gd name="connsiteY35" fmla="*/ 9486 h 10000"/>
                        <a:gd name="connsiteX36" fmla="*/ 5422 w 10000"/>
                        <a:gd name="connsiteY36" fmla="*/ 9968 h 10000"/>
                        <a:gd name="connsiteX37" fmla="*/ 5462 w 10000"/>
                        <a:gd name="connsiteY37" fmla="*/ 9968 h 10000"/>
                        <a:gd name="connsiteX38" fmla="*/ 5542 w 10000"/>
                        <a:gd name="connsiteY38" fmla="*/ 9904 h 10000"/>
                        <a:gd name="connsiteX39" fmla="*/ 5272 w 10000"/>
                        <a:gd name="connsiteY39" fmla="*/ 9204 h 10000"/>
                        <a:gd name="connsiteX40" fmla="*/ 6145 w 10000"/>
                        <a:gd name="connsiteY40" fmla="*/ 10000 h 10000"/>
                        <a:gd name="connsiteX41" fmla="*/ 5564 w 10000"/>
                        <a:gd name="connsiteY41" fmla="*/ 7085 h 10000"/>
                        <a:gd name="connsiteX42" fmla="*/ 5768 w 10000"/>
                        <a:gd name="connsiteY42" fmla="*/ 7006 h 10000"/>
                        <a:gd name="connsiteX43" fmla="*/ 5933 w 10000"/>
                        <a:gd name="connsiteY43" fmla="*/ 6931 h 10000"/>
                        <a:gd name="connsiteX44" fmla="*/ 6089 w 10000"/>
                        <a:gd name="connsiteY44" fmla="*/ 6766 h 10000"/>
                        <a:gd name="connsiteX45" fmla="*/ 6274 w 10000"/>
                        <a:gd name="connsiteY45" fmla="*/ 6541 h 10000"/>
                        <a:gd name="connsiteX46" fmla="*/ 6389 w 10000"/>
                        <a:gd name="connsiteY46" fmla="*/ 6438 h 10000"/>
                        <a:gd name="connsiteX47" fmla="*/ 6524 w 10000"/>
                        <a:gd name="connsiteY47" fmla="*/ 6396 h 10000"/>
                        <a:gd name="connsiteX48" fmla="*/ 6531 w 10000"/>
                        <a:gd name="connsiteY48" fmla="*/ 6265 h 10000"/>
                        <a:gd name="connsiteX49" fmla="*/ 6424 w 10000"/>
                        <a:gd name="connsiteY49" fmla="*/ 5966 h 10000"/>
                        <a:gd name="connsiteX50" fmla="*/ 6602 w 10000"/>
                        <a:gd name="connsiteY50" fmla="*/ 5973 h 10000"/>
                        <a:gd name="connsiteX51" fmla="*/ 6707 w 10000"/>
                        <a:gd name="connsiteY51" fmla="*/ 5860 h 10000"/>
                        <a:gd name="connsiteX52" fmla="*/ 6876 w 10000"/>
                        <a:gd name="connsiteY52" fmla="*/ 5861 h 10000"/>
                        <a:gd name="connsiteX53" fmla="*/ 6827 w 10000"/>
                        <a:gd name="connsiteY53" fmla="*/ 6558 h 10000"/>
                        <a:gd name="connsiteX54" fmla="*/ 6991 w 10000"/>
                        <a:gd name="connsiteY54" fmla="*/ 6637 h 10000"/>
                        <a:gd name="connsiteX55" fmla="*/ 7275 w 10000"/>
                        <a:gd name="connsiteY55" fmla="*/ 6839 h 10000"/>
                        <a:gd name="connsiteX56" fmla="*/ 7430 w 10000"/>
                        <a:gd name="connsiteY56" fmla="*/ 6527 h 10000"/>
                        <a:gd name="connsiteX57" fmla="*/ 7470 w 10000"/>
                        <a:gd name="connsiteY57" fmla="*/ 6559 h 10000"/>
                        <a:gd name="connsiteX58" fmla="*/ 7590 w 10000"/>
                        <a:gd name="connsiteY58" fmla="*/ 6367 h 10000"/>
                        <a:gd name="connsiteX59" fmla="*/ 7831 w 10000"/>
                        <a:gd name="connsiteY59" fmla="*/ 6270 h 10000"/>
                        <a:gd name="connsiteX60" fmla="*/ 7952 w 10000"/>
                        <a:gd name="connsiteY60" fmla="*/ 5916 h 10000"/>
                        <a:gd name="connsiteX61" fmla="*/ 8313 w 10000"/>
                        <a:gd name="connsiteY61" fmla="*/ 5498 h 10000"/>
                        <a:gd name="connsiteX62" fmla="*/ 8594 w 10000"/>
                        <a:gd name="connsiteY62" fmla="*/ 5305 h 10000"/>
                        <a:gd name="connsiteX63" fmla="*/ 8795 w 10000"/>
                        <a:gd name="connsiteY63" fmla="*/ 4759 h 10000"/>
                        <a:gd name="connsiteX64" fmla="*/ 8795 w 10000"/>
                        <a:gd name="connsiteY64" fmla="*/ 4630 h 10000"/>
                        <a:gd name="connsiteX65" fmla="*/ 8755 w 10000"/>
                        <a:gd name="connsiteY65" fmla="*/ 4309 h 10000"/>
                        <a:gd name="connsiteX66" fmla="*/ 9157 w 10000"/>
                        <a:gd name="connsiteY66" fmla="*/ 3151 h 10000"/>
                        <a:gd name="connsiteX67" fmla="*/ 9277 w 10000"/>
                        <a:gd name="connsiteY67" fmla="*/ 3151 h 10000"/>
                        <a:gd name="connsiteX68" fmla="*/ 9438 w 10000"/>
                        <a:gd name="connsiteY68" fmla="*/ 3055 h 10000"/>
                        <a:gd name="connsiteX69" fmla="*/ 9920 w 10000"/>
                        <a:gd name="connsiteY69" fmla="*/ 2894 h 10000"/>
                        <a:gd name="connsiteX70" fmla="*/ 10000 w 10000"/>
                        <a:gd name="connsiteY70" fmla="*/ 2637 h 10000"/>
                        <a:gd name="connsiteX71" fmla="*/ 9960 w 10000"/>
                        <a:gd name="connsiteY71" fmla="*/ 2572 h 10000"/>
                        <a:gd name="connsiteX72" fmla="*/ 9799 w 10000"/>
                        <a:gd name="connsiteY72" fmla="*/ 2572 h 10000"/>
                        <a:gd name="connsiteX73" fmla="*/ 9679 w 10000"/>
                        <a:gd name="connsiteY73" fmla="*/ 2412 h 10000"/>
                        <a:gd name="connsiteX74" fmla="*/ 9438 w 10000"/>
                        <a:gd name="connsiteY74" fmla="*/ 2347 h 10000"/>
                        <a:gd name="connsiteX75" fmla="*/ 9317 w 10000"/>
                        <a:gd name="connsiteY75" fmla="*/ 2219 h 10000"/>
                        <a:gd name="connsiteX76" fmla="*/ 9237 w 10000"/>
                        <a:gd name="connsiteY76" fmla="*/ 1736 h 10000"/>
                        <a:gd name="connsiteX77" fmla="*/ 9237 w 10000"/>
                        <a:gd name="connsiteY77" fmla="*/ 1061 h 10000"/>
                        <a:gd name="connsiteX78" fmla="*/ 9036 w 10000"/>
                        <a:gd name="connsiteY78" fmla="*/ 836 h 10000"/>
                        <a:gd name="connsiteX79" fmla="*/ 8996 w 10000"/>
                        <a:gd name="connsiteY79" fmla="*/ 611 h 10000"/>
                        <a:gd name="connsiteX80" fmla="*/ 8675 w 10000"/>
                        <a:gd name="connsiteY80" fmla="*/ 289 h 10000"/>
                        <a:gd name="connsiteX81" fmla="*/ 8394 w 10000"/>
                        <a:gd name="connsiteY81" fmla="*/ 161 h 10000"/>
                        <a:gd name="connsiteX82" fmla="*/ 8233 w 10000"/>
                        <a:gd name="connsiteY82" fmla="*/ 0 h 10000"/>
                        <a:gd name="connsiteX83" fmla="*/ 7992 w 10000"/>
                        <a:gd name="connsiteY83" fmla="*/ 161 h 10000"/>
                        <a:gd name="connsiteX84" fmla="*/ 7831 w 10000"/>
                        <a:gd name="connsiteY84" fmla="*/ 129 h 10000"/>
                        <a:gd name="connsiteX85" fmla="*/ 7711 w 10000"/>
                        <a:gd name="connsiteY85" fmla="*/ 418 h 10000"/>
                        <a:gd name="connsiteX86" fmla="*/ 7390 w 10000"/>
                        <a:gd name="connsiteY86" fmla="*/ 482 h 10000"/>
                        <a:gd name="connsiteX87" fmla="*/ 7309 w 10000"/>
                        <a:gd name="connsiteY87" fmla="*/ 707 h 10000"/>
                        <a:gd name="connsiteX88" fmla="*/ 7028 w 10000"/>
                        <a:gd name="connsiteY88" fmla="*/ 707 h 10000"/>
                        <a:gd name="connsiteX89" fmla="*/ 6787 w 10000"/>
                        <a:gd name="connsiteY89" fmla="*/ 611 h 10000"/>
                        <a:gd name="connsiteX90" fmla="*/ 6265 w 10000"/>
                        <a:gd name="connsiteY90" fmla="*/ 611 h 10000"/>
                        <a:gd name="connsiteX91" fmla="*/ 5743 w 10000"/>
                        <a:gd name="connsiteY91" fmla="*/ 611 h 10000"/>
                        <a:gd name="connsiteX92" fmla="*/ 5783 w 10000"/>
                        <a:gd name="connsiteY92" fmla="*/ 482 h 10000"/>
                        <a:gd name="connsiteX93" fmla="*/ 5703 w 10000"/>
                        <a:gd name="connsiteY93" fmla="*/ 482 h 10000"/>
                        <a:gd name="connsiteX94" fmla="*/ 5663 w 10000"/>
                        <a:gd name="connsiteY94" fmla="*/ 611 h 10000"/>
                        <a:gd name="connsiteX95" fmla="*/ 5181 w 10000"/>
                        <a:gd name="connsiteY95" fmla="*/ 611 h 10000"/>
                        <a:gd name="connsiteX96" fmla="*/ 4699 w 10000"/>
                        <a:gd name="connsiteY96" fmla="*/ 611 h 10000"/>
                        <a:gd name="connsiteX97" fmla="*/ 4217 w 10000"/>
                        <a:gd name="connsiteY97" fmla="*/ 611 h 10000"/>
                        <a:gd name="connsiteX98" fmla="*/ 3735 w 10000"/>
                        <a:gd name="connsiteY98" fmla="*/ 611 h 10000"/>
                        <a:gd name="connsiteX99" fmla="*/ 3293 w 10000"/>
                        <a:gd name="connsiteY99" fmla="*/ 611 h 10000"/>
                        <a:gd name="connsiteX100" fmla="*/ 2811 w 10000"/>
                        <a:gd name="connsiteY100" fmla="*/ 611 h 10000"/>
                        <a:gd name="connsiteX101" fmla="*/ 2369 w 10000"/>
                        <a:gd name="connsiteY101" fmla="*/ 611 h 10000"/>
                        <a:gd name="connsiteX102" fmla="*/ 1888 w 10000"/>
                        <a:gd name="connsiteY102" fmla="*/ 611 h 10000"/>
                        <a:gd name="connsiteX103" fmla="*/ 1888 w 10000"/>
                        <a:gd name="connsiteY103" fmla="*/ 1061 h 10000"/>
                        <a:gd name="connsiteX104" fmla="*/ 1888 w 10000"/>
                        <a:gd name="connsiteY104" fmla="*/ 1640 h 10000"/>
                        <a:gd name="connsiteX105" fmla="*/ 1285 w 10000"/>
                        <a:gd name="connsiteY105" fmla="*/ 1640 h 10000"/>
                        <a:gd name="connsiteX106" fmla="*/ 1285 w 10000"/>
                        <a:gd name="connsiteY106" fmla="*/ 1897 h 10000"/>
                        <a:gd name="connsiteX0" fmla="*/ 1285 w 10000"/>
                        <a:gd name="connsiteY0" fmla="*/ 1897 h 9968"/>
                        <a:gd name="connsiteX1" fmla="*/ 1285 w 10000"/>
                        <a:gd name="connsiteY1" fmla="*/ 2412 h 9968"/>
                        <a:gd name="connsiteX2" fmla="*/ 1285 w 10000"/>
                        <a:gd name="connsiteY2" fmla="*/ 2894 h 9968"/>
                        <a:gd name="connsiteX3" fmla="*/ 1285 w 10000"/>
                        <a:gd name="connsiteY3" fmla="*/ 3376 h 9968"/>
                        <a:gd name="connsiteX4" fmla="*/ 1285 w 10000"/>
                        <a:gd name="connsiteY4" fmla="*/ 3826 h 9968"/>
                        <a:gd name="connsiteX5" fmla="*/ 643 w 10000"/>
                        <a:gd name="connsiteY5" fmla="*/ 3923 h 9968"/>
                        <a:gd name="connsiteX6" fmla="*/ 522 w 10000"/>
                        <a:gd name="connsiteY6" fmla="*/ 4180 h 9968"/>
                        <a:gd name="connsiteX7" fmla="*/ 241 w 10000"/>
                        <a:gd name="connsiteY7" fmla="*/ 4502 h 9968"/>
                        <a:gd name="connsiteX8" fmla="*/ 241 w 10000"/>
                        <a:gd name="connsiteY8" fmla="*/ 4759 h 9968"/>
                        <a:gd name="connsiteX9" fmla="*/ 120 w 10000"/>
                        <a:gd name="connsiteY9" fmla="*/ 4823 h 9968"/>
                        <a:gd name="connsiteX10" fmla="*/ 120 w 10000"/>
                        <a:gd name="connsiteY10" fmla="*/ 5048 h 9968"/>
                        <a:gd name="connsiteX11" fmla="*/ 0 w 10000"/>
                        <a:gd name="connsiteY11" fmla="*/ 5241 h 9968"/>
                        <a:gd name="connsiteX12" fmla="*/ 0 w 10000"/>
                        <a:gd name="connsiteY12" fmla="*/ 5402 h 9968"/>
                        <a:gd name="connsiteX13" fmla="*/ 241 w 10000"/>
                        <a:gd name="connsiteY13" fmla="*/ 5370 h 9968"/>
                        <a:gd name="connsiteX14" fmla="*/ 281 w 10000"/>
                        <a:gd name="connsiteY14" fmla="*/ 5659 h 9968"/>
                        <a:gd name="connsiteX15" fmla="*/ 602 w 10000"/>
                        <a:gd name="connsiteY15" fmla="*/ 6174 h 9968"/>
                        <a:gd name="connsiteX16" fmla="*/ 602 w 10000"/>
                        <a:gd name="connsiteY16" fmla="*/ 6206 h 9968"/>
                        <a:gd name="connsiteX17" fmla="*/ 482 w 10000"/>
                        <a:gd name="connsiteY17" fmla="*/ 6238 h 9968"/>
                        <a:gd name="connsiteX18" fmla="*/ 964 w 10000"/>
                        <a:gd name="connsiteY18" fmla="*/ 6752 h 9968"/>
                        <a:gd name="connsiteX19" fmla="*/ 1004 w 10000"/>
                        <a:gd name="connsiteY19" fmla="*/ 6913 h 9968"/>
                        <a:gd name="connsiteX20" fmla="*/ 964 w 10000"/>
                        <a:gd name="connsiteY20" fmla="*/ 7363 h 9968"/>
                        <a:gd name="connsiteX21" fmla="*/ 1044 w 10000"/>
                        <a:gd name="connsiteY21" fmla="*/ 7428 h 9968"/>
                        <a:gd name="connsiteX22" fmla="*/ 1365 w 10000"/>
                        <a:gd name="connsiteY22" fmla="*/ 7460 h 9968"/>
                        <a:gd name="connsiteX23" fmla="*/ 1406 w 10000"/>
                        <a:gd name="connsiteY23" fmla="*/ 7588 h 9968"/>
                        <a:gd name="connsiteX24" fmla="*/ 1767 w 10000"/>
                        <a:gd name="connsiteY24" fmla="*/ 7621 h 9968"/>
                        <a:gd name="connsiteX25" fmla="*/ 1968 w 10000"/>
                        <a:gd name="connsiteY25" fmla="*/ 7749 h 9968"/>
                        <a:gd name="connsiteX26" fmla="*/ 2008 w 10000"/>
                        <a:gd name="connsiteY26" fmla="*/ 7974 h 9968"/>
                        <a:gd name="connsiteX27" fmla="*/ 2651 w 10000"/>
                        <a:gd name="connsiteY27" fmla="*/ 8360 h 9968"/>
                        <a:gd name="connsiteX28" fmla="*/ 2811 w 10000"/>
                        <a:gd name="connsiteY28" fmla="*/ 8746 h 9968"/>
                        <a:gd name="connsiteX29" fmla="*/ 3253 w 10000"/>
                        <a:gd name="connsiteY29" fmla="*/ 8939 h 9968"/>
                        <a:gd name="connsiteX30" fmla="*/ 3414 w 10000"/>
                        <a:gd name="connsiteY30" fmla="*/ 9196 h 9968"/>
                        <a:gd name="connsiteX31" fmla="*/ 3735 w 10000"/>
                        <a:gd name="connsiteY31" fmla="*/ 9518 h 9968"/>
                        <a:gd name="connsiteX32" fmla="*/ 3976 w 10000"/>
                        <a:gd name="connsiteY32" fmla="*/ 9614 h 9968"/>
                        <a:gd name="connsiteX33" fmla="*/ 4137 w 10000"/>
                        <a:gd name="connsiteY33" fmla="*/ 9518 h 9968"/>
                        <a:gd name="connsiteX34" fmla="*/ 4538 w 10000"/>
                        <a:gd name="connsiteY34" fmla="*/ 9550 h 9968"/>
                        <a:gd name="connsiteX35" fmla="*/ 4699 w 10000"/>
                        <a:gd name="connsiteY35" fmla="*/ 9486 h 9968"/>
                        <a:gd name="connsiteX36" fmla="*/ 5422 w 10000"/>
                        <a:gd name="connsiteY36" fmla="*/ 9968 h 9968"/>
                        <a:gd name="connsiteX37" fmla="*/ 5462 w 10000"/>
                        <a:gd name="connsiteY37" fmla="*/ 9968 h 9968"/>
                        <a:gd name="connsiteX38" fmla="*/ 5542 w 10000"/>
                        <a:gd name="connsiteY38" fmla="*/ 9904 h 9968"/>
                        <a:gd name="connsiteX39" fmla="*/ 5272 w 10000"/>
                        <a:gd name="connsiteY39" fmla="*/ 9204 h 9968"/>
                        <a:gd name="connsiteX40" fmla="*/ 5337 w 10000"/>
                        <a:gd name="connsiteY40" fmla="*/ 6963 h 9968"/>
                        <a:gd name="connsiteX41" fmla="*/ 5564 w 10000"/>
                        <a:gd name="connsiteY41" fmla="*/ 7085 h 9968"/>
                        <a:gd name="connsiteX42" fmla="*/ 5768 w 10000"/>
                        <a:gd name="connsiteY42" fmla="*/ 7006 h 9968"/>
                        <a:gd name="connsiteX43" fmla="*/ 5933 w 10000"/>
                        <a:gd name="connsiteY43" fmla="*/ 6931 h 9968"/>
                        <a:gd name="connsiteX44" fmla="*/ 6089 w 10000"/>
                        <a:gd name="connsiteY44" fmla="*/ 6766 h 9968"/>
                        <a:gd name="connsiteX45" fmla="*/ 6274 w 10000"/>
                        <a:gd name="connsiteY45" fmla="*/ 6541 h 9968"/>
                        <a:gd name="connsiteX46" fmla="*/ 6389 w 10000"/>
                        <a:gd name="connsiteY46" fmla="*/ 6438 h 9968"/>
                        <a:gd name="connsiteX47" fmla="*/ 6524 w 10000"/>
                        <a:gd name="connsiteY47" fmla="*/ 6396 h 9968"/>
                        <a:gd name="connsiteX48" fmla="*/ 6531 w 10000"/>
                        <a:gd name="connsiteY48" fmla="*/ 6265 h 9968"/>
                        <a:gd name="connsiteX49" fmla="*/ 6424 w 10000"/>
                        <a:gd name="connsiteY49" fmla="*/ 5966 h 9968"/>
                        <a:gd name="connsiteX50" fmla="*/ 6602 w 10000"/>
                        <a:gd name="connsiteY50" fmla="*/ 5973 h 9968"/>
                        <a:gd name="connsiteX51" fmla="*/ 6707 w 10000"/>
                        <a:gd name="connsiteY51" fmla="*/ 5860 h 9968"/>
                        <a:gd name="connsiteX52" fmla="*/ 6876 w 10000"/>
                        <a:gd name="connsiteY52" fmla="*/ 5861 h 9968"/>
                        <a:gd name="connsiteX53" fmla="*/ 6827 w 10000"/>
                        <a:gd name="connsiteY53" fmla="*/ 6558 h 9968"/>
                        <a:gd name="connsiteX54" fmla="*/ 6991 w 10000"/>
                        <a:gd name="connsiteY54" fmla="*/ 6637 h 9968"/>
                        <a:gd name="connsiteX55" fmla="*/ 7275 w 10000"/>
                        <a:gd name="connsiteY55" fmla="*/ 6839 h 9968"/>
                        <a:gd name="connsiteX56" fmla="*/ 7430 w 10000"/>
                        <a:gd name="connsiteY56" fmla="*/ 6527 h 9968"/>
                        <a:gd name="connsiteX57" fmla="*/ 7470 w 10000"/>
                        <a:gd name="connsiteY57" fmla="*/ 6559 h 9968"/>
                        <a:gd name="connsiteX58" fmla="*/ 7590 w 10000"/>
                        <a:gd name="connsiteY58" fmla="*/ 6367 h 9968"/>
                        <a:gd name="connsiteX59" fmla="*/ 7831 w 10000"/>
                        <a:gd name="connsiteY59" fmla="*/ 6270 h 9968"/>
                        <a:gd name="connsiteX60" fmla="*/ 7952 w 10000"/>
                        <a:gd name="connsiteY60" fmla="*/ 5916 h 9968"/>
                        <a:gd name="connsiteX61" fmla="*/ 8313 w 10000"/>
                        <a:gd name="connsiteY61" fmla="*/ 5498 h 9968"/>
                        <a:gd name="connsiteX62" fmla="*/ 8594 w 10000"/>
                        <a:gd name="connsiteY62" fmla="*/ 5305 h 9968"/>
                        <a:gd name="connsiteX63" fmla="*/ 8795 w 10000"/>
                        <a:gd name="connsiteY63" fmla="*/ 4759 h 9968"/>
                        <a:gd name="connsiteX64" fmla="*/ 8795 w 10000"/>
                        <a:gd name="connsiteY64" fmla="*/ 4630 h 9968"/>
                        <a:gd name="connsiteX65" fmla="*/ 8755 w 10000"/>
                        <a:gd name="connsiteY65" fmla="*/ 4309 h 9968"/>
                        <a:gd name="connsiteX66" fmla="*/ 9157 w 10000"/>
                        <a:gd name="connsiteY66" fmla="*/ 3151 h 9968"/>
                        <a:gd name="connsiteX67" fmla="*/ 9277 w 10000"/>
                        <a:gd name="connsiteY67" fmla="*/ 3151 h 9968"/>
                        <a:gd name="connsiteX68" fmla="*/ 9438 w 10000"/>
                        <a:gd name="connsiteY68" fmla="*/ 3055 h 9968"/>
                        <a:gd name="connsiteX69" fmla="*/ 9920 w 10000"/>
                        <a:gd name="connsiteY69" fmla="*/ 2894 h 9968"/>
                        <a:gd name="connsiteX70" fmla="*/ 10000 w 10000"/>
                        <a:gd name="connsiteY70" fmla="*/ 2637 h 9968"/>
                        <a:gd name="connsiteX71" fmla="*/ 9960 w 10000"/>
                        <a:gd name="connsiteY71" fmla="*/ 2572 h 9968"/>
                        <a:gd name="connsiteX72" fmla="*/ 9799 w 10000"/>
                        <a:gd name="connsiteY72" fmla="*/ 2572 h 9968"/>
                        <a:gd name="connsiteX73" fmla="*/ 9679 w 10000"/>
                        <a:gd name="connsiteY73" fmla="*/ 2412 h 9968"/>
                        <a:gd name="connsiteX74" fmla="*/ 9438 w 10000"/>
                        <a:gd name="connsiteY74" fmla="*/ 2347 h 9968"/>
                        <a:gd name="connsiteX75" fmla="*/ 9317 w 10000"/>
                        <a:gd name="connsiteY75" fmla="*/ 2219 h 9968"/>
                        <a:gd name="connsiteX76" fmla="*/ 9237 w 10000"/>
                        <a:gd name="connsiteY76" fmla="*/ 1736 h 9968"/>
                        <a:gd name="connsiteX77" fmla="*/ 9237 w 10000"/>
                        <a:gd name="connsiteY77" fmla="*/ 1061 h 9968"/>
                        <a:gd name="connsiteX78" fmla="*/ 9036 w 10000"/>
                        <a:gd name="connsiteY78" fmla="*/ 836 h 9968"/>
                        <a:gd name="connsiteX79" fmla="*/ 8996 w 10000"/>
                        <a:gd name="connsiteY79" fmla="*/ 611 h 9968"/>
                        <a:gd name="connsiteX80" fmla="*/ 8675 w 10000"/>
                        <a:gd name="connsiteY80" fmla="*/ 289 h 9968"/>
                        <a:gd name="connsiteX81" fmla="*/ 8394 w 10000"/>
                        <a:gd name="connsiteY81" fmla="*/ 161 h 9968"/>
                        <a:gd name="connsiteX82" fmla="*/ 8233 w 10000"/>
                        <a:gd name="connsiteY82" fmla="*/ 0 h 9968"/>
                        <a:gd name="connsiteX83" fmla="*/ 7992 w 10000"/>
                        <a:gd name="connsiteY83" fmla="*/ 161 h 9968"/>
                        <a:gd name="connsiteX84" fmla="*/ 7831 w 10000"/>
                        <a:gd name="connsiteY84" fmla="*/ 129 h 9968"/>
                        <a:gd name="connsiteX85" fmla="*/ 7711 w 10000"/>
                        <a:gd name="connsiteY85" fmla="*/ 418 h 9968"/>
                        <a:gd name="connsiteX86" fmla="*/ 7390 w 10000"/>
                        <a:gd name="connsiteY86" fmla="*/ 482 h 9968"/>
                        <a:gd name="connsiteX87" fmla="*/ 7309 w 10000"/>
                        <a:gd name="connsiteY87" fmla="*/ 707 h 9968"/>
                        <a:gd name="connsiteX88" fmla="*/ 7028 w 10000"/>
                        <a:gd name="connsiteY88" fmla="*/ 707 h 9968"/>
                        <a:gd name="connsiteX89" fmla="*/ 6787 w 10000"/>
                        <a:gd name="connsiteY89" fmla="*/ 611 h 9968"/>
                        <a:gd name="connsiteX90" fmla="*/ 6265 w 10000"/>
                        <a:gd name="connsiteY90" fmla="*/ 611 h 9968"/>
                        <a:gd name="connsiteX91" fmla="*/ 5743 w 10000"/>
                        <a:gd name="connsiteY91" fmla="*/ 611 h 9968"/>
                        <a:gd name="connsiteX92" fmla="*/ 5783 w 10000"/>
                        <a:gd name="connsiteY92" fmla="*/ 482 h 9968"/>
                        <a:gd name="connsiteX93" fmla="*/ 5703 w 10000"/>
                        <a:gd name="connsiteY93" fmla="*/ 482 h 9968"/>
                        <a:gd name="connsiteX94" fmla="*/ 5663 w 10000"/>
                        <a:gd name="connsiteY94" fmla="*/ 611 h 9968"/>
                        <a:gd name="connsiteX95" fmla="*/ 5181 w 10000"/>
                        <a:gd name="connsiteY95" fmla="*/ 611 h 9968"/>
                        <a:gd name="connsiteX96" fmla="*/ 4699 w 10000"/>
                        <a:gd name="connsiteY96" fmla="*/ 611 h 9968"/>
                        <a:gd name="connsiteX97" fmla="*/ 4217 w 10000"/>
                        <a:gd name="connsiteY97" fmla="*/ 611 h 9968"/>
                        <a:gd name="connsiteX98" fmla="*/ 3735 w 10000"/>
                        <a:gd name="connsiteY98" fmla="*/ 611 h 9968"/>
                        <a:gd name="connsiteX99" fmla="*/ 3293 w 10000"/>
                        <a:gd name="connsiteY99" fmla="*/ 611 h 9968"/>
                        <a:gd name="connsiteX100" fmla="*/ 2811 w 10000"/>
                        <a:gd name="connsiteY100" fmla="*/ 611 h 9968"/>
                        <a:gd name="connsiteX101" fmla="*/ 2369 w 10000"/>
                        <a:gd name="connsiteY101" fmla="*/ 611 h 9968"/>
                        <a:gd name="connsiteX102" fmla="*/ 1888 w 10000"/>
                        <a:gd name="connsiteY102" fmla="*/ 611 h 9968"/>
                        <a:gd name="connsiteX103" fmla="*/ 1888 w 10000"/>
                        <a:gd name="connsiteY103" fmla="*/ 1061 h 9968"/>
                        <a:gd name="connsiteX104" fmla="*/ 1888 w 10000"/>
                        <a:gd name="connsiteY104" fmla="*/ 1640 h 9968"/>
                        <a:gd name="connsiteX105" fmla="*/ 1285 w 10000"/>
                        <a:gd name="connsiteY105" fmla="*/ 1640 h 9968"/>
                        <a:gd name="connsiteX106" fmla="*/ 1285 w 10000"/>
                        <a:gd name="connsiteY106" fmla="*/ 1897 h 9968"/>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5462 w 10000"/>
                        <a:gd name="connsiteY37" fmla="*/ 10000 h 10000"/>
                        <a:gd name="connsiteX38" fmla="*/ 5542 w 10000"/>
                        <a:gd name="connsiteY38" fmla="*/ 9936 h 10000"/>
                        <a:gd name="connsiteX39" fmla="*/ 5140 w 10000"/>
                        <a:gd name="connsiteY39" fmla="*/ 6956 h 10000"/>
                        <a:gd name="connsiteX40" fmla="*/ 5337 w 10000"/>
                        <a:gd name="connsiteY40" fmla="*/ 6985 h 10000"/>
                        <a:gd name="connsiteX41" fmla="*/ 5564 w 10000"/>
                        <a:gd name="connsiteY41" fmla="*/ 7108 h 10000"/>
                        <a:gd name="connsiteX42" fmla="*/ 5768 w 10000"/>
                        <a:gd name="connsiteY42" fmla="*/ 7028 h 10000"/>
                        <a:gd name="connsiteX43" fmla="*/ 5933 w 10000"/>
                        <a:gd name="connsiteY43" fmla="*/ 6953 h 10000"/>
                        <a:gd name="connsiteX44" fmla="*/ 6089 w 10000"/>
                        <a:gd name="connsiteY44" fmla="*/ 6788 h 10000"/>
                        <a:gd name="connsiteX45" fmla="*/ 6274 w 10000"/>
                        <a:gd name="connsiteY45" fmla="*/ 6562 h 10000"/>
                        <a:gd name="connsiteX46" fmla="*/ 6389 w 10000"/>
                        <a:gd name="connsiteY46" fmla="*/ 6459 h 10000"/>
                        <a:gd name="connsiteX47" fmla="*/ 6524 w 10000"/>
                        <a:gd name="connsiteY47" fmla="*/ 6417 h 10000"/>
                        <a:gd name="connsiteX48" fmla="*/ 6531 w 10000"/>
                        <a:gd name="connsiteY48" fmla="*/ 6285 h 10000"/>
                        <a:gd name="connsiteX49" fmla="*/ 6424 w 10000"/>
                        <a:gd name="connsiteY49" fmla="*/ 5985 h 10000"/>
                        <a:gd name="connsiteX50" fmla="*/ 6602 w 10000"/>
                        <a:gd name="connsiteY50" fmla="*/ 5992 h 10000"/>
                        <a:gd name="connsiteX51" fmla="*/ 6707 w 10000"/>
                        <a:gd name="connsiteY51" fmla="*/ 5879 h 10000"/>
                        <a:gd name="connsiteX52" fmla="*/ 6876 w 10000"/>
                        <a:gd name="connsiteY52" fmla="*/ 5880 h 10000"/>
                        <a:gd name="connsiteX53" fmla="*/ 6827 w 10000"/>
                        <a:gd name="connsiteY53" fmla="*/ 6579 h 10000"/>
                        <a:gd name="connsiteX54" fmla="*/ 6991 w 10000"/>
                        <a:gd name="connsiteY54" fmla="*/ 6658 h 10000"/>
                        <a:gd name="connsiteX55" fmla="*/ 7275 w 10000"/>
                        <a:gd name="connsiteY55" fmla="*/ 6861 h 10000"/>
                        <a:gd name="connsiteX56" fmla="*/ 7430 w 10000"/>
                        <a:gd name="connsiteY56" fmla="*/ 6548 h 10000"/>
                        <a:gd name="connsiteX57" fmla="*/ 7470 w 10000"/>
                        <a:gd name="connsiteY57" fmla="*/ 6580 h 10000"/>
                        <a:gd name="connsiteX58" fmla="*/ 7590 w 10000"/>
                        <a:gd name="connsiteY58" fmla="*/ 6387 h 10000"/>
                        <a:gd name="connsiteX59" fmla="*/ 7831 w 10000"/>
                        <a:gd name="connsiteY59" fmla="*/ 6290 h 10000"/>
                        <a:gd name="connsiteX60" fmla="*/ 7952 w 10000"/>
                        <a:gd name="connsiteY60" fmla="*/ 5935 h 10000"/>
                        <a:gd name="connsiteX61" fmla="*/ 8313 w 10000"/>
                        <a:gd name="connsiteY61" fmla="*/ 5516 h 10000"/>
                        <a:gd name="connsiteX62" fmla="*/ 8594 w 10000"/>
                        <a:gd name="connsiteY62" fmla="*/ 5322 h 10000"/>
                        <a:gd name="connsiteX63" fmla="*/ 8795 w 10000"/>
                        <a:gd name="connsiteY63" fmla="*/ 4774 h 10000"/>
                        <a:gd name="connsiteX64" fmla="*/ 8795 w 10000"/>
                        <a:gd name="connsiteY64" fmla="*/ 4645 h 10000"/>
                        <a:gd name="connsiteX65" fmla="*/ 8755 w 10000"/>
                        <a:gd name="connsiteY65" fmla="*/ 4323 h 10000"/>
                        <a:gd name="connsiteX66" fmla="*/ 9157 w 10000"/>
                        <a:gd name="connsiteY66" fmla="*/ 3161 h 10000"/>
                        <a:gd name="connsiteX67" fmla="*/ 9277 w 10000"/>
                        <a:gd name="connsiteY67" fmla="*/ 3161 h 10000"/>
                        <a:gd name="connsiteX68" fmla="*/ 9438 w 10000"/>
                        <a:gd name="connsiteY68" fmla="*/ 3065 h 10000"/>
                        <a:gd name="connsiteX69" fmla="*/ 9920 w 10000"/>
                        <a:gd name="connsiteY69" fmla="*/ 2903 h 10000"/>
                        <a:gd name="connsiteX70" fmla="*/ 10000 w 10000"/>
                        <a:gd name="connsiteY70" fmla="*/ 2645 h 10000"/>
                        <a:gd name="connsiteX71" fmla="*/ 9960 w 10000"/>
                        <a:gd name="connsiteY71" fmla="*/ 2580 h 10000"/>
                        <a:gd name="connsiteX72" fmla="*/ 9799 w 10000"/>
                        <a:gd name="connsiteY72" fmla="*/ 2580 h 10000"/>
                        <a:gd name="connsiteX73" fmla="*/ 9679 w 10000"/>
                        <a:gd name="connsiteY73" fmla="*/ 2420 h 10000"/>
                        <a:gd name="connsiteX74" fmla="*/ 9438 w 10000"/>
                        <a:gd name="connsiteY74" fmla="*/ 2355 h 10000"/>
                        <a:gd name="connsiteX75" fmla="*/ 9317 w 10000"/>
                        <a:gd name="connsiteY75" fmla="*/ 2226 h 10000"/>
                        <a:gd name="connsiteX76" fmla="*/ 9237 w 10000"/>
                        <a:gd name="connsiteY76" fmla="*/ 1742 h 10000"/>
                        <a:gd name="connsiteX77" fmla="*/ 9237 w 10000"/>
                        <a:gd name="connsiteY77" fmla="*/ 1064 h 10000"/>
                        <a:gd name="connsiteX78" fmla="*/ 9036 w 10000"/>
                        <a:gd name="connsiteY78" fmla="*/ 839 h 10000"/>
                        <a:gd name="connsiteX79" fmla="*/ 8996 w 10000"/>
                        <a:gd name="connsiteY79" fmla="*/ 613 h 10000"/>
                        <a:gd name="connsiteX80" fmla="*/ 8675 w 10000"/>
                        <a:gd name="connsiteY80" fmla="*/ 290 h 10000"/>
                        <a:gd name="connsiteX81" fmla="*/ 8394 w 10000"/>
                        <a:gd name="connsiteY81" fmla="*/ 162 h 10000"/>
                        <a:gd name="connsiteX82" fmla="*/ 8233 w 10000"/>
                        <a:gd name="connsiteY82" fmla="*/ 0 h 10000"/>
                        <a:gd name="connsiteX83" fmla="*/ 7992 w 10000"/>
                        <a:gd name="connsiteY83" fmla="*/ 162 h 10000"/>
                        <a:gd name="connsiteX84" fmla="*/ 7831 w 10000"/>
                        <a:gd name="connsiteY84" fmla="*/ 129 h 10000"/>
                        <a:gd name="connsiteX85" fmla="*/ 7711 w 10000"/>
                        <a:gd name="connsiteY85" fmla="*/ 419 h 10000"/>
                        <a:gd name="connsiteX86" fmla="*/ 7390 w 10000"/>
                        <a:gd name="connsiteY86" fmla="*/ 484 h 10000"/>
                        <a:gd name="connsiteX87" fmla="*/ 7309 w 10000"/>
                        <a:gd name="connsiteY87" fmla="*/ 709 h 10000"/>
                        <a:gd name="connsiteX88" fmla="*/ 7028 w 10000"/>
                        <a:gd name="connsiteY88" fmla="*/ 709 h 10000"/>
                        <a:gd name="connsiteX89" fmla="*/ 6787 w 10000"/>
                        <a:gd name="connsiteY89" fmla="*/ 613 h 10000"/>
                        <a:gd name="connsiteX90" fmla="*/ 6265 w 10000"/>
                        <a:gd name="connsiteY90" fmla="*/ 613 h 10000"/>
                        <a:gd name="connsiteX91" fmla="*/ 5743 w 10000"/>
                        <a:gd name="connsiteY91" fmla="*/ 613 h 10000"/>
                        <a:gd name="connsiteX92" fmla="*/ 5783 w 10000"/>
                        <a:gd name="connsiteY92" fmla="*/ 484 h 10000"/>
                        <a:gd name="connsiteX93" fmla="*/ 5703 w 10000"/>
                        <a:gd name="connsiteY93" fmla="*/ 484 h 10000"/>
                        <a:gd name="connsiteX94" fmla="*/ 5663 w 10000"/>
                        <a:gd name="connsiteY94" fmla="*/ 613 h 10000"/>
                        <a:gd name="connsiteX95" fmla="*/ 5181 w 10000"/>
                        <a:gd name="connsiteY95" fmla="*/ 613 h 10000"/>
                        <a:gd name="connsiteX96" fmla="*/ 4699 w 10000"/>
                        <a:gd name="connsiteY96" fmla="*/ 613 h 10000"/>
                        <a:gd name="connsiteX97" fmla="*/ 4217 w 10000"/>
                        <a:gd name="connsiteY97" fmla="*/ 613 h 10000"/>
                        <a:gd name="connsiteX98" fmla="*/ 3735 w 10000"/>
                        <a:gd name="connsiteY98" fmla="*/ 613 h 10000"/>
                        <a:gd name="connsiteX99" fmla="*/ 3293 w 10000"/>
                        <a:gd name="connsiteY99" fmla="*/ 613 h 10000"/>
                        <a:gd name="connsiteX100" fmla="*/ 2811 w 10000"/>
                        <a:gd name="connsiteY100" fmla="*/ 613 h 10000"/>
                        <a:gd name="connsiteX101" fmla="*/ 2369 w 10000"/>
                        <a:gd name="connsiteY101" fmla="*/ 613 h 10000"/>
                        <a:gd name="connsiteX102" fmla="*/ 1888 w 10000"/>
                        <a:gd name="connsiteY102" fmla="*/ 613 h 10000"/>
                        <a:gd name="connsiteX103" fmla="*/ 1888 w 10000"/>
                        <a:gd name="connsiteY103" fmla="*/ 1064 h 10000"/>
                        <a:gd name="connsiteX104" fmla="*/ 1888 w 10000"/>
                        <a:gd name="connsiteY104" fmla="*/ 1645 h 10000"/>
                        <a:gd name="connsiteX105" fmla="*/ 1285 w 10000"/>
                        <a:gd name="connsiteY105" fmla="*/ 1645 h 10000"/>
                        <a:gd name="connsiteX106" fmla="*/ 1285 w 10000"/>
                        <a:gd name="connsiteY106" fmla="*/ 1903 h 10000"/>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5462 w 10000"/>
                        <a:gd name="connsiteY37" fmla="*/ 10000 h 10000"/>
                        <a:gd name="connsiteX38" fmla="*/ 5542 w 10000"/>
                        <a:gd name="connsiteY38" fmla="*/ 9936 h 10000"/>
                        <a:gd name="connsiteX39" fmla="*/ 4992 w 10000"/>
                        <a:gd name="connsiteY39" fmla="*/ 6837 h 10000"/>
                        <a:gd name="connsiteX40" fmla="*/ 5337 w 10000"/>
                        <a:gd name="connsiteY40" fmla="*/ 6985 h 10000"/>
                        <a:gd name="connsiteX41" fmla="*/ 5564 w 10000"/>
                        <a:gd name="connsiteY41" fmla="*/ 7108 h 10000"/>
                        <a:gd name="connsiteX42" fmla="*/ 5768 w 10000"/>
                        <a:gd name="connsiteY42" fmla="*/ 7028 h 10000"/>
                        <a:gd name="connsiteX43" fmla="*/ 5933 w 10000"/>
                        <a:gd name="connsiteY43" fmla="*/ 6953 h 10000"/>
                        <a:gd name="connsiteX44" fmla="*/ 6089 w 10000"/>
                        <a:gd name="connsiteY44" fmla="*/ 6788 h 10000"/>
                        <a:gd name="connsiteX45" fmla="*/ 6274 w 10000"/>
                        <a:gd name="connsiteY45" fmla="*/ 6562 h 10000"/>
                        <a:gd name="connsiteX46" fmla="*/ 6389 w 10000"/>
                        <a:gd name="connsiteY46" fmla="*/ 6459 h 10000"/>
                        <a:gd name="connsiteX47" fmla="*/ 6524 w 10000"/>
                        <a:gd name="connsiteY47" fmla="*/ 6417 h 10000"/>
                        <a:gd name="connsiteX48" fmla="*/ 6531 w 10000"/>
                        <a:gd name="connsiteY48" fmla="*/ 6285 h 10000"/>
                        <a:gd name="connsiteX49" fmla="*/ 6424 w 10000"/>
                        <a:gd name="connsiteY49" fmla="*/ 5985 h 10000"/>
                        <a:gd name="connsiteX50" fmla="*/ 6602 w 10000"/>
                        <a:gd name="connsiteY50" fmla="*/ 5992 h 10000"/>
                        <a:gd name="connsiteX51" fmla="*/ 6707 w 10000"/>
                        <a:gd name="connsiteY51" fmla="*/ 5879 h 10000"/>
                        <a:gd name="connsiteX52" fmla="*/ 6876 w 10000"/>
                        <a:gd name="connsiteY52" fmla="*/ 5880 h 10000"/>
                        <a:gd name="connsiteX53" fmla="*/ 6827 w 10000"/>
                        <a:gd name="connsiteY53" fmla="*/ 6579 h 10000"/>
                        <a:gd name="connsiteX54" fmla="*/ 6991 w 10000"/>
                        <a:gd name="connsiteY54" fmla="*/ 6658 h 10000"/>
                        <a:gd name="connsiteX55" fmla="*/ 7275 w 10000"/>
                        <a:gd name="connsiteY55" fmla="*/ 6861 h 10000"/>
                        <a:gd name="connsiteX56" fmla="*/ 7430 w 10000"/>
                        <a:gd name="connsiteY56" fmla="*/ 6548 h 10000"/>
                        <a:gd name="connsiteX57" fmla="*/ 7470 w 10000"/>
                        <a:gd name="connsiteY57" fmla="*/ 6580 h 10000"/>
                        <a:gd name="connsiteX58" fmla="*/ 7590 w 10000"/>
                        <a:gd name="connsiteY58" fmla="*/ 6387 h 10000"/>
                        <a:gd name="connsiteX59" fmla="*/ 7831 w 10000"/>
                        <a:gd name="connsiteY59" fmla="*/ 6290 h 10000"/>
                        <a:gd name="connsiteX60" fmla="*/ 7952 w 10000"/>
                        <a:gd name="connsiteY60" fmla="*/ 5935 h 10000"/>
                        <a:gd name="connsiteX61" fmla="*/ 8313 w 10000"/>
                        <a:gd name="connsiteY61" fmla="*/ 5516 h 10000"/>
                        <a:gd name="connsiteX62" fmla="*/ 8594 w 10000"/>
                        <a:gd name="connsiteY62" fmla="*/ 5322 h 10000"/>
                        <a:gd name="connsiteX63" fmla="*/ 8795 w 10000"/>
                        <a:gd name="connsiteY63" fmla="*/ 4774 h 10000"/>
                        <a:gd name="connsiteX64" fmla="*/ 8795 w 10000"/>
                        <a:gd name="connsiteY64" fmla="*/ 4645 h 10000"/>
                        <a:gd name="connsiteX65" fmla="*/ 8755 w 10000"/>
                        <a:gd name="connsiteY65" fmla="*/ 4323 h 10000"/>
                        <a:gd name="connsiteX66" fmla="*/ 9157 w 10000"/>
                        <a:gd name="connsiteY66" fmla="*/ 3161 h 10000"/>
                        <a:gd name="connsiteX67" fmla="*/ 9277 w 10000"/>
                        <a:gd name="connsiteY67" fmla="*/ 3161 h 10000"/>
                        <a:gd name="connsiteX68" fmla="*/ 9438 w 10000"/>
                        <a:gd name="connsiteY68" fmla="*/ 3065 h 10000"/>
                        <a:gd name="connsiteX69" fmla="*/ 9920 w 10000"/>
                        <a:gd name="connsiteY69" fmla="*/ 2903 h 10000"/>
                        <a:gd name="connsiteX70" fmla="*/ 10000 w 10000"/>
                        <a:gd name="connsiteY70" fmla="*/ 2645 h 10000"/>
                        <a:gd name="connsiteX71" fmla="*/ 9960 w 10000"/>
                        <a:gd name="connsiteY71" fmla="*/ 2580 h 10000"/>
                        <a:gd name="connsiteX72" fmla="*/ 9799 w 10000"/>
                        <a:gd name="connsiteY72" fmla="*/ 2580 h 10000"/>
                        <a:gd name="connsiteX73" fmla="*/ 9679 w 10000"/>
                        <a:gd name="connsiteY73" fmla="*/ 2420 h 10000"/>
                        <a:gd name="connsiteX74" fmla="*/ 9438 w 10000"/>
                        <a:gd name="connsiteY74" fmla="*/ 2355 h 10000"/>
                        <a:gd name="connsiteX75" fmla="*/ 9317 w 10000"/>
                        <a:gd name="connsiteY75" fmla="*/ 2226 h 10000"/>
                        <a:gd name="connsiteX76" fmla="*/ 9237 w 10000"/>
                        <a:gd name="connsiteY76" fmla="*/ 1742 h 10000"/>
                        <a:gd name="connsiteX77" fmla="*/ 9237 w 10000"/>
                        <a:gd name="connsiteY77" fmla="*/ 1064 h 10000"/>
                        <a:gd name="connsiteX78" fmla="*/ 9036 w 10000"/>
                        <a:gd name="connsiteY78" fmla="*/ 839 h 10000"/>
                        <a:gd name="connsiteX79" fmla="*/ 8996 w 10000"/>
                        <a:gd name="connsiteY79" fmla="*/ 613 h 10000"/>
                        <a:gd name="connsiteX80" fmla="*/ 8675 w 10000"/>
                        <a:gd name="connsiteY80" fmla="*/ 290 h 10000"/>
                        <a:gd name="connsiteX81" fmla="*/ 8394 w 10000"/>
                        <a:gd name="connsiteY81" fmla="*/ 162 h 10000"/>
                        <a:gd name="connsiteX82" fmla="*/ 8233 w 10000"/>
                        <a:gd name="connsiteY82" fmla="*/ 0 h 10000"/>
                        <a:gd name="connsiteX83" fmla="*/ 7992 w 10000"/>
                        <a:gd name="connsiteY83" fmla="*/ 162 h 10000"/>
                        <a:gd name="connsiteX84" fmla="*/ 7831 w 10000"/>
                        <a:gd name="connsiteY84" fmla="*/ 129 h 10000"/>
                        <a:gd name="connsiteX85" fmla="*/ 7711 w 10000"/>
                        <a:gd name="connsiteY85" fmla="*/ 419 h 10000"/>
                        <a:gd name="connsiteX86" fmla="*/ 7390 w 10000"/>
                        <a:gd name="connsiteY86" fmla="*/ 484 h 10000"/>
                        <a:gd name="connsiteX87" fmla="*/ 7309 w 10000"/>
                        <a:gd name="connsiteY87" fmla="*/ 709 h 10000"/>
                        <a:gd name="connsiteX88" fmla="*/ 7028 w 10000"/>
                        <a:gd name="connsiteY88" fmla="*/ 709 h 10000"/>
                        <a:gd name="connsiteX89" fmla="*/ 6787 w 10000"/>
                        <a:gd name="connsiteY89" fmla="*/ 613 h 10000"/>
                        <a:gd name="connsiteX90" fmla="*/ 6265 w 10000"/>
                        <a:gd name="connsiteY90" fmla="*/ 613 h 10000"/>
                        <a:gd name="connsiteX91" fmla="*/ 5743 w 10000"/>
                        <a:gd name="connsiteY91" fmla="*/ 613 h 10000"/>
                        <a:gd name="connsiteX92" fmla="*/ 5783 w 10000"/>
                        <a:gd name="connsiteY92" fmla="*/ 484 h 10000"/>
                        <a:gd name="connsiteX93" fmla="*/ 5703 w 10000"/>
                        <a:gd name="connsiteY93" fmla="*/ 484 h 10000"/>
                        <a:gd name="connsiteX94" fmla="*/ 5663 w 10000"/>
                        <a:gd name="connsiteY94" fmla="*/ 613 h 10000"/>
                        <a:gd name="connsiteX95" fmla="*/ 5181 w 10000"/>
                        <a:gd name="connsiteY95" fmla="*/ 613 h 10000"/>
                        <a:gd name="connsiteX96" fmla="*/ 4699 w 10000"/>
                        <a:gd name="connsiteY96" fmla="*/ 613 h 10000"/>
                        <a:gd name="connsiteX97" fmla="*/ 4217 w 10000"/>
                        <a:gd name="connsiteY97" fmla="*/ 613 h 10000"/>
                        <a:gd name="connsiteX98" fmla="*/ 3735 w 10000"/>
                        <a:gd name="connsiteY98" fmla="*/ 613 h 10000"/>
                        <a:gd name="connsiteX99" fmla="*/ 3293 w 10000"/>
                        <a:gd name="connsiteY99" fmla="*/ 613 h 10000"/>
                        <a:gd name="connsiteX100" fmla="*/ 2811 w 10000"/>
                        <a:gd name="connsiteY100" fmla="*/ 613 h 10000"/>
                        <a:gd name="connsiteX101" fmla="*/ 2369 w 10000"/>
                        <a:gd name="connsiteY101" fmla="*/ 613 h 10000"/>
                        <a:gd name="connsiteX102" fmla="*/ 1888 w 10000"/>
                        <a:gd name="connsiteY102" fmla="*/ 613 h 10000"/>
                        <a:gd name="connsiteX103" fmla="*/ 1888 w 10000"/>
                        <a:gd name="connsiteY103" fmla="*/ 1064 h 10000"/>
                        <a:gd name="connsiteX104" fmla="*/ 1888 w 10000"/>
                        <a:gd name="connsiteY104" fmla="*/ 1645 h 10000"/>
                        <a:gd name="connsiteX105" fmla="*/ 1285 w 10000"/>
                        <a:gd name="connsiteY105" fmla="*/ 1645 h 10000"/>
                        <a:gd name="connsiteX106" fmla="*/ 1285 w 10000"/>
                        <a:gd name="connsiteY106" fmla="*/ 1903 h 10000"/>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5462 w 10000"/>
                        <a:gd name="connsiteY37" fmla="*/ 10000 h 10000"/>
                        <a:gd name="connsiteX38" fmla="*/ 5542 w 10000"/>
                        <a:gd name="connsiteY38" fmla="*/ 9936 h 10000"/>
                        <a:gd name="connsiteX39" fmla="*/ 4877 w 10000"/>
                        <a:gd name="connsiteY39" fmla="*/ 7830 h 10000"/>
                        <a:gd name="connsiteX40" fmla="*/ 5337 w 10000"/>
                        <a:gd name="connsiteY40" fmla="*/ 6985 h 10000"/>
                        <a:gd name="connsiteX41" fmla="*/ 5564 w 10000"/>
                        <a:gd name="connsiteY41" fmla="*/ 7108 h 10000"/>
                        <a:gd name="connsiteX42" fmla="*/ 5768 w 10000"/>
                        <a:gd name="connsiteY42" fmla="*/ 7028 h 10000"/>
                        <a:gd name="connsiteX43" fmla="*/ 5933 w 10000"/>
                        <a:gd name="connsiteY43" fmla="*/ 6953 h 10000"/>
                        <a:gd name="connsiteX44" fmla="*/ 6089 w 10000"/>
                        <a:gd name="connsiteY44" fmla="*/ 6788 h 10000"/>
                        <a:gd name="connsiteX45" fmla="*/ 6274 w 10000"/>
                        <a:gd name="connsiteY45" fmla="*/ 6562 h 10000"/>
                        <a:gd name="connsiteX46" fmla="*/ 6389 w 10000"/>
                        <a:gd name="connsiteY46" fmla="*/ 6459 h 10000"/>
                        <a:gd name="connsiteX47" fmla="*/ 6524 w 10000"/>
                        <a:gd name="connsiteY47" fmla="*/ 6417 h 10000"/>
                        <a:gd name="connsiteX48" fmla="*/ 6531 w 10000"/>
                        <a:gd name="connsiteY48" fmla="*/ 6285 h 10000"/>
                        <a:gd name="connsiteX49" fmla="*/ 6424 w 10000"/>
                        <a:gd name="connsiteY49" fmla="*/ 5985 h 10000"/>
                        <a:gd name="connsiteX50" fmla="*/ 6602 w 10000"/>
                        <a:gd name="connsiteY50" fmla="*/ 5992 h 10000"/>
                        <a:gd name="connsiteX51" fmla="*/ 6707 w 10000"/>
                        <a:gd name="connsiteY51" fmla="*/ 5879 h 10000"/>
                        <a:gd name="connsiteX52" fmla="*/ 6876 w 10000"/>
                        <a:gd name="connsiteY52" fmla="*/ 5880 h 10000"/>
                        <a:gd name="connsiteX53" fmla="*/ 6827 w 10000"/>
                        <a:gd name="connsiteY53" fmla="*/ 6579 h 10000"/>
                        <a:gd name="connsiteX54" fmla="*/ 6991 w 10000"/>
                        <a:gd name="connsiteY54" fmla="*/ 6658 h 10000"/>
                        <a:gd name="connsiteX55" fmla="*/ 7275 w 10000"/>
                        <a:gd name="connsiteY55" fmla="*/ 6861 h 10000"/>
                        <a:gd name="connsiteX56" fmla="*/ 7430 w 10000"/>
                        <a:gd name="connsiteY56" fmla="*/ 6548 h 10000"/>
                        <a:gd name="connsiteX57" fmla="*/ 7470 w 10000"/>
                        <a:gd name="connsiteY57" fmla="*/ 6580 h 10000"/>
                        <a:gd name="connsiteX58" fmla="*/ 7590 w 10000"/>
                        <a:gd name="connsiteY58" fmla="*/ 6387 h 10000"/>
                        <a:gd name="connsiteX59" fmla="*/ 7831 w 10000"/>
                        <a:gd name="connsiteY59" fmla="*/ 6290 h 10000"/>
                        <a:gd name="connsiteX60" fmla="*/ 7952 w 10000"/>
                        <a:gd name="connsiteY60" fmla="*/ 5935 h 10000"/>
                        <a:gd name="connsiteX61" fmla="*/ 8313 w 10000"/>
                        <a:gd name="connsiteY61" fmla="*/ 5516 h 10000"/>
                        <a:gd name="connsiteX62" fmla="*/ 8594 w 10000"/>
                        <a:gd name="connsiteY62" fmla="*/ 5322 h 10000"/>
                        <a:gd name="connsiteX63" fmla="*/ 8795 w 10000"/>
                        <a:gd name="connsiteY63" fmla="*/ 4774 h 10000"/>
                        <a:gd name="connsiteX64" fmla="*/ 8795 w 10000"/>
                        <a:gd name="connsiteY64" fmla="*/ 4645 h 10000"/>
                        <a:gd name="connsiteX65" fmla="*/ 8755 w 10000"/>
                        <a:gd name="connsiteY65" fmla="*/ 4323 h 10000"/>
                        <a:gd name="connsiteX66" fmla="*/ 9157 w 10000"/>
                        <a:gd name="connsiteY66" fmla="*/ 3161 h 10000"/>
                        <a:gd name="connsiteX67" fmla="*/ 9277 w 10000"/>
                        <a:gd name="connsiteY67" fmla="*/ 3161 h 10000"/>
                        <a:gd name="connsiteX68" fmla="*/ 9438 w 10000"/>
                        <a:gd name="connsiteY68" fmla="*/ 3065 h 10000"/>
                        <a:gd name="connsiteX69" fmla="*/ 9920 w 10000"/>
                        <a:gd name="connsiteY69" fmla="*/ 2903 h 10000"/>
                        <a:gd name="connsiteX70" fmla="*/ 10000 w 10000"/>
                        <a:gd name="connsiteY70" fmla="*/ 2645 h 10000"/>
                        <a:gd name="connsiteX71" fmla="*/ 9960 w 10000"/>
                        <a:gd name="connsiteY71" fmla="*/ 2580 h 10000"/>
                        <a:gd name="connsiteX72" fmla="*/ 9799 w 10000"/>
                        <a:gd name="connsiteY72" fmla="*/ 2580 h 10000"/>
                        <a:gd name="connsiteX73" fmla="*/ 9679 w 10000"/>
                        <a:gd name="connsiteY73" fmla="*/ 2420 h 10000"/>
                        <a:gd name="connsiteX74" fmla="*/ 9438 w 10000"/>
                        <a:gd name="connsiteY74" fmla="*/ 2355 h 10000"/>
                        <a:gd name="connsiteX75" fmla="*/ 9317 w 10000"/>
                        <a:gd name="connsiteY75" fmla="*/ 2226 h 10000"/>
                        <a:gd name="connsiteX76" fmla="*/ 9237 w 10000"/>
                        <a:gd name="connsiteY76" fmla="*/ 1742 h 10000"/>
                        <a:gd name="connsiteX77" fmla="*/ 9237 w 10000"/>
                        <a:gd name="connsiteY77" fmla="*/ 1064 h 10000"/>
                        <a:gd name="connsiteX78" fmla="*/ 9036 w 10000"/>
                        <a:gd name="connsiteY78" fmla="*/ 839 h 10000"/>
                        <a:gd name="connsiteX79" fmla="*/ 8996 w 10000"/>
                        <a:gd name="connsiteY79" fmla="*/ 613 h 10000"/>
                        <a:gd name="connsiteX80" fmla="*/ 8675 w 10000"/>
                        <a:gd name="connsiteY80" fmla="*/ 290 h 10000"/>
                        <a:gd name="connsiteX81" fmla="*/ 8394 w 10000"/>
                        <a:gd name="connsiteY81" fmla="*/ 162 h 10000"/>
                        <a:gd name="connsiteX82" fmla="*/ 8233 w 10000"/>
                        <a:gd name="connsiteY82" fmla="*/ 0 h 10000"/>
                        <a:gd name="connsiteX83" fmla="*/ 7992 w 10000"/>
                        <a:gd name="connsiteY83" fmla="*/ 162 h 10000"/>
                        <a:gd name="connsiteX84" fmla="*/ 7831 w 10000"/>
                        <a:gd name="connsiteY84" fmla="*/ 129 h 10000"/>
                        <a:gd name="connsiteX85" fmla="*/ 7711 w 10000"/>
                        <a:gd name="connsiteY85" fmla="*/ 419 h 10000"/>
                        <a:gd name="connsiteX86" fmla="*/ 7390 w 10000"/>
                        <a:gd name="connsiteY86" fmla="*/ 484 h 10000"/>
                        <a:gd name="connsiteX87" fmla="*/ 7309 w 10000"/>
                        <a:gd name="connsiteY87" fmla="*/ 709 h 10000"/>
                        <a:gd name="connsiteX88" fmla="*/ 7028 w 10000"/>
                        <a:gd name="connsiteY88" fmla="*/ 709 h 10000"/>
                        <a:gd name="connsiteX89" fmla="*/ 6787 w 10000"/>
                        <a:gd name="connsiteY89" fmla="*/ 613 h 10000"/>
                        <a:gd name="connsiteX90" fmla="*/ 6265 w 10000"/>
                        <a:gd name="connsiteY90" fmla="*/ 613 h 10000"/>
                        <a:gd name="connsiteX91" fmla="*/ 5743 w 10000"/>
                        <a:gd name="connsiteY91" fmla="*/ 613 h 10000"/>
                        <a:gd name="connsiteX92" fmla="*/ 5783 w 10000"/>
                        <a:gd name="connsiteY92" fmla="*/ 484 h 10000"/>
                        <a:gd name="connsiteX93" fmla="*/ 5703 w 10000"/>
                        <a:gd name="connsiteY93" fmla="*/ 484 h 10000"/>
                        <a:gd name="connsiteX94" fmla="*/ 5663 w 10000"/>
                        <a:gd name="connsiteY94" fmla="*/ 613 h 10000"/>
                        <a:gd name="connsiteX95" fmla="*/ 5181 w 10000"/>
                        <a:gd name="connsiteY95" fmla="*/ 613 h 10000"/>
                        <a:gd name="connsiteX96" fmla="*/ 4699 w 10000"/>
                        <a:gd name="connsiteY96" fmla="*/ 613 h 10000"/>
                        <a:gd name="connsiteX97" fmla="*/ 4217 w 10000"/>
                        <a:gd name="connsiteY97" fmla="*/ 613 h 10000"/>
                        <a:gd name="connsiteX98" fmla="*/ 3735 w 10000"/>
                        <a:gd name="connsiteY98" fmla="*/ 613 h 10000"/>
                        <a:gd name="connsiteX99" fmla="*/ 3293 w 10000"/>
                        <a:gd name="connsiteY99" fmla="*/ 613 h 10000"/>
                        <a:gd name="connsiteX100" fmla="*/ 2811 w 10000"/>
                        <a:gd name="connsiteY100" fmla="*/ 613 h 10000"/>
                        <a:gd name="connsiteX101" fmla="*/ 2369 w 10000"/>
                        <a:gd name="connsiteY101" fmla="*/ 613 h 10000"/>
                        <a:gd name="connsiteX102" fmla="*/ 1888 w 10000"/>
                        <a:gd name="connsiteY102" fmla="*/ 613 h 10000"/>
                        <a:gd name="connsiteX103" fmla="*/ 1888 w 10000"/>
                        <a:gd name="connsiteY103" fmla="*/ 1064 h 10000"/>
                        <a:gd name="connsiteX104" fmla="*/ 1888 w 10000"/>
                        <a:gd name="connsiteY104" fmla="*/ 1645 h 10000"/>
                        <a:gd name="connsiteX105" fmla="*/ 1285 w 10000"/>
                        <a:gd name="connsiteY105" fmla="*/ 1645 h 10000"/>
                        <a:gd name="connsiteX106" fmla="*/ 1285 w 10000"/>
                        <a:gd name="connsiteY106" fmla="*/ 1903 h 10000"/>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5462 w 10000"/>
                        <a:gd name="connsiteY37" fmla="*/ 10000 h 10000"/>
                        <a:gd name="connsiteX38" fmla="*/ 5542 w 10000"/>
                        <a:gd name="connsiteY38" fmla="*/ 9936 h 10000"/>
                        <a:gd name="connsiteX39" fmla="*/ 4877 w 10000"/>
                        <a:gd name="connsiteY39" fmla="*/ 7830 h 10000"/>
                        <a:gd name="connsiteX40" fmla="*/ 5337 w 10000"/>
                        <a:gd name="connsiteY40" fmla="*/ 6985 h 10000"/>
                        <a:gd name="connsiteX41" fmla="*/ 5564 w 10000"/>
                        <a:gd name="connsiteY41" fmla="*/ 7108 h 10000"/>
                        <a:gd name="connsiteX42" fmla="*/ 5768 w 10000"/>
                        <a:gd name="connsiteY42" fmla="*/ 7028 h 10000"/>
                        <a:gd name="connsiteX43" fmla="*/ 5933 w 10000"/>
                        <a:gd name="connsiteY43" fmla="*/ 6953 h 10000"/>
                        <a:gd name="connsiteX44" fmla="*/ 6089 w 10000"/>
                        <a:gd name="connsiteY44" fmla="*/ 6788 h 10000"/>
                        <a:gd name="connsiteX45" fmla="*/ 6274 w 10000"/>
                        <a:gd name="connsiteY45" fmla="*/ 6562 h 10000"/>
                        <a:gd name="connsiteX46" fmla="*/ 6389 w 10000"/>
                        <a:gd name="connsiteY46" fmla="*/ 6459 h 10000"/>
                        <a:gd name="connsiteX47" fmla="*/ 6524 w 10000"/>
                        <a:gd name="connsiteY47" fmla="*/ 6417 h 10000"/>
                        <a:gd name="connsiteX48" fmla="*/ 6531 w 10000"/>
                        <a:gd name="connsiteY48" fmla="*/ 6285 h 10000"/>
                        <a:gd name="connsiteX49" fmla="*/ 6424 w 10000"/>
                        <a:gd name="connsiteY49" fmla="*/ 5985 h 10000"/>
                        <a:gd name="connsiteX50" fmla="*/ 6602 w 10000"/>
                        <a:gd name="connsiteY50" fmla="*/ 5992 h 10000"/>
                        <a:gd name="connsiteX51" fmla="*/ 6707 w 10000"/>
                        <a:gd name="connsiteY51" fmla="*/ 5879 h 10000"/>
                        <a:gd name="connsiteX52" fmla="*/ 6876 w 10000"/>
                        <a:gd name="connsiteY52" fmla="*/ 5880 h 10000"/>
                        <a:gd name="connsiteX53" fmla="*/ 6827 w 10000"/>
                        <a:gd name="connsiteY53" fmla="*/ 6579 h 10000"/>
                        <a:gd name="connsiteX54" fmla="*/ 6991 w 10000"/>
                        <a:gd name="connsiteY54" fmla="*/ 6658 h 10000"/>
                        <a:gd name="connsiteX55" fmla="*/ 7275 w 10000"/>
                        <a:gd name="connsiteY55" fmla="*/ 6861 h 10000"/>
                        <a:gd name="connsiteX56" fmla="*/ 7430 w 10000"/>
                        <a:gd name="connsiteY56" fmla="*/ 6548 h 10000"/>
                        <a:gd name="connsiteX57" fmla="*/ 7470 w 10000"/>
                        <a:gd name="connsiteY57" fmla="*/ 6580 h 10000"/>
                        <a:gd name="connsiteX58" fmla="*/ 7590 w 10000"/>
                        <a:gd name="connsiteY58" fmla="*/ 6387 h 10000"/>
                        <a:gd name="connsiteX59" fmla="*/ 7831 w 10000"/>
                        <a:gd name="connsiteY59" fmla="*/ 6290 h 10000"/>
                        <a:gd name="connsiteX60" fmla="*/ 7952 w 10000"/>
                        <a:gd name="connsiteY60" fmla="*/ 5935 h 10000"/>
                        <a:gd name="connsiteX61" fmla="*/ 8313 w 10000"/>
                        <a:gd name="connsiteY61" fmla="*/ 5516 h 10000"/>
                        <a:gd name="connsiteX62" fmla="*/ 8594 w 10000"/>
                        <a:gd name="connsiteY62" fmla="*/ 5322 h 10000"/>
                        <a:gd name="connsiteX63" fmla="*/ 8795 w 10000"/>
                        <a:gd name="connsiteY63" fmla="*/ 4774 h 10000"/>
                        <a:gd name="connsiteX64" fmla="*/ 8795 w 10000"/>
                        <a:gd name="connsiteY64" fmla="*/ 4645 h 10000"/>
                        <a:gd name="connsiteX65" fmla="*/ 8755 w 10000"/>
                        <a:gd name="connsiteY65" fmla="*/ 4323 h 10000"/>
                        <a:gd name="connsiteX66" fmla="*/ 9157 w 10000"/>
                        <a:gd name="connsiteY66" fmla="*/ 3161 h 10000"/>
                        <a:gd name="connsiteX67" fmla="*/ 9277 w 10000"/>
                        <a:gd name="connsiteY67" fmla="*/ 3161 h 10000"/>
                        <a:gd name="connsiteX68" fmla="*/ 9438 w 10000"/>
                        <a:gd name="connsiteY68" fmla="*/ 3065 h 10000"/>
                        <a:gd name="connsiteX69" fmla="*/ 9920 w 10000"/>
                        <a:gd name="connsiteY69" fmla="*/ 2903 h 10000"/>
                        <a:gd name="connsiteX70" fmla="*/ 10000 w 10000"/>
                        <a:gd name="connsiteY70" fmla="*/ 2645 h 10000"/>
                        <a:gd name="connsiteX71" fmla="*/ 9960 w 10000"/>
                        <a:gd name="connsiteY71" fmla="*/ 2580 h 10000"/>
                        <a:gd name="connsiteX72" fmla="*/ 9799 w 10000"/>
                        <a:gd name="connsiteY72" fmla="*/ 2580 h 10000"/>
                        <a:gd name="connsiteX73" fmla="*/ 9679 w 10000"/>
                        <a:gd name="connsiteY73" fmla="*/ 2420 h 10000"/>
                        <a:gd name="connsiteX74" fmla="*/ 9438 w 10000"/>
                        <a:gd name="connsiteY74" fmla="*/ 2355 h 10000"/>
                        <a:gd name="connsiteX75" fmla="*/ 9317 w 10000"/>
                        <a:gd name="connsiteY75" fmla="*/ 2226 h 10000"/>
                        <a:gd name="connsiteX76" fmla="*/ 9237 w 10000"/>
                        <a:gd name="connsiteY76" fmla="*/ 1742 h 10000"/>
                        <a:gd name="connsiteX77" fmla="*/ 9237 w 10000"/>
                        <a:gd name="connsiteY77" fmla="*/ 1064 h 10000"/>
                        <a:gd name="connsiteX78" fmla="*/ 9036 w 10000"/>
                        <a:gd name="connsiteY78" fmla="*/ 839 h 10000"/>
                        <a:gd name="connsiteX79" fmla="*/ 8996 w 10000"/>
                        <a:gd name="connsiteY79" fmla="*/ 613 h 10000"/>
                        <a:gd name="connsiteX80" fmla="*/ 8675 w 10000"/>
                        <a:gd name="connsiteY80" fmla="*/ 290 h 10000"/>
                        <a:gd name="connsiteX81" fmla="*/ 8394 w 10000"/>
                        <a:gd name="connsiteY81" fmla="*/ 162 h 10000"/>
                        <a:gd name="connsiteX82" fmla="*/ 8233 w 10000"/>
                        <a:gd name="connsiteY82" fmla="*/ 0 h 10000"/>
                        <a:gd name="connsiteX83" fmla="*/ 7992 w 10000"/>
                        <a:gd name="connsiteY83" fmla="*/ 162 h 10000"/>
                        <a:gd name="connsiteX84" fmla="*/ 7831 w 10000"/>
                        <a:gd name="connsiteY84" fmla="*/ 129 h 10000"/>
                        <a:gd name="connsiteX85" fmla="*/ 7711 w 10000"/>
                        <a:gd name="connsiteY85" fmla="*/ 419 h 10000"/>
                        <a:gd name="connsiteX86" fmla="*/ 7390 w 10000"/>
                        <a:gd name="connsiteY86" fmla="*/ 484 h 10000"/>
                        <a:gd name="connsiteX87" fmla="*/ 7309 w 10000"/>
                        <a:gd name="connsiteY87" fmla="*/ 709 h 10000"/>
                        <a:gd name="connsiteX88" fmla="*/ 7028 w 10000"/>
                        <a:gd name="connsiteY88" fmla="*/ 709 h 10000"/>
                        <a:gd name="connsiteX89" fmla="*/ 6787 w 10000"/>
                        <a:gd name="connsiteY89" fmla="*/ 613 h 10000"/>
                        <a:gd name="connsiteX90" fmla="*/ 6265 w 10000"/>
                        <a:gd name="connsiteY90" fmla="*/ 613 h 10000"/>
                        <a:gd name="connsiteX91" fmla="*/ 5743 w 10000"/>
                        <a:gd name="connsiteY91" fmla="*/ 613 h 10000"/>
                        <a:gd name="connsiteX92" fmla="*/ 5783 w 10000"/>
                        <a:gd name="connsiteY92" fmla="*/ 484 h 10000"/>
                        <a:gd name="connsiteX93" fmla="*/ 5703 w 10000"/>
                        <a:gd name="connsiteY93" fmla="*/ 484 h 10000"/>
                        <a:gd name="connsiteX94" fmla="*/ 5663 w 10000"/>
                        <a:gd name="connsiteY94" fmla="*/ 613 h 10000"/>
                        <a:gd name="connsiteX95" fmla="*/ 5181 w 10000"/>
                        <a:gd name="connsiteY95" fmla="*/ 613 h 10000"/>
                        <a:gd name="connsiteX96" fmla="*/ 4699 w 10000"/>
                        <a:gd name="connsiteY96" fmla="*/ 613 h 10000"/>
                        <a:gd name="connsiteX97" fmla="*/ 4217 w 10000"/>
                        <a:gd name="connsiteY97" fmla="*/ 613 h 10000"/>
                        <a:gd name="connsiteX98" fmla="*/ 3735 w 10000"/>
                        <a:gd name="connsiteY98" fmla="*/ 613 h 10000"/>
                        <a:gd name="connsiteX99" fmla="*/ 3293 w 10000"/>
                        <a:gd name="connsiteY99" fmla="*/ 613 h 10000"/>
                        <a:gd name="connsiteX100" fmla="*/ 2811 w 10000"/>
                        <a:gd name="connsiteY100" fmla="*/ 613 h 10000"/>
                        <a:gd name="connsiteX101" fmla="*/ 2369 w 10000"/>
                        <a:gd name="connsiteY101" fmla="*/ 613 h 10000"/>
                        <a:gd name="connsiteX102" fmla="*/ 1888 w 10000"/>
                        <a:gd name="connsiteY102" fmla="*/ 613 h 10000"/>
                        <a:gd name="connsiteX103" fmla="*/ 1888 w 10000"/>
                        <a:gd name="connsiteY103" fmla="*/ 1064 h 10000"/>
                        <a:gd name="connsiteX104" fmla="*/ 1888 w 10000"/>
                        <a:gd name="connsiteY104" fmla="*/ 1645 h 10000"/>
                        <a:gd name="connsiteX105" fmla="*/ 1285 w 10000"/>
                        <a:gd name="connsiteY105" fmla="*/ 1645 h 10000"/>
                        <a:gd name="connsiteX106" fmla="*/ 1285 w 10000"/>
                        <a:gd name="connsiteY106" fmla="*/ 1903 h 10000"/>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5462 w 10000"/>
                        <a:gd name="connsiteY37" fmla="*/ 10000 h 10000"/>
                        <a:gd name="connsiteX38" fmla="*/ 5542 w 10000"/>
                        <a:gd name="connsiteY38" fmla="*/ 9936 h 10000"/>
                        <a:gd name="connsiteX39" fmla="*/ 4976 w 10000"/>
                        <a:gd name="connsiteY39" fmla="*/ 6916 h 10000"/>
                        <a:gd name="connsiteX40" fmla="*/ 5337 w 10000"/>
                        <a:gd name="connsiteY40" fmla="*/ 6985 h 10000"/>
                        <a:gd name="connsiteX41" fmla="*/ 5564 w 10000"/>
                        <a:gd name="connsiteY41" fmla="*/ 7108 h 10000"/>
                        <a:gd name="connsiteX42" fmla="*/ 5768 w 10000"/>
                        <a:gd name="connsiteY42" fmla="*/ 7028 h 10000"/>
                        <a:gd name="connsiteX43" fmla="*/ 5933 w 10000"/>
                        <a:gd name="connsiteY43" fmla="*/ 6953 h 10000"/>
                        <a:gd name="connsiteX44" fmla="*/ 6089 w 10000"/>
                        <a:gd name="connsiteY44" fmla="*/ 6788 h 10000"/>
                        <a:gd name="connsiteX45" fmla="*/ 6274 w 10000"/>
                        <a:gd name="connsiteY45" fmla="*/ 6562 h 10000"/>
                        <a:gd name="connsiteX46" fmla="*/ 6389 w 10000"/>
                        <a:gd name="connsiteY46" fmla="*/ 6459 h 10000"/>
                        <a:gd name="connsiteX47" fmla="*/ 6524 w 10000"/>
                        <a:gd name="connsiteY47" fmla="*/ 6417 h 10000"/>
                        <a:gd name="connsiteX48" fmla="*/ 6531 w 10000"/>
                        <a:gd name="connsiteY48" fmla="*/ 6285 h 10000"/>
                        <a:gd name="connsiteX49" fmla="*/ 6424 w 10000"/>
                        <a:gd name="connsiteY49" fmla="*/ 5985 h 10000"/>
                        <a:gd name="connsiteX50" fmla="*/ 6602 w 10000"/>
                        <a:gd name="connsiteY50" fmla="*/ 5992 h 10000"/>
                        <a:gd name="connsiteX51" fmla="*/ 6707 w 10000"/>
                        <a:gd name="connsiteY51" fmla="*/ 5879 h 10000"/>
                        <a:gd name="connsiteX52" fmla="*/ 6876 w 10000"/>
                        <a:gd name="connsiteY52" fmla="*/ 5880 h 10000"/>
                        <a:gd name="connsiteX53" fmla="*/ 6827 w 10000"/>
                        <a:gd name="connsiteY53" fmla="*/ 6579 h 10000"/>
                        <a:gd name="connsiteX54" fmla="*/ 6991 w 10000"/>
                        <a:gd name="connsiteY54" fmla="*/ 6658 h 10000"/>
                        <a:gd name="connsiteX55" fmla="*/ 7275 w 10000"/>
                        <a:gd name="connsiteY55" fmla="*/ 6861 h 10000"/>
                        <a:gd name="connsiteX56" fmla="*/ 7430 w 10000"/>
                        <a:gd name="connsiteY56" fmla="*/ 6548 h 10000"/>
                        <a:gd name="connsiteX57" fmla="*/ 7470 w 10000"/>
                        <a:gd name="connsiteY57" fmla="*/ 6580 h 10000"/>
                        <a:gd name="connsiteX58" fmla="*/ 7590 w 10000"/>
                        <a:gd name="connsiteY58" fmla="*/ 6387 h 10000"/>
                        <a:gd name="connsiteX59" fmla="*/ 7831 w 10000"/>
                        <a:gd name="connsiteY59" fmla="*/ 6290 h 10000"/>
                        <a:gd name="connsiteX60" fmla="*/ 7952 w 10000"/>
                        <a:gd name="connsiteY60" fmla="*/ 5935 h 10000"/>
                        <a:gd name="connsiteX61" fmla="*/ 8313 w 10000"/>
                        <a:gd name="connsiteY61" fmla="*/ 5516 h 10000"/>
                        <a:gd name="connsiteX62" fmla="*/ 8594 w 10000"/>
                        <a:gd name="connsiteY62" fmla="*/ 5322 h 10000"/>
                        <a:gd name="connsiteX63" fmla="*/ 8795 w 10000"/>
                        <a:gd name="connsiteY63" fmla="*/ 4774 h 10000"/>
                        <a:gd name="connsiteX64" fmla="*/ 8795 w 10000"/>
                        <a:gd name="connsiteY64" fmla="*/ 4645 h 10000"/>
                        <a:gd name="connsiteX65" fmla="*/ 8755 w 10000"/>
                        <a:gd name="connsiteY65" fmla="*/ 4323 h 10000"/>
                        <a:gd name="connsiteX66" fmla="*/ 9157 w 10000"/>
                        <a:gd name="connsiteY66" fmla="*/ 3161 h 10000"/>
                        <a:gd name="connsiteX67" fmla="*/ 9277 w 10000"/>
                        <a:gd name="connsiteY67" fmla="*/ 3161 h 10000"/>
                        <a:gd name="connsiteX68" fmla="*/ 9438 w 10000"/>
                        <a:gd name="connsiteY68" fmla="*/ 3065 h 10000"/>
                        <a:gd name="connsiteX69" fmla="*/ 9920 w 10000"/>
                        <a:gd name="connsiteY69" fmla="*/ 2903 h 10000"/>
                        <a:gd name="connsiteX70" fmla="*/ 10000 w 10000"/>
                        <a:gd name="connsiteY70" fmla="*/ 2645 h 10000"/>
                        <a:gd name="connsiteX71" fmla="*/ 9960 w 10000"/>
                        <a:gd name="connsiteY71" fmla="*/ 2580 h 10000"/>
                        <a:gd name="connsiteX72" fmla="*/ 9799 w 10000"/>
                        <a:gd name="connsiteY72" fmla="*/ 2580 h 10000"/>
                        <a:gd name="connsiteX73" fmla="*/ 9679 w 10000"/>
                        <a:gd name="connsiteY73" fmla="*/ 2420 h 10000"/>
                        <a:gd name="connsiteX74" fmla="*/ 9438 w 10000"/>
                        <a:gd name="connsiteY74" fmla="*/ 2355 h 10000"/>
                        <a:gd name="connsiteX75" fmla="*/ 9317 w 10000"/>
                        <a:gd name="connsiteY75" fmla="*/ 2226 h 10000"/>
                        <a:gd name="connsiteX76" fmla="*/ 9237 w 10000"/>
                        <a:gd name="connsiteY76" fmla="*/ 1742 h 10000"/>
                        <a:gd name="connsiteX77" fmla="*/ 9237 w 10000"/>
                        <a:gd name="connsiteY77" fmla="*/ 1064 h 10000"/>
                        <a:gd name="connsiteX78" fmla="*/ 9036 w 10000"/>
                        <a:gd name="connsiteY78" fmla="*/ 839 h 10000"/>
                        <a:gd name="connsiteX79" fmla="*/ 8996 w 10000"/>
                        <a:gd name="connsiteY79" fmla="*/ 613 h 10000"/>
                        <a:gd name="connsiteX80" fmla="*/ 8675 w 10000"/>
                        <a:gd name="connsiteY80" fmla="*/ 290 h 10000"/>
                        <a:gd name="connsiteX81" fmla="*/ 8394 w 10000"/>
                        <a:gd name="connsiteY81" fmla="*/ 162 h 10000"/>
                        <a:gd name="connsiteX82" fmla="*/ 8233 w 10000"/>
                        <a:gd name="connsiteY82" fmla="*/ 0 h 10000"/>
                        <a:gd name="connsiteX83" fmla="*/ 7992 w 10000"/>
                        <a:gd name="connsiteY83" fmla="*/ 162 h 10000"/>
                        <a:gd name="connsiteX84" fmla="*/ 7831 w 10000"/>
                        <a:gd name="connsiteY84" fmla="*/ 129 h 10000"/>
                        <a:gd name="connsiteX85" fmla="*/ 7711 w 10000"/>
                        <a:gd name="connsiteY85" fmla="*/ 419 h 10000"/>
                        <a:gd name="connsiteX86" fmla="*/ 7390 w 10000"/>
                        <a:gd name="connsiteY86" fmla="*/ 484 h 10000"/>
                        <a:gd name="connsiteX87" fmla="*/ 7309 w 10000"/>
                        <a:gd name="connsiteY87" fmla="*/ 709 h 10000"/>
                        <a:gd name="connsiteX88" fmla="*/ 7028 w 10000"/>
                        <a:gd name="connsiteY88" fmla="*/ 709 h 10000"/>
                        <a:gd name="connsiteX89" fmla="*/ 6787 w 10000"/>
                        <a:gd name="connsiteY89" fmla="*/ 613 h 10000"/>
                        <a:gd name="connsiteX90" fmla="*/ 6265 w 10000"/>
                        <a:gd name="connsiteY90" fmla="*/ 613 h 10000"/>
                        <a:gd name="connsiteX91" fmla="*/ 5743 w 10000"/>
                        <a:gd name="connsiteY91" fmla="*/ 613 h 10000"/>
                        <a:gd name="connsiteX92" fmla="*/ 5783 w 10000"/>
                        <a:gd name="connsiteY92" fmla="*/ 484 h 10000"/>
                        <a:gd name="connsiteX93" fmla="*/ 5703 w 10000"/>
                        <a:gd name="connsiteY93" fmla="*/ 484 h 10000"/>
                        <a:gd name="connsiteX94" fmla="*/ 5663 w 10000"/>
                        <a:gd name="connsiteY94" fmla="*/ 613 h 10000"/>
                        <a:gd name="connsiteX95" fmla="*/ 5181 w 10000"/>
                        <a:gd name="connsiteY95" fmla="*/ 613 h 10000"/>
                        <a:gd name="connsiteX96" fmla="*/ 4699 w 10000"/>
                        <a:gd name="connsiteY96" fmla="*/ 613 h 10000"/>
                        <a:gd name="connsiteX97" fmla="*/ 4217 w 10000"/>
                        <a:gd name="connsiteY97" fmla="*/ 613 h 10000"/>
                        <a:gd name="connsiteX98" fmla="*/ 3735 w 10000"/>
                        <a:gd name="connsiteY98" fmla="*/ 613 h 10000"/>
                        <a:gd name="connsiteX99" fmla="*/ 3293 w 10000"/>
                        <a:gd name="connsiteY99" fmla="*/ 613 h 10000"/>
                        <a:gd name="connsiteX100" fmla="*/ 2811 w 10000"/>
                        <a:gd name="connsiteY100" fmla="*/ 613 h 10000"/>
                        <a:gd name="connsiteX101" fmla="*/ 2369 w 10000"/>
                        <a:gd name="connsiteY101" fmla="*/ 613 h 10000"/>
                        <a:gd name="connsiteX102" fmla="*/ 1888 w 10000"/>
                        <a:gd name="connsiteY102" fmla="*/ 613 h 10000"/>
                        <a:gd name="connsiteX103" fmla="*/ 1888 w 10000"/>
                        <a:gd name="connsiteY103" fmla="*/ 1064 h 10000"/>
                        <a:gd name="connsiteX104" fmla="*/ 1888 w 10000"/>
                        <a:gd name="connsiteY104" fmla="*/ 1645 h 10000"/>
                        <a:gd name="connsiteX105" fmla="*/ 1285 w 10000"/>
                        <a:gd name="connsiteY105" fmla="*/ 1645 h 10000"/>
                        <a:gd name="connsiteX106" fmla="*/ 1285 w 10000"/>
                        <a:gd name="connsiteY106" fmla="*/ 1903 h 10000"/>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5462 w 10000"/>
                        <a:gd name="connsiteY37" fmla="*/ 10000 h 10000"/>
                        <a:gd name="connsiteX38" fmla="*/ 5542 w 10000"/>
                        <a:gd name="connsiteY38" fmla="*/ 9936 h 10000"/>
                        <a:gd name="connsiteX39" fmla="*/ 4976 w 10000"/>
                        <a:gd name="connsiteY39" fmla="*/ 6916 h 10000"/>
                        <a:gd name="connsiteX40" fmla="*/ 5337 w 10000"/>
                        <a:gd name="connsiteY40" fmla="*/ 6985 h 10000"/>
                        <a:gd name="connsiteX41" fmla="*/ 5564 w 10000"/>
                        <a:gd name="connsiteY41" fmla="*/ 7108 h 10000"/>
                        <a:gd name="connsiteX42" fmla="*/ 5768 w 10000"/>
                        <a:gd name="connsiteY42" fmla="*/ 7028 h 10000"/>
                        <a:gd name="connsiteX43" fmla="*/ 5933 w 10000"/>
                        <a:gd name="connsiteY43" fmla="*/ 6953 h 10000"/>
                        <a:gd name="connsiteX44" fmla="*/ 6089 w 10000"/>
                        <a:gd name="connsiteY44" fmla="*/ 6788 h 10000"/>
                        <a:gd name="connsiteX45" fmla="*/ 6274 w 10000"/>
                        <a:gd name="connsiteY45" fmla="*/ 6562 h 10000"/>
                        <a:gd name="connsiteX46" fmla="*/ 6389 w 10000"/>
                        <a:gd name="connsiteY46" fmla="*/ 6459 h 10000"/>
                        <a:gd name="connsiteX47" fmla="*/ 6524 w 10000"/>
                        <a:gd name="connsiteY47" fmla="*/ 6417 h 10000"/>
                        <a:gd name="connsiteX48" fmla="*/ 6531 w 10000"/>
                        <a:gd name="connsiteY48" fmla="*/ 6285 h 10000"/>
                        <a:gd name="connsiteX49" fmla="*/ 6424 w 10000"/>
                        <a:gd name="connsiteY49" fmla="*/ 5985 h 10000"/>
                        <a:gd name="connsiteX50" fmla="*/ 6602 w 10000"/>
                        <a:gd name="connsiteY50" fmla="*/ 5992 h 10000"/>
                        <a:gd name="connsiteX51" fmla="*/ 6707 w 10000"/>
                        <a:gd name="connsiteY51" fmla="*/ 5879 h 10000"/>
                        <a:gd name="connsiteX52" fmla="*/ 6876 w 10000"/>
                        <a:gd name="connsiteY52" fmla="*/ 5880 h 10000"/>
                        <a:gd name="connsiteX53" fmla="*/ 6827 w 10000"/>
                        <a:gd name="connsiteY53" fmla="*/ 6579 h 10000"/>
                        <a:gd name="connsiteX54" fmla="*/ 6991 w 10000"/>
                        <a:gd name="connsiteY54" fmla="*/ 6658 h 10000"/>
                        <a:gd name="connsiteX55" fmla="*/ 7275 w 10000"/>
                        <a:gd name="connsiteY55" fmla="*/ 6861 h 10000"/>
                        <a:gd name="connsiteX56" fmla="*/ 7430 w 10000"/>
                        <a:gd name="connsiteY56" fmla="*/ 6548 h 10000"/>
                        <a:gd name="connsiteX57" fmla="*/ 7470 w 10000"/>
                        <a:gd name="connsiteY57" fmla="*/ 6580 h 10000"/>
                        <a:gd name="connsiteX58" fmla="*/ 7590 w 10000"/>
                        <a:gd name="connsiteY58" fmla="*/ 6387 h 10000"/>
                        <a:gd name="connsiteX59" fmla="*/ 7831 w 10000"/>
                        <a:gd name="connsiteY59" fmla="*/ 6290 h 10000"/>
                        <a:gd name="connsiteX60" fmla="*/ 7952 w 10000"/>
                        <a:gd name="connsiteY60" fmla="*/ 5935 h 10000"/>
                        <a:gd name="connsiteX61" fmla="*/ 8313 w 10000"/>
                        <a:gd name="connsiteY61" fmla="*/ 5516 h 10000"/>
                        <a:gd name="connsiteX62" fmla="*/ 8594 w 10000"/>
                        <a:gd name="connsiteY62" fmla="*/ 5322 h 10000"/>
                        <a:gd name="connsiteX63" fmla="*/ 8795 w 10000"/>
                        <a:gd name="connsiteY63" fmla="*/ 4774 h 10000"/>
                        <a:gd name="connsiteX64" fmla="*/ 8795 w 10000"/>
                        <a:gd name="connsiteY64" fmla="*/ 4645 h 10000"/>
                        <a:gd name="connsiteX65" fmla="*/ 8755 w 10000"/>
                        <a:gd name="connsiteY65" fmla="*/ 4323 h 10000"/>
                        <a:gd name="connsiteX66" fmla="*/ 9157 w 10000"/>
                        <a:gd name="connsiteY66" fmla="*/ 3161 h 10000"/>
                        <a:gd name="connsiteX67" fmla="*/ 9277 w 10000"/>
                        <a:gd name="connsiteY67" fmla="*/ 3161 h 10000"/>
                        <a:gd name="connsiteX68" fmla="*/ 9438 w 10000"/>
                        <a:gd name="connsiteY68" fmla="*/ 3065 h 10000"/>
                        <a:gd name="connsiteX69" fmla="*/ 9920 w 10000"/>
                        <a:gd name="connsiteY69" fmla="*/ 2903 h 10000"/>
                        <a:gd name="connsiteX70" fmla="*/ 10000 w 10000"/>
                        <a:gd name="connsiteY70" fmla="*/ 2645 h 10000"/>
                        <a:gd name="connsiteX71" fmla="*/ 9960 w 10000"/>
                        <a:gd name="connsiteY71" fmla="*/ 2580 h 10000"/>
                        <a:gd name="connsiteX72" fmla="*/ 9799 w 10000"/>
                        <a:gd name="connsiteY72" fmla="*/ 2580 h 10000"/>
                        <a:gd name="connsiteX73" fmla="*/ 9679 w 10000"/>
                        <a:gd name="connsiteY73" fmla="*/ 2420 h 10000"/>
                        <a:gd name="connsiteX74" fmla="*/ 9438 w 10000"/>
                        <a:gd name="connsiteY74" fmla="*/ 2355 h 10000"/>
                        <a:gd name="connsiteX75" fmla="*/ 9317 w 10000"/>
                        <a:gd name="connsiteY75" fmla="*/ 2226 h 10000"/>
                        <a:gd name="connsiteX76" fmla="*/ 9237 w 10000"/>
                        <a:gd name="connsiteY76" fmla="*/ 1742 h 10000"/>
                        <a:gd name="connsiteX77" fmla="*/ 9237 w 10000"/>
                        <a:gd name="connsiteY77" fmla="*/ 1064 h 10000"/>
                        <a:gd name="connsiteX78" fmla="*/ 9036 w 10000"/>
                        <a:gd name="connsiteY78" fmla="*/ 839 h 10000"/>
                        <a:gd name="connsiteX79" fmla="*/ 8996 w 10000"/>
                        <a:gd name="connsiteY79" fmla="*/ 613 h 10000"/>
                        <a:gd name="connsiteX80" fmla="*/ 8675 w 10000"/>
                        <a:gd name="connsiteY80" fmla="*/ 290 h 10000"/>
                        <a:gd name="connsiteX81" fmla="*/ 8394 w 10000"/>
                        <a:gd name="connsiteY81" fmla="*/ 162 h 10000"/>
                        <a:gd name="connsiteX82" fmla="*/ 8233 w 10000"/>
                        <a:gd name="connsiteY82" fmla="*/ 0 h 10000"/>
                        <a:gd name="connsiteX83" fmla="*/ 7992 w 10000"/>
                        <a:gd name="connsiteY83" fmla="*/ 162 h 10000"/>
                        <a:gd name="connsiteX84" fmla="*/ 7831 w 10000"/>
                        <a:gd name="connsiteY84" fmla="*/ 129 h 10000"/>
                        <a:gd name="connsiteX85" fmla="*/ 7711 w 10000"/>
                        <a:gd name="connsiteY85" fmla="*/ 419 h 10000"/>
                        <a:gd name="connsiteX86" fmla="*/ 7390 w 10000"/>
                        <a:gd name="connsiteY86" fmla="*/ 484 h 10000"/>
                        <a:gd name="connsiteX87" fmla="*/ 7309 w 10000"/>
                        <a:gd name="connsiteY87" fmla="*/ 709 h 10000"/>
                        <a:gd name="connsiteX88" fmla="*/ 7028 w 10000"/>
                        <a:gd name="connsiteY88" fmla="*/ 709 h 10000"/>
                        <a:gd name="connsiteX89" fmla="*/ 6787 w 10000"/>
                        <a:gd name="connsiteY89" fmla="*/ 613 h 10000"/>
                        <a:gd name="connsiteX90" fmla="*/ 6265 w 10000"/>
                        <a:gd name="connsiteY90" fmla="*/ 613 h 10000"/>
                        <a:gd name="connsiteX91" fmla="*/ 5743 w 10000"/>
                        <a:gd name="connsiteY91" fmla="*/ 613 h 10000"/>
                        <a:gd name="connsiteX92" fmla="*/ 5783 w 10000"/>
                        <a:gd name="connsiteY92" fmla="*/ 484 h 10000"/>
                        <a:gd name="connsiteX93" fmla="*/ 5703 w 10000"/>
                        <a:gd name="connsiteY93" fmla="*/ 484 h 10000"/>
                        <a:gd name="connsiteX94" fmla="*/ 5663 w 10000"/>
                        <a:gd name="connsiteY94" fmla="*/ 613 h 10000"/>
                        <a:gd name="connsiteX95" fmla="*/ 5181 w 10000"/>
                        <a:gd name="connsiteY95" fmla="*/ 613 h 10000"/>
                        <a:gd name="connsiteX96" fmla="*/ 4699 w 10000"/>
                        <a:gd name="connsiteY96" fmla="*/ 613 h 10000"/>
                        <a:gd name="connsiteX97" fmla="*/ 4217 w 10000"/>
                        <a:gd name="connsiteY97" fmla="*/ 613 h 10000"/>
                        <a:gd name="connsiteX98" fmla="*/ 3735 w 10000"/>
                        <a:gd name="connsiteY98" fmla="*/ 613 h 10000"/>
                        <a:gd name="connsiteX99" fmla="*/ 3293 w 10000"/>
                        <a:gd name="connsiteY99" fmla="*/ 613 h 10000"/>
                        <a:gd name="connsiteX100" fmla="*/ 2811 w 10000"/>
                        <a:gd name="connsiteY100" fmla="*/ 613 h 10000"/>
                        <a:gd name="connsiteX101" fmla="*/ 2369 w 10000"/>
                        <a:gd name="connsiteY101" fmla="*/ 613 h 10000"/>
                        <a:gd name="connsiteX102" fmla="*/ 1888 w 10000"/>
                        <a:gd name="connsiteY102" fmla="*/ 613 h 10000"/>
                        <a:gd name="connsiteX103" fmla="*/ 1888 w 10000"/>
                        <a:gd name="connsiteY103" fmla="*/ 1064 h 10000"/>
                        <a:gd name="connsiteX104" fmla="*/ 1888 w 10000"/>
                        <a:gd name="connsiteY104" fmla="*/ 1645 h 10000"/>
                        <a:gd name="connsiteX105" fmla="*/ 1285 w 10000"/>
                        <a:gd name="connsiteY105" fmla="*/ 1645 h 10000"/>
                        <a:gd name="connsiteX106" fmla="*/ 1285 w 10000"/>
                        <a:gd name="connsiteY106" fmla="*/ 1903 h 10000"/>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5462 w 10000"/>
                        <a:gd name="connsiteY37" fmla="*/ 10000 h 10000"/>
                        <a:gd name="connsiteX38" fmla="*/ 5542 w 10000"/>
                        <a:gd name="connsiteY38" fmla="*/ 9936 h 10000"/>
                        <a:gd name="connsiteX39" fmla="*/ 4976 w 10000"/>
                        <a:gd name="connsiteY39" fmla="*/ 6916 h 10000"/>
                        <a:gd name="connsiteX40" fmla="*/ 5337 w 10000"/>
                        <a:gd name="connsiteY40" fmla="*/ 6985 h 10000"/>
                        <a:gd name="connsiteX41" fmla="*/ 5564 w 10000"/>
                        <a:gd name="connsiteY41" fmla="*/ 7108 h 10000"/>
                        <a:gd name="connsiteX42" fmla="*/ 5768 w 10000"/>
                        <a:gd name="connsiteY42" fmla="*/ 7028 h 10000"/>
                        <a:gd name="connsiteX43" fmla="*/ 5933 w 10000"/>
                        <a:gd name="connsiteY43" fmla="*/ 6953 h 10000"/>
                        <a:gd name="connsiteX44" fmla="*/ 6089 w 10000"/>
                        <a:gd name="connsiteY44" fmla="*/ 6788 h 10000"/>
                        <a:gd name="connsiteX45" fmla="*/ 6274 w 10000"/>
                        <a:gd name="connsiteY45" fmla="*/ 6562 h 10000"/>
                        <a:gd name="connsiteX46" fmla="*/ 6389 w 10000"/>
                        <a:gd name="connsiteY46" fmla="*/ 6459 h 10000"/>
                        <a:gd name="connsiteX47" fmla="*/ 6524 w 10000"/>
                        <a:gd name="connsiteY47" fmla="*/ 6417 h 10000"/>
                        <a:gd name="connsiteX48" fmla="*/ 6531 w 10000"/>
                        <a:gd name="connsiteY48" fmla="*/ 6285 h 10000"/>
                        <a:gd name="connsiteX49" fmla="*/ 6424 w 10000"/>
                        <a:gd name="connsiteY49" fmla="*/ 5985 h 10000"/>
                        <a:gd name="connsiteX50" fmla="*/ 6602 w 10000"/>
                        <a:gd name="connsiteY50" fmla="*/ 5992 h 10000"/>
                        <a:gd name="connsiteX51" fmla="*/ 6707 w 10000"/>
                        <a:gd name="connsiteY51" fmla="*/ 5879 h 10000"/>
                        <a:gd name="connsiteX52" fmla="*/ 6876 w 10000"/>
                        <a:gd name="connsiteY52" fmla="*/ 5880 h 10000"/>
                        <a:gd name="connsiteX53" fmla="*/ 6827 w 10000"/>
                        <a:gd name="connsiteY53" fmla="*/ 6579 h 10000"/>
                        <a:gd name="connsiteX54" fmla="*/ 6991 w 10000"/>
                        <a:gd name="connsiteY54" fmla="*/ 6658 h 10000"/>
                        <a:gd name="connsiteX55" fmla="*/ 7275 w 10000"/>
                        <a:gd name="connsiteY55" fmla="*/ 6861 h 10000"/>
                        <a:gd name="connsiteX56" fmla="*/ 7430 w 10000"/>
                        <a:gd name="connsiteY56" fmla="*/ 6548 h 10000"/>
                        <a:gd name="connsiteX57" fmla="*/ 7470 w 10000"/>
                        <a:gd name="connsiteY57" fmla="*/ 6580 h 10000"/>
                        <a:gd name="connsiteX58" fmla="*/ 7590 w 10000"/>
                        <a:gd name="connsiteY58" fmla="*/ 6387 h 10000"/>
                        <a:gd name="connsiteX59" fmla="*/ 7831 w 10000"/>
                        <a:gd name="connsiteY59" fmla="*/ 6290 h 10000"/>
                        <a:gd name="connsiteX60" fmla="*/ 7952 w 10000"/>
                        <a:gd name="connsiteY60" fmla="*/ 5935 h 10000"/>
                        <a:gd name="connsiteX61" fmla="*/ 8313 w 10000"/>
                        <a:gd name="connsiteY61" fmla="*/ 5516 h 10000"/>
                        <a:gd name="connsiteX62" fmla="*/ 8594 w 10000"/>
                        <a:gd name="connsiteY62" fmla="*/ 5322 h 10000"/>
                        <a:gd name="connsiteX63" fmla="*/ 8795 w 10000"/>
                        <a:gd name="connsiteY63" fmla="*/ 4774 h 10000"/>
                        <a:gd name="connsiteX64" fmla="*/ 8795 w 10000"/>
                        <a:gd name="connsiteY64" fmla="*/ 4645 h 10000"/>
                        <a:gd name="connsiteX65" fmla="*/ 8755 w 10000"/>
                        <a:gd name="connsiteY65" fmla="*/ 4323 h 10000"/>
                        <a:gd name="connsiteX66" fmla="*/ 9157 w 10000"/>
                        <a:gd name="connsiteY66" fmla="*/ 3161 h 10000"/>
                        <a:gd name="connsiteX67" fmla="*/ 9277 w 10000"/>
                        <a:gd name="connsiteY67" fmla="*/ 3161 h 10000"/>
                        <a:gd name="connsiteX68" fmla="*/ 9438 w 10000"/>
                        <a:gd name="connsiteY68" fmla="*/ 3065 h 10000"/>
                        <a:gd name="connsiteX69" fmla="*/ 9920 w 10000"/>
                        <a:gd name="connsiteY69" fmla="*/ 2903 h 10000"/>
                        <a:gd name="connsiteX70" fmla="*/ 10000 w 10000"/>
                        <a:gd name="connsiteY70" fmla="*/ 2645 h 10000"/>
                        <a:gd name="connsiteX71" fmla="*/ 9960 w 10000"/>
                        <a:gd name="connsiteY71" fmla="*/ 2580 h 10000"/>
                        <a:gd name="connsiteX72" fmla="*/ 9799 w 10000"/>
                        <a:gd name="connsiteY72" fmla="*/ 2580 h 10000"/>
                        <a:gd name="connsiteX73" fmla="*/ 9679 w 10000"/>
                        <a:gd name="connsiteY73" fmla="*/ 2420 h 10000"/>
                        <a:gd name="connsiteX74" fmla="*/ 9438 w 10000"/>
                        <a:gd name="connsiteY74" fmla="*/ 2355 h 10000"/>
                        <a:gd name="connsiteX75" fmla="*/ 9317 w 10000"/>
                        <a:gd name="connsiteY75" fmla="*/ 2226 h 10000"/>
                        <a:gd name="connsiteX76" fmla="*/ 9237 w 10000"/>
                        <a:gd name="connsiteY76" fmla="*/ 1742 h 10000"/>
                        <a:gd name="connsiteX77" fmla="*/ 9237 w 10000"/>
                        <a:gd name="connsiteY77" fmla="*/ 1064 h 10000"/>
                        <a:gd name="connsiteX78" fmla="*/ 9036 w 10000"/>
                        <a:gd name="connsiteY78" fmla="*/ 839 h 10000"/>
                        <a:gd name="connsiteX79" fmla="*/ 8996 w 10000"/>
                        <a:gd name="connsiteY79" fmla="*/ 613 h 10000"/>
                        <a:gd name="connsiteX80" fmla="*/ 8675 w 10000"/>
                        <a:gd name="connsiteY80" fmla="*/ 290 h 10000"/>
                        <a:gd name="connsiteX81" fmla="*/ 8394 w 10000"/>
                        <a:gd name="connsiteY81" fmla="*/ 162 h 10000"/>
                        <a:gd name="connsiteX82" fmla="*/ 8233 w 10000"/>
                        <a:gd name="connsiteY82" fmla="*/ 0 h 10000"/>
                        <a:gd name="connsiteX83" fmla="*/ 7992 w 10000"/>
                        <a:gd name="connsiteY83" fmla="*/ 162 h 10000"/>
                        <a:gd name="connsiteX84" fmla="*/ 7831 w 10000"/>
                        <a:gd name="connsiteY84" fmla="*/ 129 h 10000"/>
                        <a:gd name="connsiteX85" fmla="*/ 7711 w 10000"/>
                        <a:gd name="connsiteY85" fmla="*/ 419 h 10000"/>
                        <a:gd name="connsiteX86" fmla="*/ 7390 w 10000"/>
                        <a:gd name="connsiteY86" fmla="*/ 484 h 10000"/>
                        <a:gd name="connsiteX87" fmla="*/ 7309 w 10000"/>
                        <a:gd name="connsiteY87" fmla="*/ 709 h 10000"/>
                        <a:gd name="connsiteX88" fmla="*/ 7028 w 10000"/>
                        <a:gd name="connsiteY88" fmla="*/ 709 h 10000"/>
                        <a:gd name="connsiteX89" fmla="*/ 6787 w 10000"/>
                        <a:gd name="connsiteY89" fmla="*/ 613 h 10000"/>
                        <a:gd name="connsiteX90" fmla="*/ 6265 w 10000"/>
                        <a:gd name="connsiteY90" fmla="*/ 613 h 10000"/>
                        <a:gd name="connsiteX91" fmla="*/ 5743 w 10000"/>
                        <a:gd name="connsiteY91" fmla="*/ 613 h 10000"/>
                        <a:gd name="connsiteX92" fmla="*/ 5783 w 10000"/>
                        <a:gd name="connsiteY92" fmla="*/ 484 h 10000"/>
                        <a:gd name="connsiteX93" fmla="*/ 5703 w 10000"/>
                        <a:gd name="connsiteY93" fmla="*/ 484 h 10000"/>
                        <a:gd name="connsiteX94" fmla="*/ 5663 w 10000"/>
                        <a:gd name="connsiteY94" fmla="*/ 613 h 10000"/>
                        <a:gd name="connsiteX95" fmla="*/ 5181 w 10000"/>
                        <a:gd name="connsiteY95" fmla="*/ 613 h 10000"/>
                        <a:gd name="connsiteX96" fmla="*/ 4699 w 10000"/>
                        <a:gd name="connsiteY96" fmla="*/ 613 h 10000"/>
                        <a:gd name="connsiteX97" fmla="*/ 4217 w 10000"/>
                        <a:gd name="connsiteY97" fmla="*/ 613 h 10000"/>
                        <a:gd name="connsiteX98" fmla="*/ 3735 w 10000"/>
                        <a:gd name="connsiteY98" fmla="*/ 613 h 10000"/>
                        <a:gd name="connsiteX99" fmla="*/ 3293 w 10000"/>
                        <a:gd name="connsiteY99" fmla="*/ 613 h 10000"/>
                        <a:gd name="connsiteX100" fmla="*/ 2811 w 10000"/>
                        <a:gd name="connsiteY100" fmla="*/ 613 h 10000"/>
                        <a:gd name="connsiteX101" fmla="*/ 2369 w 10000"/>
                        <a:gd name="connsiteY101" fmla="*/ 613 h 10000"/>
                        <a:gd name="connsiteX102" fmla="*/ 1888 w 10000"/>
                        <a:gd name="connsiteY102" fmla="*/ 613 h 10000"/>
                        <a:gd name="connsiteX103" fmla="*/ 1888 w 10000"/>
                        <a:gd name="connsiteY103" fmla="*/ 1064 h 10000"/>
                        <a:gd name="connsiteX104" fmla="*/ 1888 w 10000"/>
                        <a:gd name="connsiteY104" fmla="*/ 1645 h 10000"/>
                        <a:gd name="connsiteX105" fmla="*/ 1285 w 10000"/>
                        <a:gd name="connsiteY105" fmla="*/ 1645 h 10000"/>
                        <a:gd name="connsiteX106" fmla="*/ 1285 w 10000"/>
                        <a:gd name="connsiteY106" fmla="*/ 1903 h 10000"/>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5462 w 10000"/>
                        <a:gd name="connsiteY37" fmla="*/ 10000 h 10000"/>
                        <a:gd name="connsiteX38" fmla="*/ 5542 w 10000"/>
                        <a:gd name="connsiteY38" fmla="*/ 9936 h 10000"/>
                        <a:gd name="connsiteX39" fmla="*/ 5337 w 10000"/>
                        <a:gd name="connsiteY39" fmla="*/ 6985 h 10000"/>
                        <a:gd name="connsiteX40" fmla="*/ 5564 w 10000"/>
                        <a:gd name="connsiteY40" fmla="*/ 7108 h 10000"/>
                        <a:gd name="connsiteX41" fmla="*/ 5768 w 10000"/>
                        <a:gd name="connsiteY41" fmla="*/ 7028 h 10000"/>
                        <a:gd name="connsiteX42" fmla="*/ 5933 w 10000"/>
                        <a:gd name="connsiteY42" fmla="*/ 6953 h 10000"/>
                        <a:gd name="connsiteX43" fmla="*/ 6089 w 10000"/>
                        <a:gd name="connsiteY43" fmla="*/ 6788 h 10000"/>
                        <a:gd name="connsiteX44" fmla="*/ 6274 w 10000"/>
                        <a:gd name="connsiteY44" fmla="*/ 6562 h 10000"/>
                        <a:gd name="connsiteX45" fmla="*/ 6389 w 10000"/>
                        <a:gd name="connsiteY45" fmla="*/ 6459 h 10000"/>
                        <a:gd name="connsiteX46" fmla="*/ 6524 w 10000"/>
                        <a:gd name="connsiteY46" fmla="*/ 6417 h 10000"/>
                        <a:gd name="connsiteX47" fmla="*/ 6531 w 10000"/>
                        <a:gd name="connsiteY47" fmla="*/ 6285 h 10000"/>
                        <a:gd name="connsiteX48" fmla="*/ 6424 w 10000"/>
                        <a:gd name="connsiteY48" fmla="*/ 5985 h 10000"/>
                        <a:gd name="connsiteX49" fmla="*/ 6602 w 10000"/>
                        <a:gd name="connsiteY49" fmla="*/ 5992 h 10000"/>
                        <a:gd name="connsiteX50" fmla="*/ 6707 w 10000"/>
                        <a:gd name="connsiteY50" fmla="*/ 5879 h 10000"/>
                        <a:gd name="connsiteX51" fmla="*/ 6876 w 10000"/>
                        <a:gd name="connsiteY51" fmla="*/ 5880 h 10000"/>
                        <a:gd name="connsiteX52" fmla="*/ 6827 w 10000"/>
                        <a:gd name="connsiteY52" fmla="*/ 6579 h 10000"/>
                        <a:gd name="connsiteX53" fmla="*/ 6991 w 10000"/>
                        <a:gd name="connsiteY53" fmla="*/ 6658 h 10000"/>
                        <a:gd name="connsiteX54" fmla="*/ 7275 w 10000"/>
                        <a:gd name="connsiteY54" fmla="*/ 6861 h 10000"/>
                        <a:gd name="connsiteX55" fmla="*/ 7430 w 10000"/>
                        <a:gd name="connsiteY55" fmla="*/ 6548 h 10000"/>
                        <a:gd name="connsiteX56" fmla="*/ 7470 w 10000"/>
                        <a:gd name="connsiteY56" fmla="*/ 6580 h 10000"/>
                        <a:gd name="connsiteX57" fmla="*/ 7590 w 10000"/>
                        <a:gd name="connsiteY57" fmla="*/ 6387 h 10000"/>
                        <a:gd name="connsiteX58" fmla="*/ 7831 w 10000"/>
                        <a:gd name="connsiteY58" fmla="*/ 6290 h 10000"/>
                        <a:gd name="connsiteX59" fmla="*/ 7952 w 10000"/>
                        <a:gd name="connsiteY59" fmla="*/ 5935 h 10000"/>
                        <a:gd name="connsiteX60" fmla="*/ 8313 w 10000"/>
                        <a:gd name="connsiteY60" fmla="*/ 5516 h 10000"/>
                        <a:gd name="connsiteX61" fmla="*/ 8594 w 10000"/>
                        <a:gd name="connsiteY61" fmla="*/ 5322 h 10000"/>
                        <a:gd name="connsiteX62" fmla="*/ 8795 w 10000"/>
                        <a:gd name="connsiteY62" fmla="*/ 4774 h 10000"/>
                        <a:gd name="connsiteX63" fmla="*/ 8795 w 10000"/>
                        <a:gd name="connsiteY63" fmla="*/ 4645 h 10000"/>
                        <a:gd name="connsiteX64" fmla="*/ 8755 w 10000"/>
                        <a:gd name="connsiteY64" fmla="*/ 4323 h 10000"/>
                        <a:gd name="connsiteX65" fmla="*/ 9157 w 10000"/>
                        <a:gd name="connsiteY65" fmla="*/ 3161 h 10000"/>
                        <a:gd name="connsiteX66" fmla="*/ 9277 w 10000"/>
                        <a:gd name="connsiteY66" fmla="*/ 3161 h 10000"/>
                        <a:gd name="connsiteX67" fmla="*/ 9438 w 10000"/>
                        <a:gd name="connsiteY67" fmla="*/ 3065 h 10000"/>
                        <a:gd name="connsiteX68" fmla="*/ 9920 w 10000"/>
                        <a:gd name="connsiteY68" fmla="*/ 2903 h 10000"/>
                        <a:gd name="connsiteX69" fmla="*/ 10000 w 10000"/>
                        <a:gd name="connsiteY69" fmla="*/ 2645 h 10000"/>
                        <a:gd name="connsiteX70" fmla="*/ 9960 w 10000"/>
                        <a:gd name="connsiteY70" fmla="*/ 2580 h 10000"/>
                        <a:gd name="connsiteX71" fmla="*/ 9799 w 10000"/>
                        <a:gd name="connsiteY71" fmla="*/ 2580 h 10000"/>
                        <a:gd name="connsiteX72" fmla="*/ 9679 w 10000"/>
                        <a:gd name="connsiteY72" fmla="*/ 2420 h 10000"/>
                        <a:gd name="connsiteX73" fmla="*/ 9438 w 10000"/>
                        <a:gd name="connsiteY73" fmla="*/ 2355 h 10000"/>
                        <a:gd name="connsiteX74" fmla="*/ 9317 w 10000"/>
                        <a:gd name="connsiteY74" fmla="*/ 2226 h 10000"/>
                        <a:gd name="connsiteX75" fmla="*/ 9237 w 10000"/>
                        <a:gd name="connsiteY75" fmla="*/ 1742 h 10000"/>
                        <a:gd name="connsiteX76" fmla="*/ 9237 w 10000"/>
                        <a:gd name="connsiteY76" fmla="*/ 1064 h 10000"/>
                        <a:gd name="connsiteX77" fmla="*/ 9036 w 10000"/>
                        <a:gd name="connsiteY77" fmla="*/ 839 h 10000"/>
                        <a:gd name="connsiteX78" fmla="*/ 8996 w 10000"/>
                        <a:gd name="connsiteY78" fmla="*/ 613 h 10000"/>
                        <a:gd name="connsiteX79" fmla="*/ 8675 w 10000"/>
                        <a:gd name="connsiteY79" fmla="*/ 290 h 10000"/>
                        <a:gd name="connsiteX80" fmla="*/ 8394 w 10000"/>
                        <a:gd name="connsiteY80" fmla="*/ 162 h 10000"/>
                        <a:gd name="connsiteX81" fmla="*/ 8233 w 10000"/>
                        <a:gd name="connsiteY81" fmla="*/ 0 h 10000"/>
                        <a:gd name="connsiteX82" fmla="*/ 7992 w 10000"/>
                        <a:gd name="connsiteY82" fmla="*/ 162 h 10000"/>
                        <a:gd name="connsiteX83" fmla="*/ 7831 w 10000"/>
                        <a:gd name="connsiteY83" fmla="*/ 129 h 10000"/>
                        <a:gd name="connsiteX84" fmla="*/ 7711 w 10000"/>
                        <a:gd name="connsiteY84" fmla="*/ 419 h 10000"/>
                        <a:gd name="connsiteX85" fmla="*/ 7390 w 10000"/>
                        <a:gd name="connsiteY85" fmla="*/ 484 h 10000"/>
                        <a:gd name="connsiteX86" fmla="*/ 7309 w 10000"/>
                        <a:gd name="connsiteY86" fmla="*/ 709 h 10000"/>
                        <a:gd name="connsiteX87" fmla="*/ 7028 w 10000"/>
                        <a:gd name="connsiteY87" fmla="*/ 709 h 10000"/>
                        <a:gd name="connsiteX88" fmla="*/ 6787 w 10000"/>
                        <a:gd name="connsiteY88" fmla="*/ 613 h 10000"/>
                        <a:gd name="connsiteX89" fmla="*/ 6265 w 10000"/>
                        <a:gd name="connsiteY89" fmla="*/ 613 h 10000"/>
                        <a:gd name="connsiteX90" fmla="*/ 5743 w 10000"/>
                        <a:gd name="connsiteY90" fmla="*/ 613 h 10000"/>
                        <a:gd name="connsiteX91" fmla="*/ 5783 w 10000"/>
                        <a:gd name="connsiteY91" fmla="*/ 484 h 10000"/>
                        <a:gd name="connsiteX92" fmla="*/ 5703 w 10000"/>
                        <a:gd name="connsiteY92" fmla="*/ 484 h 10000"/>
                        <a:gd name="connsiteX93" fmla="*/ 5663 w 10000"/>
                        <a:gd name="connsiteY93" fmla="*/ 613 h 10000"/>
                        <a:gd name="connsiteX94" fmla="*/ 5181 w 10000"/>
                        <a:gd name="connsiteY94" fmla="*/ 613 h 10000"/>
                        <a:gd name="connsiteX95" fmla="*/ 4699 w 10000"/>
                        <a:gd name="connsiteY95" fmla="*/ 613 h 10000"/>
                        <a:gd name="connsiteX96" fmla="*/ 4217 w 10000"/>
                        <a:gd name="connsiteY96" fmla="*/ 613 h 10000"/>
                        <a:gd name="connsiteX97" fmla="*/ 3735 w 10000"/>
                        <a:gd name="connsiteY97" fmla="*/ 613 h 10000"/>
                        <a:gd name="connsiteX98" fmla="*/ 3293 w 10000"/>
                        <a:gd name="connsiteY98" fmla="*/ 613 h 10000"/>
                        <a:gd name="connsiteX99" fmla="*/ 2811 w 10000"/>
                        <a:gd name="connsiteY99" fmla="*/ 613 h 10000"/>
                        <a:gd name="connsiteX100" fmla="*/ 2369 w 10000"/>
                        <a:gd name="connsiteY100" fmla="*/ 613 h 10000"/>
                        <a:gd name="connsiteX101" fmla="*/ 1888 w 10000"/>
                        <a:gd name="connsiteY101" fmla="*/ 613 h 10000"/>
                        <a:gd name="connsiteX102" fmla="*/ 1888 w 10000"/>
                        <a:gd name="connsiteY102" fmla="*/ 1064 h 10000"/>
                        <a:gd name="connsiteX103" fmla="*/ 1888 w 10000"/>
                        <a:gd name="connsiteY103" fmla="*/ 1645 h 10000"/>
                        <a:gd name="connsiteX104" fmla="*/ 1285 w 10000"/>
                        <a:gd name="connsiteY104" fmla="*/ 1645 h 10000"/>
                        <a:gd name="connsiteX105" fmla="*/ 1285 w 10000"/>
                        <a:gd name="connsiteY105" fmla="*/ 1903 h 10000"/>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5462 w 10000"/>
                        <a:gd name="connsiteY37" fmla="*/ 10000 h 10000"/>
                        <a:gd name="connsiteX38" fmla="*/ 5080 w 10000"/>
                        <a:gd name="connsiteY38" fmla="*/ 6889 h 10000"/>
                        <a:gd name="connsiteX39" fmla="*/ 5337 w 10000"/>
                        <a:gd name="connsiteY39" fmla="*/ 6985 h 10000"/>
                        <a:gd name="connsiteX40" fmla="*/ 5564 w 10000"/>
                        <a:gd name="connsiteY40" fmla="*/ 7108 h 10000"/>
                        <a:gd name="connsiteX41" fmla="*/ 5768 w 10000"/>
                        <a:gd name="connsiteY41" fmla="*/ 7028 h 10000"/>
                        <a:gd name="connsiteX42" fmla="*/ 5933 w 10000"/>
                        <a:gd name="connsiteY42" fmla="*/ 6953 h 10000"/>
                        <a:gd name="connsiteX43" fmla="*/ 6089 w 10000"/>
                        <a:gd name="connsiteY43" fmla="*/ 6788 h 10000"/>
                        <a:gd name="connsiteX44" fmla="*/ 6274 w 10000"/>
                        <a:gd name="connsiteY44" fmla="*/ 6562 h 10000"/>
                        <a:gd name="connsiteX45" fmla="*/ 6389 w 10000"/>
                        <a:gd name="connsiteY45" fmla="*/ 6459 h 10000"/>
                        <a:gd name="connsiteX46" fmla="*/ 6524 w 10000"/>
                        <a:gd name="connsiteY46" fmla="*/ 6417 h 10000"/>
                        <a:gd name="connsiteX47" fmla="*/ 6531 w 10000"/>
                        <a:gd name="connsiteY47" fmla="*/ 6285 h 10000"/>
                        <a:gd name="connsiteX48" fmla="*/ 6424 w 10000"/>
                        <a:gd name="connsiteY48" fmla="*/ 5985 h 10000"/>
                        <a:gd name="connsiteX49" fmla="*/ 6602 w 10000"/>
                        <a:gd name="connsiteY49" fmla="*/ 5992 h 10000"/>
                        <a:gd name="connsiteX50" fmla="*/ 6707 w 10000"/>
                        <a:gd name="connsiteY50" fmla="*/ 5879 h 10000"/>
                        <a:gd name="connsiteX51" fmla="*/ 6876 w 10000"/>
                        <a:gd name="connsiteY51" fmla="*/ 5880 h 10000"/>
                        <a:gd name="connsiteX52" fmla="*/ 6827 w 10000"/>
                        <a:gd name="connsiteY52" fmla="*/ 6579 h 10000"/>
                        <a:gd name="connsiteX53" fmla="*/ 6991 w 10000"/>
                        <a:gd name="connsiteY53" fmla="*/ 6658 h 10000"/>
                        <a:gd name="connsiteX54" fmla="*/ 7275 w 10000"/>
                        <a:gd name="connsiteY54" fmla="*/ 6861 h 10000"/>
                        <a:gd name="connsiteX55" fmla="*/ 7430 w 10000"/>
                        <a:gd name="connsiteY55" fmla="*/ 6548 h 10000"/>
                        <a:gd name="connsiteX56" fmla="*/ 7470 w 10000"/>
                        <a:gd name="connsiteY56" fmla="*/ 6580 h 10000"/>
                        <a:gd name="connsiteX57" fmla="*/ 7590 w 10000"/>
                        <a:gd name="connsiteY57" fmla="*/ 6387 h 10000"/>
                        <a:gd name="connsiteX58" fmla="*/ 7831 w 10000"/>
                        <a:gd name="connsiteY58" fmla="*/ 6290 h 10000"/>
                        <a:gd name="connsiteX59" fmla="*/ 7952 w 10000"/>
                        <a:gd name="connsiteY59" fmla="*/ 5935 h 10000"/>
                        <a:gd name="connsiteX60" fmla="*/ 8313 w 10000"/>
                        <a:gd name="connsiteY60" fmla="*/ 5516 h 10000"/>
                        <a:gd name="connsiteX61" fmla="*/ 8594 w 10000"/>
                        <a:gd name="connsiteY61" fmla="*/ 5322 h 10000"/>
                        <a:gd name="connsiteX62" fmla="*/ 8795 w 10000"/>
                        <a:gd name="connsiteY62" fmla="*/ 4774 h 10000"/>
                        <a:gd name="connsiteX63" fmla="*/ 8795 w 10000"/>
                        <a:gd name="connsiteY63" fmla="*/ 4645 h 10000"/>
                        <a:gd name="connsiteX64" fmla="*/ 8755 w 10000"/>
                        <a:gd name="connsiteY64" fmla="*/ 4323 h 10000"/>
                        <a:gd name="connsiteX65" fmla="*/ 9157 w 10000"/>
                        <a:gd name="connsiteY65" fmla="*/ 3161 h 10000"/>
                        <a:gd name="connsiteX66" fmla="*/ 9277 w 10000"/>
                        <a:gd name="connsiteY66" fmla="*/ 3161 h 10000"/>
                        <a:gd name="connsiteX67" fmla="*/ 9438 w 10000"/>
                        <a:gd name="connsiteY67" fmla="*/ 3065 h 10000"/>
                        <a:gd name="connsiteX68" fmla="*/ 9920 w 10000"/>
                        <a:gd name="connsiteY68" fmla="*/ 2903 h 10000"/>
                        <a:gd name="connsiteX69" fmla="*/ 10000 w 10000"/>
                        <a:gd name="connsiteY69" fmla="*/ 2645 h 10000"/>
                        <a:gd name="connsiteX70" fmla="*/ 9960 w 10000"/>
                        <a:gd name="connsiteY70" fmla="*/ 2580 h 10000"/>
                        <a:gd name="connsiteX71" fmla="*/ 9799 w 10000"/>
                        <a:gd name="connsiteY71" fmla="*/ 2580 h 10000"/>
                        <a:gd name="connsiteX72" fmla="*/ 9679 w 10000"/>
                        <a:gd name="connsiteY72" fmla="*/ 2420 h 10000"/>
                        <a:gd name="connsiteX73" fmla="*/ 9438 w 10000"/>
                        <a:gd name="connsiteY73" fmla="*/ 2355 h 10000"/>
                        <a:gd name="connsiteX74" fmla="*/ 9317 w 10000"/>
                        <a:gd name="connsiteY74" fmla="*/ 2226 h 10000"/>
                        <a:gd name="connsiteX75" fmla="*/ 9237 w 10000"/>
                        <a:gd name="connsiteY75" fmla="*/ 1742 h 10000"/>
                        <a:gd name="connsiteX76" fmla="*/ 9237 w 10000"/>
                        <a:gd name="connsiteY76" fmla="*/ 1064 h 10000"/>
                        <a:gd name="connsiteX77" fmla="*/ 9036 w 10000"/>
                        <a:gd name="connsiteY77" fmla="*/ 839 h 10000"/>
                        <a:gd name="connsiteX78" fmla="*/ 8996 w 10000"/>
                        <a:gd name="connsiteY78" fmla="*/ 613 h 10000"/>
                        <a:gd name="connsiteX79" fmla="*/ 8675 w 10000"/>
                        <a:gd name="connsiteY79" fmla="*/ 290 h 10000"/>
                        <a:gd name="connsiteX80" fmla="*/ 8394 w 10000"/>
                        <a:gd name="connsiteY80" fmla="*/ 162 h 10000"/>
                        <a:gd name="connsiteX81" fmla="*/ 8233 w 10000"/>
                        <a:gd name="connsiteY81" fmla="*/ 0 h 10000"/>
                        <a:gd name="connsiteX82" fmla="*/ 7992 w 10000"/>
                        <a:gd name="connsiteY82" fmla="*/ 162 h 10000"/>
                        <a:gd name="connsiteX83" fmla="*/ 7831 w 10000"/>
                        <a:gd name="connsiteY83" fmla="*/ 129 h 10000"/>
                        <a:gd name="connsiteX84" fmla="*/ 7711 w 10000"/>
                        <a:gd name="connsiteY84" fmla="*/ 419 h 10000"/>
                        <a:gd name="connsiteX85" fmla="*/ 7390 w 10000"/>
                        <a:gd name="connsiteY85" fmla="*/ 484 h 10000"/>
                        <a:gd name="connsiteX86" fmla="*/ 7309 w 10000"/>
                        <a:gd name="connsiteY86" fmla="*/ 709 h 10000"/>
                        <a:gd name="connsiteX87" fmla="*/ 7028 w 10000"/>
                        <a:gd name="connsiteY87" fmla="*/ 709 h 10000"/>
                        <a:gd name="connsiteX88" fmla="*/ 6787 w 10000"/>
                        <a:gd name="connsiteY88" fmla="*/ 613 h 10000"/>
                        <a:gd name="connsiteX89" fmla="*/ 6265 w 10000"/>
                        <a:gd name="connsiteY89" fmla="*/ 613 h 10000"/>
                        <a:gd name="connsiteX90" fmla="*/ 5743 w 10000"/>
                        <a:gd name="connsiteY90" fmla="*/ 613 h 10000"/>
                        <a:gd name="connsiteX91" fmla="*/ 5783 w 10000"/>
                        <a:gd name="connsiteY91" fmla="*/ 484 h 10000"/>
                        <a:gd name="connsiteX92" fmla="*/ 5703 w 10000"/>
                        <a:gd name="connsiteY92" fmla="*/ 484 h 10000"/>
                        <a:gd name="connsiteX93" fmla="*/ 5663 w 10000"/>
                        <a:gd name="connsiteY93" fmla="*/ 613 h 10000"/>
                        <a:gd name="connsiteX94" fmla="*/ 5181 w 10000"/>
                        <a:gd name="connsiteY94" fmla="*/ 613 h 10000"/>
                        <a:gd name="connsiteX95" fmla="*/ 4699 w 10000"/>
                        <a:gd name="connsiteY95" fmla="*/ 613 h 10000"/>
                        <a:gd name="connsiteX96" fmla="*/ 4217 w 10000"/>
                        <a:gd name="connsiteY96" fmla="*/ 613 h 10000"/>
                        <a:gd name="connsiteX97" fmla="*/ 3735 w 10000"/>
                        <a:gd name="connsiteY97" fmla="*/ 613 h 10000"/>
                        <a:gd name="connsiteX98" fmla="*/ 3293 w 10000"/>
                        <a:gd name="connsiteY98" fmla="*/ 613 h 10000"/>
                        <a:gd name="connsiteX99" fmla="*/ 2811 w 10000"/>
                        <a:gd name="connsiteY99" fmla="*/ 613 h 10000"/>
                        <a:gd name="connsiteX100" fmla="*/ 2369 w 10000"/>
                        <a:gd name="connsiteY100" fmla="*/ 613 h 10000"/>
                        <a:gd name="connsiteX101" fmla="*/ 1888 w 10000"/>
                        <a:gd name="connsiteY101" fmla="*/ 613 h 10000"/>
                        <a:gd name="connsiteX102" fmla="*/ 1888 w 10000"/>
                        <a:gd name="connsiteY102" fmla="*/ 1064 h 10000"/>
                        <a:gd name="connsiteX103" fmla="*/ 1888 w 10000"/>
                        <a:gd name="connsiteY103" fmla="*/ 1645 h 10000"/>
                        <a:gd name="connsiteX104" fmla="*/ 1285 w 10000"/>
                        <a:gd name="connsiteY104" fmla="*/ 1645 h 10000"/>
                        <a:gd name="connsiteX105" fmla="*/ 1285 w 10000"/>
                        <a:gd name="connsiteY105" fmla="*/ 1903 h 10000"/>
                        <a:gd name="connsiteX0" fmla="*/ 1285 w 10000"/>
                        <a:gd name="connsiteY0" fmla="*/ 1903 h 10000"/>
                        <a:gd name="connsiteX1" fmla="*/ 1285 w 10000"/>
                        <a:gd name="connsiteY1" fmla="*/ 2420 h 10000"/>
                        <a:gd name="connsiteX2" fmla="*/ 1285 w 10000"/>
                        <a:gd name="connsiteY2" fmla="*/ 2903 h 10000"/>
                        <a:gd name="connsiteX3" fmla="*/ 1285 w 10000"/>
                        <a:gd name="connsiteY3" fmla="*/ 3387 h 10000"/>
                        <a:gd name="connsiteX4" fmla="*/ 1285 w 10000"/>
                        <a:gd name="connsiteY4" fmla="*/ 3838 h 10000"/>
                        <a:gd name="connsiteX5" fmla="*/ 643 w 10000"/>
                        <a:gd name="connsiteY5" fmla="*/ 3936 h 10000"/>
                        <a:gd name="connsiteX6" fmla="*/ 522 w 10000"/>
                        <a:gd name="connsiteY6" fmla="*/ 4193 h 10000"/>
                        <a:gd name="connsiteX7" fmla="*/ 241 w 10000"/>
                        <a:gd name="connsiteY7" fmla="*/ 4516 h 10000"/>
                        <a:gd name="connsiteX8" fmla="*/ 241 w 10000"/>
                        <a:gd name="connsiteY8" fmla="*/ 4774 h 10000"/>
                        <a:gd name="connsiteX9" fmla="*/ 120 w 10000"/>
                        <a:gd name="connsiteY9" fmla="*/ 4838 h 10000"/>
                        <a:gd name="connsiteX10" fmla="*/ 120 w 10000"/>
                        <a:gd name="connsiteY10" fmla="*/ 5064 h 10000"/>
                        <a:gd name="connsiteX11" fmla="*/ 0 w 10000"/>
                        <a:gd name="connsiteY11" fmla="*/ 5258 h 10000"/>
                        <a:gd name="connsiteX12" fmla="*/ 0 w 10000"/>
                        <a:gd name="connsiteY12" fmla="*/ 5419 h 10000"/>
                        <a:gd name="connsiteX13" fmla="*/ 241 w 10000"/>
                        <a:gd name="connsiteY13" fmla="*/ 5387 h 10000"/>
                        <a:gd name="connsiteX14" fmla="*/ 281 w 10000"/>
                        <a:gd name="connsiteY14" fmla="*/ 5677 h 10000"/>
                        <a:gd name="connsiteX15" fmla="*/ 602 w 10000"/>
                        <a:gd name="connsiteY15" fmla="*/ 6194 h 10000"/>
                        <a:gd name="connsiteX16" fmla="*/ 602 w 10000"/>
                        <a:gd name="connsiteY16" fmla="*/ 6226 h 10000"/>
                        <a:gd name="connsiteX17" fmla="*/ 482 w 10000"/>
                        <a:gd name="connsiteY17" fmla="*/ 6258 h 10000"/>
                        <a:gd name="connsiteX18" fmla="*/ 964 w 10000"/>
                        <a:gd name="connsiteY18" fmla="*/ 6774 h 10000"/>
                        <a:gd name="connsiteX19" fmla="*/ 1004 w 10000"/>
                        <a:gd name="connsiteY19" fmla="*/ 6935 h 10000"/>
                        <a:gd name="connsiteX20" fmla="*/ 964 w 10000"/>
                        <a:gd name="connsiteY20" fmla="*/ 7387 h 10000"/>
                        <a:gd name="connsiteX21" fmla="*/ 1044 w 10000"/>
                        <a:gd name="connsiteY21" fmla="*/ 7452 h 10000"/>
                        <a:gd name="connsiteX22" fmla="*/ 1365 w 10000"/>
                        <a:gd name="connsiteY22" fmla="*/ 7484 h 10000"/>
                        <a:gd name="connsiteX23" fmla="*/ 1406 w 10000"/>
                        <a:gd name="connsiteY23" fmla="*/ 7612 h 10000"/>
                        <a:gd name="connsiteX24" fmla="*/ 1767 w 10000"/>
                        <a:gd name="connsiteY24" fmla="*/ 7645 h 10000"/>
                        <a:gd name="connsiteX25" fmla="*/ 1968 w 10000"/>
                        <a:gd name="connsiteY25" fmla="*/ 7774 h 10000"/>
                        <a:gd name="connsiteX26" fmla="*/ 2008 w 10000"/>
                        <a:gd name="connsiteY26" fmla="*/ 8000 h 10000"/>
                        <a:gd name="connsiteX27" fmla="*/ 2651 w 10000"/>
                        <a:gd name="connsiteY27" fmla="*/ 8387 h 10000"/>
                        <a:gd name="connsiteX28" fmla="*/ 2811 w 10000"/>
                        <a:gd name="connsiteY28" fmla="*/ 8774 h 10000"/>
                        <a:gd name="connsiteX29" fmla="*/ 3253 w 10000"/>
                        <a:gd name="connsiteY29" fmla="*/ 8968 h 10000"/>
                        <a:gd name="connsiteX30" fmla="*/ 3414 w 10000"/>
                        <a:gd name="connsiteY30" fmla="*/ 9226 h 10000"/>
                        <a:gd name="connsiteX31" fmla="*/ 3735 w 10000"/>
                        <a:gd name="connsiteY31" fmla="*/ 9549 h 10000"/>
                        <a:gd name="connsiteX32" fmla="*/ 3976 w 10000"/>
                        <a:gd name="connsiteY32" fmla="*/ 9645 h 10000"/>
                        <a:gd name="connsiteX33" fmla="*/ 4137 w 10000"/>
                        <a:gd name="connsiteY33" fmla="*/ 9549 h 10000"/>
                        <a:gd name="connsiteX34" fmla="*/ 4538 w 10000"/>
                        <a:gd name="connsiteY34" fmla="*/ 9581 h 10000"/>
                        <a:gd name="connsiteX35" fmla="*/ 4699 w 10000"/>
                        <a:gd name="connsiteY35" fmla="*/ 9516 h 10000"/>
                        <a:gd name="connsiteX36" fmla="*/ 5422 w 10000"/>
                        <a:gd name="connsiteY36" fmla="*/ 10000 h 10000"/>
                        <a:gd name="connsiteX37" fmla="*/ 4901 w 10000"/>
                        <a:gd name="connsiteY37" fmla="*/ 6794 h 10000"/>
                        <a:gd name="connsiteX38" fmla="*/ 5080 w 10000"/>
                        <a:gd name="connsiteY38" fmla="*/ 6889 h 10000"/>
                        <a:gd name="connsiteX39" fmla="*/ 5337 w 10000"/>
                        <a:gd name="connsiteY39" fmla="*/ 6985 h 10000"/>
                        <a:gd name="connsiteX40" fmla="*/ 5564 w 10000"/>
                        <a:gd name="connsiteY40" fmla="*/ 7108 h 10000"/>
                        <a:gd name="connsiteX41" fmla="*/ 5768 w 10000"/>
                        <a:gd name="connsiteY41" fmla="*/ 7028 h 10000"/>
                        <a:gd name="connsiteX42" fmla="*/ 5933 w 10000"/>
                        <a:gd name="connsiteY42" fmla="*/ 6953 h 10000"/>
                        <a:gd name="connsiteX43" fmla="*/ 6089 w 10000"/>
                        <a:gd name="connsiteY43" fmla="*/ 6788 h 10000"/>
                        <a:gd name="connsiteX44" fmla="*/ 6274 w 10000"/>
                        <a:gd name="connsiteY44" fmla="*/ 6562 h 10000"/>
                        <a:gd name="connsiteX45" fmla="*/ 6389 w 10000"/>
                        <a:gd name="connsiteY45" fmla="*/ 6459 h 10000"/>
                        <a:gd name="connsiteX46" fmla="*/ 6524 w 10000"/>
                        <a:gd name="connsiteY46" fmla="*/ 6417 h 10000"/>
                        <a:gd name="connsiteX47" fmla="*/ 6531 w 10000"/>
                        <a:gd name="connsiteY47" fmla="*/ 6285 h 10000"/>
                        <a:gd name="connsiteX48" fmla="*/ 6424 w 10000"/>
                        <a:gd name="connsiteY48" fmla="*/ 5985 h 10000"/>
                        <a:gd name="connsiteX49" fmla="*/ 6602 w 10000"/>
                        <a:gd name="connsiteY49" fmla="*/ 5992 h 10000"/>
                        <a:gd name="connsiteX50" fmla="*/ 6707 w 10000"/>
                        <a:gd name="connsiteY50" fmla="*/ 5879 h 10000"/>
                        <a:gd name="connsiteX51" fmla="*/ 6876 w 10000"/>
                        <a:gd name="connsiteY51" fmla="*/ 5880 h 10000"/>
                        <a:gd name="connsiteX52" fmla="*/ 6827 w 10000"/>
                        <a:gd name="connsiteY52" fmla="*/ 6579 h 10000"/>
                        <a:gd name="connsiteX53" fmla="*/ 6991 w 10000"/>
                        <a:gd name="connsiteY53" fmla="*/ 6658 h 10000"/>
                        <a:gd name="connsiteX54" fmla="*/ 7275 w 10000"/>
                        <a:gd name="connsiteY54" fmla="*/ 6861 h 10000"/>
                        <a:gd name="connsiteX55" fmla="*/ 7430 w 10000"/>
                        <a:gd name="connsiteY55" fmla="*/ 6548 h 10000"/>
                        <a:gd name="connsiteX56" fmla="*/ 7470 w 10000"/>
                        <a:gd name="connsiteY56" fmla="*/ 6580 h 10000"/>
                        <a:gd name="connsiteX57" fmla="*/ 7590 w 10000"/>
                        <a:gd name="connsiteY57" fmla="*/ 6387 h 10000"/>
                        <a:gd name="connsiteX58" fmla="*/ 7831 w 10000"/>
                        <a:gd name="connsiteY58" fmla="*/ 6290 h 10000"/>
                        <a:gd name="connsiteX59" fmla="*/ 7952 w 10000"/>
                        <a:gd name="connsiteY59" fmla="*/ 5935 h 10000"/>
                        <a:gd name="connsiteX60" fmla="*/ 8313 w 10000"/>
                        <a:gd name="connsiteY60" fmla="*/ 5516 h 10000"/>
                        <a:gd name="connsiteX61" fmla="*/ 8594 w 10000"/>
                        <a:gd name="connsiteY61" fmla="*/ 5322 h 10000"/>
                        <a:gd name="connsiteX62" fmla="*/ 8795 w 10000"/>
                        <a:gd name="connsiteY62" fmla="*/ 4774 h 10000"/>
                        <a:gd name="connsiteX63" fmla="*/ 8795 w 10000"/>
                        <a:gd name="connsiteY63" fmla="*/ 4645 h 10000"/>
                        <a:gd name="connsiteX64" fmla="*/ 8755 w 10000"/>
                        <a:gd name="connsiteY64" fmla="*/ 4323 h 10000"/>
                        <a:gd name="connsiteX65" fmla="*/ 9157 w 10000"/>
                        <a:gd name="connsiteY65" fmla="*/ 3161 h 10000"/>
                        <a:gd name="connsiteX66" fmla="*/ 9277 w 10000"/>
                        <a:gd name="connsiteY66" fmla="*/ 3161 h 10000"/>
                        <a:gd name="connsiteX67" fmla="*/ 9438 w 10000"/>
                        <a:gd name="connsiteY67" fmla="*/ 3065 h 10000"/>
                        <a:gd name="connsiteX68" fmla="*/ 9920 w 10000"/>
                        <a:gd name="connsiteY68" fmla="*/ 2903 h 10000"/>
                        <a:gd name="connsiteX69" fmla="*/ 10000 w 10000"/>
                        <a:gd name="connsiteY69" fmla="*/ 2645 h 10000"/>
                        <a:gd name="connsiteX70" fmla="*/ 9960 w 10000"/>
                        <a:gd name="connsiteY70" fmla="*/ 2580 h 10000"/>
                        <a:gd name="connsiteX71" fmla="*/ 9799 w 10000"/>
                        <a:gd name="connsiteY71" fmla="*/ 2580 h 10000"/>
                        <a:gd name="connsiteX72" fmla="*/ 9679 w 10000"/>
                        <a:gd name="connsiteY72" fmla="*/ 2420 h 10000"/>
                        <a:gd name="connsiteX73" fmla="*/ 9438 w 10000"/>
                        <a:gd name="connsiteY73" fmla="*/ 2355 h 10000"/>
                        <a:gd name="connsiteX74" fmla="*/ 9317 w 10000"/>
                        <a:gd name="connsiteY74" fmla="*/ 2226 h 10000"/>
                        <a:gd name="connsiteX75" fmla="*/ 9237 w 10000"/>
                        <a:gd name="connsiteY75" fmla="*/ 1742 h 10000"/>
                        <a:gd name="connsiteX76" fmla="*/ 9237 w 10000"/>
                        <a:gd name="connsiteY76" fmla="*/ 1064 h 10000"/>
                        <a:gd name="connsiteX77" fmla="*/ 9036 w 10000"/>
                        <a:gd name="connsiteY77" fmla="*/ 839 h 10000"/>
                        <a:gd name="connsiteX78" fmla="*/ 8996 w 10000"/>
                        <a:gd name="connsiteY78" fmla="*/ 613 h 10000"/>
                        <a:gd name="connsiteX79" fmla="*/ 8675 w 10000"/>
                        <a:gd name="connsiteY79" fmla="*/ 290 h 10000"/>
                        <a:gd name="connsiteX80" fmla="*/ 8394 w 10000"/>
                        <a:gd name="connsiteY80" fmla="*/ 162 h 10000"/>
                        <a:gd name="connsiteX81" fmla="*/ 8233 w 10000"/>
                        <a:gd name="connsiteY81" fmla="*/ 0 h 10000"/>
                        <a:gd name="connsiteX82" fmla="*/ 7992 w 10000"/>
                        <a:gd name="connsiteY82" fmla="*/ 162 h 10000"/>
                        <a:gd name="connsiteX83" fmla="*/ 7831 w 10000"/>
                        <a:gd name="connsiteY83" fmla="*/ 129 h 10000"/>
                        <a:gd name="connsiteX84" fmla="*/ 7711 w 10000"/>
                        <a:gd name="connsiteY84" fmla="*/ 419 h 10000"/>
                        <a:gd name="connsiteX85" fmla="*/ 7390 w 10000"/>
                        <a:gd name="connsiteY85" fmla="*/ 484 h 10000"/>
                        <a:gd name="connsiteX86" fmla="*/ 7309 w 10000"/>
                        <a:gd name="connsiteY86" fmla="*/ 709 h 10000"/>
                        <a:gd name="connsiteX87" fmla="*/ 7028 w 10000"/>
                        <a:gd name="connsiteY87" fmla="*/ 709 h 10000"/>
                        <a:gd name="connsiteX88" fmla="*/ 6787 w 10000"/>
                        <a:gd name="connsiteY88" fmla="*/ 613 h 10000"/>
                        <a:gd name="connsiteX89" fmla="*/ 6265 w 10000"/>
                        <a:gd name="connsiteY89" fmla="*/ 613 h 10000"/>
                        <a:gd name="connsiteX90" fmla="*/ 5743 w 10000"/>
                        <a:gd name="connsiteY90" fmla="*/ 613 h 10000"/>
                        <a:gd name="connsiteX91" fmla="*/ 5783 w 10000"/>
                        <a:gd name="connsiteY91" fmla="*/ 484 h 10000"/>
                        <a:gd name="connsiteX92" fmla="*/ 5703 w 10000"/>
                        <a:gd name="connsiteY92" fmla="*/ 484 h 10000"/>
                        <a:gd name="connsiteX93" fmla="*/ 5663 w 10000"/>
                        <a:gd name="connsiteY93" fmla="*/ 613 h 10000"/>
                        <a:gd name="connsiteX94" fmla="*/ 5181 w 10000"/>
                        <a:gd name="connsiteY94" fmla="*/ 613 h 10000"/>
                        <a:gd name="connsiteX95" fmla="*/ 4699 w 10000"/>
                        <a:gd name="connsiteY95" fmla="*/ 613 h 10000"/>
                        <a:gd name="connsiteX96" fmla="*/ 4217 w 10000"/>
                        <a:gd name="connsiteY96" fmla="*/ 613 h 10000"/>
                        <a:gd name="connsiteX97" fmla="*/ 3735 w 10000"/>
                        <a:gd name="connsiteY97" fmla="*/ 613 h 10000"/>
                        <a:gd name="connsiteX98" fmla="*/ 3293 w 10000"/>
                        <a:gd name="connsiteY98" fmla="*/ 613 h 10000"/>
                        <a:gd name="connsiteX99" fmla="*/ 2811 w 10000"/>
                        <a:gd name="connsiteY99" fmla="*/ 613 h 10000"/>
                        <a:gd name="connsiteX100" fmla="*/ 2369 w 10000"/>
                        <a:gd name="connsiteY100" fmla="*/ 613 h 10000"/>
                        <a:gd name="connsiteX101" fmla="*/ 1888 w 10000"/>
                        <a:gd name="connsiteY101" fmla="*/ 613 h 10000"/>
                        <a:gd name="connsiteX102" fmla="*/ 1888 w 10000"/>
                        <a:gd name="connsiteY102" fmla="*/ 1064 h 10000"/>
                        <a:gd name="connsiteX103" fmla="*/ 1888 w 10000"/>
                        <a:gd name="connsiteY103" fmla="*/ 1645 h 10000"/>
                        <a:gd name="connsiteX104" fmla="*/ 1285 w 10000"/>
                        <a:gd name="connsiteY104" fmla="*/ 1645 h 10000"/>
                        <a:gd name="connsiteX105" fmla="*/ 1285 w 10000"/>
                        <a:gd name="connsiteY105" fmla="*/ 1903 h 10000"/>
                        <a:gd name="connsiteX0" fmla="*/ 1285 w 10000"/>
                        <a:gd name="connsiteY0" fmla="*/ 1903 h 9645"/>
                        <a:gd name="connsiteX1" fmla="*/ 1285 w 10000"/>
                        <a:gd name="connsiteY1" fmla="*/ 2420 h 9645"/>
                        <a:gd name="connsiteX2" fmla="*/ 1285 w 10000"/>
                        <a:gd name="connsiteY2" fmla="*/ 2903 h 9645"/>
                        <a:gd name="connsiteX3" fmla="*/ 1285 w 10000"/>
                        <a:gd name="connsiteY3" fmla="*/ 3387 h 9645"/>
                        <a:gd name="connsiteX4" fmla="*/ 1285 w 10000"/>
                        <a:gd name="connsiteY4" fmla="*/ 3838 h 9645"/>
                        <a:gd name="connsiteX5" fmla="*/ 643 w 10000"/>
                        <a:gd name="connsiteY5" fmla="*/ 3936 h 9645"/>
                        <a:gd name="connsiteX6" fmla="*/ 522 w 10000"/>
                        <a:gd name="connsiteY6" fmla="*/ 4193 h 9645"/>
                        <a:gd name="connsiteX7" fmla="*/ 241 w 10000"/>
                        <a:gd name="connsiteY7" fmla="*/ 4516 h 9645"/>
                        <a:gd name="connsiteX8" fmla="*/ 241 w 10000"/>
                        <a:gd name="connsiteY8" fmla="*/ 4774 h 9645"/>
                        <a:gd name="connsiteX9" fmla="*/ 120 w 10000"/>
                        <a:gd name="connsiteY9" fmla="*/ 4838 h 9645"/>
                        <a:gd name="connsiteX10" fmla="*/ 120 w 10000"/>
                        <a:gd name="connsiteY10" fmla="*/ 5064 h 9645"/>
                        <a:gd name="connsiteX11" fmla="*/ 0 w 10000"/>
                        <a:gd name="connsiteY11" fmla="*/ 5258 h 9645"/>
                        <a:gd name="connsiteX12" fmla="*/ 0 w 10000"/>
                        <a:gd name="connsiteY12" fmla="*/ 5419 h 9645"/>
                        <a:gd name="connsiteX13" fmla="*/ 241 w 10000"/>
                        <a:gd name="connsiteY13" fmla="*/ 5387 h 9645"/>
                        <a:gd name="connsiteX14" fmla="*/ 281 w 10000"/>
                        <a:gd name="connsiteY14" fmla="*/ 5677 h 9645"/>
                        <a:gd name="connsiteX15" fmla="*/ 602 w 10000"/>
                        <a:gd name="connsiteY15" fmla="*/ 6194 h 9645"/>
                        <a:gd name="connsiteX16" fmla="*/ 602 w 10000"/>
                        <a:gd name="connsiteY16" fmla="*/ 6226 h 9645"/>
                        <a:gd name="connsiteX17" fmla="*/ 482 w 10000"/>
                        <a:gd name="connsiteY17" fmla="*/ 6258 h 9645"/>
                        <a:gd name="connsiteX18" fmla="*/ 964 w 10000"/>
                        <a:gd name="connsiteY18" fmla="*/ 6774 h 9645"/>
                        <a:gd name="connsiteX19" fmla="*/ 1004 w 10000"/>
                        <a:gd name="connsiteY19" fmla="*/ 6935 h 9645"/>
                        <a:gd name="connsiteX20" fmla="*/ 964 w 10000"/>
                        <a:gd name="connsiteY20" fmla="*/ 7387 h 9645"/>
                        <a:gd name="connsiteX21" fmla="*/ 1044 w 10000"/>
                        <a:gd name="connsiteY21" fmla="*/ 7452 h 9645"/>
                        <a:gd name="connsiteX22" fmla="*/ 1365 w 10000"/>
                        <a:gd name="connsiteY22" fmla="*/ 7484 h 9645"/>
                        <a:gd name="connsiteX23" fmla="*/ 1406 w 10000"/>
                        <a:gd name="connsiteY23" fmla="*/ 7612 h 9645"/>
                        <a:gd name="connsiteX24" fmla="*/ 1767 w 10000"/>
                        <a:gd name="connsiteY24" fmla="*/ 7645 h 9645"/>
                        <a:gd name="connsiteX25" fmla="*/ 1968 w 10000"/>
                        <a:gd name="connsiteY25" fmla="*/ 7774 h 9645"/>
                        <a:gd name="connsiteX26" fmla="*/ 2008 w 10000"/>
                        <a:gd name="connsiteY26" fmla="*/ 8000 h 9645"/>
                        <a:gd name="connsiteX27" fmla="*/ 2651 w 10000"/>
                        <a:gd name="connsiteY27" fmla="*/ 8387 h 9645"/>
                        <a:gd name="connsiteX28" fmla="*/ 2811 w 10000"/>
                        <a:gd name="connsiteY28" fmla="*/ 8774 h 9645"/>
                        <a:gd name="connsiteX29" fmla="*/ 3253 w 10000"/>
                        <a:gd name="connsiteY29" fmla="*/ 8968 h 9645"/>
                        <a:gd name="connsiteX30" fmla="*/ 3414 w 10000"/>
                        <a:gd name="connsiteY30" fmla="*/ 9226 h 9645"/>
                        <a:gd name="connsiteX31" fmla="*/ 3735 w 10000"/>
                        <a:gd name="connsiteY31" fmla="*/ 9549 h 9645"/>
                        <a:gd name="connsiteX32" fmla="*/ 3976 w 10000"/>
                        <a:gd name="connsiteY32" fmla="*/ 9645 h 9645"/>
                        <a:gd name="connsiteX33" fmla="*/ 4137 w 10000"/>
                        <a:gd name="connsiteY33" fmla="*/ 9549 h 9645"/>
                        <a:gd name="connsiteX34" fmla="*/ 4538 w 10000"/>
                        <a:gd name="connsiteY34" fmla="*/ 9581 h 9645"/>
                        <a:gd name="connsiteX35" fmla="*/ 4699 w 10000"/>
                        <a:gd name="connsiteY35" fmla="*/ 9516 h 9645"/>
                        <a:gd name="connsiteX36" fmla="*/ 4762 w 10000"/>
                        <a:gd name="connsiteY36" fmla="*/ 6927 h 9645"/>
                        <a:gd name="connsiteX37" fmla="*/ 4901 w 10000"/>
                        <a:gd name="connsiteY37" fmla="*/ 6794 h 9645"/>
                        <a:gd name="connsiteX38" fmla="*/ 5080 w 10000"/>
                        <a:gd name="connsiteY38" fmla="*/ 6889 h 9645"/>
                        <a:gd name="connsiteX39" fmla="*/ 5337 w 10000"/>
                        <a:gd name="connsiteY39" fmla="*/ 6985 h 9645"/>
                        <a:gd name="connsiteX40" fmla="*/ 5564 w 10000"/>
                        <a:gd name="connsiteY40" fmla="*/ 7108 h 9645"/>
                        <a:gd name="connsiteX41" fmla="*/ 5768 w 10000"/>
                        <a:gd name="connsiteY41" fmla="*/ 7028 h 9645"/>
                        <a:gd name="connsiteX42" fmla="*/ 5933 w 10000"/>
                        <a:gd name="connsiteY42" fmla="*/ 6953 h 9645"/>
                        <a:gd name="connsiteX43" fmla="*/ 6089 w 10000"/>
                        <a:gd name="connsiteY43" fmla="*/ 6788 h 9645"/>
                        <a:gd name="connsiteX44" fmla="*/ 6274 w 10000"/>
                        <a:gd name="connsiteY44" fmla="*/ 6562 h 9645"/>
                        <a:gd name="connsiteX45" fmla="*/ 6389 w 10000"/>
                        <a:gd name="connsiteY45" fmla="*/ 6459 h 9645"/>
                        <a:gd name="connsiteX46" fmla="*/ 6524 w 10000"/>
                        <a:gd name="connsiteY46" fmla="*/ 6417 h 9645"/>
                        <a:gd name="connsiteX47" fmla="*/ 6531 w 10000"/>
                        <a:gd name="connsiteY47" fmla="*/ 6285 h 9645"/>
                        <a:gd name="connsiteX48" fmla="*/ 6424 w 10000"/>
                        <a:gd name="connsiteY48" fmla="*/ 5985 h 9645"/>
                        <a:gd name="connsiteX49" fmla="*/ 6602 w 10000"/>
                        <a:gd name="connsiteY49" fmla="*/ 5992 h 9645"/>
                        <a:gd name="connsiteX50" fmla="*/ 6707 w 10000"/>
                        <a:gd name="connsiteY50" fmla="*/ 5879 h 9645"/>
                        <a:gd name="connsiteX51" fmla="*/ 6876 w 10000"/>
                        <a:gd name="connsiteY51" fmla="*/ 5880 h 9645"/>
                        <a:gd name="connsiteX52" fmla="*/ 6827 w 10000"/>
                        <a:gd name="connsiteY52" fmla="*/ 6579 h 9645"/>
                        <a:gd name="connsiteX53" fmla="*/ 6991 w 10000"/>
                        <a:gd name="connsiteY53" fmla="*/ 6658 h 9645"/>
                        <a:gd name="connsiteX54" fmla="*/ 7275 w 10000"/>
                        <a:gd name="connsiteY54" fmla="*/ 6861 h 9645"/>
                        <a:gd name="connsiteX55" fmla="*/ 7430 w 10000"/>
                        <a:gd name="connsiteY55" fmla="*/ 6548 h 9645"/>
                        <a:gd name="connsiteX56" fmla="*/ 7470 w 10000"/>
                        <a:gd name="connsiteY56" fmla="*/ 6580 h 9645"/>
                        <a:gd name="connsiteX57" fmla="*/ 7590 w 10000"/>
                        <a:gd name="connsiteY57" fmla="*/ 6387 h 9645"/>
                        <a:gd name="connsiteX58" fmla="*/ 7831 w 10000"/>
                        <a:gd name="connsiteY58" fmla="*/ 6290 h 9645"/>
                        <a:gd name="connsiteX59" fmla="*/ 7952 w 10000"/>
                        <a:gd name="connsiteY59" fmla="*/ 5935 h 9645"/>
                        <a:gd name="connsiteX60" fmla="*/ 8313 w 10000"/>
                        <a:gd name="connsiteY60" fmla="*/ 5516 h 9645"/>
                        <a:gd name="connsiteX61" fmla="*/ 8594 w 10000"/>
                        <a:gd name="connsiteY61" fmla="*/ 5322 h 9645"/>
                        <a:gd name="connsiteX62" fmla="*/ 8795 w 10000"/>
                        <a:gd name="connsiteY62" fmla="*/ 4774 h 9645"/>
                        <a:gd name="connsiteX63" fmla="*/ 8795 w 10000"/>
                        <a:gd name="connsiteY63" fmla="*/ 4645 h 9645"/>
                        <a:gd name="connsiteX64" fmla="*/ 8755 w 10000"/>
                        <a:gd name="connsiteY64" fmla="*/ 4323 h 9645"/>
                        <a:gd name="connsiteX65" fmla="*/ 9157 w 10000"/>
                        <a:gd name="connsiteY65" fmla="*/ 3161 h 9645"/>
                        <a:gd name="connsiteX66" fmla="*/ 9277 w 10000"/>
                        <a:gd name="connsiteY66" fmla="*/ 3161 h 9645"/>
                        <a:gd name="connsiteX67" fmla="*/ 9438 w 10000"/>
                        <a:gd name="connsiteY67" fmla="*/ 3065 h 9645"/>
                        <a:gd name="connsiteX68" fmla="*/ 9920 w 10000"/>
                        <a:gd name="connsiteY68" fmla="*/ 2903 h 9645"/>
                        <a:gd name="connsiteX69" fmla="*/ 10000 w 10000"/>
                        <a:gd name="connsiteY69" fmla="*/ 2645 h 9645"/>
                        <a:gd name="connsiteX70" fmla="*/ 9960 w 10000"/>
                        <a:gd name="connsiteY70" fmla="*/ 2580 h 9645"/>
                        <a:gd name="connsiteX71" fmla="*/ 9799 w 10000"/>
                        <a:gd name="connsiteY71" fmla="*/ 2580 h 9645"/>
                        <a:gd name="connsiteX72" fmla="*/ 9679 w 10000"/>
                        <a:gd name="connsiteY72" fmla="*/ 2420 h 9645"/>
                        <a:gd name="connsiteX73" fmla="*/ 9438 w 10000"/>
                        <a:gd name="connsiteY73" fmla="*/ 2355 h 9645"/>
                        <a:gd name="connsiteX74" fmla="*/ 9317 w 10000"/>
                        <a:gd name="connsiteY74" fmla="*/ 2226 h 9645"/>
                        <a:gd name="connsiteX75" fmla="*/ 9237 w 10000"/>
                        <a:gd name="connsiteY75" fmla="*/ 1742 h 9645"/>
                        <a:gd name="connsiteX76" fmla="*/ 9237 w 10000"/>
                        <a:gd name="connsiteY76" fmla="*/ 1064 h 9645"/>
                        <a:gd name="connsiteX77" fmla="*/ 9036 w 10000"/>
                        <a:gd name="connsiteY77" fmla="*/ 839 h 9645"/>
                        <a:gd name="connsiteX78" fmla="*/ 8996 w 10000"/>
                        <a:gd name="connsiteY78" fmla="*/ 613 h 9645"/>
                        <a:gd name="connsiteX79" fmla="*/ 8675 w 10000"/>
                        <a:gd name="connsiteY79" fmla="*/ 290 h 9645"/>
                        <a:gd name="connsiteX80" fmla="*/ 8394 w 10000"/>
                        <a:gd name="connsiteY80" fmla="*/ 162 h 9645"/>
                        <a:gd name="connsiteX81" fmla="*/ 8233 w 10000"/>
                        <a:gd name="connsiteY81" fmla="*/ 0 h 9645"/>
                        <a:gd name="connsiteX82" fmla="*/ 7992 w 10000"/>
                        <a:gd name="connsiteY82" fmla="*/ 162 h 9645"/>
                        <a:gd name="connsiteX83" fmla="*/ 7831 w 10000"/>
                        <a:gd name="connsiteY83" fmla="*/ 129 h 9645"/>
                        <a:gd name="connsiteX84" fmla="*/ 7711 w 10000"/>
                        <a:gd name="connsiteY84" fmla="*/ 419 h 9645"/>
                        <a:gd name="connsiteX85" fmla="*/ 7390 w 10000"/>
                        <a:gd name="connsiteY85" fmla="*/ 484 h 9645"/>
                        <a:gd name="connsiteX86" fmla="*/ 7309 w 10000"/>
                        <a:gd name="connsiteY86" fmla="*/ 709 h 9645"/>
                        <a:gd name="connsiteX87" fmla="*/ 7028 w 10000"/>
                        <a:gd name="connsiteY87" fmla="*/ 709 h 9645"/>
                        <a:gd name="connsiteX88" fmla="*/ 6787 w 10000"/>
                        <a:gd name="connsiteY88" fmla="*/ 613 h 9645"/>
                        <a:gd name="connsiteX89" fmla="*/ 6265 w 10000"/>
                        <a:gd name="connsiteY89" fmla="*/ 613 h 9645"/>
                        <a:gd name="connsiteX90" fmla="*/ 5743 w 10000"/>
                        <a:gd name="connsiteY90" fmla="*/ 613 h 9645"/>
                        <a:gd name="connsiteX91" fmla="*/ 5783 w 10000"/>
                        <a:gd name="connsiteY91" fmla="*/ 484 h 9645"/>
                        <a:gd name="connsiteX92" fmla="*/ 5703 w 10000"/>
                        <a:gd name="connsiteY92" fmla="*/ 484 h 9645"/>
                        <a:gd name="connsiteX93" fmla="*/ 5663 w 10000"/>
                        <a:gd name="connsiteY93" fmla="*/ 613 h 9645"/>
                        <a:gd name="connsiteX94" fmla="*/ 5181 w 10000"/>
                        <a:gd name="connsiteY94" fmla="*/ 613 h 9645"/>
                        <a:gd name="connsiteX95" fmla="*/ 4699 w 10000"/>
                        <a:gd name="connsiteY95" fmla="*/ 613 h 9645"/>
                        <a:gd name="connsiteX96" fmla="*/ 4217 w 10000"/>
                        <a:gd name="connsiteY96" fmla="*/ 613 h 9645"/>
                        <a:gd name="connsiteX97" fmla="*/ 3735 w 10000"/>
                        <a:gd name="connsiteY97" fmla="*/ 613 h 9645"/>
                        <a:gd name="connsiteX98" fmla="*/ 3293 w 10000"/>
                        <a:gd name="connsiteY98" fmla="*/ 613 h 9645"/>
                        <a:gd name="connsiteX99" fmla="*/ 2811 w 10000"/>
                        <a:gd name="connsiteY99" fmla="*/ 613 h 9645"/>
                        <a:gd name="connsiteX100" fmla="*/ 2369 w 10000"/>
                        <a:gd name="connsiteY100" fmla="*/ 613 h 9645"/>
                        <a:gd name="connsiteX101" fmla="*/ 1888 w 10000"/>
                        <a:gd name="connsiteY101" fmla="*/ 613 h 9645"/>
                        <a:gd name="connsiteX102" fmla="*/ 1888 w 10000"/>
                        <a:gd name="connsiteY102" fmla="*/ 1064 h 9645"/>
                        <a:gd name="connsiteX103" fmla="*/ 1888 w 10000"/>
                        <a:gd name="connsiteY103" fmla="*/ 1645 h 9645"/>
                        <a:gd name="connsiteX104" fmla="*/ 1285 w 10000"/>
                        <a:gd name="connsiteY104" fmla="*/ 1645 h 9645"/>
                        <a:gd name="connsiteX105" fmla="*/ 1285 w 10000"/>
                        <a:gd name="connsiteY105" fmla="*/ 1903 h 9645"/>
                        <a:gd name="connsiteX0" fmla="*/ 1285 w 10000"/>
                        <a:gd name="connsiteY0" fmla="*/ 1973 h 10000"/>
                        <a:gd name="connsiteX1" fmla="*/ 1285 w 10000"/>
                        <a:gd name="connsiteY1" fmla="*/ 2509 h 10000"/>
                        <a:gd name="connsiteX2" fmla="*/ 1285 w 10000"/>
                        <a:gd name="connsiteY2" fmla="*/ 3010 h 10000"/>
                        <a:gd name="connsiteX3" fmla="*/ 1285 w 10000"/>
                        <a:gd name="connsiteY3" fmla="*/ 3512 h 10000"/>
                        <a:gd name="connsiteX4" fmla="*/ 1285 w 10000"/>
                        <a:gd name="connsiteY4" fmla="*/ 3979 h 10000"/>
                        <a:gd name="connsiteX5" fmla="*/ 643 w 10000"/>
                        <a:gd name="connsiteY5" fmla="*/ 4081 h 10000"/>
                        <a:gd name="connsiteX6" fmla="*/ 522 w 10000"/>
                        <a:gd name="connsiteY6" fmla="*/ 4347 h 10000"/>
                        <a:gd name="connsiteX7" fmla="*/ 241 w 10000"/>
                        <a:gd name="connsiteY7" fmla="*/ 4682 h 10000"/>
                        <a:gd name="connsiteX8" fmla="*/ 241 w 10000"/>
                        <a:gd name="connsiteY8" fmla="*/ 4950 h 10000"/>
                        <a:gd name="connsiteX9" fmla="*/ 120 w 10000"/>
                        <a:gd name="connsiteY9" fmla="*/ 5016 h 10000"/>
                        <a:gd name="connsiteX10" fmla="*/ 120 w 10000"/>
                        <a:gd name="connsiteY10" fmla="*/ 5250 h 10000"/>
                        <a:gd name="connsiteX11" fmla="*/ 0 w 10000"/>
                        <a:gd name="connsiteY11" fmla="*/ 5452 h 10000"/>
                        <a:gd name="connsiteX12" fmla="*/ 0 w 10000"/>
                        <a:gd name="connsiteY12" fmla="*/ 5618 h 10000"/>
                        <a:gd name="connsiteX13" fmla="*/ 241 w 10000"/>
                        <a:gd name="connsiteY13" fmla="*/ 5585 h 10000"/>
                        <a:gd name="connsiteX14" fmla="*/ 281 w 10000"/>
                        <a:gd name="connsiteY14" fmla="*/ 5886 h 10000"/>
                        <a:gd name="connsiteX15" fmla="*/ 602 w 10000"/>
                        <a:gd name="connsiteY15" fmla="*/ 6422 h 10000"/>
                        <a:gd name="connsiteX16" fmla="*/ 602 w 10000"/>
                        <a:gd name="connsiteY16" fmla="*/ 6455 h 10000"/>
                        <a:gd name="connsiteX17" fmla="*/ 482 w 10000"/>
                        <a:gd name="connsiteY17" fmla="*/ 6488 h 10000"/>
                        <a:gd name="connsiteX18" fmla="*/ 964 w 10000"/>
                        <a:gd name="connsiteY18" fmla="*/ 7023 h 10000"/>
                        <a:gd name="connsiteX19" fmla="*/ 1004 w 10000"/>
                        <a:gd name="connsiteY19" fmla="*/ 7190 h 10000"/>
                        <a:gd name="connsiteX20" fmla="*/ 964 w 10000"/>
                        <a:gd name="connsiteY20" fmla="*/ 7659 h 10000"/>
                        <a:gd name="connsiteX21" fmla="*/ 1044 w 10000"/>
                        <a:gd name="connsiteY21" fmla="*/ 7726 h 10000"/>
                        <a:gd name="connsiteX22" fmla="*/ 1365 w 10000"/>
                        <a:gd name="connsiteY22" fmla="*/ 7759 h 10000"/>
                        <a:gd name="connsiteX23" fmla="*/ 1406 w 10000"/>
                        <a:gd name="connsiteY23" fmla="*/ 7892 h 10000"/>
                        <a:gd name="connsiteX24" fmla="*/ 1767 w 10000"/>
                        <a:gd name="connsiteY24" fmla="*/ 7926 h 10000"/>
                        <a:gd name="connsiteX25" fmla="*/ 1968 w 10000"/>
                        <a:gd name="connsiteY25" fmla="*/ 8060 h 10000"/>
                        <a:gd name="connsiteX26" fmla="*/ 2008 w 10000"/>
                        <a:gd name="connsiteY26" fmla="*/ 8294 h 10000"/>
                        <a:gd name="connsiteX27" fmla="*/ 2651 w 10000"/>
                        <a:gd name="connsiteY27" fmla="*/ 8696 h 10000"/>
                        <a:gd name="connsiteX28" fmla="*/ 2811 w 10000"/>
                        <a:gd name="connsiteY28" fmla="*/ 9097 h 10000"/>
                        <a:gd name="connsiteX29" fmla="*/ 3253 w 10000"/>
                        <a:gd name="connsiteY29" fmla="*/ 9298 h 10000"/>
                        <a:gd name="connsiteX30" fmla="*/ 3414 w 10000"/>
                        <a:gd name="connsiteY30" fmla="*/ 9566 h 10000"/>
                        <a:gd name="connsiteX31" fmla="*/ 3735 w 10000"/>
                        <a:gd name="connsiteY31" fmla="*/ 9900 h 10000"/>
                        <a:gd name="connsiteX32" fmla="*/ 3976 w 10000"/>
                        <a:gd name="connsiteY32" fmla="*/ 10000 h 10000"/>
                        <a:gd name="connsiteX33" fmla="*/ 4137 w 10000"/>
                        <a:gd name="connsiteY33" fmla="*/ 9900 h 10000"/>
                        <a:gd name="connsiteX34" fmla="*/ 4538 w 10000"/>
                        <a:gd name="connsiteY34" fmla="*/ 9934 h 10000"/>
                        <a:gd name="connsiteX35" fmla="*/ 4600 w 10000"/>
                        <a:gd name="connsiteY35" fmla="*/ 7408 h 10000"/>
                        <a:gd name="connsiteX36" fmla="*/ 4762 w 10000"/>
                        <a:gd name="connsiteY36" fmla="*/ 7182 h 10000"/>
                        <a:gd name="connsiteX37" fmla="*/ 4901 w 10000"/>
                        <a:gd name="connsiteY37" fmla="*/ 7044 h 10000"/>
                        <a:gd name="connsiteX38" fmla="*/ 5080 w 10000"/>
                        <a:gd name="connsiteY38" fmla="*/ 7143 h 10000"/>
                        <a:gd name="connsiteX39" fmla="*/ 5337 w 10000"/>
                        <a:gd name="connsiteY39" fmla="*/ 7242 h 10000"/>
                        <a:gd name="connsiteX40" fmla="*/ 5564 w 10000"/>
                        <a:gd name="connsiteY40" fmla="*/ 7370 h 10000"/>
                        <a:gd name="connsiteX41" fmla="*/ 5768 w 10000"/>
                        <a:gd name="connsiteY41" fmla="*/ 7287 h 10000"/>
                        <a:gd name="connsiteX42" fmla="*/ 5933 w 10000"/>
                        <a:gd name="connsiteY42" fmla="*/ 7209 h 10000"/>
                        <a:gd name="connsiteX43" fmla="*/ 6089 w 10000"/>
                        <a:gd name="connsiteY43" fmla="*/ 7038 h 10000"/>
                        <a:gd name="connsiteX44" fmla="*/ 6274 w 10000"/>
                        <a:gd name="connsiteY44" fmla="*/ 6804 h 10000"/>
                        <a:gd name="connsiteX45" fmla="*/ 6389 w 10000"/>
                        <a:gd name="connsiteY45" fmla="*/ 6697 h 10000"/>
                        <a:gd name="connsiteX46" fmla="*/ 6524 w 10000"/>
                        <a:gd name="connsiteY46" fmla="*/ 6653 h 10000"/>
                        <a:gd name="connsiteX47" fmla="*/ 6531 w 10000"/>
                        <a:gd name="connsiteY47" fmla="*/ 6516 h 10000"/>
                        <a:gd name="connsiteX48" fmla="*/ 6424 w 10000"/>
                        <a:gd name="connsiteY48" fmla="*/ 6205 h 10000"/>
                        <a:gd name="connsiteX49" fmla="*/ 6602 w 10000"/>
                        <a:gd name="connsiteY49" fmla="*/ 6213 h 10000"/>
                        <a:gd name="connsiteX50" fmla="*/ 6707 w 10000"/>
                        <a:gd name="connsiteY50" fmla="*/ 6095 h 10000"/>
                        <a:gd name="connsiteX51" fmla="*/ 6876 w 10000"/>
                        <a:gd name="connsiteY51" fmla="*/ 6096 h 10000"/>
                        <a:gd name="connsiteX52" fmla="*/ 6827 w 10000"/>
                        <a:gd name="connsiteY52" fmla="*/ 6821 h 10000"/>
                        <a:gd name="connsiteX53" fmla="*/ 6991 w 10000"/>
                        <a:gd name="connsiteY53" fmla="*/ 6903 h 10000"/>
                        <a:gd name="connsiteX54" fmla="*/ 7275 w 10000"/>
                        <a:gd name="connsiteY54" fmla="*/ 7114 h 10000"/>
                        <a:gd name="connsiteX55" fmla="*/ 7430 w 10000"/>
                        <a:gd name="connsiteY55" fmla="*/ 6789 h 10000"/>
                        <a:gd name="connsiteX56" fmla="*/ 7470 w 10000"/>
                        <a:gd name="connsiteY56" fmla="*/ 6822 h 10000"/>
                        <a:gd name="connsiteX57" fmla="*/ 7590 w 10000"/>
                        <a:gd name="connsiteY57" fmla="*/ 6622 h 10000"/>
                        <a:gd name="connsiteX58" fmla="*/ 7831 w 10000"/>
                        <a:gd name="connsiteY58" fmla="*/ 6522 h 10000"/>
                        <a:gd name="connsiteX59" fmla="*/ 7952 w 10000"/>
                        <a:gd name="connsiteY59" fmla="*/ 6153 h 10000"/>
                        <a:gd name="connsiteX60" fmla="*/ 8313 w 10000"/>
                        <a:gd name="connsiteY60" fmla="*/ 5719 h 10000"/>
                        <a:gd name="connsiteX61" fmla="*/ 8594 w 10000"/>
                        <a:gd name="connsiteY61" fmla="*/ 5518 h 10000"/>
                        <a:gd name="connsiteX62" fmla="*/ 8795 w 10000"/>
                        <a:gd name="connsiteY62" fmla="*/ 4950 h 10000"/>
                        <a:gd name="connsiteX63" fmla="*/ 8795 w 10000"/>
                        <a:gd name="connsiteY63" fmla="*/ 4816 h 10000"/>
                        <a:gd name="connsiteX64" fmla="*/ 8755 w 10000"/>
                        <a:gd name="connsiteY64" fmla="*/ 4482 h 10000"/>
                        <a:gd name="connsiteX65" fmla="*/ 9157 w 10000"/>
                        <a:gd name="connsiteY65" fmla="*/ 3277 h 10000"/>
                        <a:gd name="connsiteX66" fmla="*/ 9277 w 10000"/>
                        <a:gd name="connsiteY66" fmla="*/ 3277 h 10000"/>
                        <a:gd name="connsiteX67" fmla="*/ 9438 w 10000"/>
                        <a:gd name="connsiteY67" fmla="*/ 3178 h 10000"/>
                        <a:gd name="connsiteX68" fmla="*/ 9920 w 10000"/>
                        <a:gd name="connsiteY68" fmla="*/ 3010 h 10000"/>
                        <a:gd name="connsiteX69" fmla="*/ 10000 w 10000"/>
                        <a:gd name="connsiteY69" fmla="*/ 2742 h 10000"/>
                        <a:gd name="connsiteX70" fmla="*/ 9960 w 10000"/>
                        <a:gd name="connsiteY70" fmla="*/ 2675 h 10000"/>
                        <a:gd name="connsiteX71" fmla="*/ 9799 w 10000"/>
                        <a:gd name="connsiteY71" fmla="*/ 2675 h 10000"/>
                        <a:gd name="connsiteX72" fmla="*/ 9679 w 10000"/>
                        <a:gd name="connsiteY72" fmla="*/ 2509 h 10000"/>
                        <a:gd name="connsiteX73" fmla="*/ 9438 w 10000"/>
                        <a:gd name="connsiteY73" fmla="*/ 2442 h 10000"/>
                        <a:gd name="connsiteX74" fmla="*/ 9317 w 10000"/>
                        <a:gd name="connsiteY74" fmla="*/ 2308 h 10000"/>
                        <a:gd name="connsiteX75" fmla="*/ 9237 w 10000"/>
                        <a:gd name="connsiteY75" fmla="*/ 1806 h 10000"/>
                        <a:gd name="connsiteX76" fmla="*/ 9237 w 10000"/>
                        <a:gd name="connsiteY76" fmla="*/ 1103 h 10000"/>
                        <a:gd name="connsiteX77" fmla="*/ 9036 w 10000"/>
                        <a:gd name="connsiteY77" fmla="*/ 870 h 10000"/>
                        <a:gd name="connsiteX78" fmla="*/ 8996 w 10000"/>
                        <a:gd name="connsiteY78" fmla="*/ 636 h 10000"/>
                        <a:gd name="connsiteX79" fmla="*/ 8675 w 10000"/>
                        <a:gd name="connsiteY79" fmla="*/ 301 h 10000"/>
                        <a:gd name="connsiteX80" fmla="*/ 8394 w 10000"/>
                        <a:gd name="connsiteY80" fmla="*/ 168 h 10000"/>
                        <a:gd name="connsiteX81" fmla="*/ 8233 w 10000"/>
                        <a:gd name="connsiteY81" fmla="*/ 0 h 10000"/>
                        <a:gd name="connsiteX82" fmla="*/ 7992 w 10000"/>
                        <a:gd name="connsiteY82" fmla="*/ 168 h 10000"/>
                        <a:gd name="connsiteX83" fmla="*/ 7831 w 10000"/>
                        <a:gd name="connsiteY83" fmla="*/ 134 h 10000"/>
                        <a:gd name="connsiteX84" fmla="*/ 7711 w 10000"/>
                        <a:gd name="connsiteY84" fmla="*/ 434 h 10000"/>
                        <a:gd name="connsiteX85" fmla="*/ 7390 w 10000"/>
                        <a:gd name="connsiteY85" fmla="*/ 502 h 10000"/>
                        <a:gd name="connsiteX86" fmla="*/ 7309 w 10000"/>
                        <a:gd name="connsiteY86" fmla="*/ 735 h 10000"/>
                        <a:gd name="connsiteX87" fmla="*/ 7028 w 10000"/>
                        <a:gd name="connsiteY87" fmla="*/ 735 h 10000"/>
                        <a:gd name="connsiteX88" fmla="*/ 6787 w 10000"/>
                        <a:gd name="connsiteY88" fmla="*/ 636 h 10000"/>
                        <a:gd name="connsiteX89" fmla="*/ 6265 w 10000"/>
                        <a:gd name="connsiteY89" fmla="*/ 636 h 10000"/>
                        <a:gd name="connsiteX90" fmla="*/ 5743 w 10000"/>
                        <a:gd name="connsiteY90" fmla="*/ 636 h 10000"/>
                        <a:gd name="connsiteX91" fmla="*/ 5783 w 10000"/>
                        <a:gd name="connsiteY91" fmla="*/ 502 h 10000"/>
                        <a:gd name="connsiteX92" fmla="*/ 5703 w 10000"/>
                        <a:gd name="connsiteY92" fmla="*/ 502 h 10000"/>
                        <a:gd name="connsiteX93" fmla="*/ 5663 w 10000"/>
                        <a:gd name="connsiteY93" fmla="*/ 636 h 10000"/>
                        <a:gd name="connsiteX94" fmla="*/ 5181 w 10000"/>
                        <a:gd name="connsiteY94" fmla="*/ 636 h 10000"/>
                        <a:gd name="connsiteX95" fmla="*/ 4699 w 10000"/>
                        <a:gd name="connsiteY95" fmla="*/ 636 h 10000"/>
                        <a:gd name="connsiteX96" fmla="*/ 4217 w 10000"/>
                        <a:gd name="connsiteY96" fmla="*/ 636 h 10000"/>
                        <a:gd name="connsiteX97" fmla="*/ 3735 w 10000"/>
                        <a:gd name="connsiteY97" fmla="*/ 636 h 10000"/>
                        <a:gd name="connsiteX98" fmla="*/ 3293 w 10000"/>
                        <a:gd name="connsiteY98" fmla="*/ 636 h 10000"/>
                        <a:gd name="connsiteX99" fmla="*/ 2811 w 10000"/>
                        <a:gd name="connsiteY99" fmla="*/ 636 h 10000"/>
                        <a:gd name="connsiteX100" fmla="*/ 2369 w 10000"/>
                        <a:gd name="connsiteY100" fmla="*/ 636 h 10000"/>
                        <a:gd name="connsiteX101" fmla="*/ 1888 w 10000"/>
                        <a:gd name="connsiteY101" fmla="*/ 636 h 10000"/>
                        <a:gd name="connsiteX102" fmla="*/ 1888 w 10000"/>
                        <a:gd name="connsiteY102" fmla="*/ 1103 h 10000"/>
                        <a:gd name="connsiteX103" fmla="*/ 1888 w 10000"/>
                        <a:gd name="connsiteY103" fmla="*/ 1706 h 10000"/>
                        <a:gd name="connsiteX104" fmla="*/ 1285 w 10000"/>
                        <a:gd name="connsiteY104" fmla="*/ 1706 h 10000"/>
                        <a:gd name="connsiteX105" fmla="*/ 1285 w 10000"/>
                        <a:gd name="connsiteY105" fmla="*/ 1973 h 10000"/>
                        <a:gd name="connsiteX0" fmla="*/ 1285 w 10000"/>
                        <a:gd name="connsiteY0" fmla="*/ 1973 h 10000"/>
                        <a:gd name="connsiteX1" fmla="*/ 1285 w 10000"/>
                        <a:gd name="connsiteY1" fmla="*/ 2509 h 10000"/>
                        <a:gd name="connsiteX2" fmla="*/ 1285 w 10000"/>
                        <a:gd name="connsiteY2" fmla="*/ 3010 h 10000"/>
                        <a:gd name="connsiteX3" fmla="*/ 1285 w 10000"/>
                        <a:gd name="connsiteY3" fmla="*/ 3512 h 10000"/>
                        <a:gd name="connsiteX4" fmla="*/ 1285 w 10000"/>
                        <a:gd name="connsiteY4" fmla="*/ 3979 h 10000"/>
                        <a:gd name="connsiteX5" fmla="*/ 643 w 10000"/>
                        <a:gd name="connsiteY5" fmla="*/ 4081 h 10000"/>
                        <a:gd name="connsiteX6" fmla="*/ 522 w 10000"/>
                        <a:gd name="connsiteY6" fmla="*/ 4347 h 10000"/>
                        <a:gd name="connsiteX7" fmla="*/ 241 w 10000"/>
                        <a:gd name="connsiteY7" fmla="*/ 4682 h 10000"/>
                        <a:gd name="connsiteX8" fmla="*/ 241 w 10000"/>
                        <a:gd name="connsiteY8" fmla="*/ 4950 h 10000"/>
                        <a:gd name="connsiteX9" fmla="*/ 120 w 10000"/>
                        <a:gd name="connsiteY9" fmla="*/ 5016 h 10000"/>
                        <a:gd name="connsiteX10" fmla="*/ 120 w 10000"/>
                        <a:gd name="connsiteY10" fmla="*/ 5250 h 10000"/>
                        <a:gd name="connsiteX11" fmla="*/ 0 w 10000"/>
                        <a:gd name="connsiteY11" fmla="*/ 5452 h 10000"/>
                        <a:gd name="connsiteX12" fmla="*/ 0 w 10000"/>
                        <a:gd name="connsiteY12" fmla="*/ 5618 h 10000"/>
                        <a:gd name="connsiteX13" fmla="*/ 241 w 10000"/>
                        <a:gd name="connsiteY13" fmla="*/ 5585 h 10000"/>
                        <a:gd name="connsiteX14" fmla="*/ 281 w 10000"/>
                        <a:gd name="connsiteY14" fmla="*/ 5886 h 10000"/>
                        <a:gd name="connsiteX15" fmla="*/ 602 w 10000"/>
                        <a:gd name="connsiteY15" fmla="*/ 6422 h 10000"/>
                        <a:gd name="connsiteX16" fmla="*/ 602 w 10000"/>
                        <a:gd name="connsiteY16" fmla="*/ 6455 h 10000"/>
                        <a:gd name="connsiteX17" fmla="*/ 482 w 10000"/>
                        <a:gd name="connsiteY17" fmla="*/ 6488 h 10000"/>
                        <a:gd name="connsiteX18" fmla="*/ 964 w 10000"/>
                        <a:gd name="connsiteY18" fmla="*/ 7023 h 10000"/>
                        <a:gd name="connsiteX19" fmla="*/ 1004 w 10000"/>
                        <a:gd name="connsiteY19" fmla="*/ 7190 h 10000"/>
                        <a:gd name="connsiteX20" fmla="*/ 964 w 10000"/>
                        <a:gd name="connsiteY20" fmla="*/ 7659 h 10000"/>
                        <a:gd name="connsiteX21" fmla="*/ 1044 w 10000"/>
                        <a:gd name="connsiteY21" fmla="*/ 7726 h 10000"/>
                        <a:gd name="connsiteX22" fmla="*/ 1365 w 10000"/>
                        <a:gd name="connsiteY22" fmla="*/ 7759 h 10000"/>
                        <a:gd name="connsiteX23" fmla="*/ 1406 w 10000"/>
                        <a:gd name="connsiteY23" fmla="*/ 7892 h 10000"/>
                        <a:gd name="connsiteX24" fmla="*/ 1767 w 10000"/>
                        <a:gd name="connsiteY24" fmla="*/ 7926 h 10000"/>
                        <a:gd name="connsiteX25" fmla="*/ 1968 w 10000"/>
                        <a:gd name="connsiteY25" fmla="*/ 8060 h 10000"/>
                        <a:gd name="connsiteX26" fmla="*/ 2008 w 10000"/>
                        <a:gd name="connsiteY26" fmla="*/ 8294 h 10000"/>
                        <a:gd name="connsiteX27" fmla="*/ 2651 w 10000"/>
                        <a:gd name="connsiteY27" fmla="*/ 8696 h 10000"/>
                        <a:gd name="connsiteX28" fmla="*/ 2811 w 10000"/>
                        <a:gd name="connsiteY28" fmla="*/ 9097 h 10000"/>
                        <a:gd name="connsiteX29" fmla="*/ 3253 w 10000"/>
                        <a:gd name="connsiteY29" fmla="*/ 9298 h 10000"/>
                        <a:gd name="connsiteX30" fmla="*/ 3414 w 10000"/>
                        <a:gd name="connsiteY30" fmla="*/ 9566 h 10000"/>
                        <a:gd name="connsiteX31" fmla="*/ 3735 w 10000"/>
                        <a:gd name="connsiteY31" fmla="*/ 9900 h 10000"/>
                        <a:gd name="connsiteX32" fmla="*/ 3976 w 10000"/>
                        <a:gd name="connsiteY32" fmla="*/ 10000 h 10000"/>
                        <a:gd name="connsiteX33" fmla="*/ 4137 w 10000"/>
                        <a:gd name="connsiteY33" fmla="*/ 9900 h 10000"/>
                        <a:gd name="connsiteX34" fmla="*/ 4406 w 10000"/>
                        <a:gd name="connsiteY34" fmla="*/ 7531 h 10000"/>
                        <a:gd name="connsiteX35" fmla="*/ 4600 w 10000"/>
                        <a:gd name="connsiteY35" fmla="*/ 7408 h 10000"/>
                        <a:gd name="connsiteX36" fmla="*/ 4762 w 10000"/>
                        <a:gd name="connsiteY36" fmla="*/ 7182 h 10000"/>
                        <a:gd name="connsiteX37" fmla="*/ 4901 w 10000"/>
                        <a:gd name="connsiteY37" fmla="*/ 7044 h 10000"/>
                        <a:gd name="connsiteX38" fmla="*/ 5080 w 10000"/>
                        <a:gd name="connsiteY38" fmla="*/ 7143 h 10000"/>
                        <a:gd name="connsiteX39" fmla="*/ 5337 w 10000"/>
                        <a:gd name="connsiteY39" fmla="*/ 7242 h 10000"/>
                        <a:gd name="connsiteX40" fmla="*/ 5564 w 10000"/>
                        <a:gd name="connsiteY40" fmla="*/ 7370 h 10000"/>
                        <a:gd name="connsiteX41" fmla="*/ 5768 w 10000"/>
                        <a:gd name="connsiteY41" fmla="*/ 7287 h 10000"/>
                        <a:gd name="connsiteX42" fmla="*/ 5933 w 10000"/>
                        <a:gd name="connsiteY42" fmla="*/ 7209 h 10000"/>
                        <a:gd name="connsiteX43" fmla="*/ 6089 w 10000"/>
                        <a:gd name="connsiteY43" fmla="*/ 7038 h 10000"/>
                        <a:gd name="connsiteX44" fmla="*/ 6274 w 10000"/>
                        <a:gd name="connsiteY44" fmla="*/ 6804 h 10000"/>
                        <a:gd name="connsiteX45" fmla="*/ 6389 w 10000"/>
                        <a:gd name="connsiteY45" fmla="*/ 6697 h 10000"/>
                        <a:gd name="connsiteX46" fmla="*/ 6524 w 10000"/>
                        <a:gd name="connsiteY46" fmla="*/ 6653 h 10000"/>
                        <a:gd name="connsiteX47" fmla="*/ 6531 w 10000"/>
                        <a:gd name="connsiteY47" fmla="*/ 6516 h 10000"/>
                        <a:gd name="connsiteX48" fmla="*/ 6424 w 10000"/>
                        <a:gd name="connsiteY48" fmla="*/ 6205 h 10000"/>
                        <a:gd name="connsiteX49" fmla="*/ 6602 w 10000"/>
                        <a:gd name="connsiteY49" fmla="*/ 6213 h 10000"/>
                        <a:gd name="connsiteX50" fmla="*/ 6707 w 10000"/>
                        <a:gd name="connsiteY50" fmla="*/ 6095 h 10000"/>
                        <a:gd name="connsiteX51" fmla="*/ 6876 w 10000"/>
                        <a:gd name="connsiteY51" fmla="*/ 6096 h 10000"/>
                        <a:gd name="connsiteX52" fmla="*/ 6827 w 10000"/>
                        <a:gd name="connsiteY52" fmla="*/ 6821 h 10000"/>
                        <a:gd name="connsiteX53" fmla="*/ 6991 w 10000"/>
                        <a:gd name="connsiteY53" fmla="*/ 6903 h 10000"/>
                        <a:gd name="connsiteX54" fmla="*/ 7275 w 10000"/>
                        <a:gd name="connsiteY54" fmla="*/ 7114 h 10000"/>
                        <a:gd name="connsiteX55" fmla="*/ 7430 w 10000"/>
                        <a:gd name="connsiteY55" fmla="*/ 6789 h 10000"/>
                        <a:gd name="connsiteX56" fmla="*/ 7470 w 10000"/>
                        <a:gd name="connsiteY56" fmla="*/ 6822 h 10000"/>
                        <a:gd name="connsiteX57" fmla="*/ 7590 w 10000"/>
                        <a:gd name="connsiteY57" fmla="*/ 6622 h 10000"/>
                        <a:gd name="connsiteX58" fmla="*/ 7831 w 10000"/>
                        <a:gd name="connsiteY58" fmla="*/ 6522 h 10000"/>
                        <a:gd name="connsiteX59" fmla="*/ 7952 w 10000"/>
                        <a:gd name="connsiteY59" fmla="*/ 6153 h 10000"/>
                        <a:gd name="connsiteX60" fmla="*/ 8313 w 10000"/>
                        <a:gd name="connsiteY60" fmla="*/ 5719 h 10000"/>
                        <a:gd name="connsiteX61" fmla="*/ 8594 w 10000"/>
                        <a:gd name="connsiteY61" fmla="*/ 5518 h 10000"/>
                        <a:gd name="connsiteX62" fmla="*/ 8795 w 10000"/>
                        <a:gd name="connsiteY62" fmla="*/ 4950 h 10000"/>
                        <a:gd name="connsiteX63" fmla="*/ 8795 w 10000"/>
                        <a:gd name="connsiteY63" fmla="*/ 4816 h 10000"/>
                        <a:gd name="connsiteX64" fmla="*/ 8755 w 10000"/>
                        <a:gd name="connsiteY64" fmla="*/ 4482 h 10000"/>
                        <a:gd name="connsiteX65" fmla="*/ 9157 w 10000"/>
                        <a:gd name="connsiteY65" fmla="*/ 3277 h 10000"/>
                        <a:gd name="connsiteX66" fmla="*/ 9277 w 10000"/>
                        <a:gd name="connsiteY66" fmla="*/ 3277 h 10000"/>
                        <a:gd name="connsiteX67" fmla="*/ 9438 w 10000"/>
                        <a:gd name="connsiteY67" fmla="*/ 3178 h 10000"/>
                        <a:gd name="connsiteX68" fmla="*/ 9920 w 10000"/>
                        <a:gd name="connsiteY68" fmla="*/ 3010 h 10000"/>
                        <a:gd name="connsiteX69" fmla="*/ 10000 w 10000"/>
                        <a:gd name="connsiteY69" fmla="*/ 2742 h 10000"/>
                        <a:gd name="connsiteX70" fmla="*/ 9960 w 10000"/>
                        <a:gd name="connsiteY70" fmla="*/ 2675 h 10000"/>
                        <a:gd name="connsiteX71" fmla="*/ 9799 w 10000"/>
                        <a:gd name="connsiteY71" fmla="*/ 2675 h 10000"/>
                        <a:gd name="connsiteX72" fmla="*/ 9679 w 10000"/>
                        <a:gd name="connsiteY72" fmla="*/ 2509 h 10000"/>
                        <a:gd name="connsiteX73" fmla="*/ 9438 w 10000"/>
                        <a:gd name="connsiteY73" fmla="*/ 2442 h 10000"/>
                        <a:gd name="connsiteX74" fmla="*/ 9317 w 10000"/>
                        <a:gd name="connsiteY74" fmla="*/ 2308 h 10000"/>
                        <a:gd name="connsiteX75" fmla="*/ 9237 w 10000"/>
                        <a:gd name="connsiteY75" fmla="*/ 1806 h 10000"/>
                        <a:gd name="connsiteX76" fmla="*/ 9237 w 10000"/>
                        <a:gd name="connsiteY76" fmla="*/ 1103 h 10000"/>
                        <a:gd name="connsiteX77" fmla="*/ 9036 w 10000"/>
                        <a:gd name="connsiteY77" fmla="*/ 870 h 10000"/>
                        <a:gd name="connsiteX78" fmla="*/ 8996 w 10000"/>
                        <a:gd name="connsiteY78" fmla="*/ 636 h 10000"/>
                        <a:gd name="connsiteX79" fmla="*/ 8675 w 10000"/>
                        <a:gd name="connsiteY79" fmla="*/ 301 h 10000"/>
                        <a:gd name="connsiteX80" fmla="*/ 8394 w 10000"/>
                        <a:gd name="connsiteY80" fmla="*/ 168 h 10000"/>
                        <a:gd name="connsiteX81" fmla="*/ 8233 w 10000"/>
                        <a:gd name="connsiteY81" fmla="*/ 0 h 10000"/>
                        <a:gd name="connsiteX82" fmla="*/ 7992 w 10000"/>
                        <a:gd name="connsiteY82" fmla="*/ 168 h 10000"/>
                        <a:gd name="connsiteX83" fmla="*/ 7831 w 10000"/>
                        <a:gd name="connsiteY83" fmla="*/ 134 h 10000"/>
                        <a:gd name="connsiteX84" fmla="*/ 7711 w 10000"/>
                        <a:gd name="connsiteY84" fmla="*/ 434 h 10000"/>
                        <a:gd name="connsiteX85" fmla="*/ 7390 w 10000"/>
                        <a:gd name="connsiteY85" fmla="*/ 502 h 10000"/>
                        <a:gd name="connsiteX86" fmla="*/ 7309 w 10000"/>
                        <a:gd name="connsiteY86" fmla="*/ 735 h 10000"/>
                        <a:gd name="connsiteX87" fmla="*/ 7028 w 10000"/>
                        <a:gd name="connsiteY87" fmla="*/ 735 h 10000"/>
                        <a:gd name="connsiteX88" fmla="*/ 6787 w 10000"/>
                        <a:gd name="connsiteY88" fmla="*/ 636 h 10000"/>
                        <a:gd name="connsiteX89" fmla="*/ 6265 w 10000"/>
                        <a:gd name="connsiteY89" fmla="*/ 636 h 10000"/>
                        <a:gd name="connsiteX90" fmla="*/ 5743 w 10000"/>
                        <a:gd name="connsiteY90" fmla="*/ 636 h 10000"/>
                        <a:gd name="connsiteX91" fmla="*/ 5783 w 10000"/>
                        <a:gd name="connsiteY91" fmla="*/ 502 h 10000"/>
                        <a:gd name="connsiteX92" fmla="*/ 5703 w 10000"/>
                        <a:gd name="connsiteY92" fmla="*/ 502 h 10000"/>
                        <a:gd name="connsiteX93" fmla="*/ 5663 w 10000"/>
                        <a:gd name="connsiteY93" fmla="*/ 636 h 10000"/>
                        <a:gd name="connsiteX94" fmla="*/ 5181 w 10000"/>
                        <a:gd name="connsiteY94" fmla="*/ 636 h 10000"/>
                        <a:gd name="connsiteX95" fmla="*/ 4699 w 10000"/>
                        <a:gd name="connsiteY95" fmla="*/ 636 h 10000"/>
                        <a:gd name="connsiteX96" fmla="*/ 4217 w 10000"/>
                        <a:gd name="connsiteY96" fmla="*/ 636 h 10000"/>
                        <a:gd name="connsiteX97" fmla="*/ 3735 w 10000"/>
                        <a:gd name="connsiteY97" fmla="*/ 636 h 10000"/>
                        <a:gd name="connsiteX98" fmla="*/ 3293 w 10000"/>
                        <a:gd name="connsiteY98" fmla="*/ 636 h 10000"/>
                        <a:gd name="connsiteX99" fmla="*/ 2811 w 10000"/>
                        <a:gd name="connsiteY99" fmla="*/ 636 h 10000"/>
                        <a:gd name="connsiteX100" fmla="*/ 2369 w 10000"/>
                        <a:gd name="connsiteY100" fmla="*/ 636 h 10000"/>
                        <a:gd name="connsiteX101" fmla="*/ 1888 w 10000"/>
                        <a:gd name="connsiteY101" fmla="*/ 636 h 10000"/>
                        <a:gd name="connsiteX102" fmla="*/ 1888 w 10000"/>
                        <a:gd name="connsiteY102" fmla="*/ 1103 h 10000"/>
                        <a:gd name="connsiteX103" fmla="*/ 1888 w 10000"/>
                        <a:gd name="connsiteY103" fmla="*/ 1706 h 10000"/>
                        <a:gd name="connsiteX104" fmla="*/ 1285 w 10000"/>
                        <a:gd name="connsiteY104" fmla="*/ 1706 h 10000"/>
                        <a:gd name="connsiteX105" fmla="*/ 1285 w 10000"/>
                        <a:gd name="connsiteY105" fmla="*/ 1973 h 10000"/>
                        <a:gd name="connsiteX0" fmla="*/ 1285 w 10000"/>
                        <a:gd name="connsiteY0" fmla="*/ 1973 h 10000"/>
                        <a:gd name="connsiteX1" fmla="*/ 1285 w 10000"/>
                        <a:gd name="connsiteY1" fmla="*/ 2509 h 10000"/>
                        <a:gd name="connsiteX2" fmla="*/ 1285 w 10000"/>
                        <a:gd name="connsiteY2" fmla="*/ 3010 h 10000"/>
                        <a:gd name="connsiteX3" fmla="*/ 1285 w 10000"/>
                        <a:gd name="connsiteY3" fmla="*/ 3512 h 10000"/>
                        <a:gd name="connsiteX4" fmla="*/ 1285 w 10000"/>
                        <a:gd name="connsiteY4" fmla="*/ 3979 h 10000"/>
                        <a:gd name="connsiteX5" fmla="*/ 643 w 10000"/>
                        <a:gd name="connsiteY5" fmla="*/ 4081 h 10000"/>
                        <a:gd name="connsiteX6" fmla="*/ 522 w 10000"/>
                        <a:gd name="connsiteY6" fmla="*/ 4347 h 10000"/>
                        <a:gd name="connsiteX7" fmla="*/ 241 w 10000"/>
                        <a:gd name="connsiteY7" fmla="*/ 4682 h 10000"/>
                        <a:gd name="connsiteX8" fmla="*/ 241 w 10000"/>
                        <a:gd name="connsiteY8" fmla="*/ 4950 h 10000"/>
                        <a:gd name="connsiteX9" fmla="*/ 120 w 10000"/>
                        <a:gd name="connsiteY9" fmla="*/ 5016 h 10000"/>
                        <a:gd name="connsiteX10" fmla="*/ 120 w 10000"/>
                        <a:gd name="connsiteY10" fmla="*/ 5250 h 10000"/>
                        <a:gd name="connsiteX11" fmla="*/ 0 w 10000"/>
                        <a:gd name="connsiteY11" fmla="*/ 5452 h 10000"/>
                        <a:gd name="connsiteX12" fmla="*/ 0 w 10000"/>
                        <a:gd name="connsiteY12" fmla="*/ 5618 h 10000"/>
                        <a:gd name="connsiteX13" fmla="*/ 241 w 10000"/>
                        <a:gd name="connsiteY13" fmla="*/ 5585 h 10000"/>
                        <a:gd name="connsiteX14" fmla="*/ 281 w 10000"/>
                        <a:gd name="connsiteY14" fmla="*/ 5886 h 10000"/>
                        <a:gd name="connsiteX15" fmla="*/ 602 w 10000"/>
                        <a:gd name="connsiteY15" fmla="*/ 6422 h 10000"/>
                        <a:gd name="connsiteX16" fmla="*/ 602 w 10000"/>
                        <a:gd name="connsiteY16" fmla="*/ 6455 h 10000"/>
                        <a:gd name="connsiteX17" fmla="*/ 482 w 10000"/>
                        <a:gd name="connsiteY17" fmla="*/ 6488 h 10000"/>
                        <a:gd name="connsiteX18" fmla="*/ 964 w 10000"/>
                        <a:gd name="connsiteY18" fmla="*/ 7023 h 10000"/>
                        <a:gd name="connsiteX19" fmla="*/ 1004 w 10000"/>
                        <a:gd name="connsiteY19" fmla="*/ 7190 h 10000"/>
                        <a:gd name="connsiteX20" fmla="*/ 964 w 10000"/>
                        <a:gd name="connsiteY20" fmla="*/ 7659 h 10000"/>
                        <a:gd name="connsiteX21" fmla="*/ 1044 w 10000"/>
                        <a:gd name="connsiteY21" fmla="*/ 7726 h 10000"/>
                        <a:gd name="connsiteX22" fmla="*/ 1365 w 10000"/>
                        <a:gd name="connsiteY22" fmla="*/ 7759 h 10000"/>
                        <a:gd name="connsiteX23" fmla="*/ 1406 w 10000"/>
                        <a:gd name="connsiteY23" fmla="*/ 7892 h 10000"/>
                        <a:gd name="connsiteX24" fmla="*/ 1767 w 10000"/>
                        <a:gd name="connsiteY24" fmla="*/ 7926 h 10000"/>
                        <a:gd name="connsiteX25" fmla="*/ 1968 w 10000"/>
                        <a:gd name="connsiteY25" fmla="*/ 8060 h 10000"/>
                        <a:gd name="connsiteX26" fmla="*/ 2008 w 10000"/>
                        <a:gd name="connsiteY26" fmla="*/ 8294 h 10000"/>
                        <a:gd name="connsiteX27" fmla="*/ 2651 w 10000"/>
                        <a:gd name="connsiteY27" fmla="*/ 8696 h 10000"/>
                        <a:gd name="connsiteX28" fmla="*/ 2811 w 10000"/>
                        <a:gd name="connsiteY28" fmla="*/ 9097 h 10000"/>
                        <a:gd name="connsiteX29" fmla="*/ 3253 w 10000"/>
                        <a:gd name="connsiteY29" fmla="*/ 9298 h 10000"/>
                        <a:gd name="connsiteX30" fmla="*/ 3414 w 10000"/>
                        <a:gd name="connsiteY30" fmla="*/ 9566 h 10000"/>
                        <a:gd name="connsiteX31" fmla="*/ 3735 w 10000"/>
                        <a:gd name="connsiteY31" fmla="*/ 9900 h 10000"/>
                        <a:gd name="connsiteX32" fmla="*/ 3976 w 10000"/>
                        <a:gd name="connsiteY32" fmla="*/ 10000 h 10000"/>
                        <a:gd name="connsiteX33" fmla="*/ 4153 w 10000"/>
                        <a:gd name="connsiteY33" fmla="*/ 7579 h 10000"/>
                        <a:gd name="connsiteX34" fmla="*/ 4406 w 10000"/>
                        <a:gd name="connsiteY34" fmla="*/ 7531 h 10000"/>
                        <a:gd name="connsiteX35" fmla="*/ 4600 w 10000"/>
                        <a:gd name="connsiteY35" fmla="*/ 7408 h 10000"/>
                        <a:gd name="connsiteX36" fmla="*/ 4762 w 10000"/>
                        <a:gd name="connsiteY36" fmla="*/ 7182 h 10000"/>
                        <a:gd name="connsiteX37" fmla="*/ 4901 w 10000"/>
                        <a:gd name="connsiteY37" fmla="*/ 7044 h 10000"/>
                        <a:gd name="connsiteX38" fmla="*/ 5080 w 10000"/>
                        <a:gd name="connsiteY38" fmla="*/ 7143 h 10000"/>
                        <a:gd name="connsiteX39" fmla="*/ 5337 w 10000"/>
                        <a:gd name="connsiteY39" fmla="*/ 7242 h 10000"/>
                        <a:gd name="connsiteX40" fmla="*/ 5564 w 10000"/>
                        <a:gd name="connsiteY40" fmla="*/ 7370 h 10000"/>
                        <a:gd name="connsiteX41" fmla="*/ 5768 w 10000"/>
                        <a:gd name="connsiteY41" fmla="*/ 7287 h 10000"/>
                        <a:gd name="connsiteX42" fmla="*/ 5933 w 10000"/>
                        <a:gd name="connsiteY42" fmla="*/ 7209 h 10000"/>
                        <a:gd name="connsiteX43" fmla="*/ 6089 w 10000"/>
                        <a:gd name="connsiteY43" fmla="*/ 7038 h 10000"/>
                        <a:gd name="connsiteX44" fmla="*/ 6274 w 10000"/>
                        <a:gd name="connsiteY44" fmla="*/ 6804 h 10000"/>
                        <a:gd name="connsiteX45" fmla="*/ 6389 w 10000"/>
                        <a:gd name="connsiteY45" fmla="*/ 6697 h 10000"/>
                        <a:gd name="connsiteX46" fmla="*/ 6524 w 10000"/>
                        <a:gd name="connsiteY46" fmla="*/ 6653 h 10000"/>
                        <a:gd name="connsiteX47" fmla="*/ 6531 w 10000"/>
                        <a:gd name="connsiteY47" fmla="*/ 6516 h 10000"/>
                        <a:gd name="connsiteX48" fmla="*/ 6424 w 10000"/>
                        <a:gd name="connsiteY48" fmla="*/ 6205 h 10000"/>
                        <a:gd name="connsiteX49" fmla="*/ 6602 w 10000"/>
                        <a:gd name="connsiteY49" fmla="*/ 6213 h 10000"/>
                        <a:gd name="connsiteX50" fmla="*/ 6707 w 10000"/>
                        <a:gd name="connsiteY50" fmla="*/ 6095 h 10000"/>
                        <a:gd name="connsiteX51" fmla="*/ 6876 w 10000"/>
                        <a:gd name="connsiteY51" fmla="*/ 6096 h 10000"/>
                        <a:gd name="connsiteX52" fmla="*/ 6827 w 10000"/>
                        <a:gd name="connsiteY52" fmla="*/ 6821 h 10000"/>
                        <a:gd name="connsiteX53" fmla="*/ 6991 w 10000"/>
                        <a:gd name="connsiteY53" fmla="*/ 6903 h 10000"/>
                        <a:gd name="connsiteX54" fmla="*/ 7275 w 10000"/>
                        <a:gd name="connsiteY54" fmla="*/ 7114 h 10000"/>
                        <a:gd name="connsiteX55" fmla="*/ 7430 w 10000"/>
                        <a:gd name="connsiteY55" fmla="*/ 6789 h 10000"/>
                        <a:gd name="connsiteX56" fmla="*/ 7470 w 10000"/>
                        <a:gd name="connsiteY56" fmla="*/ 6822 h 10000"/>
                        <a:gd name="connsiteX57" fmla="*/ 7590 w 10000"/>
                        <a:gd name="connsiteY57" fmla="*/ 6622 h 10000"/>
                        <a:gd name="connsiteX58" fmla="*/ 7831 w 10000"/>
                        <a:gd name="connsiteY58" fmla="*/ 6522 h 10000"/>
                        <a:gd name="connsiteX59" fmla="*/ 7952 w 10000"/>
                        <a:gd name="connsiteY59" fmla="*/ 6153 h 10000"/>
                        <a:gd name="connsiteX60" fmla="*/ 8313 w 10000"/>
                        <a:gd name="connsiteY60" fmla="*/ 5719 h 10000"/>
                        <a:gd name="connsiteX61" fmla="*/ 8594 w 10000"/>
                        <a:gd name="connsiteY61" fmla="*/ 5518 h 10000"/>
                        <a:gd name="connsiteX62" fmla="*/ 8795 w 10000"/>
                        <a:gd name="connsiteY62" fmla="*/ 4950 h 10000"/>
                        <a:gd name="connsiteX63" fmla="*/ 8795 w 10000"/>
                        <a:gd name="connsiteY63" fmla="*/ 4816 h 10000"/>
                        <a:gd name="connsiteX64" fmla="*/ 8755 w 10000"/>
                        <a:gd name="connsiteY64" fmla="*/ 4482 h 10000"/>
                        <a:gd name="connsiteX65" fmla="*/ 9157 w 10000"/>
                        <a:gd name="connsiteY65" fmla="*/ 3277 h 10000"/>
                        <a:gd name="connsiteX66" fmla="*/ 9277 w 10000"/>
                        <a:gd name="connsiteY66" fmla="*/ 3277 h 10000"/>
                        <a:gd name="connsiteX67" fmla="*/ 9438 w 10000"/>
                        <a:gd name="connsiteY67" fmla="*/ 3178 h 10000"/>
                        <a:gd name="connsiteX68" fmla="*/ 9920 w 10000"/>
                        <a:gd name="connsiteY68" fmla="*/ 3010 h 10000"/>
                        <a:gd name="connsiteX69" fmla="*/ 10000 w 10000"/>
                        <a:gd name="connsiteY69" fmla="*/ 2742 h 10000"/>
                        <a:gd name="connsiteX70" fmla="*/ 9960 w 10000"/>
                        <a:gd name="connsiteY70" fmla="*/ 2675 h 10000"/>
                        <a:gd name="connsiteX71" fmla="*/ 9799 w 10000"/>
                        <a:gd name="connsiteY71" fmla="*/ 2675 h 10000"/>
                        <a:gd name="connsiteX72" fmla="*/ 9679 w 10000"/>
                        <a:gd name="connsiteY72" fmla="*/ 2509 h 10000"/>
                        <a:gd name="connsiteX73" fmla="*/ 9438 w 10000"/>
                        <a:gd name="connsiteY73" fmla="*/ 2442 h 10000"/>
                        <a:gd name="connsiteX74" fmla="*/ 9317 w 10000"/>
                        <a:gd name="connsiteY74" fmla="*/ 2308 h 10000"/>
                        <a:gd name="connsiteX75" fmla="*/ 9237 w 10000"/>
                        <a:gd name="connsiteY75" fmla="*/ 1806 h 10000"/>
                        <a:gd name="connsiteX76" fmla="*/ 9237 w 10000"/>
                        <a:gd name="connsiteY76" fmla="*/ 1103 h 10000"/>
                        <a:gd name="connsiteX77" fmla="*/ 9036 w 10000"/>
                        <a:gd name="connsiteY77" fmla="*/ 870 h 10000"/>
                        <a:gd name="connsiteX78" fmla="*/ 8996 w 10000"/>
                        <a:gd name="connsiteY78" fmla="*/ 636 h 10000"/>
                        <a:gd name="connsiteX79" fmla="*/ 8675 w 10000"/>
                        <a:gd name="connsiteY79" fmla="*/ 301 h 10000"/>
                        <a:gd name="connsiteX80" fmla="*/ 8394 w 10000"/>
                        <a:gd name="connsiteY80" fmla="*/ 168 h 10000"/>
                        <a:gd name="connsiteX81" fmla="*/ 8233 w 10000"/>
                        <a:gd name="connsiteY81" fmla="*/ 0 h 10000"/>
                        <a:gd name="connsiteX82" fmla="*/ 7992 w 10000"/>
                        <a:gd name="connsiteY82" fmla="*/ 168 h 10000"/>
                        <a:gd name="connsiteX83" fmla="*/ 7831 w 10000"/>
                        <a:gd name="connsiteY83" fmla="*/ 134 h 10000"/>
                        <a:gd name="connsiteX84" fmla="*/ 7711 w 10000"/>
                        <a:gd name="connsiteY84" fmla="*/ 434 h 10000"/>
                        <a:gd name="connsiteX85" fmla="*/ 7390 w 10000"/>
                        <a:gd name="connsiteY85" fmla="*/ 502 h 10000"/>
                        <a:gd name="connsiteX86" fmla="*/ 7309 w 10000"/>
                        <a:gd name="connsiteY86" fmla="*/ 735 h 10000"/>
                        <a:gd name="connsiteX87" fmla="*/ 7028 w 10000"/>
                        <a:gd name="connsiteY87" fmla="*/ 735 h 10000"/>
                        <a:gd name="connsiteX88" fmla="*/ 6787 w 10000"/>
                        <a:gd name="connsiteY88" fmla="*/ 636 h 10000"/>
                        <a:gd name="connsiteX89" fmla="*/ 6265 w 10000"/>
                        <a:gd name="connsiteY89" fmla="*/ 636 h 10000"/>
                        <a:gd name="connsiteX90" fmla="*/ 5743 w 10000"/>
                        <a:gd name="connsiteY90" fmla="*/ 636 h 10000"/>
                        <a:gd name="connsiteX91" fmla="*/ 5783 w 10000"/>
                        <a:gd name="connsiteY91" fmla="*/ 502 h 10000"/>
                        <a:gd name="connsiteX92" fmla="*/ 5703 w 10000"/>
                        <a:gd name="connsiteY92" fmla="*/ 502 h 10000"/>
                        <a:gd name="connsiteX93" fmla="*/ 5663 w 10000"/>
                        <a:gd name="connsiteY93" fmla="*/ 636 h 10000"/>
                        <a:gd name="connsiteX94" fmla="*/ 5181 w 10000"/>
                        <a:gd name="connsiteY94" fmla="*/ 636 h 10000"/>
                        <a:gd name="connsiteX95" fmla="*/ 4699 w 10000"/>
                        <a:gd name="connsiteY95" fmla="*/ 636 h 10000"/>
                        <a:gd name="connsiteX96" fmla="*/ 4217 w 10000"/>
                        <a:gd name="connsiteY96" fmla="*/ 636 h 10000"/>
                        <a:gd name="connsiteX97" fmla="*/ 3735 w 10000"/>
                        <a:gd name="connsiteY97" fmla="*/ 636 h 10000"/>
                        <a:gd name="connsiteX98" fmla="*/ 3293 w 10000"/>
                        <a:gd name="connsiteY98" fmla="*/ 636 h 10000"/>
                        <a:gd name="connsiteX99" fmla="*/ 2811 w 10000"/>
                        <a:gd name="connsiteY99" fmla="*/ 636 h 10000"/>
                        <a:gd name="connsiteX100" fmla="*/ 2369 w 10000"/>
                        <a:gd name="connsiteY100" fmla="*/ 636 h 10000"/>
                        <a:gd name="connsiteX101" fmla="*/ 1888 w 10000"/>
                        <a:gd name="connsiteY101" fmla="*/ 636 h 10000"/>
                        <a:gd name="connsiteX102" fmla="*/ 1888 w 10000"/>
                        <a:gd name="connsiteY102" fmla="*/ 1103 h 10000"/>
                        <a:gd name="connsiteX103" fmla="*/ 1888 w 10000"/>
                        <a:gd name="connsiteY103" fmla="*/ 1706 h 10000"/>
                        <a:gd name="connsiteX104" fmla="*/ 1285 w 10000"/>
                        <a:gd name="connsiteY104" fmla="*/ 1706 h 10000"/>
                        <a:gd name="connsiteX105" fmla="*/ 1285 w 10000"/>
                        <a:gd name="connsiteY105" fmla="*/ 1973 h 10000"/>
                        <a:gd name="connsiteX0" fmla="*/ 1285 w 10000"/>
                        <a:gd name="connsiteY0" fmla="*/ 1973 h 9900"/>
                        <a:gd name="connsiteX1" fmla="*/ 1285 w 10000"/>
                        <a:gd name="connsiteY1" fmla="*/ 2509 h 9900"/>
                        <a:gd name="connsiteX2" fmla="*/ 1285 w 10000"/>
                        <a:gd name="connsiteY2" fmla="*/ 3010 h 9900"/>
                        <a:gd name="connsiteX3" fmla="*/ 1285 w 10000"/>
                        <a:gd name="connsiteY3" fmla="*/ 3512 h 9900"/>
                        <a:gd name="connsiteX4" fmla="*/ 1285 w 10000"/>
                        <a:gd name="connsiteY4" fmla="*/ 3979 h 9900"/>
                        <a:gd name="connsiteX5" fmla="*/ 643 w 10000"/>
                        <a:gd name="connsiteY5" fmla="*/ 4081 h 9900"/>
                        <a:gd name="connsiteX6" fmla="*/ 522 w 10000"/>
                        <a:gd name="connsiteY6" fmla="*/ 4347 h 9900"/>
                        <a:gd name="connsiteX7" fmla="*/ 241 w 10000"/>
                        <a:gd name="connsiteY7" fmla="*/ 4682 h 9900"/>
                        <a:gd name="connsiteX8" fmla="*/ 241 w 10000"/>
                        <a:gd name="connsiteY8" fmla="*/ 4950 h 9900"/>
                        <a:gd name="connsiteX9" fmla="*/ 120 w 10000"/>
                        <a:gd name="connsiteY9" fmla="*/ 5016 h 9900"/>
                        <a:gd name="connsiteX10" fmla="*/ 120 w 10000"/>
                        <a:gd name="connsiteY10" fmla="*/ 5250 h 9900"/>
                        <a:gd name="connsiteX11" fmla="*/ 0 w 10000"/>
                        <a:gd name="connsiteY11" fmla="*/ 5452 h 9900"/>
                        <a:gd name="connsiteX12" fmla="*/ 0 w 10000"/>
                        <a:gd name="connsiteY12" fmla="*/ 5618 h 9900"/>
                        <a:gd name="connsiteX13" fmla="*/ 241 w 10000"/>
                        <a:gd name="connsiteY13" fmla="*/ 5585 h 9900"/>
                        <a:gd name="connsiteX14" fmla="*/ 281 w 10000"/>
                        <a:gd name="connsiteY14" fmla="*/ 5886 h 9900"/>
                        <a:gd name="connsiteX15" fmla="*/ 602 w 10000"/>
                        <a:gd name="connsiteY15" fmla="*/ 6422 h 9900"/>
                        <a:gd name="connsiteX16" fmla="*/ 602 w 10000"/>
                        <a:gd name="connsiteY16" fmla="*/ 6455 h 9900"/>
                        <a:gd name="connsiteX17" fmla="*/ 482 w 10000"/>
                        <a:gd name="connsiteY17" fmla="*/ 6488 h 9900"/>
                        <a:gd name="connsiteX18" fmla="*/ 964 w 10000"/>
                        <a:gd name="connsiteY18" fmla="*/ 7023 h 9900"/>
                        <a:gd name="connsiteX19" fmla="*/ 1004 w 10000"/>
                        <a:gd name="connsiteY19" fmla="*/ 7190 h 9900"/>
                        <a:gd name="connsiteX20" fmla="*/ 964 w 10000"/>
                        <a:gd name="connsiteY20" fmla="*/ 7659 h 9900"/>
                        <a:gd name="connsiteX21" fmla="*/ 1044 w 10000"/>
                        <a:gd name="connsiteY21" fmla="*/ 7726 h 9900"/>
                        <a:gd name="connsiteX22" fmla="*/ 1365 w 10000"/>
                        <a:gd name="connsiteY22" fmla="*/ 7759 h 9900"/>
                        <a:gd name="connsiteX23" fmla="*/ 1406 w 10000"/>
                        <a:gd name="connsiteY23" fmla="*/ 7892 h 9900"/>
                        <a:gd name="connsiteX24" fmla="*/ 1767 w 10000"/>
                        <a:gd name="connsiteY24" fmla="*/ 7926 h 9900"/>
                        <a:gd name="connsiteX25" fmla="*/ 1968 w 10000"/>
                        <a:gd name="connsiteY25" fmla="*/ 8060 h 9900"/>
                        <a:gd name="connsiteX26" fmla="*/ 2008 w 10000"/>
                        <a:gd name="connsiteY26" fmla="*/ 8294 h 9900"/>
                        <a:gd name="connsiteX27" fmla="*/ 2651 w 10000"/>
                        <a:gd name="connsiteY27" fmla="*/ 8696 h 9900"/>
                        <a:gd name="connsiteX28" fmla="*/ 2811 w 10000"/>
                        <a:gd name="connsiteY28" fmla="*/ 9097 h 9900"/>
                        <a:gd name="connsiteX29" fmla="*/ 3253 w 10000"/>
                        <a:gd name="connsiteY29" fmla="*/ 9298 h 9900"/>
                        <a:gd name="connsiteX30" fmla="*/ 3414 w 10000"/>
                        <a:gd name="connsiteY30" fmla="*/ 9566 h 9900"/>
                        <a:gd name="connsiteX31" fmla="*/ 3735 w 10000"/>
                        <a:gd name="connsiteY31" fmla="*/ 9900 h 9900"/>
                        <a:gd name="connsiteX32" fmla="*/ 3795 w 10000"/>
                        <a:gd name="connsiteY32" fmla="*/ 7514 h 9900"/>
                        <a:gd name="connsiteX33" fmla="*/ 4153 w 10000"/>
                        <a:gd name="connsiteY33" fmla="*/ 7579 h 9900"/>
                        <a:gd name="connsiteX34" fmla="*/ 4406 w 10000"/>
                        <a:gd name="connsiteY34" fmla="*/ 7531 h 9900"/>
                        <a:gd name="connsiteX35" fmla="*/ 4600 w 10000"/>
                        <a:gd name="connsiteY35" fmla="*/ 7408 h 9900"/>
                        <a:gd name="connsiteX36" fmla="*/ 4762 w 10000"/>
                        <a:gd name="connsiteY36" fmla="*/ 7182 h 9900"/>
                        <a:gd name="connsiteX37" fmla="*/ 4901 w 10000"/>
                        <a:gd name="connsiteY37" fmla="*/ 7044 h 9900"/>
                        <a:gd name="connsiteX38" fmla="*/ 5080 w 10000"/>
                        <a:gd name="connsiteY38" fmla="*/ 7143 h 9900"/>
                        <a:gd name="connsiteX39" fmla="*/ 5337 w 10000"/>
                        <a:gd name="connsiteY39" fmla="*/ 7242 h 9900"/>
                        <a:gd name="connsiteX40" fmla="*/ 5564 w 10000"/>
                        <a:gd name="connsiteY40" fmla="*/ 7370 h 9900"/>
                        <a:gd name="connsiteX41" fmla="*/ 5768 w 10000"/>
                        <a:gd name="connsiteY41" fmla="*/ 7287 h 9900"/>
                        <a:gd name="connsiteX42" fmla="*/ 5933 w 10000"/>
                        <a:gd name="connsiteY42" fmla="*/ 7209 h 9900"/>
                        <a:gd name="connsiteX43" fmla="*/ 6089 w 10000"/>
                        <a:gd name="connsiteY43" fmla="*/ 7038 h 9900"/>
                        <a:gd name="connsiteX44" fmla="*/ 6274 w 10000"/>
                        <a:gd name="connsiteY44" fmla="*/ 6804 h 9900"/>
                        <a:gd name="connsiteX45" fmla="*/ 6389 w 10000"/>
                        <a:gd name="connsiteY45" fmla="*/ 6697 h 9900"/>
                        <a:gd name="connsiteX46" fmla="*/ 6524 w 10000"/>
                        <a:gd name="connsiteY46" fmla="*/ 6653 h 9900"/>
                        <a:gd name="connsiteX47" fmla="*/ 6531 w 10000"/>
                        <a:gd name="connsiteY47" fmla="*/ 6516 h 9900"/>
                        <a:gd name="connsiteX48" fmla="*/ 6424 w 10000"/>
                        <a:gd name="connsiteY48" fmla="*/ 6205 h 9900"/>
                        <a:gd name="connsiteX49" fmla="*/ 6602 w 10000"/>
                        <a:gd name="connsiteY49" fmla="*/ 6213 h 9900"/>
                        <a:gd name="connsiteX50" fmla="*/ 6707 w 10000"/>
                        <a:gd name="connsiteY50" fmla="*/ 6095 h 9900"/>
                        <a:gd name="connsiteX51" fmla="*/ 6876 w 10000"/>
                        <a:gd name="connsiteY51" fmla="*/ 6096 h 9900"/>
                        <a:gd name="connsiteX52" fmla="*/ 6827 w 10000"/>
                        <a:gd name="connsiteY52" fmla="*/ 6821 h 9900"/>
                        <a:gd name="connsiteX53" fmla="*/ 6991 w 10000"/>
                        <a:gd name="connsiteY53" fmla="*/ 6903 h 9900"/>
                        <a:gd name="connsiteX54" fmla="*/ 7275 w 10000"/>
                        <a:gd name="connsiteY54" fmla="*/ 7114 h 9900"/>
                        <a:gd name="connsiteX55" fmla="*/ 7430 w 10000"/>
                        <a:gd name="connsiteY55" fmla="*/ 6789 h 9900"/>
                        <a:gd name="connsiteX56" fmla="*/ 7470 w 10000"/>
                        <a:gd name="connsiteY56" fmla="*/ 6822 h 9900"/>
                        <a:gd name="connsiteX57" fmla="*/ 7590 w 10000"/>
                        <a:gd name="connsiteY57" fmla="*/ 6622 h 9900"/>
                        <a:gd name="connsiteX58" fmla="*/ 7831 w 10000"/>
                        <a:gd name="connsiteY58" fmla="*/ 6522 h 9900"/>
                        <a:gd name="connsiteX59" fmla="*/ 7952 w 10000"/>
                        <a:gd name="connsiteY59" fmla="*/ 6153 h 9900"/>
                        <a:gd name="connsiteX60" fmla="*/ 8313 w 10000"/>
                        <a:gd name="connsiteY60" fmla="*/ 5719 h 9900"/>
                        <a:gd name="connsiteX61" fmla="*/ 8594 w 10000"/>
                        <a:gd name="connsiteY61" fmla="*/ 5518 h 9900"/>
                        <a:gd name="connsiteX62" fmla="*/ 8795 w 10000"/>
                        <a:gd name="connsiteY62" fmla="*/ 4950 h 9900"/>
                        <a:gd name="connsiteX63" fmla="*/ 8795 w 10000"/>
                        <a:gd name="connsiteY63" fmla="*/ 4816 h 9900"/>
                        <a:gd name="connsiteX64" fmla="*/ 8755 w 10000"/>
                        <a:gd name="connsiteY64" fmla="*/ 4482 h 9900"/>
                        <a:gd name="connsiteX65" fmla="*/ 9157 w 10000"/>
                        <a:gd name="connsiteY65" fmla="*/ 3277 h 9900"/>
                        <a:gd name="connsiteX66" fmla="*/ 9277 w 10000"/>
                        <a:gd name="connsiteY66" fmla="*/ 3277 h 9900"/>
                        <a:gd name="connsiteX67" fmla="*/ 9438 w 10000"/>
                        <a:gd name="connsiteY67" fmla="*/ 3178 h 9900"/>
                        <a:gd name="connsiteX68" fmla="*/ 9920 w 10000"/>
                        <a:gd name="connsiteY68" fmla="*/ 3010 h 9900"/>
                        <a:gd name="connsiteX69" fmla="*/ 10000 w 10000"/>
                        <a:gd name="connsiteY69" fmla="*/ 2742 h 9900"/>
                        <a:gd name="connsiteX70" fmla="*/ 9960 w 10000"/>
                        <a:gd name="connsiteY70" fmla="*/ 2675 h 9900"/>
                        <a:gd name="connsiteX71" fmla="*/ 9799 w 10000"/>
                        <a:gd name="connsiteY71" fmla="*/ 2675 h 9900"/>
                        <a:gd name="connsiteX72" fmla="*/ 9679 w 10000"/>
                        <a:gd name="connsiteY72" fmla="*/ 2509 h 9900"/>
                        <a:gd name="connsiteX73" fmla="*/ 9438 w 10000"/>
                        <a:gd name="connsiteY73" fmla="*/ 2442 h 9900"/>
                        <a:gd name="connsiteX74" fmla="*/ 9317 w 10000"/>
                        <a:gd name="connsiteY74" fmla="*/ 2308 h 9900"/>
                        <a:gd name="connsiteX75" fmla="*/ 9237 w 10000"/>
                        <a:gd name="connsiteY75" fmla="*/ 1806 h 9900"/>
                        <a:gd name="connsiteX76" fmla="*/ 9237 w 10000"/>
                        <a:gd name="connsiteY76" fmla="*/ 1103 h 9900"/>
                        <a:gd name="connsiteX77" fmla="*/ 9036 w 10000"/>
                        <a:gd name="connsiteY77" fmla="*/ 870 h 9900"/>
                        <a:gd name="connsiteX78" fmla="*/ 8996 w 10000"/>
                        <a:gd name="connsiteY78" fmla="*/ 636 h 9900"/>
                        <a:gd name="connsiteX79" fmla="*/ 8675 w 10000"/>
                        <a:gd name="connsiteY79" fmla="*/ 301 h 9900"/>
                        <a:gd name="connsiteX80" fmla="*/ 8394 w 10000"/>
                        <a:gd name="connsiteY80" fmla="*/ 168 h 9900"/>
                        <a:gd name="connsiteX81" fmla="*/ 8233 w 10000"/>
                        <a:gd name="connsiteY81" fmla="*/ 0 h 9900"/>
                        <a:gd name="connsiteX82" fmla="*/ 7992 w 10000"/>
                        <a:gd name="connsiteY82" fmla="*/ 168 h 9900"/>
                        <a:gd name="connsiteX83" fmla="*/ 7831 w 10000"/>
                        <a:gd name="connsiteY83" fmla="*/ 134 h 9900"/>
                        <a:gd name="connsiteX84" fmla="*/ 7711 w 10000"/>
                        <a:gd name="connsiteY84" fmla="*/ 434 h 9900"/>
                        <a:gd name="connsiteX85" fmla="*/ 7390 w 10000"/>
                        <a:gd name="connsiteY85" fmla="*/ 502 h 9900"/>
                        <a:gd name="connsiteX86" fmla="*/ 7309 w 10000"/>
                        <a:gd name="connsiteY86" fmla="*/ 735 h 9900"/>
                        <a:gd name="connsiteX87" fmla="*/ 7028 w 10000"/>
                        <a:gd name="connsiteY87" fmla="*/ 735 h 9900"/>
                        <a:gd name="connsiteX88" fmla="*/ 6787 w 10000"/>
                        <a:gd name="connsiteY88" fmla="*/ 636 h 9900"/>
                        <a:gd name="connsiteX89" fmla="*/ 6265 w 10000"/>
                        <a:gd name="connsiteY89" fmla="*/ 636 h 9900"/>
                        <a:gd name="connsiteX90" fmla="*/ 5743 w 10000"/>
                        <a:gd name="connsiteY90" fmla="*/ 636 h 9900"/>
                        <a:gd name="connsiteX91" fmla="*/ 5783 w 10000"/>
                        <a:gd name="connsiteY91" fmla="*/ 502 h 9900"/>
                        <a:gd name="connsiteX92" fmla="*/ 5703 w 10000"/>
                        <a:gd name="connsiteY92" fmla="*/ 502 h 9900"/>
                        <a:gd name="connsiteX93" fmla="*/ 5663 w 10000"/>
                        <a:gd name="connsiteY93" fmla="*/ 636 h 9900"/>
                        <a:gd name="connsiteX94" fmla="*/ 5181 w 10000"/>
                        <a:gd name="connsiteY94" fmla="*/ 636 h 9900"/>
                        <a:gd name="connsiteX95" fmla="*/ 4699 w 10000"/>
                        <a:gd name="connsiteY95" fmla="*/ 636 h 9900"/>
                        <a:gd name="connsiteX96" fmla="*/ 4217 w 10000"/>
                        <a:gd name="connsiteY96" fmla="*/ 636 h 9900"/>
                        <a:gd name="connsiteX97" fmla="*/ 3735 w 10000"/>
                        <a:gd name="connsiteY97" fmla="*/ 636 h 9900"/>
                        <a:gd name="connsiteX98" fmla="*/ 3293 w 10000"/>
                        <a:gd name="connsiteY98" fmla="*/ 636 h 9900"/>
                        <a:gd name="connsiteX99" fmla="*/ 2811 w 10000"/>
                        <a:gd name="connsiteY99" fmla="*/ 636 h 9900"/>
                        <a:gd name="connsiteX100" fmla="*/ 2369 w 10000"/>
                        <a:gd name="connsiteY100" fmla="*/ 636 h 9900"/>
                        <a:gd name="connsiteX101" fmla="*/ 1888 w 10000"/>
                        <a:gd name="connsiteY101" fmla="*/ 636 h 9900"/>
                        <a:gd name="connsiteX102" fmla="*/ 1888 w 10000"/>
                        <a:gd name="connsiteY102" fmla="*/ 1103 h 9900"/>
                        <a:gd name="connsiteX103" fmla="*/ 1888 w 10000"/>
                        <a:gd name="connsiteY103" fmla="*/ 1706 h 9900"/>
                        <a:gd name="connsiteX104" fmla="*/ 1285 w 10000"/>
                        <a:gd name="connsiteY104" fmla="*/ 1706 h 9900"/>
                        <a:gd name="connsiteX105" fmla="*/ 1285 w 10000"/>
                        <a:gd name="connsiteY105" fmla="*/ 1973 h 9900"/>
                        <a:gd name="connsiteX0" fmla="*/ 1285 w 10000"/>
                        <a:gd name="connsiteY0" fmla="*/ 1993 h 9663"/>
                        <a:gd name="connsiteX1" fmla="*/ 1285 w 10000"/>
                        <a:gd name="connsiteY1" fmla="*/ 2534 h 9663"/>
                        <a:gd name="connsiteX2" fmla="*/ 1285 w 10000"/>
                        <a:gd name="connsiteY2" fmla="*/ 3040 h 9663"/>
                        <a:gd name="connsiteX3" fmla="*/ 1285 w 10000"/>
                        <a:gd name="connsiteY3" fmla="*/ 3547 h 9663"/>
                        <a:gd name="connsiteX4" fmla="*/ 1285 w 10000"/>
                        <a:gd name="connsiteY4" fmla="*/ 4019 h 9663"/>
                        <a:gd name="connsiteX5" fmla="*/ 643 w 10000"/>
                        <a:gd name="connsiteY5" fmla="*/ 4122 h 9663"/>
                        <a:gd name="connsiteX6" fmla="*/ 522 w 10000"/>
                        <a:gd name="connsiteY6" fmla="*/ 4391 h 9663"/>
                        <a:gd name="connsiteX7" fmla="*/ 241 w 10000"/>
                        <a:gd name="connsiteY7" fmla="*/ 4729 h 9663"/>
                        <a:gd name="connsiteX8" fmla="*/ 241 w 10000"/>
                        <a:gd name="connsiteY8" fmla="*/ 5000 h 9663"/>
                        <a:gd name="connsiteX9" fmla="*/ 120 w 10000"/>
                        <a:gd name="connsiteY9" fmla="*/ 5067 h 9663"/>
                        <a:gd name="connsiteX10" fmla="*/ 120 w 10000"/>
                        <a:gd name="connsiteY10" fmla="*/ 5303 h 9663"/>
                        <a:gd name="connsiteX11" fmla="*/ 0 w 10000"/>
                        <a:gd name="connsiteY11" fmla="*/ 5507 h 9663"/>
                        <a:gd name="connsiteX12" fmla="*/ 0 w 10000"/>
                        <a:gd name="connsiteY12" fmla="*/ 5675 h 9663"/>
                        <a:gd name="connsiteX13" fmla="*/ 241 w 10000"/>
                        <a:gd name="connsiteY13" fmla="*/ 5641 h 9663"/>
                        <a:gd name="connsiteX14" fmla="*/ 281 w 10000"/>
                        <a:gd name="connsiteY14" fmla="*/ 5945 h 9663"/>
                        <a:gd name="connsiteX15" fmla="*/ 602 w 10000"/>
                        <a:gd name="connsiteY15" fmla="*/ 6487 h 9663"/>
                        <a:gd name="connsiteX16" fmla="*/ 602 w 10000"/>
                        <a:gd name="connsiteY16" fmla="*/ 6520 h 9663"/>
                        <a:gd name="connsiteX17" fmla="*/ 482 w 10000"/>
                        <a:gd name="connsiteY17" fmla="*/ 6554 h 9663"/>
                        <a:gd name="connsiteX18" fmla="*/ 964 w 10000"/>
                        <a:gd name="connsiteY18" fmla="*/ 7094 h 9663"/>
                        <a:gd name="connsiteX19" fmla="*/ 1004 w 10000"/>
                        <a:gd name="connsiteY19" fmla="*/ 7263 h 9663"/>
                        <a:gd name="connsiteX20" fmla="*/ 964 w 10000"/>
                        <a:gd name="connsiteY20" fmla="*/ 7736 h 9663"/>
                        <a:gd name="connsiteX21" fmla="*/ 1044 w 10000"/>
                        <a:gd name="connsiteY21" fmla="*/ 7804 h 9663"/>
                        <a:gd name="connsiteX22" fmla="*/ 1365 w 10000"/>
                        <a:gd name="connsiteY22" fmla="*/ 7837 h 9663"/>
                        <a:gd name="connsiteX23" fmla="*/ 1406 w 10000"/>
                        <a:gd name="connsiteY23" fmla="*/ 7972 h 9663"/>
                        <a:gd name="connsiteX24" fmla="*/ 1767 w 10000"/>
                        <a:gd name="connsiteY24" fmla="*/ 8006 h 9663"/>
                        <a:gd name="connsiteX25" fmla="*/ 1968 w 10000"/>
                        <a:gd name="connsiteY25" fmla="*/ 8141 h 9663"/>
                        <a:gd name="connsiteX26" fmla="*/ 2008 w 10000"/>
                        <a:gd name="connsiteY26" fmla="*/ 8378 h 9663"/>
                        <a:gd name="connsiteX27" fmla="*/ 2651 w 10000"/>
                        <a:gd name="connsiteY27" fmla="*/ 8784 h 9663"/>
                        <a:gd name="connsiteX28" fmla="*/ 2811 w 10000"/>
                        <a:gd name="connsiteY28" fmla="*/ 9189 h 9663"/>
                        <a:gd name="connsiteX29" fmla="*/ 3253 w 10000"/>
                        <a:gd name="connsiteY29" fmla="*/ 9392 h 9663"/>
                        <a:gd name="connsiteX30" fmla="*/ 3414 w 10000"/>
                        <a:gd name="connsiteY30" fmla="*/ 9663 h 9663"/>
                        <a:gd name="connsiteX31" fmla="*/ 3537 w 10000"/>
                        <a:gd name="connsiteY31" fmla="*/ 7420 h 9663"/>
                        <a:gd name="connsiteX32" fmla="*/ 3795 w 10000"/>
                        <a:gd name="connsiteY32" fmla="*/ 7590 h 9663"/>
                        <a:gd name="connsiteX33" fmla="*/ 4153 w 10000"/>
                        <a:gd name="connsiteY33" fmla="*/ 7656 h 9663"/>
                        <a:gd name="connsiteX34" fmla="*/ 4406 w 10000"/>
                        <a:gd name="connsiteY34" fmla="*/ 7607 h 9663"/>
                        <a:gd name="connsiteX35" fmla="*/ 4600 w 10000"/>
                        <a:gd name="connsiteY35" fmla="*/ 7483 h 9663"/>
                        <a:gd name="connsiteX36" fmla="*/ 4762 w 10000"/>
                        <a:gd name="connsiteY36" fmla="*/ 7255 h 9663"/>
                        <a:gd name="connsiteX37" fmla="*/ 4901 w 10000"/>
                        <a:gd name="connsiteY37" fmla="*/ 7115 h 9663"/>
                        <a:gd name="connsiteX38" fmla="*/ 5080 w 10000"/>
                        <a:gd name="connsiteY38" fmla="*/ 7215 h 9663"/>
                        <a:gd name="connsiteX39" fmla="*/ 5337 w 10000"/>
                        <a:gd name="connsiteY39" fmla="*/ 7315 h 9663"/>
                        <a:gd name="connsiteX40" fmla="*/ 5564 w 10000"/>
                        <a:gd name="connsiteY40" fmla="*/ 7444 h 9663"/>
                        <a:gd name="connsiteX41" fmla="*/ 5768 w 10000"/>
                        <a:gd name="connsiteY41" fmla="*/ 7361 h 9663"/>
                        <a:gd name="connsiteX42" fmla="*/ 5933 w 10000"/>
                        <a:gd name="connsiteY42" fmla="*/ 7282 h 9663"/>
                        <a:gd name="connsiteX43" fmla="*/ 6089 w 10000"/>
                        <a:gd name="connsiteY43" fmla="*/ 7109 h 9663"/>
                        <a:gd name="connsiteX44" fmla="*/ 6274 w 10000"/>
                        <a:gd name="connsiteY44" fmla="*/ 6873 h 9663"/>
                        <a:gd name="connsiteX45" fmla="*/ 6389 w 10000"/>
                        <a:gd name="connsiteY45" fmla="*/ 6765 h 9663"/>
                        <a:gd name="connsiteX46" fmla="*/ 6524 w 10000"/>
                        <a:gd name="connsiteY46" fmla="*/ 6720 h 9663"/>
                        <a:gd name="connsiteX47" fmla="*/ 6531 w 10000"/>
                        <a:gd name="connsiteY47" fmla="*/ 6582 h 9663"/>
                        <a:gd name="connsiteX48" fmla="*/ 6424 w 10000"/>
                        <a:gd name="connsiteY48" fmla="*/ 6268 h 9663"/>
                        <a:gd name="connsiteX49" fmla="*/ 6602 w 10000"/>
                        <a:gd name="connsiteY49" fmla="*/ 6276 h 9663"/>
                        <a:gd name="connsiteX50" fmla="*/ 6707 w 10000"/>
                        <a:gd name="connsiteY50" fmla="*/ 6157 h 9663"/>
                        <a:gd name="connsiteX51" fmla="*/ 6876 w 10000"/>
                        <a:gd name="connsiteY51" fmla="*/ 6158 h 9663"/>
                        <a:gd name="connsiteX52" fmla="*/ 6827 w 10000"/>
                        <a:gd name="connsiteY52" fmla="*/ 6890 h 9663"/>
                        <a:gd name="connsiteX53" fmla="*/ 6991 w 10000"/>
                        <a:gd name="connsiteY53" fmla="*/ 6973 h 9663"/>
                        <a:gd name="connsiteX54" fmla="*/ 7275 w 10000"/>
                        <a:gd name="connsiteY54" fmla="*/ 7186 h 9663"/>
                        <a:gd name="connsiteX55" fmla="*/ 7430 w 10000"/>
                        <a:gd name="connsiteY55" fmla="*/ 6858 h 9663"/>
                        <a:gd name="connsiteX56" fmla="*/ 7470 w 10000"/>
                        <a:gd name="connsiteY56" fmla="*/ 6891 h 9663"/>
                        <a:gd name="connsiteX57" fmla="*/ 7590 w 10000"/>
                        <a:gd name="connsiteY57" fmla="*/ 6689 h 9663"/>
                        <a:gd name="connsiteX58" fmla="*/ 7831 w 10000"/>
                        <a:gd name="connsiteY58" fmla="*/ 6588 h 9663"/>
                        <a:gd name="connsiteX59" fmla="*/ 7952 w 10000"/>
                        <a:gd name="connsiteY59" fmla="*/ 6215 h 9663"/>
                        <a:gd name="connsiteX60" fmla="*/ 8313 w 10000"/>
                        <a:gd name="connsiteY60" fmla="*/ 5777 h 9663"/>
                        <a:gd name="connsiteX61" fmla="*/ 8594 w 10000"/>
                        <a:gd name="connsiteY61" fmla="*/ 5574 h 9663"/>
                        <a:gd name="connsiteX62" fmla="*/ 8795 w 10000"/>
                        <a:gd name="connsiteY62" fmla="*/ 5000 h 9663"/>
                        <a:gd name="connsiteX63" fmla="*/ 8795 w 10000"/>
                        <a:gd name="connsiteY63" fmla="*/ 4865 h 9663"/>
                        <a:gd name="connsiteX64" fmla="*/ 8755 w 10000"/>
                        <a:gd name="connsiteY64" fmla="*/ 4527 h 9663"/>
                        <a:gd name="connsiteX65" fmla="*/ 9157 w 10000"/>
                        <a:gd name="connsiteY65" fmla="*/ 3310 h 9663"/>
                        <a:gd name="connsiteX66" fmla="*/ 9277 w 10000"/>
                        <a:gd name="connsiteY66" fmla="*/ 3310 h 9663"/>
                        <a:gd name="connsiteX67" fmla="*/ 9438 w 10000"/>
                        <a:gd name="connsiteY67" fmla="*/ 3210 h 9663"/>
                        <a:gd name="connsiteX68" fmla="*/ 9920 w 10000"/>
                        <a:gd name="connsiteY68" fmla="*/ 3040 h 9663"/>
                        <a:gd name="connsiteX69" fmla="*/ 10000 w 10000"/>
                        <a:gd name="connsiteY69" fmla="*/ 2770 h 9663"/>
                        <a:gd name="connsiteX70" fmla="*/ 9960 w 10000"/>
                        <a:gd name="connsiteY70" fmla="*/ 2702 h 9663"/>
                        <a:gd name="connsiteX71" fmla="*/ 9799 w 10000"/>
                        <a:gd name="connsiteY71" fmla="*/ 2702 h 9663"/>
                        <a:gd name="connsiteX72" fmla="*/ 9679 w 10000"/>
                        <a:gd name="connsiteY72" fmla="*/ 2534 h 9663"/>
                        <a:gd name="connsiteX73" fmla="*/ 9438 w 10000"/>
                        <a:gd name="connsiteY73" fmla="*/ 2467 h 9663"/>
                        <a:gd name="connsiteX74" fmla="*/ 9317 w 10000"/>
                        <a:gd name="connsiteY74" fmla="*/ 2331 h 9663"/>
                        <a:gd name="connsiteX75" fmla="*/ 9237 w 10000"/>
                        <a:gd name="connsiteY75" fmla="*/ 1824 h 9663"/>
                        <a:gd name="connsiteX76" fmla="*/ 9237 w 10000"/>
                        <a:gd name="connsiteY76" fmla="*/ 1114 h 9663"/>
                        <a:gd name="connsiteX77" fmla="*/ 9036 w 10000"/>
                        <a:gd name="connsiteY77" fmla="*/ 879 h 9663"/>
                        <a:gd name="connsiteX78" fmla="*/ 8996 w 10000"/>
                        <a:gd name="connsiteY78" fmla="*/ 642 h 9663"/>
                        <a:gd name="connsiteX79" fmla="*/ 8675 w 10000"/>
                        <a:gd name="connsiteY79" fmla="*/ 304 h 9663"/>
                        <a:gd name="connsiteX80" fmla="*/ 8394 w 10000"/>
                        <a:gd name="connsiteY80" fmla="*/ 170 h 9663"/>
                        <a:gd name="connsiteX81" fmla="*/ 8233 w 10000"/>
                        <a:gd name="connsiteY81" fmla="*/ 0 h 9663"/>
                        <a:gd name="connsiteX82" fmla="*/ 7992 w 10000"/>
                        <a:gd name="connsiteY82" fmla="*/ 170 h 9663"/>
                        <a:gd name="connsiteX83" fmla="*/ 7831 w 10000"/>
                        <a:gd name="connsiteY83" fmla="*/ 135 h 9663"/>
                        <a:gd name="connsiteX84" fmla="*/ 7711 w 10000"/>
                        <a:gd name="connsiteY84" fmla="*/ 438 h 9663"/>
                        <a:gd name="connsiteX85" fmla="*/ 7390 w 10000"/>
                        <a:gd name="connsiteY85" fmla="*/ 507 h 9663"/>
                        <a:gd name="connsiteX86" fmla="*/ 7309 w 10000"/>
                        <a:gd name="connsiteY86" fmla="*/ 742 h 9663"/>
                        <a:gd name="connsiteX87" fmla="*/ 7028 w 10000"/>
                        <a:gd name="connsiteY87" fmla="*/ 742 h 9663"/>
                        <a:gd name="connsiteX88" fmla="*/ 6787 w 10000"/>
                        <a:gd name="connsiteY88" fmla="*/ 642 h 9663"/>
                        <a:gd name="connsiteX89" fmla="*/ 6265 w 10000"/>
                        <a:gd name="connsiteY89" fmla="*/ 642 h 9663"/>
                        <a:gd name="connsiteX90" fmla="*/ 5743 w 10000"/>
                        <a:gd name="connsiteY90" fmla="*/ 642 h 9663"/>
                        <a:gd name="connsiteX91" fmla="*/ 5783 w 10000"/>
                        <a:gd name="connsiteY91" fmla="*/ 507 h 9663"/>
                        <a:gd name="connsiteX92" fmla="*/ 5703 w 10000"/>
                        <a:gd name="connsiteY92" fmla="*/ 507 h 9663"/>
                        <a:gd name="connsiteX93" fmla="*/ 5663 w 10000"/>
                        <a:gd name="connsiteY93" fmla="*/ 642 h 9663"/>
                        <a:gd name="connsiteX94" fmla="*/ 5181 w 10000"/>
                        <a:gd name="connsiteY94" fmla="*/ 642 h 9663"/>
                        <a:gd name="connsiteX95" fmla="*/ 4699 w 10000"/>
                        <a:gd name="connsiteY95" fmla="*/ 642 h 9663"/>
                        <a:gd name="connsiteX96" fmla="*/ 4217 w 10000"/>
                        <a:gd name="connsiteY96" fmla="*/ 642 h 9663"/>
                        <a:gd name="connsiteX97" fmla="*/ 3735 w 10000"/>
                        <a:gd name="connsiteY97" fmla="*/ 642 h 9663"/>
                        <a:gd name="connsiteX98" fmla="*/ 3293 w 10000"/>
                        <a:gd name="connsiteY98" fmla="*/ 642 h 9663"/>
                        <a:gd name="connsiteX99" fmla="*/ 2811 w 10000"/>
                        <a:gd name="connsiteY99" fmla="*/ 642 h 9663"/>
                        <a:gd name="connsiteX100" fmla="*/ 2369 w 10000"/>
                        <a:gd name="connsiteY100" fmla="*/ 642 h 9663"/>
                        <a:gd name="connsiteX101" fmla="*/ 1888 w 10000"/>
                        <a:gd name="connsiteY101" fmla="*/ 642 h 9663"/>
                        <a:gd name="connsiteX102" fmla="*/ 1888 w 10000"/>
                        <a:gd name="connsiteY102" fmla="*/ 1114 h 9663"/>
                        <a:gd name="connsiteX103" fmla="*/ 1888 w 10000"/>
                        <a:gd name="connsiteY103" fmla="*/ 1723 h 9663"/>
                        <a:gd name="connsiteX104" fmla="*/ 1285 w 10000"/>
                        <a:gd name="connsiteY104" fmla="*/ 1723 h 9663"/>
                        <a:gd name="connsiteX105" fmla="*/ 1285 w 10000"/>
                        <a:gd name="connsiteY105" fmla="*/ 1993 h 9663"/>
                        <a:gd name="connsiteX0" fmla="*/ 1285 w 10000"/>
                        <a:gd name="connsiteY0" fmla="*/ 2063 h 9813"/>
                        <a:gd name="connsiteX1" fmla="*/ 1285 w 10000"/>
                        <a:gd name="connsiteY1" fmla="*/ 2622 h 9813"/>
                        <a:gd name="connsiteX2" fmla="*/ 1285 w 10000"/>
                        <a:gd name="connsiteY2" fmla="*/ 3146 h 9813"/>
                        <a:gd name="connsiteX3" fmla="*/ 1285 w 10000"/>
                        <a:gd name="connsiteY3" fmla="*/ 3671 h 9813"/>
                        <a:gd name="connsiteX4" fmla="*/ 1285 w 10000"/>
                        <a:gd name="connsiteY4" fmla="*/ 4159 h 9813"/>
                        <a:gd name="connsiteX5" fmla="*/ 643 w 10000"/>
                        <a:gd name="connsiteY5" fmla="*/ 4266 h 9813"/>
                        <a:gd name="connsiteX6" fmla="*/ 522 w 10000"/>
                        <a:gd name="connsiteY6" fmla="*/ 4544 h 9813"/>
                        <a:gd name="connsiteX7" fmla="*/ 241 w 10000"/>
                        <a:gd name="connsiteY7" fmla="*/ 4894 h 9813"/>
                        <a:gd name="connsiteX8" fmla="*/ 241 w 10000"/>
                        <a:gd name="connsiteY8" fmla="*/ 5174 h 9813"/>
                        <a:gd name="connsiteX9" fmla="*/ 120 w 10000"/>
                        <a:gd name="connsiteY9" fmla="*/ 5244 h 9813"/>
                        <a:gd name="connsiteX10" fmla="*/ 120 w 10000"/>
                        <a:gd name="connsiteY10" fmla="*/ 5488 h 9813"/>
                        <a:gd name="connsiteX11" fmla="*/ 0 w 10000"/>
                        <a:gd name="connsiteY11" fmla="*/ 5699 h 9813"/>
                        <a:gd name="connsiteX12" fmla="*/ 0 w 10000"/>
                        <a:gd name="connsiteY12" fmla="*/ 5873 h 9813"/>
                        <a:gd name="connsiteX13" fmla="*/ 241 w 10000"/>
                        <a:gd name="connsiteY13" fmla="*/ 5838 h 9813"/>
                        <a:gd name="connsiteX14" fmla="*/ 281 w 10000"/>
                        <a:gd name="connsiteY14" fmla="*/ 6152 h 9813"/>
                        <a:gd name="connsiteX15" fmla="*/ 602 w 10000"/>
                        <a:gd name="connsiteY15" fmla="*/ 6713 h 9813"/>
                        <a:gd name="connsiteX16" fmla="*/ 602 w 10000"/>
                        <a:gd name="connsiteY16" fmla="*/ 6747 h 9813"/>
                        <a:gd name="connsiteX17" fmla="*/ 482 w 10000"/>
                        <a:gd name="connsiteY17" fmla="*/ 6783 h 9813"/>
                        <a:gd name="connsiteX18" fmla="*/ 964 w 10000"/>
                        <a:gd name="connsiteY18" fmla="*/ 7341 h 9813"/>
                        <a:gd name="connsiteX19" fmla="*/ 1004 w 10000"/>
                        <a:gd name="connsiteY19" fmla="*/ 7516 h 9813"/>
                        <a:gd name="connsiteX20" fmla="*/ 964 w 10000"/>
                        <a:gd name="connsiteY20" fmla="*/ 8006 h 9813"/>
                        <a:gd name="connsiteX21" fmla="*/ 1044 w 10000"/>
                        <a:gd name="connsiteY21" fmla="*/ 8076 h 9813"/>
                        <a:gd name="connsiteX22" fmla="*/ 1365 w 10000"/>
                        <a:gd name="connsiteY22" fmla="*/ 8110 h 9813"/>
                        <a:gd name="connsiteX23" fmla="*/ 1406 w 10000"/>
                        <a:gd name="connsiteY23" fmla="*/ 8250 h 9813"/>
                        <a:gd name="connsiteX24" fmla="*/ 1767 w 10000"/>
                        <a:gd name="connsiteY24" fmla="*/ 8285 h 9813"/>
                        <a:gd name="connsiteX25" fmla="*/ 1968 w 10000"/>
                        <a:gd name="connsiteY25" fmla="*/ 8425 h 9813"/>
                        <a:gd name="connsiteX26" fmla="*/ 2008 w 10000"/>
                        <a:gd name="connsiteY26" fmla="*/ 8670 h 9813"/>
                        <a:gd name="connsiteX27" fmla="*/ 2651 w 10000"/>
                        <a:gd name="connsiteY27" fmla="*/ 9090 h 9813"/>
                        <a:gd name="connsiteX28" fmla="*/ 2811 w 10000"/>
                        <a:gd name="connsiteY28" fmla="*/ 9509 h 9813"/>
                        <a:gd name="connsiteX29" fmla="*/ 3253 w 10000"/>
                        <a:gd name="connsiteY29" fmla="*/ 9720 h 9813"/>
                        <a:gd name="connsiteX30" fmla="*/ 3167 w 10000"/>
                        <a:gd name="connsiteY30" fmla="*/ 7732 h 9813"/>
                        <a:gd name="connsiteX31" fmla="*/ 3537 w 10000"/>
                        <a:gd name="connsiteY31" fmla="*/ 7679 h 9813"/>
                        <a:gd name="connsiteX32" fmla="*/ 3795 w 10000"/>
                        <a:gd name="connsiteY32" fmla="*/ 7855 h 9813"/>
                        <a:gd name="connsiteX33" fmla="*/ 4153 w 10000"/>
                        <a:gd name="connsiteY33" fmla="*/ 7923 h 9813"/>
                        <a:gd name="connsiteX34" fmla="*/ 4406 w 10000"/>
                        <a:gd name="connsiteY34" fmla="*/ 7872 h 9813"/>
                        <a:gd name="connsiteX35" fmla="*/ 4600 w 10000"/>
                        <a:gd name="connsiteY35" fmla="*/ 7744 h 9813"/>
                        <a:gd name="connsiteX36" fmla="*/ 4762 w 10000"/>
                        <a:gd name="connsiteY36" fmla="*/ 7508 h 9813"/>
                        <a:gd name="connsiteX37" fmla="*/ 4901 w 10000"/>
                        <a:gd name="connsiteY37" fmla="*/ 7363 h 9813"/>
                        <a:gd name="connsiteX38" fmla="*/ 5080 w 10000"/>
                        <a:gd name="connsiteY38" fmla="*/ 7467 h 9813"/>
                        <a:gd name="connsiteX39" fmla="*/ 5337 w 10000"/>
                        <a:gd name="connsiteY39" fmla="*/ 7570 h 9813"/>
                        <a:gd name="connsiteX40" fmla="*/ 5564 w 10000"/>
                        <a:gd name="connsiteY40" fmla="*/ 7704 h 9813"/>
                        <a:gd name="connsiteX41" fmla="*/ 5768 w 10000"/>
                        <a:gd name="connsiteY41" fmla="*/ 7618 h 9813"/>
                        <a:gd name="connsiteX42" fmla="*/ 5933 w 10000"/>
                        <a:gd name="connsiteY42" fmla="*/ 7536 h 9813"/>
                        <a:gd name="connsiteX43" fmla="*/ 6089 w 10000"/>
                        <a:gd name="connsiteY43" fmla="*/ 7357 h 9813"/>
                        <a:gd name="connsiteX44" fmla="*/ 6274 w 10000"/>
                        <a:gd name="connsiteY44" fmla="*/ 7113 h 9813"/>
                        <a:gd name="connsiteX45" fmla="*/ 6389 w 10000"/>
                        <a:gd name="connsiteY45" fmla="*/ 7001 h 9813"/>
                        <a:gd name="connsiteX46" fmla="*/ 6524 w 10000"/>
                        <a:gd name="connsiteY46" fmla="*/ 6954 h 9813"/>
                        <a:gd name="connsiteX47" fmla="*/ 6531 w 10000"/>
                        <a:gd name="connsiteY47" fmla="*/ 6812 h 9813"/>
                        <a:gd name="connsiteX48" fmla="*/ 6424 w 10000"/>
                        <a:gd name="connsiteY48" fmla="*/ 6487 h 9813"/>
                        <a:gd name="connsiteX49" fmla="*/ 6602 w 10000"/>
                        <a:gd name="connsiteY49" fmla="*/ 6495 h 9813"/>
                        <a:gd name="connsiteX50" fmla="*/ 6707 w 10000"/>
                        <a:gd name="connsiteY50" fmla="*/ 6372 h 9813"/>
                        <a:gd name="connsiteX51" fmla="*/ 6876 w 10000"/>
                        <a:gd name="connsiteY51" fmla="*/ 6373 h 9813"/>
                        <a:gd name="connsiteX52" fmla="*/ 6827 w 10000"/>
                        <a:gd name="connsiteY52" fmla="*/ 7130 h 9813"/>
                        <a:gd name="connsiteX53" fmla="*/ 6991 w 10000"/>
                        <a:gd name="connsiteY53" fmla="*/ 7216 h 9813"/>
                        <a:gd name="connsiteX54" fmla="*/ 7275 w 10000"/>
                        <a:gd name="connsiteY54" fmla="*/ 7437 h 9813"/>
                        <a:gd name="connsiteX55" fmla="*/ 7430 w 10000"/>
                        <a:gd name="connsiteY55" fmla="*/ 7097 h 9813"/>
                        <a:gd name="connsiteX56" fmla="*/ 7470 w 10000"/>
                        <a:gd name="connsiteY56" fmla="*/ 7131 h 9813"/>
                        <a:gd name="connsiteX57" fmla="*/ 7590 w 10000"/>
                        <a:gd name="connsiteY57" fmla="*/ 6922 h 9813"/>
                        <a:gd name="connsiteX58" fmla="*/ 7831 w 10000"/>
                        <a:gd name="connsiteY58" fmla="*/ 6818 h 9813"/>
                        <a:gd name="connsiteX59" fmla="*/ 7952 w 10000"/>
                        <a:gd name="connsiteY59" fmla="*/ 6432 h 9813"/>
                        <a:gd name="connsiteX60" fmla="*/ 8313 w 10000"/>
                        <a:gd name="connsiteY60" fmla="*/ 5978 h 9813"/>
                        <a:gd name="connsiteX61" fmla="*/ 8594 w 10000"/>
                        <a:gd name="connsiteY61" fmla="*/ 5768 h 9813"/>
                        <a:gd name="connsiteX62" fmla="*/ 8795 w 10000"/>
                        <a:gd name="connsiteY62" fmla="*/ 5174 h 9813"/>
                        <a:gd name="connsiteX63" fmla="*/ 8795 w 10000"/>
                        <a:gd name="connsiteY63" fmla="*/ 5035 h 9813"/>
                        <a:gd name="connsiteX64" fmla="*/ 8755 w 10000"/>
                        <a:gd name="connsiteY64" fmla="*/ 4685 h 9813"/>
                        <a:gd name="connsiteX65" fmla="*/ 9157 w 10000"/>
                        <a:gd name="connsiteY65" fmla="*/ 3425 h 9813"/>
                        <a:gd name="connsiteX66" fmla="*/ 9277 w 10000"/>
                        <a:gd name="connsiteY66" fmla="*/ 3425 h 9813"/>
                        <a:gd name="connsiteX67" fmla="*/ 9438 w 10000"/>
                        <a:gd name="connsiteY67" fmla="*/ 3322 h 9813"/>
                        <a:gd name="connsiteX68" fmla="*/ 9920 w 10000"/>
                        <a:gd name="connsiteY68" fmla="*/ 3146 h 9813"/>
                        <a:gd name="connsiteX69" fmla="*/ 10000 w 10000"/>
                        <a:gd name="connsiteY69" fmla="*/ 2867 h 9813"/>
                        <a:gd name="connsiteX70" fmla="*/ 9960 w 10000"/>
                        <a:gd name="connsiteY70" fmla="*/ 2796 h 9813"/>
                        <a:gd name="connsiteX71" fmla="*/ 9799 w 10000"/>
                        <a:gd name="connsiteY71" fmla="*/ 2796 h 9813"/>
                        <a:gd name="connsiteX72" fmla="*/ 9679 w 10000"/>
                        <a:gd name="connsiteY72" fmla="*/ 2622 h 9813"/>
                        <a:gd name="connsiteX73" fmla="*/ 9438 w 10000"/>
                        <a:gd name="connsiteY73" fmla="*/ 2553 h 9813"/>
                        <a:gd name="connsiteX74" fmla="*/ 9317 w 10000"/>
                        <a:gd name="connsiteY74" fmla="*/ 2412 h 9813"/>
                        <a:gd name="connsiteX75" fmla="*/ 9237 w 10000"/>
                        <a:gd name="connsiteY75" fmla="*/ 1888 h 9813"/>
                        <a:gd name="connsiteX76" fmla="*/ 9237 w 10000"/>
                        <a:gd name="connsiteY76" fmla="*/ 1153 h 9813"/>
                        <a:gd name="connsiteX77" fmla="*/ 9036 w 10000"/>
                        <a:gd name="connsiteY77" fmla="*/ 910 h 9813"/>
                        <a:gd name="connsiteX78" fmla="*/ 8996 w 10000"/>
                        <a:gd name="connsiteY78" fmla="*/ 664 h 9813"/>
                        <a:gd name="connsiteX79" fmla="*/ 8675 w 10000"/>
                        <a:gd name="connsiteY79" fmla="*/ 315 h 9813"/>
                        <a:gd name="connsiteX80" fmla="*/ 8394 w 10000"/>
                        <a:gd name="connsiteY80" fmla="*/ 176 h 9813"/>
                        <a:gd name="connsiteX81" fmla="*/ 8233 w 10000"/>
                        <a:gd name="connsiteY81" fmla="*/ 0 h 9813"/>
                        <a:gd name="connsiteX82" fmla="*/ 7992 w 10000"/>
                        <a:gd name="connsiteY82" fmla="*/ 176 h 9813"/>
                        <a:gd name="connsiteX83" fmla="*/ 7831 w 10000"/>
                        <a:gd name="connsiteY83" fmla="*/ 140 h 9813"/>
                        <a:gd name="connsiteX84" fmla="*/ 7711 w 10000"/>
                        <a:gd name="connsiteY84" fmla="*/ 453 h 9813"/>
                        <a:gd name="connsiteX85" fmla="*/ 7390 w 10000"/>
                        <a:gd name="connsiteY85" fmla="*/ 525 h 9813"/>
                        <a:gd name="connsiteX86" fmla="*/ 7309 w 10000"/>
                        <a:gd name="connsiteY86" fmla="*/ 768 h 9813"/>
                        <a:gd name="connsiteX87" fmla="*/ 7028 w 10000"/>
                        <a:gd name="connsiteY87" fmla="*/ 768 h 9813"/>
                        <a:gd name="connsiteX88" fmla="*/ 6787 w 10000"/>
                        <a:gd name="connsiteY88" fmla="*/ 664 h 9813"/>
                        <a:gd name="connsiteX89" fmla="*/ 6265 w 10000"/>
                        <a:gd name="connsiteY89" fmla="*/ 664 h 9813"/>
                        <a:gd name="connsiteX90" fmla="*/ 5743 w 10000"/>
                        <a:gd name="connsiteY90" fmla="*/ 664 h 9813"/>
                        <a:gd name="connsiteX91" fmla="*/ 5783 w 10000"/>
                        <a:gd name="connsiteY91" fmla="*/ 525 h 9813"/>
                        <a:gd name="connsiteX92" fmla="*/ 5703 w 10000"/>
                        <a:gd name="connsiteY92" fmla="*/ 525 h 9813"/>
                        <a:gd name="connsiteX93" fmla="*/ 5663 w 10000"/>
                        <a:gd name="connsiteY93" fmla="*/ 664 h 9813"/>
                        <a:gd name="connsiteX94" fmla="*/ 5181 w 10000"/>
                        <a:gd name="connsiteY94" fmla="*/ 664 h 9813"/>
                        <a:gd name="connsiteX95" fmla="*/ 4699 w 10000"/>
                        <a:gd name="connsiteY95" fmla="*/ 664 h 9813"/>
                        <a:gd name="connsiteX96" fmla="*/ 4217 w 10000"/>
                        <a:gd name="connsiteY96" fmla="*/ 664 h 9813"/>
                        <a:gd name="connsiteX97" fmla="*/ 3735 w 10000"/>
                        <a:gd name="connsiteY97" fmla="*/ 664 h 9813"/>
                        <a:gd name="connsiteX98" fmla="*/ 3293 w 10000"/>
                        <a:gd name="connsiteY98" fmla="*/ 664 h 9813"/>
                        <a:gd name="connsiteX99" fmla="*/ 2811 w 10000"/>
                        <a:gd name="connsiteY99" fmla="*/ 664 h 9813"/>
                        <a:gd name="connsiteX100" fmla="*/ 2369 w 10000"/>
                        <a:gd name="connsiteY100" fmla="*/ 664 h 9813"/>
                        <a:gd name="connsiteX101" fmla="*/ 1888 w 10000"/>
                        <a:gd name="connsiteY101" fmla="*/ 664 h 9813"/>
                        <a:gd name="connsiteX102" fmla="*/ 1888 w 10000"/>
                        <a:gd name="connsiteY102" fmla="*/ 1153 h 9813"/>
                        <a:gd name="connsiteX103" fmla="*/ 1888 w 10000"/>
                        <a:gd name="connsiteY103" fmla="*/ 1783 h 9813"/>
                        <a:gd name="connsiteX104" fmla="*/ 1285 w 10000"/>
                        <a:gd name="connsiteY104" fmla="*/ 1783 h 9813"/>
                        <a:gd name="connsiteX105" fmla="*/ 1285 w 10000"/>
                        <a:gd name="connsiteY105" fmla="*/ 2063 h 9813"/>
                        <a:gd name="connsiteX0" fmla="*/ 1285 w 10000"/>
                        <a:gd name="connsiteY0" fmla="*/ 2102 h 9690"/>
                        <a:gd name="connsiteX1" fmla="*/ 1285 w 10000"/>
                        <a:gd name="connsiteY1" fmla="*/ 2672 h 9690"/>
                        <a:gd name="connsiteX2" fmla="*/ 1285 w 10000"/>
                        <a:gd name="connsiteY2" fmla="*/ 3206 h 9690"/>
                        <a:gd name="connsiteX3" fmla="*/ 1285 w 10000"/>
                        <a:gd name="connsiteY3" fmla="*/ 3741 h 9690"/>
                        <a:gd name="connsiteX4" fmla="*/ 1285 w 10000"/>
                        <a:gd name="connsiteY4" fmla="*/ 4238 h 9690"/>
                        <a:gd name="connsiteX5" fmla="*/ 643 w 10000"/>
                        <a:gd name="connsiteY5" fmla="*/ 4347 h 9690"/>
                        <a:gd name="connsiteX6" fmla="*/ 522 w 10000"/>
                        <a:gd name="connsiteY6" fmla="*/ 4631 h 9690"/>
                        <a:gd name="connsiteX7" fmla="*/ 241 w 10000"/>
                        <a:gd name="connsiteY7" fmla="*/ 4987 h 9690"/>
                        <a:gd name="connsiteX8" fmla="*/ 241 w 10000"/>
                        <a:gd name="connsiteY8" fmla="*/ 5273 h 9690"/>
                        <a:gd name="connsiteX9" fmla="*/ 120 w 10000"/>
                        <a:gd name="connsiteY9" fmla="*/ 5344 h 9690"/>
                        <a:gd name="connsiteX10" fmla="*/ 120 w 10000"/>
                        <a:gd name="connsiteY10" fmla="*/ 5593 h 9690"/>
                        <a:gd name="connsiteX11" fmla="*/ 0 w 10000"/>
                        <a:gd name="connsiteY11" fmla="*/ 5808 h 9690"/>
                        <a:gd name="connsiteX12" fmla="*/ 0 w 10000"/>
                        <a:gd name="connsiteY12" fmla="*/ 5985 h 9690"/>
                        <a:gd name="connsiteX13" fmla="*/ 241 w 10000"/>
                        <a:gd name="connsiteY13" fmla="*/ 5949 h 9690"/>
                        <a:gd name="connsiteX14" fmla="*/ 281 w 10000"/>
                        <a:gd name="connsiteY14" fmla="*/ 6269 h 9690"/>
                        <a:gd name="connsiteX15" fmla="*/ 602 w 10000"/>
                        <a:gd name="connsiteY15" fmla="*/ 6841 h 9690"/>
                        <a:gd name="connsiteX16" fmla="*/ 602 w 10000"/>
                        <a:gd name="connsiteY16" fmla="*/ 6876 h 9690"/>
                        <a:gd name="connsiteX17" fmla="*/ 482 w 10000"/>
                        <a:gd name="connsiteY17" fmla="*/ 6912 h 9690"/>
                        <a:gd name="connsiteX18" fmla="*/ 964 w 10000"/>
                        <a:gd name="connsiteY18" fmla="*/ 7481 h 9690"/>
                        <a:gd name="connsiteX19" fmla="*/ 1004 w 10000"/>
                        <a:gd name="connsiteY19" fmla="*/ 7659 h 9690"/>
                        <a:gd name="connsiteX20" fmla="*/ 964 w 10000"/>
                        <a:gd name="connsiteY20" fmla="*/ 8159 h 9690"/>
                        <a:gd name="connsiteX21" fmla="*/ 1044 w 10000"/>
                        <a:gd name="connsiteY21" fmla="*/ 8230 h 9690"/>
                        <a:gd name="connsiteX22" fmla="*/ 1365 w 10000"/>
                        <a:gd name="connsiteY22" fmla="*/ 8265 h 9690"/>
                        <a:gd name="connsiteX23" fmla="*/ 1406 w 10000"/>
                        <a:gd name="connsiteY23" fmla="*/ 8407 h 9690"/>
                        <a:gd name="connsiteX24" fmla="*/ 1767 w 10000"/>
                        <a:gd name="connsiteY24" fmla="*/ 8443 h 9690"/>
                        <a:gd name="connsiteX25" fmla="*/ 1968 w 10000"/>
                        <a:gd name="connsiteY25" fmla="*/ 8586 h 9690"/>
                        <a:gd name="connsiteX26" fmla="*/ 2008 w 10000"/>
                        <a:gd name="connsiteY26" fmla="*/ 8835 h 9690"/>
                        <a:gd name="connsiteX27" fmla="*/ 2651 w 10000"/>
                        <a:gd name="connsiteY27" fmla="*/ 9263 h 9690"/>
                        <a:gd name="connsiteX28" fmla="*/ 2811 w 10000"/>
                        <a:gd name="connsiteY28" fmla="*/ 9690 h 9690"/>
                        <a:gd name="connsiteX29" fmla="*/ 2890 w 10000"/>
                        <a:gd name="connsiteY29" fmla="*/ 7871 h 9690"/>
                        <a:gd name="connsiteX30" fmla="*/ 3167 w 10000"/>
                        <a:gd name="connsiteY30" fmla="*/ 7879 h 9690"/>
                        <a:gd name="connsiteX31" fmla="*/ 3537 w 10000"/>
                        <a:gd name="connsiteY31" fmla="*/ 7825 h 9690"/>
                        <a:gd name="connsiteX32" fmla="*/ 3795 w 10000"/>
                        <a:gd name="connsiteY32" fmla="*/ 8005 h 9690"/>
                        <a:gd name="connsiteX33" fmla="*/ 4153 w 10000"/>
                        <a:gd name="connsiteY33" fmla="*/ 8074 h 9690"/>
                        <a:gd name="connsiteX34" fmla="*/ 4406 w 10000"/>
                        <a:gd name="connsiteY34" fmla="*/ 8022 h 9690"/>
                        <a:gd name="connsiteX35" fmla="*/ 4600 w 10000"/>
                        <a:gd name="connsiteY35" fmla="*/ 7892 h 9690"/>
                        <a:gd name="connsiteX36" fmla="*/ 4762 w 10000"/>
                        <a:gd name="connsiteY36" fmla="*/ 7651 h 9690"/>
                        <a:gd name="connsiteX37" fmla="*/ 4901 w 10000"/>
                        <a:gd name="connsiteY37" fmla="*/ 7503 h 9690"/>
                        <a:gd name="connsiteX38" fmla="*/ 5080 w 10000"/>
                        <a:gd name="connsiteY38" fmla="*/ 7609 h 9690"/>
                        <a:gd name="connsiteX39" fmla="*/ 5337 w 10000"/>
                        <a:gd name="connsiteY39" fmla="*/ 7714 h 9690"/>
                        <a:gd name="connsiteX40" fmla="*/ 5564 w 10000"/>
                        <a:gd name="connsiteY40" fmla="*/ 7851 h 9690"/>
                        <a:gd name="connsiteX41" fmla="*/ 5768 w 10000"/>
                        <a:gd name="connsiteY41" fmla="*/ 7763 h 9690"/>
                        <a:gd name="connsiteX42" fmla="*/ 5933 w 10000"/>
                        <a:gd name="connsiteY42" fmla="*/ 7680 h 9690"/>
                        <a:gd name="connsiteX43" fmla="*/ 6089 w 10000"/>
                        <a:gd name="connsiteY43" fmla="*/ 7497 h 9690"/>
                        <a:gd name="connsiteX44" fmla="*/ 6274 w 10000"/>
                        <a:gd name="connsiteY44" fmla="*/ 7249 h 9690"/>
                        <a:gd name="connsiteX45" fmla="*/ 6389 w 10000"/>
                        <a:gd name="connsiteY45" fmla="*/ 7134 h 9690"/>
                        <a:gd name="connsiteX46" fmla="*/ 6524 w 10000"/>
                        <a:gd name="connsiteY46" fmla="*/ 7087 h 9690"/>
                        <a:gd name="connsiteX47" fmla="*/ 6531 w 10000"/>
                        <a:gd name="connsiteY47" fmla="*/ 6942 h 9690"/>
                        <a:gd name="connsiteX48" fmla="*/ 6424 w 10000"/>
                        <a:gd name="connsiteY48" fmla="*/ 6611 h 9690"/>
                        <a:gd name="connsiteX49" fmla="*/ 6602 w 10000"/>
                        <a:gd name="connsiteY49" fmla="*/ 6619 h 9690"/>
                        <a:gd name="connsiteX50" fmla="*/ 6707 w 10000"/>
                        <a:gd name="connsiteY50" fmla="*/ 6493 h 9690"/>
                        <a:gd name="connsiteX51" fmla="*/ 6876 w 10000"/>
                        <a:gd name="connsiteY51" fmla="*/ 6494 h 9690"/>
                        <a:gd name="connsiteX52" fmla="*/ 6827 w 10000"/>
                        <a:gd name="connsiteY52" fmla="*/ 7266 h 9690"/>
                        <a:gd name="connsiteX53" fmla="*/ 6991 w 10000"/>
                        <a:gd name="connsiteY53" fmla="*/ 7354 h 9690"/>
                        <a:gd name="connsiteX54" fmla="*/ 7275 w 10000"/>
                        <a:gd name="connsiteY54" fmla="*/ 7579 h 9690"/>
                        <a:gd name="connsiteX55" fmla="*/ 7430 w 10000"/>
                        <a:gd name="connsiteY55" fmla="*/ 7232 h 9690"/>
                        <a:gd name="connsiteX56" fmla="*/ 7470 w 10000"/>
                        <a:gd name="connsiteY56" fmla="*/ 7267 h 9690"/>
                        <a:gd name="connsiteX57" fmla="*/ 7590 w 10000"/>
                        <a:gd name="connsiteY57" fmla="*/ 7054 h 9690"/>
                        <a:gd name="connsiteX58" fmla="*/ 7831 w 10000"/>
                        <a:gd name="connsiteY58" fmla="*/ 6948 h 9690"/>
                        <a:gd name="connsiteX59" fmla="*/ 7952 w 10000"/>
                        <a:gd name="connsiteY59" fmla="*/ 6555 h 9690"/>
                        <a:gd name="connsiteX60" fmla="*/ 8313 w 10000"/>
                        <a:gd name="connsiteY60" fmla="*/ 6092 h 9690"/>
                        <a:gd name="connsiteX61" fmla="*/ 8594 w 10000"/>
                        <a:gd name="connsiteY61" fmla="*/ 5878 h 9690"/>
                        <a:gd name="connsiteX62" fmla="*/ 8795 w 10000"/>
                        <a:gd name="connsiteY62" fmla="*/ 5273 h 9690"/>
                        <a:gd name="connsiteX63" fmla="*/ 8795 w 10000"/>
                        <a:gd name="connsiteY63" fmla="*/ 5131 h 9690"/>
                        <a:gd name="connsiteX64" fmla="*/ 8755 w 10000"/>
                        <a:gd name="connsiteY64" fmla="*/ 4774 h 9690"/>
                        <a:gd name="connsiteX65" fmla="*/ 9157 w 10000"/>
                        <a:gd name="connsiteY65" fmla="*/ 3490 h 9690"/>
                        <a:gd name="connsiteX66" fmla="*/ 9277 w 10000"/>
                        <a:gd name="connsiteY66" fmla="*/ 3490 h 9690"/>
                        <a:gd name="connsiteX67" fmla="*/ 9438 w 10000"/>
                        <a:gd name="connsiteY67" fmla="*/ 3385 h 9690"/>
                        <a:gd name="connsiteX68" fmla="*/ 9920 w 10000"/>
                        <a:gd name="connsiteY68" fmla="*/ 3206 h 9690"/>
                        <a:gd name="connsiteX69" fmla="*/ 10000 w 10000"/>
                        <a:gd name="connsiteY69" fmla="*/ 2922 h 9690"/>
                        <a:gd name="connsiteX70" fmla="*/ 9960 w 10000"/>
                        <a:gd name="connsiteY70" fmla="*/ 2849 h 9690"/>
                        <a:gd name="connsiteX71" fmla="*/ 9799 w 10000"/>
                        <a:gd name="connsiteY71" fmla="*/ 2849 h 9690"/>
                        <a:gd name="connsiteX72" fmla="*/ 9679 w 10000"/>
                        <a:gd name="connsiteY72" fmla="*/ 2672 h 9690"/>
                        <a:gd name="connsiteX73" fmla="*/ 9438 w 10000"/>
                        <a:gd name="connsiteY73" fmla="*/ 2602 h 9690"/>
                        <a:gd name="connsiteX74" fmla="*/ 9317 w 10000"/>
                        <a:gd name="connsiteY74" fmla="*/ 2458 h 9690"/>
                        <a:gd name="connsiteX75" fmla="*/ 9237 w 10000"/>
                        <a:gd name="connsiteY75" fmla="*/ 1924 h 9690"/>
                        <a:gd name="connsiteX76" fmla="*/ 9237 w 10000"/>
                        <a:gd name="connsiteY76" fmla="*/ 1175 h 9690"/>
                        <a:gd name="connsiteX77" fmla="*/ 9036 w 10000"/>
                        <a:gd name="connsiteY77" fmla="*/ 927 h 9690"/>
                        <a:gd name="connsiteX78" fmla="*/ 8996 w 10000"/>
                        <a:gd name="connsiteY78" fmla="*/ 677 h 9690"/>
                        <a:gd name="connsiteX79" fmla="*/ 8675 w 10000"/>
                        <a:gd name="connsiteY79" fmla="*/ 321 h 9690"/>
                        <a:gd name="connsiteX80" fmla="*/ 8394 w 10000"/>
                        <a:gd name="connsiteY80" fmla="*/ 179 h 9690"/>
                        <a:gd name="connsiteX81" fmla="*/ 8233 w 10000"/>
                        <a:gd name="connsiteY81" fmla="*/ 0 h 9690"/>
                        <a:gd name="connsiteX82" fmla="*/ 7992 w 10000"/>
                        <a:gd name="connsiteY82" fmla="*/ 179 h 9690"/>
                        <a:gd name="connsiteX83" fmla="*/ 7831 w 10000"/>
                        <a:gd name="connsiteY83" fmla="*/ 143 h 9690"/>
                        <a:gd name="connsiteX84" fmla="*/ 7711 w 10000"/>
                        <a:gd name="connsiteY84" fmla="*/ 462 h 9690"/>
                        <a:gd name="connsiteX85" fmla="*/ 7390 w 10000"/>
                        <a:gd name="connsiteY85" fmla="*/ 535 h 9690"/>
                        <a:gd name="connsiteX86" fmla="*/ 7309 w 10000"/>
                        <a:gd name="connsiteY86" fmla="*/ 783 h 9690"/>
                        <a:gd name="connsiteX87" fmla="*/ 7028 w 10000"/>
                        <a:gd name="connsiteY87" fmla="*/ 783 h 9690"/>
                        <a:gd name="connsiteX88" fmla="*/ 6787 w 10000"/>
                        <a:gd name="connsiteY88" fmla="*/ 677 h 9690"/>
                        <a:gd name="connsiteX89" fmla="*/ 6265 w 10000"/>
                        <a:gd name="connsiteY89" fmla="*/ 677 h 9690"/>
                        <a:gd name="connsiteX90" fmla="*/ 5743 w 10000"/>
                        <a:gd name="connsiteY90" fmla="*/ 677 h 9690"/>
                        <a:gd name="connsiteX91" fmla="*/ 5783 w 10000"/>
                        <a:gd name="connsiteY91" fmla="*/ 535 h 9690"/>
                        <a:gd name="connsiteX92" fmla="*/ 5703 w 10000"/>
                        <a:gd name="connsiteY92" fmla="*/ 535 h 9690"/>
                        <a:gd name="connsiteX93" fmla="*/ 5663 w 10000"/>
                        <a:gd name="connsiteY93" fmla="*/ 677 h 9690"/>
                        <a:gd name="connsiteX94" fmla="*/ 5181 w 10000"/>
                        <a:gd name="connsiteY94" fmla="*/ 677 h 9690"/>
                        <a:gd name="connsiteX95" fmla="*/ 4699 w 10000"/>
                        <a:gd name="connsiteY95" fmla="*/ 677 h 9690"/>
                        <a:gd name="connsiteX96" fmla="*/ 4217 w 10000"/>
                        <a:gd name="connsiteY96" fmla="*/ 677 h 9690"/>
                        <a:gd name="connsiteX97" fmla="*/ 3735 w 10000"/>
                        <a:gd name="connsiteY97" fmla="*/ 677 h 9690"/>
                        <a:gd name="connsiteX98" fmla="*/ 3293 w 10000"/>
                        <a:gd name="connsiteY98" fmla="*/ 677 h 9690"/>
                        <a:gd name="connsiteX99" fmla="*/ 2811 w 10000"/>
                        <a:gd name="connsiteY99" fmla="*/ 677 h 9690"/>
                        <a:gd name="connsiteX100" fmla="*/ 2369 w 10000"/>
                        <a:gd name="connsiteY100" fmla="*/ 677 h 9690"/>
                        <a:gd name="connsiteX101" fmla="*/ 1888 w 10000"/>
                        <a:gd name="connsiteY101" fmla="*/ 677 h 9690"/>
                        <a:gd name="connsiteX102" fmla="*/ 1888 w 10000"/>
                        <a:gd name="connsiteY102" fmla="*/ 1175 h 9690"/>
                        <a:gd name="connsiteX103" fmla="*/ 1888 w 10000"/>
                        <a:gd name="connsiteY103" fmla="*/ 1817 h 9690"/>
                        <a:gd name="connsiteX104" fmla="*/ 1285 w 10000"/>
                        <a:gd name="connsiteY104" fmla="*/ 1817 h 9690"/>
                        <a:gd name="connsiteX105" fmla="*/ 1285 w 10000"/>
                        <a:gd name="connsiteY105" fmla="*/ 2102 h 9690"/>
                        <a:gd name="connsiteX0" fmla="*/ 1285 w 10000"/>
                        <a:gd name="connsiteY0" fmla="*/ 2169 h 9707"/>
                        <a:gd name="connsiteX1" fmla="*/ 1285 w 10000"/>
                        <a:gd name="connsiteY1" fmla="*/ 2757 h 9707"/>
                        <a:gd name="connsiteX2" fmla="*/ 1285 w 10000"/>
                        <a:gd name="connsiteY2" fmla="*/ 3309 h 9707"/>
                        <a:gd name="connsiteX3" fmla="*/ 1285 w 10000"/>
                        <a:gd name="connsiteY3" fmla="*/ 3861 h 9707"/>
                        <a:gd name="connsiteX4" fmla="*/ 1285 w 10000"/>
                        <a:gd name="connsiteY4" fmla="*/ 4374 h 9707"/>
                        <a:gd name="connsiteX5" fmla="*/ 643 w 10000"/>
                        <a:gd name="connsiteY5" fmla="*/ 4486 h 9707"/>
                        <a:gd name="connsiteX6" fmla="*/ 522 w 10000"/>
                        <a:gd name="connsiteY6" fmla="*/ 4779 h 9707"/>
                        <a:gd name="connsiteX7" fmla="*/ 241 w 10000"/>
                        <a:gd name="connsiteY7" fmla="*/ 5147 h 9707"/>
                        <a:gd name="connsiteX8" fmla="*/ 241 w 10000"/>
                        <a:gd name="connsiteY8" fmla="*/ 5442 h 9707"/>
                        <a:gd name="connsiteX9" fmla="*/ 120 w 10000"/>
                        <a:gd name="connsiteY9" fmla="*/ 5515 h 9707"/>
                        <a:gd name="connsiteX10" fmla="*/ 120 w 10000"/>
                        <a:gd name="connsiteY10" fmla="*/ 5772 h 9707"/>
                        <a:gd name="connsiteX11" fmla="*/ 0 w 10000"/>
                        <a:gd name="connsiteY11" fmla="*/ 5994 h 9707"/>
                        <a:gd name="connsiteX12" fmla="*/ 0 w 10000"/>
                        <a:gd name="connsiteY12" fmla="*/ 6176 h 9707"/>
                        <a:gd name="connsiteX13" fmla="*/ 241 w 10000"/>
                        <a:gd name="connsiteY13" fmla="*/ 6139 h 9707"/>
                        <a:gd name="connsiteX14" fmla="*/ 281 w 10000"/>
                        <a:gd name="connsiteY14" fmla="*/ 6470 h 9707"/>
                        <a:gd name="connsiteX15" fmla="*/ 602 w 10000"/>
                        <a:gd name="connsiteY15" fmla="*/ 7060 h 9707"/>
                        <a:gd name="connsiteX16" fmla="*/ 602 w 10000"/>
                        <a:gd name="connsiteY16" fmla="*/ 7096 h 9707"/>
                        <a:gd name="connsiteX17" fmla="*/ 482 w 10000"/>
                        <a:gd name="connsiteY17" fmla="*/ 7133 h 9707"/>
                        <a:gd name="connsiteX18" fmla="*/ 964 w 10000"/>
                        <a:gd name="connsiteY18" fmla="*/ 7720 h 9707"/>
                        <a:gd name="connsiteX19" fmla="*/ 1004 w 10000"/>
                        <a:gd name="connsiteY19" fmla="*/ 7904 h 9707"/>
                        <a:gd name="connsiteX20" fmla="*/ 964 w 10000"/>
                        <a:gd name="connsiteY20" fmla="*/ 8420 h 9707"/>
                        <a:gd name="connsiteX21" fmla="*/ 1044 w 10000"/>
                        <a:gd name="connsiteY21" fmla="*/ 8493 h 9707"/>
                        <a:gd name="connsiteX22" fmla="*/ 1365 w 10000"/>
                        <a:gd name="connsiteY22" fmla="*/ 8529 h 9707"/>
                        <a:gd name="connsiteX23" fmla="*/ 1406 w 10000"/>
                        <a:gd name="connsiteY23" fmla="*/ 8676 h 9707"/>
                        <a:gd name="connsiteX24" fmla="*/ 1767 w 10000"/>
                        <a:gd name="connsiteY24" fmla="*/ 8713 h 9707"/>
                        <a:gd name="connsiteX25" fmla="*/ 1968 w 10000"/>
                        <a:gd name="connsiteY25" fmla="*/ 8861 h 9707"/>
                        <a:gd name="connsiteX26" fmla="*/ 2008 w 10000"/>
                        <a:gd name="connsiteY26" fmla="*/ 9118 h 9707"/>
                        <a:gd name="connsiteX27" fmla="*/ 2651 w 10000"/>
                        <a:gd name="connsiteY27" fmla="*/ 9559 h 9707"/>
                        <a:gd name="connsiteX28" fmla="*/ 2679 w 10000"/>
                        <a:gd name="connsiteY28" fmla="*/ 8143 h 9707"/>
                        <a:gd name="connsiteX29" fmla="*/ 2890 w 10000"/>
                        <a:gd name="connsiteY29" fmla="*/ 8123 h 9707"/>
                        <a:gd name="connsiteX30" fmla="*/ 3167 w 10000"/>
                        <a:gd name="connsiteY30" fmla="*/ 8131 h 9707"/>
                        <a:gd name="connsiteX31" fmla="*/ 3537 w 10000"/>
                        <a:gd name="connsiteY31" fmla="*/ 8075 h 9707"/>
                        <a:gd name="connsiteX32" fmla="*/ 3795 w 10000"/>
                        <a:gd name="connsiteY32" fmla="*/ 8261 h 9707"/>
                        <a:gd name="connsiteX33" fmla="*/ 4153 w 10000"/>
                        <a:gd name="connsiteY33" fmla="*/ 8332 h 9707"/>
                        <a:gd name="connsiteX34" fmla="*/ 4406 w 10000"/>
                        <a:gd name="connsiteY34" fmla="*/ 8279 h 9707"/>
                        <a:gd name="connsiteX35" fmla="*/ 4600 w 10000"/>
                        <a:gd name="connsiteY35" fmla="*/ 8144 h 9707"/>
                        <a:gd name="connsiteX36" fmla="*/ 4762 w 10000"/>
                        <a:gd name="connsiteY36" fmla="*/ 7896 h 9707"/>
                        <a:gd name="connsiteX37" fmla="*/ 4901 w 10000"/>
                        <a:gd name="connsiteY37" fmla="*/ 7743 h 9707"/>
                        <a:gd name="connsiteX38" fmla="*/ 5080 w 10000"/>
                        <a:gd name="connsiteY38" fmla="*/ 7852 h 9707"/>
                        <a:gd name="connsiteX39" fmla="*/ 5337 w 10000"/>
                        <a:gd name="connsiteY39" fmla="*/ 7961 h 9707"/>
                        <a:gd name="connsiteX40" fmla="*/ 5564 w 10000"/>
                        <a:gd name="connsiteY40" fmla="*/ 8102 h 9707"/>
                        <a:gd name="connsiteX41" fmla="*/ 5768 w 10000"/>
                        <a:gd name="connsiteY41" fmla="*/ 8011 h 9707"/>
                        <a:gd name="connsiteX42" fmla="*/ 5933 w 10000"/>
                        <a:gd name="connsiteY42" fmla="*/ 7926 h 9707"/>
                        <a:gd name="connsiteX43" fmla="*/ 6089 w 10000"/>
                        <a:gd name="connsiteY43" fmla="*/ 7737 h 9707"/>
                        <a:gd name="connsiteX44" fmla="*/ 6274 w 10000"/>
                        <a:gd name="connsiteY44" fmla="*/ 7481 h 9707"/>
                        <a:gd name="connsiteX45" fmla="*/ 6389 w 10000"/>
                        <a:gd name="connsiteY45" fmla="*/ 7362 h 9707"/>
                        <a:gd name="connsiteX46" fmla="*/ 6524 w 10000"/>
                        <a:gd name="connsiteY46" fmla="*/ 7314 h 9707"/>
                        <a:gd name="connsiteX47" fmla="*/ 6531 w 10000"/>
                        <a:gd name="connsiteY47" fmla="*/ 7164 h 9707"/>
                        <a:gd name="connsiteX48" fmla="*/ 6424 w 10000"/>
                        <a:gd name="connsiteY48" fmla="*/ 6822 h 9707"/>
                        <a:gd name="connsiteX49" fmla="*/ 6602 w 10000"/>
                        <a:gd name="connsiteY49" fmla="*/ 6831 h 9707"/>
                        <a:gd name="connsiteX50" fmla="*/ 6707 w 10000"/>
                        <a:gd name="connsiteY50" fmla="*/ 6701 h 9707"/>
                        <a:gd name="connsiteX51" fmla="*/ 6876 w 10000"/>
                        <a:gd name="connsiteY51" fmla="*/ 6702 h 9707"/>
                        <a:gd name="connsiteX52" fmla="*/ 6827 w 10000"/>
                        <a:gd name="connsiteY52" fmla="*/ 7498 h 9707"/>
                        <a:gd name="connsiteX53" fmla="*/ 6991 w 10000"/>
                        <a:gd name="connsiteY53" fmla="*/ 7589 h 9707"/>
                        <a:gd name="connsiteX54" fmla="*/ 7275 w 10000"/>
                        <a:gd name="connsiteY54" fmla="*/ 7821 h 9707"/>
                        <a:gd name="connsiteX55" fmla="*/ 7430 w 10000"/>
                        <a:gd name="connsiteY55" fmla="*/ 7463 h 9707"/>
                        <a:gd name="connsiteX56" fmla="*/ 7470 w 10000"/>
                        <a:gd name="connsiteY56" fmla="*/ 7499 h 9707"/>
                        <a:gd name="connsiteX57" fmla="*/ 7590 w 10000"/>
                        <a:gd name="connsiteY57" fmla="*/ 7280 h 9707"/>
                        <a:gd name="connsiteX58" fmla="*/ 7831 w 10000"/>
                        <a:gd name="connsiteY58" fmla="*/ 7170 h 9707"/>
                        <a:gd name="connsiteX59" fmla="*/ 7952 w 10000"/>
                        <a:gd name="connsiteY59" fmla="*/ 6765 h 9707"/>
                        <a:gd name="connsiteX60" fmla="*/ 8313 w 10000"/>
                        <a:gd name="connsiteY60" fmla="*/ 6287 h 9707"/>
                        <a:gd name="connsiteX61" fmla="*/ 8594 w 10000"/>
                        <a:gd name="connsiteY61" fmla="*/ 6066 h 9707"/>
                        <a:gd name="connsiteX62" fmla="*/ 8795 w 10000"/>
                        <a:gd name="connsiteY62" fmla="*/ 5442 h 9707"/>
                        <a:gd name="connsiteX63" fmla="*/ 8795 w 10000"/>
                        <a:gd name="connsiteY63" fmla="*/ 5295 h 9707"/>
                        <a:gd name="connsiteX64" fmla="*/ 8755 w 10000"/>
                        <a:gd name="connsiteY64" fmla="*/ 4927 h 9707"/>
                        <a:gd name="connsiteX65" fmla="*/ 9157 w 10000"/>
                        <a:gd name="connsiteY65" fmla="*/ 3602 h 9707"/>
                        <a:gd name="connsiteX66" fmla="*/ 9277 w 10000"/>
                        <a:gd name="connsiteY66" fmla="*/ 3602 h 9707"/>
                        <a:gd name="connsiteX67" fmla="*/ 9438 w 10000"/>
                        <a:gd name="connsiteY67" fmla="*/ 3493 h 9707"/>
                        <a:gd name="connsiteX68" fmla="*/ 9920 w 10000"/>
                        <a:gd name="connsiteY68" fmla="*/ 3309 h 9707"/>
                        <a:gd name="connsiteX69" fmla="*/ 10000 w 10000"/>
                        <a:gd name="connsiteY69" fmla="*/ 3015 h 9707"/>
                        <a:gd name="connsiteX70" fmla="*/ 9960 w 10000"/>
                        <a:gd name="connsiteY70" fmla="*/ 2940 h 9707"/>
                        <a:gd name="connsiteX71" fmla="*/ 9799 w 10000"/>
                        <a:gd name="connsiteY71" fmla="*/ 2940 h 9707"/>
                        <a:gd name="connsiteX72" fmla="*/ 9679 w 10000"/>
                        <a:gd name="connsiteY72" fmla="*/ 2757 h 9707"/>
                        <a:gd name="connsiteX73" fmla="*/ 9438 w 10000"/>
                        <a:gd name="connsiteY73" fmla="*/ 2685 h 9707"/>
                        <a:gd name="connsiteX74" fmla="*/ 9317 w 10000"/>
                        <a:gd name="connsiteY74" fmla="*/ 2537 h 9707"/>
                        <a:gd name="connsiteX75" fmla="*/ 9237 w 10000"/>
                        <a:gd name="connsiteY75" fmla="*/ 1986 h 9707"/>
                        <a:gd name="connsiteX76" fmla="*/ 9237 w 10000"/>
                        <a:gd name="connsiteY76" fmla="*/ 1213 h 9707"/>
                        <a:gd name="connsiteX77" fmla="*/ 9036 w 10000"/>
                        <a:gd name="connsiteY77" fmla="*/ 957 h 9707"/>
                        <a:gd name="connsiteX78" fmla="*/ 8996 w 10000"/>
                        <a:gd name="connsiteY78" fmla="*/ 699 h 9707"/>
                        <a:gd name="connsiteX79" fmla="*/ 8675 w 10000"/>
                        <a:gd name="connsiteY79" fmla="*/ 331 h 9707"/>
                        <a:gd name="connsiteX80" fmla="*/ 8394 w 10000"/>
                        <a:gd name="connsiteY80" fmla="*/ 185 h 9707"/>
                        <a:gd name="connsiteX81" fmla="*/ 8233 w 10000"/>
                        <a:gd name="connsiteY81" fmla="*/ 0 h 9707"/>
                        <a:gd name="connsiteX82" fmla="*/ 7992 w 10000"/>
                        <a:gd name="connsiteY82" fmla="*/ 185 h 9707"/>
                        <a:gd name="connsiteX83" fmla="*/ 7831 w 10000"/>
                        <a:gd name="connsiteY83" fmla="*/ 148 h 9707"/>
                        <a:gd name="connsiteX84" fmla="*/ 7711 w 10000"/>
                        <a:gd name="connsiteY84" fmla="*/ 477 h 9707"/>
                        <a:gd name="connsiteX85" fmla="*/ 7390 w 10000"/>
                        <a:gd name="connsiteY85" fmla="*/ 552 h 9707"/>
                        <a:gd name="connsiteX86" fmla="*/ 7309 w 10000"/>
                        <a:gd name="connsiteY86" fmla="*/ 808 h 9707"/>
                        <a:gd name="connsiteX87" fmla="*/ 7028 w 10000"/>
                        <a:gd name="connsiteY87" fmla="*/ 808 h 9707"/>
                        <a:gd name="connsiteX88" fmla="*/ 6787 w 10000"/>
                        <a:gd name="connsiteY88" fmla="*/ 699 h 9707"/>
                        <a:gd name="connsiteX89" fmla="*/ 6265 w 10000"/>
                        <a:gd name="connsiteY89" fmla="*/ 699 h 9707"/>
                        <a:gd name="connsiteX90" fmla="*/ 5743 w 10000"/>
                        <a:gd name="connsiteY90" fmla="*/ 699 h 9707"/>
                        <a:gd name="connsiteX91" fmla="*/ 5783 w 10000"/>
                        <a:gd name="connsiteY91" fmla="*/ 552 h 9707"/>
                        <a:gd name="connsiteX92" fmla="*/ 5703 w 10000"/>
                        <a:gd name="connsiteY92" fmla="*/ 552 h 9707"/>
                        <a:gd name="connsiteX93" fmla="*/ 5663 w 10000"/>
                        <a:gd name="connsiteY93" fmla="*/ 699 h 9707"/>
                        <a:gd name="connsiteX94" fmla="*/ 5181 w 10000"/>
                        <a:gd name="connsiteY94" fmla="*/ 699 h 9707"/>
                        <a:gd name="connsiteX95" fmla="*/ 4699 w 10000"/>
                        <a:gd name="connsiteY95" fmla="*/ 699 h 9707"/>
                        <a:gd name="connsiteX96" fmla="*/ 4217 w 10000"/>
                        <a:gd name="connsiteY96" fmla="*/ 699 h 9707"/>
                        <a:gd name="connsiteX97" fmla="*/ 3735 w 10000"/>
                        <a:gd name="connsiteY97" fmla="*/ 699 h 9707"/>
                        <a:gd name="connsiteX98" fmla="*/ 3293 w 10000"/>
                        <a:gd name="connsiteY98" fmla="*/ 699 h 9707"/>
                        <a:gd name="connsiteX99" fmla="*/ 2811 w 10000"/>
                        <a:gd name="connsiteY99" fmla="*/ 699 h 9707"/>
                        <a:gd name="connsiteX100" fmla="*/ 2369 w 10000"/>
                        <a:gd name="connsiteY100" fmla="*/ 699 h 9707"/>
                        <a:gd name="connsiteX101" fmla="*/ 1888 w 10000"/>
                        <a:gd name="connsiteY101" fmla="*/ 699 h 9707"/>
                        <a:gd name="connsiteX102" fmla="*/ 1888 w 10000"/>
                        <a:gd name="connsiteY102" fmla="*/ 1213 h 9707"/>
                        <a:gd name="connsiteX103" fmla="*/ 1888 w 10000"/>
                        <a:gd name="connsiteY103" fmla="*/ 1875 h 9707"/>
                        <a:gd name="connsiteX104" fmla="*/ 1285 w 10000"/>
                        <a:gd name="connsiteY104" fmla="*/ 1875 h 9707"/>
                        <a:gd name="connsiteX105" fmla="*/ 1285 w 10000"/>
                        <a:gd name="connsiteY105" fmla="*/ 2169 h 9707"/>
                        <a:gd name="connsiteX0" fmla="*/ 1285 w 10000"/>
                        <a:gd name="connsiteY0" fmla="*/ 2234 h 9424"/>
                        <a:gd name="connsiteX1" fmla="*/ 1285 w 10000"/>
                        <a:gd name="connsiteY1" fmla="*/ 2840 h 9424"/>
                        <a:gd name="connsiteX2" fmla="*/ 1285 w 10000"/>
                        <a:gd name="connsiteY2" fmla="*/ 3409 h 9424"/>
                        <a:gd name="connsiteX3" fmla="*/ 1285 w 10000"/>
                        <a:gd name="connsiteY3" fmla="*/ 3978 h 9424"/>
                        <a:gd name="connsiteX4" fmla="*/ 1285 w 10000"/>
                        <a:gd name="connsiteY4" fmla="*/ 4506 h 9424"/>
                        <a:gd name="connsiteX5" fmla="*/ 643 w 10000"/>
                        <a:gd name="connsiteY5" fmla="*/ 4621 h 9424"/>
                        <a:gd name="connsiteX6" fmla="*/ 522 w 10000"/>
                        <a:gd name="connsiteY6" fmla="*/ 4923 h 9424"/>
                        <a:gd name="connsiteX7" fmla="*/ 241 w 10000"/>
                        <a:gd name="connsiteY7" fmla="*/ 5302 h 9424"/>
                        <a:gd name="connsiteX8" fmla="*/ 241 w 10000"/>
                        <a:gd name="connsiteY8" fmla="*/ 5606 h 9424"/>
                        <a:gd name="connsiteX9" fmla="*/ 120 w 10000"/>
                        <a:gd name="connsiteY9" fmla="*/ 5681 h 9424"/>
                        <a:gd name="connsiteX10" fmla="*/ 120 w 10000"/>
                        <a:gd name="connsiteY10" fmla="*/ 5946 h 9424"/>
                        <a:gd name="connsiteX11" fmla="*/ 0 w 10000"/>
                        <a:gd name="connsiteY11" fmla="*/ 6175 h 9424"/>
                        <a:gd name="connsiteX12" fmla="*/ 0 w 10000"/>
                        <a:gd name="connsiteY12" fmla="*/ 6362 h 9424"/>
                        <a:gd name="connsiteX13" fmla="*/ 241 w 10000"/>
                        <a:gd name="connsiteY13" fmla="*/ 6324 h 9424"/>
                        <a:gd name="connsiteX14" fmla="*/ 281 w 10000"/>
                        <a:gd name="connsiteY14" fmla="*/ 6665 h 9424"/>
                        <a:gd name="connsiteX15" fmla="*/ 602 w 10000"/>
                        <a:gd name="connsiteY15" fmla="*/ 7273 h 9424"/>
                        <a:gd name="connsiteX16" fmla="*/ 602 w 10000"/>
                        <a:gd name="connsiteY16" fmla="*/ 7310 h 9424"/>
                        <a:gd name="connsiteX17" fmla="*/ 482 w 10000"/>
                        <a:gd name="connsiteY17" fmla="*/ 7348 h 9424"/>
                        <a:gd name="connsiteX18" fmla="*/ 964 w 10000"/>
                        <a:gd name="connsiteY18" fmla="*/ 7953 h 9424"/>
                        <a:gd name="connsiteX19" fmla="*/ 1004 w 10000"/>
                        <a:gd name="connsiteY19" fmla="*/ 8143 h 9424"/>
                        <a:gd name="connsiteX20" fmla="*/ 964 w 10000"/>
                        <a:gd name="connsiteY20" fmla="*/ 8674 h 9424"/>
                        <a:gd name="connsiteX21" fmla="*/ 1044 w 10000"/>
                        <a:gd name="connsiteY21" fmla="*/ 8749 h 9424"/>
                        <a:gd name="connsiteX22" fmla="*/ 1365 w 10000"/>
                        <a:gd name="connsiteY22" fmla="*/ 8786 h 9424"/>
                        <a:gd name="connsiteX23" fmla="*/ 1406 w 10000"/>
                        <a:gd name="connsiteY23" fmla="*/ 8938 h 9424"/>
                        <a:gd name="connsiteX24" fmla="*/ 1767 w 10000"/>
                        <a:gd name="connsiteY24" fmla="*/ 8976 h 9424"/>
                        <a:gd name="connsiteX25" fmla="*/ 1968 w 10000"/>
                        <a:gd name="connsiteY25" fmla="*/ 9128 h 9424"/>
                        <a:gd name="connsiteX26" fmla="*/ 2008 w 10000"/>
                        <a:gd name="connsiteY26" fmla="*/ 9393 h 9424"/>
                        <a:gd name="connsiteX27" fmla="*/ 2519 w 10000"/>
                        <a:gd name="connsiteY27" fmla="*/ 7935 h 9424"/>
                        <a:gd name="connsiteX28" fmla="*/ 2679 w 10000"/>
                        <a:gd name="connsiteY28" fmla="*/ 8389 h 9424"/>
                        <a:gd name="connsiteX29" fmla="*/ 2890 w 10000"/>
                        <a:gd name="connsiteY29" fmla="*/ 8368 h 9424"/>
                        <a:gd name="connsiteX30" fmla="*/ 3167 w 10000"/>
                        <a:gd name="connsiteY30" fmla="*/ 8376 h 9424"/>
                        <a:gd name="connsiteX31" fmla="*/ 3537 w 10000"/>
                        <a:gd name="connsiteY31" fmla="*/ 8319 h 9424"/>
                        <a:gd name="connsiteX32" fmla="*/ 3795 w 10000"/>
                        <a:gd name="connsiteY32" fmla="*/ 8510 h 9424"/>
                        <a:gd name="connsiteX33" fmla="*/ 4153 w 10000"/>
                        <a:gd name="connsiteY33" fmla="*/ 8583 h 9424"/>
                        <a:gd name="connsiteX34" fmla="*/ 4406 w 10000"/>
                        <a:gd name="connsiteY34" fmla="*/ 8529 h 9424"/>
                        <a:gd name="connsiteX35" fmla="*/ 4600 w 10000"/>
                        <a:gd name="connsiteY35" fmla="*/ 8390 h 9424"/>
                        <a:gd name="connsiteX36" fmla="*/ 4762 w 10000"/>
                        <a:gd name="connsiteY36" fmla="*/ 8134 h 9424"/>
                        <a:gd name="connsiteX37" fmla="*/ 4901 w 10000"/>
                        <a:gd name="connsiteY37" fmla="*/ 7977 h 9424"/>
                        <a:gd name="connsiteX38" fmla="*/ 5080 w 10000"/>
                        <a:gd name="connsiteY38" fmla="*/ 8089 h 9424"/>
                        <a:gd name="connsiteX39" fmla="*/ 5337 w 10000"/>
                        <a:gd name="connsiteY39" fmla="*/ 8201 h 9424"/>
                        <a:gd name="connsiteX40" fmla="*/ 5564 w 10000"/>
                        <a:gd name="connsiteY40" fmla="*/ 8347 h 9424"/>
                        <a:gd name="connsiteX41" fmla="*/ 5768 w 10000"/>
                        <a:gd name="connsiteY41" fmla="*/ 8253 h 9424"/>
                        <a:gd name="connsiteX42" fmla="*/ 5933 w 10000"/>
                        <a:gd name="connsiteY42" fmla="*/ 8165 h 9424"/>
                        <a:gd name="connsiteX43" fmla="*/ 6089 w 10000"/>
                        <a:gd name="connsiteY43" fmla="*/ 7971 h 9424"/>
                        <a:gd name="connsiteX44" fmla="*/ 6274 w 10000"/>
                        <a:gd name="connsiteY44" fmla="*/ 7707 h 9424"/>
                        <a:gd name="connsiteX45" fmla="*/ 6389 w 10000"/>
                        <a:gd name="connsiteY45" fmla="*/ 7584 h 9424"/>
                        <a:gd name="connsiteX46" fmla="*/ 6524 w 10000"/>
                        <a:gd name="connsiteY46" fmla="*/ 7535 h 9424"/>
                        <a:gd name="connsiteX47" fmla="*/ 6531 w 10000"/>
                        <a:gd name="connsiteY47" fmla="*/ 7380 h 9424"/>
                        <a:gd name="connsiteX48" fmla="*/ 6424 w 10000"/>
                        <a:gd name="connsiteY48" fmla="*/ 7028 h 9424"/>
                        <a:gd name="connsiteX49" fmla="*/ 6602 w 10000"/>
                        <a:gd name="connsiteY49" fmla="*/ 7037 h 9424"/>
                        <a:gd name="connsiteX50" fmla="*/ 6707 w 10000"/>
                        <a:gd name="connsiteY50" fmla="*/ 6903 h 9424"/>
                        <a:gd name="connsiteX51" fmla="*/ 6876 w 10000"/>
                        <a:gd name="connsiteY51" fmla="*/ 6904 h 9424"/>
                        <a:gd name="connsiteX52" fmla="*/ 6827 w 10000"/>
                        <a:gd name="connsiteY52" fmla="*/ 7724 h 9424"/>
                        <a:gd name="connsiteX53" fmla="*/ 6991 w 10000"/>
                        <a:gd name="connsiteY53" fmla="*/ 7818 h 9424"/>
                        <a:gd name="connsiteX54" fmla="*/ 7275 w 10000"/>
                        <a:gd name="connsiteY54" fmla="*/ 8057 h 9424"/>
                        <a:gd name="connsiteX55" fmla="*/ 7430 w 10000"/>
                        <a:gd name="connsiteY55" fmla="*/ 7688 h 9424"/>
                        <a:gd name="connsiteX56" fmla="*/ 7470 w 10000"/>
                        <a:gd name="connsiteY56" fmla="*/ 7725 h 9424"/>
                        <a:gd name="connsiteX57" fmla="*/ 7590 w 10000"/>
                        <a:gd name="connsiteY57" fmla="*/ 7500 h 9424"/>
                        <a:gd name="connsiteX58" fmla="*/ 7831 w 10000"/>
                        <a:gd name="connsiteY58" fmla="*/ 7386 h 9424"/>
                        <a:gd name="connsiteX59" fmla="*/ 7952 w 10000"/>
                        <a:gd name="connsiteY59" fmla="*/ 6969 h 9424"/>
                        <a:gd name="connsiteX60" fmla="*/ 8313 w 10000"/>
                        <a:gd name="connsiteY60" fmla="*/ 6477 h 9424"/>
                        <a:gd name="connsiteX61" fmla="*/ 8594 w 10000"/>
                        <a:gd name="connsiteY61" fmla="*/ 6249 h 9424"/>
                        <a:gd name="connsiteX62" fmla="*/ 8795 w 10000"/>
                        <a:gd name="connsiteY62" fmla="*/ 5606 h 9424"/>
                        <a:gd name="connsiteX63" fmla="*/ 8795 w 10000"/>
                        <a:gd name="connsiteY63" fmla="*/ 5455 h 9424"/>
                        <a:gd name="connsiteX64" fmla="*/ 8755 w 10000"/>
                        <a:gd name="connsiteY64" fmla="*/ 5076 h 9424"/>
                        <a:gd name="connsiteX65" fmla="*/ 9157 w 10000"/>
                        <a:gd name="connsiteY65" fmla="*/ 3711 h 9424"/>
                        <a:gd name="connsiteX66" fmla="*/ 9277 w 10000"/>
                        <a:gd name="connsiteY66" fmla="*/ 3711 h 9424"/>
                        <a:gd name="connsiteX67" fmla="*/ 9438 w 10000"/>
                        <a:gd name="connsiteY67" fmla="*/ 3598 h 9424"/>
                        <a:gd name="connsiteX68" fmla="*/ 9920 w 10000"/>
                        <a:gd name="connsiteY68" fmla="*/ 3409 h 9424"/>
                        <a:gd name="connsiteX69" fmla="*/ 10000 w 10000"/>
                        <a:gd name="connsiteY69" fmla="*/ 3106 h 9424"/>
                        <a:gd name="connsiteX70" fmla="*/ 9960 w 10000"/>
                        <a:gd name="connsiteY70" fmla="*/ 3029 h 9424"/>
                        <a:gd name="connsiteX71" fmla="*/ 9799 w 10000"/>
                        <a:gd name="connsiteY71" fmla="*/ 3029 h 9424"/>
                        <a:gd name="connsiteX72" fmla="*/ 9679 w 10000"/>
                        <a:gd name="connsiteY72" fmla="*/ 2840 h 9424"/>
                        <a:gd name="connsiteX73" fmla="*/ 9438 w 10000"/>
                        <a:gd name="connsiteY73" fmla="*/ 2766 h 9424"/>
                        <a:gd name="connsiteX74" fmla="*/ 9317 w 10000"/>
                        <a:gd name="connsiteY74" fmla="*/ 2614 h 9424"/>
                        <a:gd name="connsiteX75" fmla="*/ 9237 w 10000"/>
                        <a:gd name="connsiteY75" fmla="*/ 2046 h 9424"/>
                        <a:gd name="connsiteX76" fmla="*/ 9237 w 10000"/>
                        <a:gd name="connsiteY76" fmla="*/ 1250 h 9424"/>
                        <a:gd name="connsiteX77" fmla="*/ 9036 w 10000"/>
                        <a:gd name="connsiteY77" fmla="*/ 986 h 9424"/>
                        <a:gd name="connsiteX78" fmla="*/ 8996 w 10000"/>
                        <a:gd name="connsiteY78" fmla="*/ 720 h 9424"/>
                        <a:gd name="connsiteX79" fmla="*/ 8675 w 10000"/>
                        <a:gd name="connsiteY79" fmla="*/ 341 h 9424"/>
                        <a:gd name="connsiteX80" fmla="*/ 8394 w 10000"/>
                        <a:gd name="connsiteY80" fmla="*/ 191 h 9424"/>
                        <a:gd name="connsiteX81" fmla="*/ 8233 w 10000"/>
                        <a:gd name="connsiteY81" fmla="*/ 0 h 9424"/>
                        <a:gd name="connsiteX82" fmla="*/ 7992 w 10000"/>
                        <a:gd name="connsiteY82" fmla="*/ 191 h 9424"/>
                        <a:gd name="connsiteX83" fmla="*/ 7831 w 10000"/>
                        <a:gd name="connsiteY83" fmla="*/ 152 h 9424"/>
                        <a:gd name="connsiteX84" fmla="*/ 7711 w 10000"/>
                        <a:gd name="connsiteY84" fmla="*/ 491 h 9424"/>
                        <a:gd name="connsiteX85" fmla="*/ 7390 w 10000"/>
                        <a:gd name="connsiteY85" fmla="*/ 569 h 9424"/>
                        <a:gd name="connsiteX86" fmla="*/ 7309 w 10000"/>
                        <a:gd name="connsiteY86" fmla="*/ 832 h 9424"/>
                        <a:gd name="connsiteX87" fmla="*/ 7028 w 10000"/>
                        <a:gd name="connsiteY87" fmla="*/ 832 h 9424"/>
                        <a:gd name="connsiteX88" fmla="*/ 6787 w 10000"/>
                        <a:gd name="connsiteY88" fmla="*/ 720 h 9424"/>
                        <a:gd name="connsiteX89" fmla="*/ 6265 w 10000"/>
                        <a:gd name="connsiteY89" fmla="*/ 720 h 9424"/>
                        <a:gd name="connsiteX90" fmla="*/ 5743 w 10000"/>
                        <a:gd name="connsiteY90" fmla="*/ 720 h 9424"/>
                        <a:gd name="connsiteX91" fmla="*/ 5783 w 10000"/>
                        <a:gd name="connsiteY91" fmla="*/ 569 h 9424"/>
                        <a:gd name="connsiteX92" fmla="*/ 5703 w 10000"/>
                        <a:gd name="connsiteY92" fmla="*/ 569 h 9424"/>
                        <a:gd name="connsiteX93" fmla="*/ 5663 w 10000"/>
                        <a:gd name="connsiteY93" fmla="*/ 720 h 9424"/>
                        <a:gd name="connsiteX94" fmla="*/ 5181 w 10000"/>
                        <a:gd name="connsiteY94" fmla="*/ 720 h 9424"/>
                        <a:gd name="connsiteX95" fmla="*/ 4699 w 10000"/>
                        <a:gd name="connsiteY95" fmla="*/ 720 h 9424"/>
                        <a:gd name="connsiteX96" fmla="*/ 4217 w 10000"/>
                        <a:gd name="connsiteY96" fmla="*/ 720 h 9424"/>
                        <a:gd name="connsiteX97" fmla="*/ 3735 w 10000"/>
                        <a:gd name="connsiteY97" fmla="*/ 720 h 9424"/>
                        <a:gd name="connsiteX98" fmla="*/ 3293 w 10000"/>
                        <a:gd name="connsiteY98" fmla="*/ 720 h 9424"/>
                        <a:gd name="connsiteX99" fmla="*/ 2811 w 10000"/>
                        <a:gd name="connsiteY99" fmla="*/ 720 h 9424"/>
                        <a:gd name="connsiteX100" fmla="*/ 2369 w 10000"/>
                        <a:gd name="connsiteY100" fmla="*/ 720 h 9424"/>
                        <a:gd name="connsiteX101" fmla="*/ 1888 w 10000"/>
                        <a:gd name="connsiteY101" fmla="*/ 720 h 9424"/>
                        <a:gd name="connsiteX102" fmla="*/ 1888 w 10000"/>
                        <a:gd name="connsiteY102" fmla="*/ 1250 h 9424"/>
                        <a:gd name="connsiteX103" fmla="*/ 1888 w 10000"/>
                        <a:gd name="connsiteY103" fmla="*/ 1932 h 9424"/>
                        <a:gd name="connsiteX104" fmla="*/ 1285 w 10000"/>
                        <a:gd name="connsiteY104" fmla="*/ 1932 h 9424"/>
                        <a:gd name="connsiteX105" fmla="*/ 1285 w 10000"/>
                        <a:gd name="connsiteY105" fmla="*/ 2234 h 9424"/>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044 w 10000"/>
                        <a:gd name="connsiteY21" fmla="*/ 9284 h 10000"/>
                        <a:gd name="connsiteX22" fmla="*/ 1365 w 10000"/>
                        <a:gd name="connsiteY22" fmla="*/ 9323 h 10000"/>
                        <a:gd name="connsiteX23" fmla="*/ 1406 w 10000"/>
                        <a:gd name="connsiteY23" fmla="*/ 9484 h 10000"/>
                        <a:gd name="connsiteX24" fmla="*/ 1767 w 10000"/>
                        <a:gd name="connsiteY24" fmla="*/ 9525 h 10000"/>
                        <a:gd name="connsiteX25" fmla="*/ 1968 w 10000"/>
                        <a:gd name="connsiteY25" fmla="*/ 9686 h 10000"/>
                        <a:gd name="connsiteX26" fmla="*/ 2239 w 10000"/>
                        <a:gd name="connsiteY26" fmla="*/ 8383 h 10000"/>
                        <a:gd name="connsiteX27" fmla="*/ 2519 w 10000"/>
                        <a:gd name="connsiteY27" fmla="*/ 8420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044 w 10000"/>
                        <a:gd name="connsiteY21" fmla="*/ 9284 h 10000"/>
                        <a:gd name="connsiteX22" fmla="*/ 1365 w 10000"/>
                        <a:gd name="connsiteY22" fmla="*/ 9323 h 10000"/>
                        <a:gd name="connsiteX23" fmla="*/ 1406 w 10000"/>
                        <a:gd name="connsiteY23" fmla="*/ 9484 h 10000"/>
                        <a:gd name="connsiteX24" fmla="*/ 1767 w 10000"/>
                        <a:gd name="connsiteY24" fmla="*/ 9525 h 10000"/>
                        <a:gd name="connsiteX25" fmla="*/ 2050 w 10000"/>
                        <a:gd name="connsiteY25" fmla="*/ 8465 h 10000"/>
                        <a:gd name="connsiteX26" fmla="*/ 2239 w 10000"/>
                        <a:gd name="connsiteY26" fmla="*/ 8383 h 10000"/>
                        <a:gd name="connsiteX27" fmla="*/ 2519 w 10000"/>
                        <a:gd name="connsiteY27" fmla="*/ 8420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044 w 10000"/>
                        <a:gd name="connsiteY21" fmla="*/ 9284 h 10000"/>
                        <a:gd name="connsiteX22" fmla="*/ 1365 w 10000"/>
                        <a:gd name="connsiteY22" fmla="*/ 9323 h 10000"/>
                        <a:gd name="connsiteX23" fmla="*/ 1406 w 10000"/>
                        <a:gd name="connsiteY23" fmla="*/ 9484 h 10000"/>
                        <a:gd name="connsiteX24" fmla="*/ 1767 w 10000"/>
                        <a:gd name="connsiteY24" fmla="*/ 8782 h 10000"/>
                        <a:gd name="connsiteX25" fmla="*/ 2050 w 10000"/>
                        <a:gd name="connsiteY25" fmla="*/ 8465 h 10000"/>
                        <a:gd name="connsiteX26" fmla="*/ 2239 w 10000"/>
                        <a:gd name="connsiteY26" fmla="*/ 8383 h 10000"/>
                        <a:gd name="connsiteX27" fmla="*/ 2519 w 10000"/>
                        <a:gd name="connsiteY27" fmla="*/ 8420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044 w 10000"/>
                        <a:gd name="connsiteY21" fmla="*/ 9284 h 10000"/>
                        <a:gd name="connsiteX22" fmla="*/ 1365 w 10000"/>
                        <a:gd name="connsiteY22" fmla="*/ 9323 h 10000"/>
                        <a:gd name="connsiteX23" fmla="*/ 1406 w 10000"/>
                        <a:gd name="connsiteY23" fmla="*/ 9484 h 10000"/>
                        <a:gd name="connsiteX24" fmla="*/ 1767 w 10000"/>
                        <a:gd name="connsiteY24" fmla="*/ 8782 h 10000"/>
                        <a:gd name="connsiteX25" fmla="*/ 2050 w 10000"/>
                        <a:gd name="connsiteY25" fmla="*/ 8465 h 10000"/>
                        <a:gd name="connsiteX26" fmla="*/ 2239 w 10000"/>
                        <a:gd name="connsiteY26" fmla="*/ 8383 h 10000"/>
                        <a:gd name="connsiteX27" fmla="*/ 2519 w 10000"/>
                        <a:gd name="connsiteY27" fmla="*/ 8420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65 w 10000"/>
                        <a:gd name="connsiteY22" fmla="*/ 9323 h 10000"/>
                        <a:gd name="connsiteX23" fmla="*/ 1406 w 10000"/>
                        <a:gd name="connsiteY23" fmla="*/ 9484 h 10000"/>
                        <a:gd name="connsiteX24" fmla="*/ 1767 w 10000"/>
                        <a:gd name="connsiteY24" fmla="*/ 8782 h 10000"/>
                        <a:gd name="connsiteX25" fmla="*/ 2050 w 10000"/>
                        <a:gd name="connsiteY25" fmla="*/ 8465 h 10000"/>
                        <a:gd name="connsiteX26" fmla="*/ 2239 w 10000"/>
                        <a:gd name="connsiteY26" fmla="*/ 8383 h 10000"/>
                        <a:gd name="connsiteX27" fmla="*/ 2519 w 10000"/>
                        <a:gd name="connsiteY27" fmla="*/ 8420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06 w 10000"/>
                        <a:gd name="connsiteY23" fmla="*/ 9484 h 10000"/>
                        <a:gd name="connsiteX24" fmla="*/ 1767 w 10000"/>
                        <a:gd name="connsiteY24" fmla="*/ 8782 h 10000"/>
                        <a:gd name="connsiteX25" fmla="*/ 2050 w 10000"/>
                        <a:gd name="connsiteY25" fmla="*/ 8465 h 10000"/>
                        <a:gd name="connsiteX26" fmla="*/ 2239 w 10000"/>
                        <a:gd name="connsiteY26" fmla="*/ 8383 h 10000"/>
                        <a:gd name="connsiteX27" fmla="*/ 2519 w 10000"/>
                        <a:gd name="connsiteY27" fmla="*/ 8420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2050 w 10000"/>
                        <a:gd name="connsiteY25" fmla="*/ 8465 h 10000"/>
                        <a:gd name="connsiteX26" fmla="*/ 2239 w 10000"/>
                        <a:gd name="connsiteY26" fmla="*/ 8383 h 10000"/>
                        <a:gd name="connsiteX27" fmla="*/ 2519 w 10000"/>
                        <a:gd name="connsiteY27" fmla="*/ 8420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239 w 10000"/>
                        <a:gd name="connsiteY26" fmla="*/ 8383 h 10000"/>
                        <a:gd name="connsiteX27" fmla="*/ 2519 w 10000"/>
                        <a:gd name="connsiteY27" fmla="*/ 8420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519 w 10000"/>
                        <a:gd name="connsiteY27" fmla="*/ 8420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338 w 10000"/>
                        <a:gd name="connsiteY27" fmla="*/ 8354 h 10000"/>
                        <a:gd name="connsiteX28" fmla="*/ 2679 w 10000"/>
                        <a:gd name="connsiteY28" fmla="*/ 8902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338 w 10000"/>
                        <a:gd name="connsiteY27" fmla="*/ 8354 h 10000"/>
                        <a:gd name="connsiteX28" fmla="*/ 2613 w 10000"/>
                        <a:gd name="connsiteY28" fmla="*/ 8588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338 w 10000"/>
                        <a:gd name="connsiteY27" fmla="*/ 8354 h 10000"/>
                        <a:gd name="connsiteX28" fmla="*/ 2613 w 10000"/>
                        <a:gd name="connsiteY28" fmla="*/ 8588 h 10000"/>
                        <a:gd name="connsiteX29" fmla="*/ 2890 w 10000"/>
                        <a:gd name="connsiteY29" fmla="*/ 8879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338 w 10000"/>
                        <a:gd name="connsiteY27" fmla="*/ 8354 h 10000"/>
                        <a:gd name="connsiteX28" fmla="*/ 2890 w 10000"/>
                        <a:gd name="connsiteY28" fmla="*/ 8879 h 10000"/>
                        <a:gd name="connsiteX29" fmla="*/ 3167 w 10000"/>
                        <a:gd name="connsiteY29" fmla="*/ 8888 h 10000"/>
                        <a:gd name="connsiteX30" fmla="*/ 3537 w 10000"/>
                        <a:gd name="connsiteY30" fmla="*/ 8827 h 10000"/>
                        <a:gd name="connsiteX31" fmla="*/ 3795 w 10000"/>
                        <a:gd name="connsiteY31" fmla="*/ 9030 h 10000"/>
                        <a:gd name="connsiteX32" fmla="*/ 4153 w 10000"/>
                        <a:gd name="connsiteY32" fmla="*/ 9108 h 10000"/>
                        <a:gd name="connsiteX33" fmla="*/ 4406 w 10000"/>
                        <a:gd name="connsiteY33" fmla="*/ 9050 h 10000"/>
                        <a:gd name="connsiteX34" fmla="*/ 4600 w 10000"/>
                        <a:gd name="connsiteY34" fmla="*/ 8903 h 10000"/>
                        <a:gd name="connsiteX35" fmla="*/ 4762 w 10000"/>
                        <a:gd name="connsiteY35" fmla="*/ 8631 h 10000"/>
                        <a:gd name="connsiteX36" fmla="*/ 4901 w 10000"/>
                        <a:gd name="connsiteY36" fmla="*/ 8465 h 10000"/>
                        <a:gd name="connsiteX37" fmla="*/ 5080 w 10000"/>
                        <a:gd name="connsiteY37" fmla="*/ 8583 h 10000"/>
                        <a:gd name="connsiteX38" fmla="*/ 5337 w 10000"/>
                        <a:gd name="connsiteY38" fmla="*/ 8702 h 10000"/>
                        <a:gd name="connsiteX39" fmla="*/ 5564 w 10000"/>
                        <a:gd name="connsiteY39" fmla="*/ 8857 h 10000"/>
                        <a:gd name="connsiteX40" fmla="*/ 5768 w 10000"/>
                        <a:gd name="connsiteY40" fmla="*/ 8757 h 10000"/>
                        <a:gd name="connsiteX41" fmla="*/ 5933 w 10000"/>
                        <a:gd name="connsiteY41" fmla="*/ 8664 h 10000"/>
                        <a:gd name="connsiteX42" fmla="*/ 6089 w 10000"/>
                        <a:gd name="connsiteY42" fmla="*/ 8458 h 10000"/>
                        <a:gd name="connsiteX43" fmla="*/ 6274 w 10000"/>
                        <a:gd name="connsiteY43" fmla="*/ 8178 h 10000"/>
                        <a:gd name="connsiteX44" fmla="*/ 6389 w 10000"/>
                        <a:gd name="connsiteY44" fmla="*/ 8048 h 10000"/>
                        <a:gd name="connsiteX45" fmla="*/ 6524 w 10000"/>
                        <a:gd name="connsiteY45" fmla="*/ 7996 h 10000"/>
                        <a:gd name="connsiteX46" fmla="*/ 6531 w 10000"/>
                        <a:gd name="connsiteY46" fmla="*/ 7831 h 10000"/>
                        <a:gd name="connsiteX47" fmla="*/ 6424 w 10000"/>
                        <a:gd name="connsiteY47" fmla="*/ 7458 h 10000"/>
                        <a:gd name="connsiteX48" fmla="*/ 6602 w 10000"/>
                        <a:gd name="connsiteY48" fmla="*/ 7467 h 10000"/>
                        <a:gd name="connsiteX49" fmla="*/ 6707 w 10000"/>
                        <a:gd name="connsiteY49" fmla="*/ 7325 h 10000"/>
                        <a:gd name="connsiteX50" fmla="*/ 6876 w 10000"/>
                        <a:gd name="connsiteY50" fmla="*/ 7326 h 10000"/>
                        <a:gd name="connsiteX51" fmla="*/ 6827 w 10000"/>
                        <a:gd name="connsiteY51" fmla="*/ 8196 h 10000"/>
                        <a:gd name="connsiteX52" fmla="*/ 6991 w 10000"/>
                        <a:gd name="connsiteY52" fmla="*/ 8296 h 10000"/>
                        <a:gd name="connsiteX53" fmla="*/ 7275 w 10000"/>
                        <a:gd name="connsiteY53" fmla="*/ 8549 h 10000"/>
                        <a:gd name="connsiteX54" fmla="*/ 7430 w 10000"/>
                        <a:gd name="connsiteY54" fmla="*/ 8158 h 10000"/>
                        <a:gd name="connsiteX55" fmla="*/ 7470 w 10000"/>
                        <a:gd name="connsiteY55" fmla="*/ 8197 h 10000"/>
                        <a:gd name="connsiteX56" fmla="*/ 7590 w 10000"/>
                        <a:gd name="connsiteY56" fmla="*/ 7958 h 10000"/>
                        <a:gd name="connsiteX57" fmla="*/ 7831 w 10000"/>
                        <a:gd name="connsiteY57" fmla="*/ 7837 h 10000"/>
                        <a:gd name="connsiteX58" fmla="*/ 7952 w 10000"/>
                        <a:gd name="connsiteY58" fmla="*/ 7395 h 10000"/>
                        <a:gd name="connsiteX59" fmla="*/ 8313 w 10000"/>
                        <a:gd name="connsiteY59" fmla="*/ 6873 h 10000"/>
                        <a:gd name="connsiteX60" fmla="*/ 8594 w 10000"/>
                        <a:gd name="connsiteY60" fmla="*/ 6631 h 10000"/>
                        <a:gd name="connsiteX61" fmla="*/ 8795 w 10000"/>
                        <a:gd name="connsiteY61" fmla="*/ 5949 h 10000"/>
                        <a:gd name="connsiteX62" fmla="*/ 8795 w 10000"/>
                        <a:gd name="connsiteY62" fmla="*/ 5788 h 10000"/>
                        <a:gd name="connsiteX63" fmla="*/ 8755 w 10000"/>
                        <a:gd name="connsiteY63" fmla="*/ 5386 h 10000"/>
                        <a:gd name="connsiteX64" fmla="*/ 9157 w 10000"/>
                        <a:gd name="connsiteY64" fmla="*/ 3938 h 10000"/>
                        <a:gd name="connsiteX65" fmla="*/ 9277 w 10000"/>
                        <a:gd name="connsiteY65" fmla="*/ 3938 h 10000"/>
                        <a:gd name="connsiteX66" fmla="*/ 9438 w 10000"/>
                        <a:gd name="connsiteY66" fmla="*/ 3818 h 10000"/>
                        <a:gd name="connsiteX67" fmla="*/ 9920 w 10000"/>
                        <a:gd name="connsiteY67" fmla="*/ 3617 h 10000"/>
                        <a:gd name="connsiteX68" fmla="*/ 10000 w 10000"/>
                        <a:gd name="connsiteY68" fmla="*/ 3296 h 10000"/>
                        <a:gd name="connsiteX69" fmla="*/ 9960 w 10000"/>
                        <a:gd name="connsiteY69" fmla="*/ 3214 h 10000"/>
                        <a:gd name="connsiteX70" fmla="*/ 9799 w 10000"/>
                        <a:gd name="connsiteY70" fmla="*/ 3214 h 10000"/>
                        <a:gd name="connsiteX71" fmla="*/ 9679 w 10000"/>
                        <a:gd name="connsiteY71" fmla="*/ 3014 h 10000"/>
                        <a:gd name="connsiteX72" fmla="*/ 9438 w 10000"/>
                        <a:gd name="connsiteY72" fmla="*/ 2935 h 10000"/>
                        <a:gd name="connsiteX73" fmla="*/ 9317 w 10000"/>
                        <a:gd name="connsiteY73" fmla="*/ 2774 h 10000"/>
                        <a:gd name="connsiteX74" fmla="*/ 9237 w 10000"/>
                        <a:gd name="connsiteY74" fmla="*/ 2171 h 10000"/>
                        <a:gd name="connsiteX75" fmla="*/ 9237 w 10000"/>
                        <a:gd name="connsiteY75" fmla="*/ 1326 h 10000"/>
                        <a:gd name="connsiteX76" fmla="*/ 9036 w 10000"/>
                        <a:gd name="connsiteY76" fmla="*/ 1046 h 10000"/>
                        <a:gd name="connsiteX77" fmla="*/ 8996 w 10000"/>
                        <a:gd name="connsiteY77" fmla="*/ 764 h 10000"/>
                        <a:gd name="connsiteX78" fmla="*/ 8675 w 10000"/>
                        <a:gd name="connsiteY78" fmla="*/ 362 h 10000"/>
                        <a:gd name="connsiteX79" fmla="*/ 8394 w 10000"/>
                        <a:gd name="connsiteY79" fmla="*/ 203 h 10000"/>
                        <a:gd name="connsiteX80" fmla="*/ 8233 w 10000"/>
                        <a:gd name="connsiteY80" fmla="*/ 0 h 10000"/>
                        <a:gd name="connsiteX81" fmla="*/ 7992 w 10000"/>
                        <a:gd name="connsiteY81" fmla="*/ 203 h 10000"/>
                        <a:gd name="connsiteX82" fmla="*/ 7831 w 10000"/>
                        <a:gd name="connsiteY82" fmla="*/ 161 h 10000"/>
                        <a:gd name="connsiteX83" fmla="*/ 7711 w 10000"/>
                        <a:gd name="connsiteY83" fmla="*/ 521 h 10000"/>
                        <a:gd name="connsiteX84" fmla="*/ 7390 w 10000"/>
                        <a:gd name="connsiteY84" fmla="*/ 604 h 10000"/>
                        <a:gd name="connsiteX85" fmla="*/ 7309 w 10000"/>
                        <a:gd name="connsiteY85" fmla="*/ 883 h 10000"/>
                        <a:gd name="connsiteX86" fmla="*/ 7028 w 10000"/>
                        <a:gd name="connsiteY86" fmla="*/ 883 h 10000"/>
                        <a:gd name="connsiteX87" fmla="*/ 6787 w 10000"/>
                        <a:gd name="connsiteY87" fmla="*/ 764 h 10000"/>
                        <a:gd name="connsiteX88" fmla="*/ 6265 w 10000"/>
                        <a:gd name="connsiteY88" fmla="*/ 764 h 10000"/>
                        <a:gd name="connsiteX89" fmla="*/ 5743 w 10000"/>
                        <a:gd name="connsiteY89" fmla="*/ 764 h 10000"/>
                        <a:gd name="connsiteX90" fmla="*/ 5783 w 10000"/>
                        <a:gd name="connsiteY90" fmla="*/ 604 h 10000"/>
                        <a:gd name="connsiteX91" fmla="*/ 5703 w 10000"/>
                        <a:gd name="connsiteY91" fmla="*/ 604 h 10000"/>
                        <a:gd name="connsiteX92" fmla="*/ 5663 w 10000"/>
                        <a:gd name="connsiteY92" fmla="*/ 764 h 10000"/>
                        <a:gd name="connsiteX93" fmla="*/ 5181 w 10000"/>
                        <a:gd name="connsiteY93" fmla="*/ 764 h 10000"/>
                        <a:gd name="connsiteX94" fmla="*/ 4699 w 10000"/>
                        <a:gd name="connsiteY94" fmla="*/ 764 h 10000"/>
                        <a:gd name="connsiteX95" fmla="*/ 4217 w 10000"/>
                        <a:gd name="connsiteY95" fmla="*/ 764 h 10000"/>
                        <a:gd name="connsiteX96" fmla="*/ 3735 w 10000"/>
                        <a:gd name="connsiteY96" fmla="*/ 764 h 10000"/>
                        <a:gd name="connsiteX97" fmla="*/ 3293 w 10000"/>
                        <a:gd name="connsiteY97" fmla="*/ 764 h 10000"/>
                        <a:gd name="connsiteX98" fmla="*/ 2811 w 10000"/>
                        <a:gd name="connsiteY98" fmla="*/ 764 h 10000"/>
                        <a:gd name="connsiteX99" fmla="*/ 2369 w 10000"/>
                        <a:gd name="connsiteY99" fmla="*/ 764 h 10000"/>
                        <a:gd name="connsiteX100" fmla="*/ 1888 w 10000"/>
                        <a:gd name="connsiteY100" fmla="*/ 764 h 10000"/>
                        <a:gd name="connsiteX101" fmla="*/ 1888 w 10000"/>
                        <a:gd name="connsiteY101" fmla="*/ 1326 h 10000"/>
                        <a:gd name="connsiteX102" fmla="*/ 1888 w 10000"/>
                        <a:gd name="connsiteY102" fmla="*/ 2050 h 10000"/>
                        <a:gd name="connsiteX103" fmla="*/ 1285 w 10000"/>
                        <a:gd name="connsiteY103" fmla="*/ 2050 h 10000"/>
                        <a:gd name="connsiteX104" fmla="*/ 1285 w 10000"/>
                        <a:gd name="connsiteY104"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338 w 10000"/>
                        <a:gd name="connsiteY27" fmla="*/ 8354 h 10000"/>
                        <a:gd name="connsiteX28" fmla="*/ 2643 w 10000"/>
                        <a:gd name="connsiteY28" fmla="*/ 8747 h 10000"/>
                        <a:gd name="connsiteX29" fmla="*/ 3167 w 10000"/>
                        <a:gd name="connsiteY29" fmla="*/ 8888 h 10000"/>
                        <a:gd name="connsiteX30" fmla="*/ 3537 w 10000"/>
                        <a:gd name="connsiteY30" fmla="*/ 8827 h 10000"/>
                        <a:gd name="connsiteX31" fmla="*/ 3795 w 10000"/>
                        <a:gd name="connsiteY31" fmla="*/ 9030 h 10000"/>
                        <a:gd name="connsiteX32" fmla="*/ 4153 w 10000"/>
                        <a:gd name="connsiteY32" fmla="*/ 9108 h 10000"/>
                        <a:gd name="connsiteX33" fmla="*/ 4406 w 10000"/>
                        <a:gd name="connsiteY33" fmla="*/ 9050 h 10000"/>
                        <a:gd name="connsiteX34" fmla="*/ 4600 w 10000"/>
                        <a:gd name="connsiteY34" fmla="*/ 8903 h 10000"/>
                        <a:gd name="connsiteX35" fmla="*/ 4762 w 10000"/>
                        <a:gd name="connsiteY35" fmla="*/ 8631 h 10000"/>
                        <a:gd name="connsiteX36" fmla="*/ 4901 w 10000"/>
                        <a:gd name="connsiteY36" fmla="*/ 8465 h 10000"/>
                        <a:gd name="connsiteX37" fmla="*/ 5080 w 10000"/>
                        <a:gd name="connsiteY37" fmla="*/ 8583 h 10000"/>
                        <a:gd name="connsiteX38" fmla="*/ 5337 w 10000"/>
                        <a:gd name="connsiteY38" fmla="*/ 8702 h 10000"/>
                        <a:gd name="connsiteX39" fmla="*/ 5564 w 10000"/>
                        <a:gd name="connsiteY39" fmla="*/ 8857 h 10000"/>
                        <a:gd name="connsiteX40" fmla="*/ 5768 w 10000"/>
                        <a:gd name="connsiteY40" fmla="*/ 8757 h 10000"/>
                        <a:gd name="connsiteX41" fmla="*/ 5933 w 10000"/>
                        <a:gd name="connsiteY41" fmla="*/ 8664 h 10000"/>
                        <a:gd name="connsiteX42" fmla="*/ 6089 w 10000"/>
                        <a:gd name="connsiteY42" fmla="*/ 8458 h 10000"/>
                        <a:gd name="connsiteX43" fmla="*/ 6274 w 10000"/>
                        <a:gd name="connsiteY43" fmla="*/ 8178 h 10000"/>
                        <a:gd name="connsiteX44" fmla="*/ 6389 w 10000"/>
                        <a:gd name="connsiteY44" fmla="*/ 8048 h 10000"/>
                        <a:gd name="connsiteX45" fmla="*/ 6524 w 10000"/>
                        <a:gd name="connsiteY45" fmla="*/ 7996 h 10000"/>
                        <a:gd name="connsiteX46" fmla="*/ 6531 w 10000"/>
                        <a:gd name="connsiteY46" fmla="*/ 7831 h 10000"/>
                        <a:gd name="connsiteX47" fmla="*/ 6424 w 10000"/>
                        <a:gd name="connsiteY47" fmla="*/ 7458 h 10000"/>
                        <a:gd name="connsiteX48" fmla="*/ 6602 w 10000"/>
                        <a:gd name="connsiteY48" fmla="*/ 7467 h 10000"/>
                        <a:gd name="connsiteX49" fmla="*/ 6707 w 10000"/>
                        <a:gd name="connsiteY49" fmla="*/ 7325 h 10000"/>
                        <a:gd name="connsiteX50" fmla="*/ 6876 w 10000"/>
                        <a:gd name="connsiteY50" fmla="*/ 7326 h 10000"/>
                        <a:gd name="connsiteX51" fmla="*/ 6827 w 10000"/>
                        <a:gd name="connsiteY51" fmla="*/ 8196 h 10000"/>
                        <a:gd name="connsiteX52" fmla="*/ 6991 w 10000"/>
                        <a:gd name="connsiteY52" fmla="*/ 8296 h 10000"/>
                        <a:gd name="connsiteX53" fmla="*/ 7275 w 10000"/>
                        <a:gd name="connsiteY53" fmla="*/ 8549 h 10000"/>
                        <a:gd name="connsiteX54" fmla="*/ 7430 w 10000"/>
                        <a:gd name="connsiteY54" fmla="*/ 8158 h 10000"/>
                        <a:gd name="connsiteX55" fmla="*/ 7470 w 10000"/>
                        <a:gd name="connsiteY55" fmla="*/ 8197 h 10000"/>
                        <a:gd name="connsiteX56" fmla="*/ 7590 w 10000"/>
                        <a:gd name="connsiteY56" fmla="*/ 7958 h 10000"/>
                        <a:gd name="connsiteX57" fmla="*/ 7831 w 10000"/>
                        <a:gd name="connsiteY57" fmla="*/ 7837 h 10000"/>
                        <a:gd name="connsiteX58" fmla="*/ 7952 w 10000"/>
                        <a:gd name="connsiteY58" fmla="*/ 7395 h 10000"/>
                        <a:gd name="connsiteX59" fmla="*/ 8313 w 10000"/>
                        <a:gd name="connsiteY59" fmla="*/ 6873 h 10000"/>
                        <a:gd name="connsiteX60" fmla="*/ 8594 w 10000"/>
                        <a:gd name="connsiteY60" fmla="*/ 6631 h 10000"/>
                        <a:gd name="connsiteX61" fmla="*/ 8795 w 10000"/>
                        <a:gd name="connsiteY61" fmla="*/ 5949 h 10000"/>
                        <a:gd name="connsiteX62" fmla="*/ 8795 w 10000"/>
                        <a:gd name="connsiteY62" fmla="*/ 5788 h 10000"/>
                        <a:gd name="connsiteX63" fmla="*/ 8755 w 10000"/>
                        <a:gd name="connsiteY63" fmla="*/ 5386 h 10000"/>
                        <a:gd name="connsiteX64" fmla="*/ 9157 w 10000"/>
                        <a:gd name="connsiteY64" fmla="*/ 3938 h 10000"/>
                        <a:gd name="connsiteX65" fmla="*/ 9277 w 10000"/>
                        <a:gd name="connsiteY65" fmla="*/ 3938 h 10000"/>
                        <a:gd name="connsiteX66" fmla="*/ 9438 w 10000"/>
                        <a:gd name="connsiteY66" fmla="*/ 3818 h 10000"/>
                        <a:gd name="connsiteX67" fmla="*/ 9920 w 10000"/>
                        <a:gd name="connsiteY67" fmla="*/ 3617 h 10000"/>
                        <a:gd name="connsiteX68" fmla="*/ 10000 w 10000"/>
                        <a:gd name="connsiteY68" fmla="*/ 3296 h 10000"/>
                        <a:gd name="connsiteX69" fmla="*/ 9960 w 10000"/>
                        <a:gd name="connsiteY69" fmla="*/ 3214 h 10000"/>
                        <a:gd name="connsiteX70" fmla="*/ 9799 w 10000"/>
                        <a:gd name="connsiteY70" fmla="*/ 3214 h 10000"/>
                        <a:gd name="connsiteX71" fmla="*/ 9679 w 10000"/>
                        <a:gd name="connsiteY71" fmla="*/ 3014 h 10000"/>
                        <a:gd name="connsiteX72" fmla="*/ 9438 w 10000"/>
                        <a:gd name="connsiteY72" fmla="*/ 2935 h 10000"/>
                        <a:gd name="connsiteX73" fmla="*/ 9317 w 10000"/>
                        <a:gd name="connsiteY73" fmla="*/ 2774 h 10000"/>
                        <a:gd name="connsiteX74" fmla="*/ 9237 w 10000"/>
                        <a:gd name="connsiteY74" fmla="*/ 2171 h 10000"/>
                        <a:gd name="connsiteX75" fmla="*/ 9237 w 10000"/>
                        <a:gd name="connsiteY75" fmla="*/ 1326 h 10000"/>
                        <a:gd name="connsiteX76" fmla="*/ 9036 w 10000"/>
                        <a:gd name="connsiteY76" fmla="*/ 1046 h 10000"/>
                        <a:gd name="connsiteX77" fmla="*/ 8996 w 10000"/>
                        <a:gd name="connsiteY77" fmla="*/ 764 h 10000"/>
                        <a:gd name="connsiteX78" fmla="*/ 8675 w 10000"/>
                        <a:gd name="connsiteY78" fmla="*/ 362 h 10000"/>
                        <a:gd name="connsiteX79" fmla="*/ 8394 w 10000"/>
                        <a:gd name="connsiteY79" fmla="*/ 203 h 10000"/>
                        <a:gd name="connsiteX80" fmla="*/ 8233 w 10000"/>
                        <a:gd name="connsiteY80" fmla="*/ 0 h 10000"/>
                        <a:gd name="connsiteX81" fmla="*/ 7992 w 10000"/>
                        <a:gd name="connsiteY81" fmla="*/ 203 h 10000"/>
                        <a:gd name="connsiteX82" fmla="*/ 7831 w 10000"/>
                        <a:gd name="connsiteY82" fmla="*/ 161 h 10000"/>
                        <a:gd name="connsiteX83" fmla="*/ 7711 w 10000"/>
                        <a:gd name="connsiteY83" fmla="*/ 521 h 10000"/>
                        <a:gd name="connsiteX84" fmla="*/ 7390 w 10000"/>
                        <a:gd name="connsiteY84" fmla="*/ 604 h 10000"/>
                        <a:gd name="connsiteX85" fmla="*/ 7309 w 10000"/>
                        <a:gd name="connsiteY85" fmla="*/ 883 h 10000"/>
                        <a:gd name="connsiteX86" fmla="*/ 7028 w 10000"/>
                        <a:gd name="connsiteY86" fmla="*/ 883 h 10000"/>
                        <a:gd name="connsiteX87" fmla="*/ 6787 w 10000"/>
                        <a:gd name="connsiteY87" fmla="*/ 764 h 10000"/>
                        <a:gd name="connsiteX88" fmla="*/ 6265 w 10000"/>
                        <a:gd name="connsiteY88" fmla="*/ 764 h 10000"/>
                        <a:gd name="connsiteX89" fmla="*/ 5743 w 10000"/>
                        <a:gd name="connsiteY89" fmla="*/ 764 h 10000"/>
                        <a:gd name="connsiteX90" fmla="*/ 5783 w 10000"/>
                        <a:gd name="connsiteY90" fmla="*/ 604 h 10000"/>
                        <a:gd name="connsiteX91" fmla="*/ 5703 w 10000"/>
                        <a:gd name="connsiteY91" fmla="*/ 604 h 10000"/>
                        <a:gd name="connsiteX92" fmla="*/ 5663 w 10000"/>
                        <a:gd name="connsiteY92" fmla="*/ 764 h 10000"/>
                        <a:gd name="connsiteX93" fmla="*/ 5181 w 10000"/>
                        <a:gd name="connsiteY93" fmla="*/ 764 h 10000"/>
                        <a:gd name="connsiteX94" fmla="*/ 4699 w 10000"/>
                        <a:gd name="connsiteY94" fmla="*/ 764 h 10000"/>
                        <a:gd name="connsiteX95" fmla="*/ 4217 w 10000"/>
                        <a:gd name="connsiteY95" fmla="*/ 764 h 10000"/>
                        <a:gd name="connsiteX96" fmla="*/ 3735 w 10000"/>
                        <a:gd name="connsiteY96" fmla="*/ 764 h 10000"/>
                        <a:gd name="connsiteX97" fmla="*/ 3293 w 10000"/>
                        <a:gd name="connsiteY97" fmla="*/ 764 h 10000"/>
                        <a:gd name="connsiteX98" fmla="*/ 2811 w 10000"/>
                        <a:gd name="connsiteY98" fmla="*/ 764 h 10000"/>
                        <a:gd name="connsiteX99" fmla="*/ 2369 w 10000"/>
                        <a:gd name="connsiteY99" fmla="*/ 764 h 10000"/>
                        <a:gd name="connsiteX100" fmla="*/ 1888 w 10000"/>
                        <a:gd name="connsiteY100" fmla="*/ 764 h 10000"/>
                        <a:gd name="connsiteX101" fmla="*/ 1888 w 10000"/>
                        <a:gd name="connsiteY101" fmla="*/ 1326 h 10000"/>
                        <a:gd name="connsiteX102" fmla="*/ 1888 w 10000"/>
                        <a:gd name="connsiteY102" fmla="*/ 2050 h 10000"/>
                        <a:gd name="connsiteX103" fmla="*/ 1285 w 10000"/>
                        <a:gd name="connsiteY103" fmla="*/ 2050 h 10000"/>
                        <a:gd name="connsiteX104" fmla="*/ 1285 w 10000"/>
                        <a:gd name="connsiteY104"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338 w 10000"/>
                        <a:gd name="connsiteY27" fmla="*/ 8354 h 10000"/>
                        <a:gd name="connsiteX28" fmla="*/ 2643 w 10000"/>
                        <a:gd name="connsiteY28" fmla="*/ 8747 h 10000"/>
                        <a:gd name="connsiteX29" fmla="*/ 2960 w 10000"/>
                        <a:gd name="connsiteY29" fmla="*/ 8802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338 w 10000"/>
                        <a:gd name="connsiteY27" fmla="*/ 8354 h 10000"/>
                        <a:gd name="connsiteX28" fmla="*/ 2643 w 10000"/>
                        <a:gd name="connsiteY28" fmla="*/ 8747 h 10000"/>
                        <a:gd name="connsiteX29" fmla="*/ 2911 w 10000"/>
                        <a:gd name="connsiteY29" fmla="*/ 8918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424 w 10000"/>
                        <a:gd name="connsiteY48" fmla="*/ 7458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338 w 10000"/>
                        <a:gd name="connsiteY27" fmla="*/ 8354 h 10000"/>
                        <a:gd name="connsiteX28" fmla="*/ 2643 w 10000"/>
                        <a:gd name="connsiteY28" fmla="*/ 8747 h 10000"/>
                        <a:gd name="connsiteX29" fmla="*/ 2911 w 10000"/>
                        <a:gd name="connsiteY29" fmla="*/ 8918 h 10000"/>
                        <a:gd name="connsiteX30" fmla="*/ 3167 w 10000"/>
                        <a:gd name="connsiteY30" fmla="*/ 8888 h 10000"/>
                        <a:gd name="connsiteX31" fmla="*/ 3537 w 10000"/>
                        <a:gd name="connsiteY31" fmla="*/ 8827 h 10000"/>
                        <a:gd name="connsiteX32" fmla="*/ 3795 w 10000"/>
                        <a:gd name="connsiteY32" fmla="*/ 9030 h 10000"/>
                        <a:gd name="connsiteX33" fmla="*/ 4153 w 10000"/>
                        <a:gd name="connsiteY33" fmla="*/ 9108 h 10000"/>
                        <a:gd name="connsiteX34" fmla="*/ 4406 w 10000"/>
                        <a:gd name="connsiteY34" fmla="*/ 9050 h 10000"/>
                        <a:gd name="connsiteX35" fmla="*/ 4600 w 10000"/>
                        <a:gd name="connsiteY35" fmla="*/ 8903 h 10000"/>
                        <a:gd name="connsiteX36" fmla="*/ 4762 w 10000"/>
                        <a:gd name="connsiteY36" fmla="*/ 8631 h 10000"/>
                        <a:gd name="connsiteX37" fmla="*/ 4901 w 10000"/>
                        <a:gd name="connsiteY37" fmla="*/ 8465 h 10000"/>
                        <a:gd name="connsiteX38" fmla="*/ 5080 w 10000"/>
                        <a:gd name="connsiteY38" fmla="*/ 8583 h 10000"/>
                        <a:gd name="connsiteX39" fmla="*/ 5337 w 10000"/>
                        <a:gd name="connsiteY39" fmla="*/ 8702 h 10000"/>
                        <a:gd name="connsiteX40" fmla="*/ 5564 w 10000"/>
                        <a:gd name="connsiteY40" fmla="*/ 8857 h 10000"/>
                        <a:gd name="connsiteX41" fmla="*/ 5768 w 10000"/>
                        <a:gd name="connsiteY41" fmla="*/ 8757 h 10000"/>
                        <a:gd name="connsiteX42" fmla="*/ 5933 w 10000"/>
                        <a:gd name="connsiteY42" fmla="*/ 8664 h 10000"/>
                        <a:gd name="connsiteX43" fmla="*/ 6089 w 10000"/>
                        <a:gd name="connsiteY43" fmla="*/ 8458 h 10000"/>
                        <a:gd name="connsiteX44" fmla="*/ 6274 w 10000"/>
                        <a:gd name="connsiteY44" fmla="*/ 8178 h 10000"/>
                        <a:gd name="connsiteX45" fmla="*/ 6389 w 10000"/>
                        <a:gd name="connsiteY45" fmla="*/ 8048 h 10000"/>
                        <a:gd name="connsiteX46" fmla="*/ 6524 w 10000"/>
                        <a:gd name="connsiteY46" fmla="*/ 7996 h 10000"/>
                        <a:gd name="connsiteX47" fmla="*/ 6531 w 10000"/>
                        <a:gd name="connsiteY47" fmla="*/ 7831 h 10000"/>
                        <a:gd name="connsiteX48" fmla="*/ 6572 w 10000"/>
                        <a:gd name="connsiteY48" fmla="*/ 7640 h 10000"/>
                        <a:gd name="connsiteX49" fmla="*/ 6602 w 10000"/>
                        <a:gd name="connsiteY49" fmla="*/ 7467 h 10000"/>
                        <a:gd name="connsiteX50" fmla="*/ 6707 w 10000"/>
                        <a:gd name="connsiteY50" fmla="*/ 7325 h 10000"/>
                        <a:gd name="connsiteX51" fmla="*/ 6876 w 10000"/>
                        <a:gd name="connsiteY51" fmla="*/ 7326 h 10000"/>
                        <a:gd name="connsiteX52" fmla="*/ 6827 w 10000"/>
                        <a:gd name="connsiteY52" fmla="*/ 8196 h 10000"/>
                        <a:gd name="connsiteX53" fmla="*/ 6991 w 10000"/>
                        <a:gd name="connsiteY53" fmla="*/ 8296 h 10000"/>
                        <a:gd name="connsiteX54" fmla="*/ 7275 w 10000"/>
                        <a:gd name="connsiteY54" fmla="*/ 8549 h 10000"/>
                        <a:gd name="connsiteX55" fmla="*/ 7430 w 10000"/>
                        <a:gd name="connsiteY55" fmla="*/ 8158 h 10000"/>
                        <a:gd name="connsiteX56" fmla="*/ 7470 w 10000"/>
                        <a:gd name="connsiteY56" fmla="*/ 8197 h 10000"/>
                        <a:gd name="connsiteX57" fmla="*/ 7590 w 10000"/>
                        <a:gd name="connsiteY57" fmla="*/ 7958 h 10000"/>
                        <a:gd name="connsiteX58" fmla="*/ 7831 w 10000"/>
                        <a:gd name="connsiteY58" fmla="*/ 7837 h 10000"/>
                        <a:gd name="connsiteX59" fmla="*/ 7952 w 10000"/>
                        <a:gd name="connsiteY59" fmla="*/ 7395 h 10000"/>
                        <a:gd name="connsiteX60" fmla="*/ 8313 w 10000"/>
                        <a:gd name="connsiteY60" fmla="*/ 6873 h 10000"/>
                        <a:gd name="connsiteX61" fmla="*/ 8594 w 10000"/>
                        <a:gd name="connsiteY61" fmla="*/ 6631 h 10000"/>
                        <a:gd name="connsiteX62" fmla="*/ 8795 w 10000"/>
                        <a:gd name="connsiteY62" fmla="*/ 5949 h 10000"/>
                        <a:gd name="connsiteX63" fmla="*/ 8795 w 10000"/>
                        <a:gd name="connsiteY63" fmla="*/ 5788 h 10000"/>
                        <a:gd name="connsiteX64" fmla="*/ 8755 w 10000"/>
                        <a:gd name="connsiteY64" fmla="*/ 5386 h 10000"/>
                        <a:gd name="connsiteX65" fmla="*/ 9157 w 10000"/>
                        <a:gd name="connsiteY65" fmla="*/ 3938 h 10000"/>
                        <a:gd name="connsiteX66" fmla="*/ 9277 w 10000"/>
                        <a:gd name="connsiteY66" fmla="*/ 3938 h 10000"/>
                        <a:gd name="connsiteX67" fmla="*/ 9438 w 10000"/>
                        <a:gd name="connsiteY67" fmla="*/ 3818 h 10000"/>
                        <a:gd name="connsiteX68" fmla="*/ 9920 w 10000"/>
                        <a:gd name="connsiteY68" fmla="*/ 3617 h 10000"/>
                        <a:gd name="connsiteX69" fmla="*/ 10000 w 10000"/>
                        <a:gd name="connsiteY69" fmla="*/ 3296 h 10000"/>
                        <a:gd name="connsiteX70" fmla="*/ 9960 w 10000"/>
                        <a:gd name="connsiteY70" fmla="*/ 3214 h 10000"/>
                        <a:gd name="connsiteX71" fmla="*/ 9799 w 10000"/>
                        <a:gd name="connsiteY71" fmla="*/ 3214 h 10000"/>
                        <a:gd name="connsiteX72" fmla="*/ 9679 w 10000"/>
                        <a:gd name="connsiteY72" fmla="*/ 3014 h 10000"/>
                        <a:gd name="connsiteX73" fmla="*/ 9438 w 10000"/>
                        <a:gd name="connsiteY73" fmla="*/ 2935 h 10000"/>
                        <a:gd name="connsiteX74" fmla="*/ 9317 w 10000"/>
                        <a:gd name="connsiteY74" fmla="*/ 2774 h 10000"/>
                        <a:gd name="connsiteX75" fmla="*/ 9237 w 10000"/>
                        <a:gd name="connsiteY75" fmla="*/ 2171 h 10000"/>
                        <a:gd name="connsiteX76" fmla="*/ 9237 w 10000"/>
                        <a:gd name="connsiteY76" fmla="*/ 1326 h 10000"/>
                        <a:gd name="connsiteX77" fmla="*/ 9036 w 10000"/>
                        <a:gd name="connsiteY77" fmla="*/ 1046 h 10000"/>
                        <a:gd name="connsiteX78" fmla="*/ 8996 w 10000"/>
                        <a:gd name="connsiteY78" fmla="*/ 764 h 10000"/>
                        <a:gd name="connsiteX79" fmla="*/ 8675 w 10000"/>
                        <a:gd name="connsiteY79" fmla="*/ 362 h 10000"/>
                        <a:gd name="connsiteX80" fmla="*/ 8394 w 10000"/>
                        <a:gd name="connsiteY80" fmla="*/ 203 h 10000"/>
                        <a:gd name="connsiteX81" fmla="*/ 8233 w 10000"/>
                        <a:gd name="connsiteY81" fmla="*/ 0 h 10000"/>
                        <a:gd name="connsiteX82" fmla="*/ 7992 w 10000"/>
                        <a:gd name="connsiteY82" fmla="*/ 203 h 10000"/>
                        <a:gd name="connsiteX83" fmla="*/ 7831 w 10000"/>
                        <a:gd name="connsiteY83" fmla="*/ 161 h 10000"/>
                        <a:gd name="connsiteX84" fmla="*/ 7711 w 10000"/>
                        <a:gd name="connsiteY84" fmla="*/ 521 h 10000"/>
                        <a:gd name="connsiteX85" fmla="*/ 7390 w 10000"/>
                        <a:gd name="connsiteY85" fmla="*/ 604 h 10000"/>
                        <a:gd name="connsiteX86" fmla="*/ 7309 w 10000"/>
                        <a:gd name="connsiteY86" fmla="*/ 883 h 10000"/>
                        <a:gd name="connsiteX87" fmla="*/ 7028 w 10000"/>
                        <a:gd name="connsiteY87" fmla="*/ 883 h 10000"/>
                        <a:gd name="connsiteX88" fmla="*/ 6787 w 10000"/>
                        <a:gd name="connsiteY88" fmla="*/ 764 h 10000"/>
                        <a:gd name="connsiteX89" fmla="*/ 6265 w 10000"/>
                        <a:gd name="connsiteY89" fmla="*/ 764 h 10000"/>
                        <a:gd name="connsiteX90" fmla="*/ 5743 w 10000"/>
                        <a:gd name="connsiteY90" fmla="*/ 764 h 10000"/>
                        <a:gd name="connsiteX91" fmla="*/ 5783 w 10000"/>
                        <a:gd name="connsiteY91" fmla="*/ 604 h 10000"/>
                        <a:gd name="connsiteX92" fmla="*/ 5703 w 10000"/>
                        <a:gd name="connsiteY92" fmla="*/ 604 h 10000"/>
                        <a:gd name="connsiteX93" fmla="*/ 5663 w 10000"/>
                        <a:gd name="connsiteY93" fmla="*/ 764 h 10000"/>
                        <a:gd name="connsiteX94" fmla="*/ 5181 w 10000"/>
                        <a:gd name="connsiteY94" fmla="*/ 764 h 10000"/>
                        <a:gd name="connsiteX95" fmla="*/ 4699 w 10000"/>
                        <a:gd name="connsiteY95" fmla="*/ 764 h 10000"/>
                        <a:gd name="connsiteX96" fmla="*/ 4217 w 10000"/>
                        <a:gd name="connsiteY96" fmla="*/ 764 h 10000"/>
                        <a:gd name="connsiteX97" fmla="*/ 3735 w 10000"/>
                        <a:gd name="connsiteY97" fmla="*/ 764 h 10000"/>
                        <a:gd name="connsiteX98" fmla="*/ 3293 w 10000"/>
                        <a:gd name="connsiteY98" fmla="*/ 764 h 10000"/>
                        <a:gd name="connsiteX99" fmla="*/ 2811 w 10000"/>
                        <a:gd name="connsiteY99" fmla="*/ 764 h 10000"/>
                        <a:gd name="connsiteX100" fmla="*/ 2369 w 10000"/>
                        <a:gd name="connsiteY100" fmla="*/ 764 h 10000"/>
                        <a:gd name="connsiteX101" fmla="*/ 1888 w 10000"/>
                        <a:gd name="connsiteY101" fmla="*/ 764 h 10000"/>
                        <a:gd name="connsiteX102" fmla="*/ 1888 w 10000"/>
                        <a:gd name="connsiteY102" fmla="*/ 1326 h 10000"/>
                        <a:gd name="connsiteX103" fmla="*/ 1888 w 10000"/>
                        <a:gd name="connsiteY103" fmla="*/ 2050 h 10000"/>
                        <a:gd name="connsiteX104" fmla="*/ 1285 w 10000"/>
                        <a:gd name="connsiteY104" fmla="*/ 2050 h 10000"/>
                        <a:gd name="connsiteX105" fmla="*/ 1285 w 10000"/>
                        <a:gd name="connsiteY105" fmla="*/ 2371 h 10000"/>
                        <a:gd name="connsiteX0" fmla="*/ 1285 w 10000"/>
                        <a:gd name="connsiteY0" fmla="*/ 2371 h 10000"/>
                        <a:gd name="connsiteX1" fmla="*/ 1285 w 10000"/>
                        <a:gd name="connsiteY1" fmla="*/ 3014 h 10000"/>
                        <a:gd name="connsiteX2" fmla="*/ 1285 w 10000"/>
                        <a:gd name="connsiteY2" fmla="*/ 3617 h 10000"/>
                        <a:gd name="connsiteX3" fmla="*/ 1285 w 10000"/>
                        <a:gd name="connsiteY3" fmla="*/ 4221 h 10000"/>
                        <a:gd name="connsiteX4" fmla="*/ 1285 w 10000"/>
                        <a:gd name="connsiteY4" fmla="*/ 4781 h 10000"/>
                        <a:gd name="connsiteX5" fmla="*/ 643 w 10000"/>
                        <a:gd name="connsiteY5" fmla="*/ 4903 h 10000"/>
                        <a:gd name="connsiteX6" fmla="*/ 522 w 10000"/>
                        <a:gd name="connsiteY6" fmla="*/ 5224 h 10000"/>
                        <a:gd name="connsiteX7" fmla="*/ 241 w 10000"/>
                        <a:gd name="connsiteY7" fmla="*/ 5626 h 10000"/>
                        <a:gd name="connsiteX8" fmla="*/ 241 w 10000"/>
                        <a:gd name="connsiteY8" fmla="*/ 5949 h 10000"/>
                        <a:gd name="connsiteX9" fmla="*/ 120 w 10000"/>
                        <a:gd name="connsiteY9" fmla="*/ 6028 h 10000"/>
                        <a:gd name="connsiteX10" fmla="*/ 120 w 10000"/>
                        <a:gd name="connsiteY10" fmla="*/ 6309 h 10000"/>
                        <a:gd name="connsiteX11" fmla="*/ 0 w 10000"/>
                        <a:gd name="connsiteY11" fmla="*/ 6552 h 10000"/>
                        <a:gd name="connsiteX12" fmla="*/ 0 w 10000"/>
                        <a:gd name="connsiteY12" fmla="*/ 6751 h 10000"/>
                        <a:gd name="connsiteX13" fmla="*/ 241 w 10000"/>
                        <a:gd name="connsiteY13" fmla="*/ 6711 h 10000"/>
                        <a:gd name="connsiteX14" fmla="*/ 281 w 10000"/>
                        <a:gd name="connsiteY14" fmla="*/ 7072 h 10000"/>
                        <a:gd name="connsiteX15" fmla="*/ 602 w 10000"/>
                        <a:gd name="connsiteY15" fmla="*/ 7718 h 10000"/>
                        <a:gd name="connsiteX16" fmla="*/ 602 w 10000"/>
                        <a:gd name="connsiteY16" fmla="*/ 7757 h 10000"/>
                        <a:gd name="connsiteX17" fmla="*/ 482 w 10000"/>
                        <a:gd name="connsiteY17" fmla="*/ 7797 h 10000"/>
                        <a:gd name="connsiteX18" fmla="*/ 964 w 10000"/>
                        <a:gd name="connsiteY18" fmla="*/ 8439 h 10000"/>
                        <a:gd name="connsiteX19" fmla="*/ 1004 w 10000"/>
                        <a:gd name="connsiteY19" fmla="*/ 8641 h 10000"/>
                        <a:gd name="connsiteX20" fmla="*/ 964 w 10000"/>
                        <a:gd name="connsiteY20" fmla="*/ 9204 h 10000"/>
                        <a:gd name="connsiteX21" fmla="*/ 1192 w 10000"/>
                        <a:gd name="connsiteY21" fmla="*/ 9317 h 10000"/>
                        <a:gd name="connsiteX22" fmla="*/ 1332 w 10000"/>
                        <a:gd name="connsiteY22" fmla="*/ 8762 h 10000"/>
                        <a:gd name="connsiteX23" fmla="*/ 1439 w 10000"/>
                        <a:gd name="connsiteY23" fmla="*/ 8857 h 10000"/>
                        <a:gd name="connsiteX24" fmla="*/ 1767 w 10000"/>
                        <a:gd name="connsiteY24" fmla="*/ 8782 h 10000"/>
                        <a:gd name="connsiteX25" fmla="*/ 1951 w 10000"/>
                        <a:gd name="connsiteY25" fmla="*/ 8680 h 10000"/>
                        <a:gd name="connsiteX26" fmla="*/ 2025 w 10000"/>
                        <a:gd name="connsiteY26" fmla="*/ 8433 h 10000"/>
                        <a:gd name="connsiteX27" fmla="*/ 2338 w 10000"/>
                        <a:gd name="connsiteY27" fmla="*/ 8354 h 10000"/>
                        <a:gd name="connsiteX28" fmla="*/ 2643 w 10000"/>
                        <a:gd name="connsiteY28" fmla="*/ 8747 h 10000"/>
                        <a:gd name="connsiteX29" fmla="*/ 2911 w 10000"/>
                        <a:gd name="connsiteY29" fmla="*/ 8918 h 10000"/>
                        <a:gd name="connsiteX30" fmla="*/ 3167 w 10000"/>
                        <a:gd name="connsiteY30" fmla="*/ 8888 h 10000"/>
                        <a:gd name="connsiteX31" fmla="*/ 3795 w 10000"/>
                        <a:gd name="connsiteY31" fmla="*/ 9030 h 10000"/>
                        <a:gd name="connsiteX32" fmla="*/ 4153 w 10000"/>
                        <a:gd name="connsiteY32" fmla="*/ 9108 h 10000"/>
                        <a:gd name="connsiteX33" fmla="*/ 4406 w 10000"/>
                        <a:gd name="connsiteY33" fmla="*/ 9050 h 10000"/>
                        <a:gd name="connsiteX34" fmla="*/ 4600 w 10000"/>
                        <a:gd name="connsiteY34" fmla="*/ 8903 h 10000"/>
                        <a:gd name="connsiteX35" fmla="*/ 4762 w 10000"/>
                        <a:gd name="connsiteY35" fmla="*/ 8631 h 10000"/>
                        <a:gd name="connsiteX36" fmla="*/ 4901 w 10000"/>
                        <a:gd name="connsiteY36" fmla="*/ 8465 h 10000"/>
                        <a:gd name="connsiteX37" fmla="*/ 5080 w 10000"/>
                        <a:gd name="connsiteY37" fmla="*/ 8583 h 10000"/>
                        <a:gd name="connsiteX38" fmla="*/ 5337 w 10000"/>
                        <a:gd name="connsiteY38" fmla="*/ 8702 h 10000"/>
                        <a:gd name="connsiteX39" fmla="*/ 5564 w 10000"/>
                        <a:gd name="connsiteY39" fmla="*/ 8857 h 10000"/>
                        <a:gd name="connsiteX40" fmla="*/ 5768 w 10000"/>
                        <a:gd name="connsiteY40" fmla="*/ 8757 h 10000"/>
                        <a:gd name="connsiteX41" fmla="*/ 5933 w 10000"/>
                        <a:gd name="connsiteY41" fmla="*/ 8664 h 10000"/>
                        <a:gd name="connsiteX42" fmla="*/ 6089 w 10000"/>
                        <a:gd name="connsiteY42" fmla="*/ 8458 h 10000"/>
                        <a:gd name="connsiteX43" fmla="*/ 6274 w 10000"/>
                        <a:gd name="connsiteY43" fmla="*/ 8178 h 10000"/>
                        <a:gd name="connsiteX44" fmla="*/ 6389 w 10000"/>
                        <a:gd name="connsiteY44" fmla="*/ 8048 h 10000"/>
                        <a:gd name="connsiteX45" fmla="*/ 6524 w 10000"/>
                        <a:gd name="connsiteY45" fmla="*/ 7996 h 10000"/>
                        <a:gd name="connsiteX46" fmla="*/ 6531 w 10000"/>
                        <a:gd name="connsiteY46" fmla="*/ 7831 h 10000"/>
                        <a:gd name="connsiteX47" fmla="*/ 6572 w 10000"/>
                        <a:gd name="connsiteY47" fmla="*/ 7640 h 10000"/>
                        <a:gd name="connsiteX48" fmla="*/ 6602 w 10000"/>
                        <a:gd name="connsiteY48" fmla="*/ 7467 h 10000"/>
                        <a:gd name="connsiteX49" fmla="*/ 6707 w 10000"/>
                        <a:gd name="connsiteY49" fmla="*/ 7325 h 10000"/>
                        <a:gd name="connsiteX50" fmla="*/ 6876 w 10000"/>
                        <a:gd name="connsiteY50" fmla="*/ 7326 h 10000"/>
                        <a:gd name="connsiteX51" fmla="*/ 6827 w 10000"/>
                        <a:gd name="connsiteY51" fmla="*/ 8196 h 10000"/>
                        <a:gd name="connsiteX52" fmla="*/ 6991 w 10000"/>
                        <a:gd name="connsiteY52" fmla="*/ 8296 h 10000"/>
                        <a:gd name="connsiteX53" fmla="*/ 7275 w 10000"/>
                        <a:gd name="connsiteY53" fmla="*/ 8549 h 10000"/>
                        <a:gd name="connsiteX54" fmla="*/ 7430 w 10000"/>
                        <a:gd name="connsiteY54" fmla="*/ 8158 h 10000"/>
                        <a:gd name="connsiteX55" fmla="*/ 7470 w 10000"/>
                        <a:gd name="connsiteY55" fmla="*/ 8197 h 10000"/>
                        <a:gd name="connsiteX56" fmla="*/ 7590 w 10000"/>
                        <a:gd name="connsiteY56" fmla="*/ 7958 h 10000"/>
                        <a:gd name="connsiteX57" fmla="*/ 7831 w 10000"/>
                        <a:gd name="connsiteY57" fmla="*/ 7837 h 10000"/>
                        <a:gd name="connsiteX58" fmla="*/ 7952 w 10000"/>
                        <a:gd name="connsiteY58" fmla="*/ 7395 h 10000"/>
                        <a:gd name="connsiteX59" fmla="*/ 8313 w 10000"/>
                        <a:gd name="connsiteY59" fmla="*/ 6873 h 10000"/>
                        <a:gd name="connsiteX60" fmla="*/ 8594 w 10000"/>
                        <a:gd name="connsiteY60" fmla="*/ 6631 h 10000"/>
                        <a:gd name="connsiteX61" fmla="*/ 8795 w 10000"/>
                        <a:gd name="connsiteY61" fmla="*/ 5949 h 10000"/>
                        <a:gd name="connsiteX62" fmla="*/ 8795 w 10000"/>
                        <a:gd name="connsiteY62" fmla="*/ 5788 h 10000"/>
                        <a:gd name="connsiteX63" fmla="*/ 8755 w 10000"/>
                        <a:gd name="connsiteY63" fmla="*/ 5386 h 10000"/>
                        <a:gd name="connsiteX64" fmla="*/ 9157 w 10000"/>
                        <a:gd name="connsiteY64" fmla="*/ 3938 h 10000"/>
                        <a:gd name="connsiteX65" fmla="*/ 9277 w 10000"/>
                        <a:gd name="connsiteY65" fmla="*/ 3938 h 10000"/>
                        <a:gd name="connsiteX66" fmla="*/ 9438 w 10000"/>
                        <a:gd name="connsiteY66" fmla="*/ 3818 h 10000"/>
                        <a:gd name="connsiteX67" fmla="*/ 9920 w 10000"/>
                        <a:gd name="connsiteY67" fmla="*/ 3617 h 10000"/>
                        <a:gd name="connsiteX68" fmla="*/ 10000 w 10000"/>
                        <a:gd name="connsiteY68" fmla="*/ 3296 h 10000"/>
                        <a:gd name="connsiteX69" fmla="*/ 9960 w 10000"/>
                        <a:gd name="connsiteY69" fmla="*/ 3214 h 10000"/>
                        <a:gd name="connsiteX70" fmla="*/ 9799 w 10000"/>
                        <a:gd name="connsiteY70" fmla="*/ 3214 h 10000"/>
                        <a:gd name="connsiteX71" fmla="*/ 9679 w 10000"/>
                        <a:gd name="connsiteY71" fmla="*/ 3014 h 10000"/>
                        <a:gd name="connsiteX72" fmla="*/ 9438 w 10000"/>
                        <a:gd name="connsiteY72" fmla="*/ 2935 h 10000"/>
                        <a:gd name="connsiteX73" fmla="*/ 9317 w 10000"/>
                        <a:gd name="connsiteY73" fmla="*/ 2774 h 10000"/>
                        <a:gd name="connsiteX74" fmla="*/ 9237 w 10000"/>
                        <a:gd name="connsiteY74" fmla="*/ 2171 h 10000"/>
                        <a:gd name="connsiteX75" fmla="*/ 9237 w 10000"/>
                        <a:gd name="connsiteY75" fmla="*/ 1326 h 10000"/>
                        <a:gd name="connsiteX76" fmla="*/ 9036 w 10000"/>
                        <a:gd name="connsiteY76" fmla="*/ 1046 h 10000"/>
                        <a:gd name="connsiteX77" fmla="*/ 8996 w 10000"/>
                        <a:gd name="connsiteY77" fmla="*/ 764 h 10000"/>
                        <a:gd name="connsiteX78" fmla="*/ 8675 w 10000"/>
                        <a:gd name="connsiteY78" fmla="*/ 362 h 10000"/>
                        <a:gd name="connsiteX79" fmla="*/ 8394 w 10000"/>
                        <a:gd name="connsiteY79" fmla="*/ 203 h 10000"/>
                        <a:gd name="connsiteX80" fmla="*/ 8233 w 10000"/>
                        <a:gd name="connsiteY80" fmla="*/ 0 h 10000"/>
                        <a:gd name="connsiteX81" fmla="*/ 7992 w 10000"/>
                        <a:gd name="connsiteY81" fmla="*/ 203 h 10000"/>
                        <a:gd name="connsiteX82" fmla="*/ 7831 w 10000"/>
                        <a:gd name="connsiteY82" fmla="*/ 161 h 10000"/>
                        <a:gd name="connsiteX83" fmla="*/ 7711 w 10000"/>
                        <a:gd name="connsiteY83" fmla="*/ 521 h 10000"/>
                        <a:gd name="connsiteX84" fmla="*/ 7390 w 10000"/>
                        <a:gd name="connsiteY84" fmla="*/ 604 h 10000"/>
                        <a:gd name="connsiteX85" fmla="*/ 7309 w 10000"/>
                        <a:gd name="connsiteY85" fmla="*/ 883 h 10000"/>
                        <a:gd name="connsiteX86" fmla="*/ 7028 w 10000"/>
                        <a:gd name="connsiteY86" fmla="*/ 883 h 10000"/>
                        <a:gd name="connsiteX87" fmla="*/ 6787 w 10000"/>
                        <a:gd name="connsiteY87" fmla="*/ 764 h 10000"/>
                        <a:gd name="connsiteX88" fmla="*/ 6265 w 10000"/>
                        <a:gd name="connsiteY88" fmla="*/ 764 h 10000"/>
                        <a:gd name="connsiteX89" fmla="*/ 5743 w 10000"/>
                        <a:gd name="connsiteY89" fmla="*/ 764 h 10000"/>
                        <a:gd name="connsiteX90" fmla="*/ 5783 w 10000"/>
                        <a:gd name="connsiteY90" fmla="*/ 604 h 10000"/>
                        <a:gd name="connsiteX91" fmla="*/ 5703 w 10000"/>
                        <a:gd name="connsiteY91" fmla="*/ 604 h 10000"/>
                        <a:gd name="connsiteX92" fmla="*/ 5663 w 10000"/>
                        <a:gd name="connsiteY92" fmla="*/ 764 h 10000"/>
                        <a:gd name="connsiteX93" fmla="*/ 5181 w 10000"/>
                        <a:gd name="connsiteY93" fmla="*/ 764 h 10000"/>
                        <a:gd name="connsiteX94" fmla="*/ 4699 w 10000"/>
                        <a:gd name="connsiteY94" fmla="*/ 764 h 10000"/>
                        <a:gd name="connsiteX95" fmla="*/ 4217 w 10000"/>
                        <a:gd name="connsiteY95" fmla="*/ 764 h 10000"/>
                        <a:gd name="connsiteX96" fmla="*/ 3735 w 10000"/>
                        <a:gd name="connsiteY96" fmla="*/ 764 h 10000"/>
                        <a:gd name="connsiteX97" fmla="*/ 3293 w 10000"/>
                        <a:gd name="connsiteY97" fmla="*/ 764 h 10000"/>
                        <a:gd name="connsiteX98" fmla="*/ 2811 w 10000"/>
                        <a:gd name="connsiteY98" fmla="*/ 764 h 10000"/>
                        <a:gd name="connsiteX99" fmla="*/ 2369 w 10000"/>
                        <a:gd name="connsiteY99" fmla="*/ 764 h 10000"/>
                        <a:gd name="connsiteX100" fmla="*/ 1888 w 10000"/>
                        <a:gd name="connsiteY100" fmla="*/ 764 h 10000"/>
                        <a:gd name="connsiteX101" fmla="*/ 1888 w 10000"/>
                        <a:gd name="connsiteY101" fmla="*/ 1326 h 10000"/>
                        <a:gd name="connsiteX102" fmla="*/ 1888 w 10000"/>
                        <a:gd name="connsiteY102" fmla="*/ 2050 h 10000"/>
                        <a:gd name="connsiteX103" fmla="*/ 1285 w 10000"/>
                        <a:gd name="connsiteY103" fmla="*/ 2050 h 10000"/>
                        <a:gd name="connsiteX104" fmla="*/ 1285 w 10000"/>
                        <a:gd name="connsiteY104" fmla="*/ 2371 h 10000"/>
                        <a:gd name="connsiteX0" fmla="*/ 1285 w 10000"/>
                        <a:gd name="connsiteY0" fmla="*/ 2371 h 9707"/>
                        <a:gd name="connsiteX1" fmla="*/ 1285 w 10000"/>
                        <a:gd name="connsiteY1" fmla="*/ 3014 h 9707"/>
                        <a:gd name="connsiteX2" fmla="*/ 1285 w 10000"/>
                        <a:gd name="connsiteY2" fmla="*/ 3617 h 9707"/>
                        <a:gd name="connsiteX3" fmla="*/ 1285 w 10000"/>
                        <a:gd name="connsiteY3" fmla="*/ 4221 h 9707"/>
                        <a:gd name="connsiteX4" fmla="*/ 1285 w 10000"/>
                        <a:gd name="connsiteY4" fmla="*/ 4781 h 9707"/>
                        <a:gd name="connsiteX5" fmla="*/ 643 w 10000"/>
                        <a:gd name="connsiteY5" fmla="*/ 4903 h 9707"/>
                        <a:gd name="connsiteX6" fmla="*/ 522 w 10000"/>
                        <a:gd name="connsiteY6" fmla="*/ 5224 h 9707"/>
                        <a:gd name="connsiteX7" fmla="*/ 241 w 10000"/>
                        <a:gd name="connsiteY7" fmla="*/ 5626 h 9707"/>
                        <a:gd name="connsiteX8" fmla="*/ 241 w 10000"/>
                        <a:gd name="connsiteY8" fmla="*/ 5949 h 9707"/>
                        <a:gd name="connsiteX9" fmla="*/ 120 w 10000"/>
                        <a:gd name="connsiteY9" fmla="*/ 6028 h 9707"/>
                        <a:gd name="connsiteX10" fmla="*/ 120 w 10000"/>
                        <a:gd name="connsiteY10" fmla="*/ 6309 h 9707"/>
                        <a:gd name="connsiteX11" fmla="*/ 0 w 10000"/>
                        <a:gd name="connsiteY11" fmla="*/ 6552 h 9707"/>
                        <a:gd name="connsiteX12" fmla="*/ 0 w 10000"/>
                        <a:gd name="connsiteY12" fmla="*/ 6751 h 9707"/>
                        <a:gd name="connsiteX13" fmla="*/ 241 w 10000"/>
                        <a:gd name="connsiteY13" fmla="*/ 6711 h 9707"/>
                        <a:gd name="connsiteX14" fmla="*/ 281 w 10000"/>
                        <a:gd name="connsiteY14" fmla="*/ 7072 h 9707"/>
                        <a:gd name="connsiteX15" fmla="*/ 602 w 10000"/>
                        <a:gd name="connsiteY15" fmla="*/ 7718 h 9707"/>
                        <a:gd name="connsiteX16" fmla="*/ 602 w 10000"/>
                        <a:gd name="connsiteY16" fmla="*/ 7757 h 9707"/>
                        <a:gd name="connsiteX17" fmla="*/ 482 w 10000"/>
                        <a:gd name="connsiteY17" fmla="*/ 7797 h 9707"/>
                        <a:gd name="connsiteX18" fmla="*/ 964 w 10000"/>
                        <a:gd name="connsiteY18" fmla="*/ 8439 h 9707"/>
                        <a:gd name="connsiteX19" fmla="*/ 1004 w 10000"/>
                        <a:gd name="connsiteY19" fmla="*/ 8641 h 9707"/>
                        <a:gd name="connsiteX20" fmla="*/ 964 w 10000"/>
                        <a:gd name="connsiteY20" fmla="*/ 9204 h 9707"/>
                        <a:gd name="connsiteX21" fmla="*/ 1192 w 10000"/>
                        <a:gd name="connsiteY21" fmla="*/ 9317 h 9707"/>
                        <a:gd name="connsiteX22" fmla="*/ 1332 w 10000"/>
                        <a:gd name="connsiteY22" fmla="*/ 8762 h 9707"/>
                        <a:gd name="connsiteX23" fmla="*/ 1439 w 10000"/>
                        <a:gd name="connsiteY23" fmla="*/ 8857 h 9707"/>
                        <a:gd name="connsiteX24" fmla="*/ 1767 w 10000"/>
                        <a:gd name="connsiteY24" fmla="*/ 8782 h 9707"/>
                        <a:gd name="connsiteX25" fmla="*/ 1951 w 10000"/>
                        <a:gd name="connsiteY25" fmla="*/ 8680 h 9707"/>
                        <a:gd name="connsiteX26" fmla="*/ 2025 w 10000"/>
                        <a:gd name="connsiteY26" fmla="*/ 8433 h 9707"/>
                        <a:gd name="connsiteX27" fmla="*/ 2338 w 10000"/>
                        <a:gd name="connsiteY27" fmla="*/ 8354 h 9707"/>
                        <a:gd name="connsiteX28" fmla="*/ 2643 w 10000"/>
                        <a:gd name="connsiteY28" fmla="*/ 8747 h 9707"/>
                        <a:gd name="connsiteX29" fmla="*/ 2911 w 10000"/>
                        <a:gd name="connsiteY29" fmla="*/ 8918 h 9707"/>
                        <a:gd name="connsiteX30" fmla="*/ 3167 w 10000"/>
                        <a:gd name="connsiteY30" fmla="*/ 8888 h 9707"/>
                        <a:gd name="connsiteX31" fmla="*/ 3795 w 10000"/>
                        <a:gd name="connsiteY31" fmla="*/ 9030 h 9707"/>
                        <a:gd name="connsiteX32" fmla="*/ 4153 w 10000"/>
                        <a:gd name="connsiteY32" fmla="*/ 9108 h 9707"/>
                        <a:gd name="connsiteX33" fmla="*/ 4600 w 10000"/>
                        <a:gd name="connsiteY33" fmla="*/ 8903 h 9707"/>
                        <a:gd name="connsiteX34" fmla="*/ 4762 w 10000"/>
                        <a:gd name="connsiteY34" fmla="*/ 8631 h 9707"/>
                        <a:gd name="connsiteX35" fmla="*/ 4901 w 10000"/>
                        <a:gd name="connsiteY35" fmla="*/ 8465 h 9707"/>
                        <a:gd name="connsiteX36" fmla="*/ 5080 w 10000"/>
                        <a:gd name="connsiteY36" fmla="*/ 8583 h 9707"/>
                        <a:gd name="connsiteX37" fmla="*/ 5337 w 10000"/>
                        <a:gd name="connsiteY37" fmla="*/ 8702 h 9707"/>
                        <a:gd name="connsiteX38" fmla="*/ 5564 w 10000"/>
                        <a:gd name="connsiteY38" fmla="*/ 8857 h 9707"/>
                        <a:gd name="connsiteX39" fmla="*/ 5768 w 10000"/>
                        <a:gd name="connsiteY39" fmla="*/ 8757 h 9707"/>
                        <a:gd name="connsiteX40" fmla="*/ 5933 w 10000"/>
                        <a:gd name="connsiteY40" fmla="*/ 8664 h 9707"/>
                        <a:gd name="connsiteX41" fmla="*/ 6089 w 10000"/>
                        <a:gd name="connsiteY41" fmla="*/ 8458 h 9707"/>
                        <a:gd name="connsiteX42" fmla="*/ 6274 w 10000"/>
                        <a:gd name="connsiteY42" fmla="*/ 8178 h 9707"/>
                        <a:gd name="connsiteX43" fmla="*/ 6389 w 10000"/>
                        <a:gd name="connsiteY43" fmla="*/ 8048 h 9707"/>
                        <a:gd name="connsiteX44" fmla="*/ 6524 w 10000"/>
                        <a:gd name="connsiteY44" fmla="*/ 7996 h 9707"/>
                        <a:gd name="connsiteX45" fmla="*/ 6531 w 10000"/>
                        <a:gd name="connsiteY45" fmla="*/ 7831 h 9707"/>
                        <a:gd name="connsiteX46" fmla="*/ 6572 w 10000"/>
                        <a:gd name="connsiteY46" fmla="*/ 7640 h 9707"/>
                        <a:gd name="connsiteX47" fmla="*/ 6602 w 10000"/>
                        <a:gd name="connsiteY47" fmla="*/ 7467 h 9707"/>
                        <a:gd name="connsiteX48" fmla="*/ 6707 w 10000"/>
                        <a:gd name="connsiteY48" fmla="*/ 7325 h 9707"/>
                        <a:gd name="connsiteX49" fmla="*/ 6876 w 10000"/>
                        <a:gd name="connsiteY49" fmla="*/ 7326 h 9707"/>
                        <a:gd name="connsiteX50" fmla="*/ 6827 w 10000"/>
                        <a:gd name="connsiteY50" fmla="*/ 8196 h 9707"/>
                        <a:gd name="connsiteX51" fmla="*/ 6991 w 10000"/>
                        <a:gd name="connsiteY51" fmla="*/ 8296 h 9707"/>
                        <a:gd name="connsiteX52" fmla="*/ 7275 w 10000"/>
                        <a:gd name="connsiteY52" fmla="*/ 8549 h 9707"/>
                        <a:gd name="connsiteX53" fmla="*/ 7430 w 10000"/>
                        <a:gd name="connsiteY53" fmla="*/ 8158 h 9707"/>
                        <a:gd name="connsiteX54" fmla="*/ 7470 w 10000"/>
                        <a:gd name="connsiteY54" fmla="*/ 8197 h 9707"/>
                        <a:gd name="connsiteX55" fmla="*/ 7590 w 10000"/>
                        <a:gd name="connsiteY55" fmla="*/ 7958 h 9707"/>
                        <a:gd name="connsiteX56" fmla="*/ 7831 w 10000"/>
                        <a:gd name="connsiteY56" fmla="*/ 7837 h 9707"/>
                        <a:gd name="connsiteX57" fmla="*/ 7952 w 10000"/>
                        <a:gd name="connsiteY57" fmla="*/ 7395 h 9707"/>
                        <a:gd name="connsiteX58" fmla="*/ 8313 w 10000"/>
                        <a:gd name="connsiteY58" fmla="*/ 6873 h 9707"/>
                        <a:gd name="connsiteX59" fmla="*/ 8594 w 10000"/>
                        <a:gd name="connsiteY59" fmla="*/ 6631 h 9707"/>
                        <a:gd name="connsiteX60" fmla="*/ 8795 w 10000"/>
                        <a:gd name="connsiteY60" fmla="*/ 5949 h 9707"/>
                        <a:gd name="connsiteX61" fmla="*/ 8795 w 10000"/>
                        <a:gd name="connsiteY61" fmla="*/ 5788 h 9707"/>
                        <a:gd name="connsiteX62" fmla="*/ 8755 w 10000"/>
                        <a:gd name="connsiteY62" fmla="*/ 5386 h 9707"/>
                        <a:gd name="connsiteX63" fmla="*/ 9157 w 10000"/>
                        <a:gd name="connsiteY63" fmla="*/ 3938 h 9707"/>
                        <a:gd name="connsiteX64" fmla="*/ 9277 w 10000"/>
                        <a:gd name="connsiteY64" fmla="*/ 3938 h 9707"/>
                        <a:gd name="connsiteX65" fmla="*/ 9438 w 10000"/>
                        <a:gd name="connsiteY65" fmla="*/ 3818 h 9707"/>
                        <a:gd name="connsiteX66" fmla="*/ 9920 w 10000"/>
                        <a:gd name="connsiteY66" fmla="*/ 3617 h 9707"/>
                        <a:gd name="connsiteX67" fmla="*/ 10000 w 10000"/>
                        <a:gd name="connsiteY67" fmla="*/ 3296 h 9707"/>
                        <a:gd name="connsiteX68" fmla="*/ 9960 w 10000"/>
                        <a:gd name="connsiteY68" fmla="*/ 3214 h 9707"/>
                        <a:gd name="connsiteX69" fmla="*/ 9799 w 10000"/>
                        <a:gd name="connsiteY69" fmla="*/ 3214 h 9707"/>
                        <a:gd name="connsiteX70" fmla="*/ 9679 w 10000"/>
                        <a:gd name="connsiteY70" fmla="*/ 3014 h 9707"/>
                        <a:gd name="connsiteX71" fmla="*/ 9438 w 10000"/>
                        <a:gd name="connsiteY71" fmla="*/ 2935 h 9707"/>
                        <a:gd name="connsiteX72" fmla="*/ 9317 w 10000"/>
                        <a:gd name="connsiteY72" fmla="*/ 2774 h 9707"/>
                        <a:gd name="connsiteX73" fmla="*/ 9237 w 10000"/>
                        <a:gd name="connsiteY73" fmla="*/ 2171 h 9707"/>
                        <a:gd name="connsiteX74" fmla="*/ 9237 w 10000"/>
                        <a:gd name="connsiteY74" fmla="*/ 1326 h 9707"/>
                        <a:gd name="connsiteX75" fmla="*/ 9036 w 10000"/>
                        <a:gd name="connsiteY75" fmla="*/ 1046 h 9707"/>
                        <a:gd name="connsiteX76" fmla="*/ 8996 w 10000"/>
                        <a:gd name="connsiteY76" fmla="*/ 764 h 9707"/>
                        <a:gd name="connsiteX77" fmla="*/ 8675 w 10000"/>
                        <a:gd name="connsiteY77" fmla="*/ 362 h 9707"/>
                        <a:gd name="connsiteX78" fmla="*/ 8394 w 10000"/>
                        <a:gd name="connsiteY78" fmla="*/ 203 h 9707"/>
                        <a:gd name="connsiteX79" fmla="*/ 8233 w 10000"/>
                        <a:gd name="connsiteY79" fmla="*/ 0 h 9707"/>
                        <a:gd name="connsiteX80" fmla="*/ 7992 w 10000"/>
                        <a:gd name="connsiteY80" fmla="*/ 203 h 9707"/>
                        <a:gd name="connsiteX81" fmla="*/ 7831 w 10000"/>
                        <a:gd name="connsiteY81" fmla="*/ 161 h 9707"/>
                        <a:gd name="connsiteX82" fmla="*/ 7711 w 10000"/>
                        <a:gd name="connsiteY82" fmla="*/ 521 h 9707"/>
                        <a:gd name="connsiteX83" fmla="*/ 7390 w 10000"/>
                        <a:gd name="connsiteY83" fmla="*/ 604 h 9707"/>
                        <a:gd name="connsiteX84" fmla="*/ 7309 w 10000"/>
                        <a:gd name="connsiteY84" fmla="*/ 883 h 9707"/>
                        <a:gd name="connsiteX85" fmla="*/ 7028 w 10000"/>
                        <a:gd name="connsiteY85" fmla="*/ 883 h 9707"/>
                        <a:gd name="connsiteX86" fmla="*/ 6787 w 10000"/>
                        <a:gd name="connsiteY86" fmla="*/ 764 h 9707"/>
                        <a:gd name="connsiteX87" fmla="*/ 6265 w 10000"/>
                        <a:gd name="connsiteY87" fmla="*/ 764 h 9707"/>
                        <a:gd name="connsiteX88" fmla="*/ 5743 w 10000"/>
                        <a:gd name="connsiteY88" fmla="*/ 764 h 9707"/>
                        <a:gd name="connsiteX89" fmla="*/ 5783 w 10000"/>
                        <a:gd name="connsiteY89" fmla="*/ 604 h 9707"/>
                        <a:gd name="connsiteX90" fmla="*/ 5703 w 10000"/>
                        <a:gd name="connsiteY90" fmla="*/ 604 h 9707"/>
                        <a:gd name="connsiteX91" fmla="*/ 5663 w 10000"/>
                        <a:gd name="connsiteY91" fmla="*/ 764 h 9707"/>
                        <a:gd name="connsiteX92" fmla="*/ 5181 w 10000"/>
                        <a:gd name="connsiteY92" fmla="*/ 764 h 9707"/>
                        <a:gd name="connsiteX93" fmla="*/ 4699 w 10000"/>
                        <a:gd name="connsiteY93" fmla="*/ 764 h 9707"/>
                        <a:gd name="connsiteX94" fmla="*/ 4217 w 10000"/>
                        <a:gd name="connsiteY94" fmla="*/ 764 h 9707"/>
                        <a:gd name="connsiteX95" fmla="*/ 3735 w 10000"/>
                        <a:gd name="connsiteY95" fmla="*/ 764 h 9707"/>
                        <a:gd name="connsiteX96" fmla="*/ 3293 w 10000"/>
                        <a:gd name="connsiteY96" fmla="*/ 764 h 9707"/>
                        <a:gd name="connsiteX97" fmla="*/ 2811 w 10000"/>
                        <a:gd name="connsiteY97" fmla="*/ 764 h 9707"/>
                        <a:gd name="connsiteX98" fmla="*/ 2369 w 10000"/>
                        <a:gd name="connsiteY98" fmla="*/ 764 h 9707"/>
                        <a:gd name="connsiteX99" fmla="*/ 1888 w 10000"/>
                        <a:gd name="connsiteY99" fmla="*/ 764 h 9707"/>
                        <a:gd name="connsiteX100" fmla="*/ 1888 w 10000"/>
                        <a:gd name="connsiteY100" fmla="*/ 1326 h 9707"/>
                        <a:gd name="connsiteX101" fmla="*/ 1888 w 10000"/>
                        <a:gd name="connsiteY101" fmla="*/ 2050 h 9707"/>
                        <a:gd name="connsiteX102" fmla="*/ 1285 w 10000"/>
                        <a:gd name="connsiteY102" fmla="*/ 2050 h 9707"/>
                        <a:gd name="connsiteX103" fmla="*/ 1285 w 10000"/>
                        <a:gd name="connsiteY103" fmla="*/ 2371 h 9707"/>
                        <a:gd name="connsiteX0" fmla="*/ 1285 w 10000"/>
                        <a:gd name="connsiteY0" fmla="*/ 2443 h 9598"/>
                        <a:gd name="connsiteX1" fmla="*/ 1285 w 10000"/>
                        <a:gd name="connsiteY1" fmla="*/ 3105 h 9598"/>
                        <a:gd name="connsiteX2" fmla="*/ 1285 w 10000"/>
                        <a:gd name="connsiteY2" fmla="*/ 3726 h 9598"/>
                        <a:gd name="connsiteX3" fmla="*/ 1285 w 10000"/>
                        <a:gd name="connsiteY3" fmla="*/ 4348 h 9598"/>
                        <a:gd name="connsiteX4" fmla="*/ 1285 w 10000"/>
                        <a:gd name="connsiteY4" fmla="*/ 4925 h 9598"/>
                        <a:gd name="connsiteX5" fmla="*/ 643 w 10000"/>
                        <a:gd name="connsiteY5" fmla="*/ 5051 h 9598"/>
                        <a:gd name="connsiteX6" fmla="*/ 522 w 10000"/>
                        <a:gd name="connsiteY6" fmla="*/ 5382 h 9598"/>
                        <a:gd name="connsiteX7" fmla="*/ 241 w 10000"/>
                        <a:gd name="connsiteY7" fmla="*/ 5796 h 9598"/>
                        <a:gd name="connsiteX8" fmla="*/ 241 w 10000"/>
                        <a:gd name="connsiteY8" fmla="*/ 6129 h 9598"/>
                        <a:gd name="connsiteX9" fmla="*/ 120 w 10000"/>
                        <a:gd name="connsiteY9" fmla="*/ 6210 h 9598"/>
                        <a:gd name="connsiteX10" fmla="*/ 120 w 10000"/>
                        <a:gd name="connsiteY10" fmla="*/ 6499 h 9598"/>
                        <a:gd name="connsiteX11" fmla="*/ 0 w 10000"/>
                        <a:gd name="connsiteY11" fmla="*/ 6750 h 9598"/>
                        <a:gd name="connsiteX12" fmla="*/ 0 w 10000"/>
                        <a:gd name="connsiteY12" fmla="*/ 6955 h 9598"/>
                        <a:gd name="connsiteX13" fmla="*/ 241 w 10000"/>
                        <a:gd name="connsiteY13" fmla="*/ 6914 h 9598"/>
                        <a:gd name="connsiteX14" fmla="*/ 281 w 10000"/>
                        <a:gd name="connsiteY14" fmla="*/ 7285 h 9598"/>
                        <a:gd name="connsiteX15" fmla="*/ 602 w 10000"/>
                        <a:gd name="connsiteY15" fmla="*/ 7951 h 9598"/>
                        <a:gd name="connsiteX16" fmla="*/ 602 w 10000"/>
                        <a:gd name="connsiteY16" fmla="*/ 7991 h 9598"/>
                        <a:gd name="connsiteX17" fmla="*/ 482 w 10000"/>
                        <a:gd name="connsiteY17" fmla="*/ 8032 h 9598"/>
                        <a:gd name="connsiteX18" fmla="*/ 964 w 10000"/>
                        <a:gd name="connsiteY18" fmla="*/ 8694 h 9598"/>
                        <a:gd name="connsiteX19" fmla="*/ 1004 w 10000"/>
                        <a:gd name="connsiteY19" fmla="*/ 8902 h 9598"/>
                        <a:gd name="connsiteX20" fmla="*/ 964 w 10000"/>
                        <a:gd name="connsiteY20" fmla="*/ 9482 h 9598"/>
                        <a:gd name="connsiteX21" fmla="*/ 1192 w 10000"/>
                        <a:gd name="connsiteY21" fmla="*/ 9598 h 9598"/>
                        <a:gd name="connsiteX22" fmla="*/ 1332 w 10000"/>
                        <a:gd name="connsiteY22" fmla="*/ 9026 h 9598"/>
                        <a:gd name="connsiteX23" fmla="*/ 1439 w 10000"/>
                        <a:gd name="connsiteY23" fmla="*/ 9124 h 9598"/>
                        <a:gd name="connsiteX24" fmla="*/ 1767 w 10000"/>
                        <a:gd name="connsiteY24" fmla="*/ 9047 h 9598"/>
                        <a:gd name="connsiteX25" fmla="*/ 1951 w 10000"/>
                        <a:gd name="connsiteY25" fmla="*/ 8942 h 9598"/>
                        <a:gd name="connsiteX26" fmla="*/ 2025 w 10000"/>
                        <a:gd name="connsiteY26" fmla="*/ 8688 h 9598"/>
                        <a:gd name="connsiteX27" fmla="*/ 2338 w 10000"/>
                        <a:gd name="connsiteY27" fmla="*/ 8606 h 9598"/>
                        <a:gd name="connsiteX28" fmla="*/ 2643 w 10000"/>
                        <a:gd name="connsiteY28" fmla="*/ 9011 h 9598"/>
                        <a:gd name="connsiteX29" fmla="*/ 2911 w 10000"/>
                        <a:gd name="connsiteY29" fmla="*/ 9187 h 9598"/>
                        <a:gd name="connsiteX30" fmla="*/ 3167 w 10000"/>
                        <a:gd name="connsiteY30" fmla="*/ 9156 h 9598"/>
                        <a:gd name="connsiteX31" fmla="*/ 3795 w 10000"/>
                        <a:gd name="connsiteY31" fmla="*/ 9303 h 9598"/>
                        <a:gd name="connsiteX32" fmla="*/ 4153 w 10000"/>
                        <a:gd name="connsiteY32" fmla="*/ 9383 h 9598"/>
                        <a:gd name="connsiteX33" fmla="*/ 4600 w 10000"/>
                        <a:gd name="connsiteY33" fmla="*/ 9172 h 9598"/>
                        <a:gd name="connsiteX34" fmla="*/ 4901 w 10000"/>
                        <a:gd name="connsiteY34" fmla="*/ 8721 h 9598"/>
                        <a:gd name="connsiteX35" fmla="*/ 5080 w 10000"/>
                        <a:gd name="connsiteY35" fmla="*/ 8842 h 9598"/>
                        <a:gd name="connsiteX36" fmla="*/ 5337 w 10000"/>
                        <a:gd name="connsiteY36" fmla="*/ 8965 h 9598"/>
                        <a:gd name="connsiteX37" fmla="*/ 5564 w 10000"/>
                        <a:gd name="connsiteY37" fmla="*/ 9124 h 9598"/>
                        <a:gd name="connsiteX38" fmla="*/ 5768 w 10000"/>
                        <a:gd name="connsiteY38" fmla="*/ 9021 h 9598"/>
                        <a:gd name="connsiteX39" fmla="*/ 5933 w 10000"/>
                        <a:gd name="connsiteY39" fmla="*/ 8926 h 9598"/>
                        <a:gd name="connsiteX40" fmla="*/ 6089 w 10000"/>
                        <a:gd name="connsiteY40" fmla="*/ 8713 h 9598"/>
                        <a:gd name="connsiteX41" fmla="*/ 6274 w 10000"/>
                        <a:gd name="connsiteY41" fmla="*/ 8425 h 9598"/>
                        <a:gd name="connsiteX42" fmla="*/ 6389 w 10000"/>
                        <a:gd name="connsiteY42" fmla="*/ 8291 h 9598"/>
                        <a:gd name="connsiteX43" fmla="*/ 6524 w 10000"/>
                        <a:gd name="connsiteY43" fmla="*/ 8237 h 9598"/>
                        <a:gd name="connsiteX44" fmla="*/ 6531 w 10000"/>
                        <a:gd name="connsiteY44" fmla="*/ 8067 h 9598"/>
                        <a:gd name="connsiteX45" fmla="*/ 6572 w 10000"/>
                        <a:gd name="connsiteY45" fmla="*/ 7871 h 9598"/>
                        <a:gd name="connsiteX46" fmla="*/ 6602 w 10000"/>
                        <a:gd name="connsiteY46" fmla="*/ 7692 h 9598"/>
                        <a:gd name="connsiteX47" fmla="*/ 6707 w 10000"/>
                        <a:gd name="connsiteY47" fmla="*/ 7546 h 9598"/>
                        <a:gd name="connsiteX48" fmla="*/ 6876 w 10000"/>
                        <a:gd name="connsiteY48" fmla="*/ 7547 h 9598"/>
                        <a:gd name="connsiteX49" fmla="*/ 6827 w 10000"/>
                        <a:gd name="connsiteY49" fmla="*/ 8443 h 9598"/>
                        <a:gd name="connsiteX50" fmla="*/ 6991 w 10000"/>
                        <a:gd name="connsiteY50" fmla="*/ 8546 h 9598"/>
                        <a:gd name="connsiteX51" fmla="*/ 7275 w 10000"/>
                        <a:gd name="connsiteY51" fmla="*/ 8807 h 9598"/>
                        <a:gd name="connsiteX52" fmla="*/ 7430 w 10000"/>
                        <a:gd name="connsiteY52" fmla="*/ 8404 h 9598"/>
                        <a:gd name="connsiteX53" fmla="*/ 7470 w 10000"/>
                        <a:gd name="connsiteY53" fmla="*/ 8444 h 9598"/>
                        <a:gd name="connsiteX54" fmla="*/ 7590 w 10000"/>
                        <a:gd name="connsiteY54" fmla="*/ 8198 h 9598"/>
                        <a:gd name="connsiteX55" fmla="*/ 7831 w 10000"/>
                        <a:gd name="connsiteY55" fmla="*/ 8074 h 9598"/>
                        <a:gd name="connsiteX56" fmla="*/ 7952 w 10000"/>
                        <a:gd name="connsiteY56" fmla="*/ 7618 h 9598"/>
                        <a:gd name="connsiteX57" fmla="*/ 8313 w 10000"/>
                        <a:gd name="connsiteY57" fmla="*/ 7080 h 9598"/>
                        <a:gd name="connsiteX58" fmla="*/ 8594 w 10000"/>
                        <a:gd name="connsiteY58" fmla="*/ 6831 h 9598"/>
                        <a:gd name="connsiteX59" fmla="*/ 8795 w 10000"/>
                        <a:gd name="connsiteY59" fmla="*/ 6129 h 9598"/>
                        <a:gd name="connsiteX60" fmla="*/ 8795 w 10000"/>
                        <a:gd name="connsiteY60" fmla="*/ 5963 h 9598"/>
                        <a:gd name="connsiteX61" fmla="*/ 8755 w 10000"/>
                        <a:gd name="connsiteY61" fmla="*/ 5549 h 9598"/>
                        <a:gd name="connsiteX62" fmla="*/ 9157 w 10000"/>
                        <a:gd name="connsiteY62" fmla="*/ 4057 h 9598"/>
                        <a:gd name="connsiteX63" fmla="*/ 9277 w 10000"/>
                        <a:gd name="connsiteY63" fmla="*/ 4057 h 9598"/>
                        <a:gd name="connsiteX64" fmla="*/ 9438 w 10000"/>
                        <a:gd name="connsiteY64" fmla="*/ 3933 h 9598"/>
                        <a:gd name="connsiteX65" fmla="*/ 9920 w 10000"/>
                        <a:gd name="connsiteY65" fmla="*/ 3726 h 9598"/>
                        <a:gd name="connsiteX66" fmla="*/ 10000 w 10000"/>
                        <a:gd name="connsiteY66" fmla="*/ 3395 h 9598"/>
                        <a:gd name="connsiteX67" fmla="*/ 9960 w 10000"/>
                        <a:gd name="connsiteY67" fmla="*/ 3311 h 9598"/>
                        <a:gd name="connsiteX68" fmla="*/ 9799 w 10000"/>
                        <a:gd name="connsiteY68" fmla="*/ 3311 h 9598"/>
                        <a:gd name="connsiteX69" fmla="*/ 9679 w 10000"/>
                        <a:gd name="connsiteY69" fmla="*/ 3105 h 9598"/>
                        <a:gd name="connsiteX70" fmla="*/ 9438 w 10000"/>
                        <a:gd name="connsiteY70" fmla="*/ 3024 h 9598"/>
                        <a:gd name="connsiteX71" fmla="*/ 9317 w 10000"/>
                        <a:gd name="connsiteY71" fmla="*/ 2858 h 9598"/>
                        <a:gd name="connsiteX72" fmla="*/ 9237 w 10000"/>
                        <a:gd name="connsiteY72" fmla="*/ 2237 h 9598"/>
                        <a:gd name="connsiteX73" fmla="*/ 9237 w 10000"/>
                        <a:gd name="connsiteY73" fmla="*/ 1366 h 9598"/>
                        <a:gd name="connsiteX74" fmla="*/ 9036 w 10000"/>
                        <a:gd name="connsiteY74" fmla="*/ 1078 h 9598"/>
                        <a:gd name="connsiteX75" fmla="*/ 8996 w 10000"/>
                        <a:gd name="connsiteY75" fmla="*/ 787 h 9598"/>
                        <a:gd name="connsiteX76" fmla="*/ 8675 w 10000"/>
                        <a:gd name="connsiteY76" fmla="*/ 373 h 9598"/>
                        <a:gd name="connsiteX77" fmla="*/ 8394 w 10000"/>
                        <a:gd name="connsiteY77" fmla="*/ 209 h 9598"/>
                        <a:gd name="connsiteX78" fmla="*/ 8233 w 10000"/>
                        <a:gd name="connsiteY78" fmla="*/ 0 h 9598"/>
                        <a:gd name="connsiteX79" fmla="*/ 7992 w 10000"/>
                        <a:gd name="connsiteY79" fmla="*/ 209 h 9598"/>
                        <a:gd name="connsiteX80" fmla="*/ 7831 w 10000"/>
                        <a:gd name="connsiteY80" fmla="*/ 166 h 9598"/>
                        <a:gd name="connsiteX81" fmla="*/ 7711 w 10000"/>
                        <a:gd name="connsiteY81" fmla="*/ 537 h 9598"/>
                        <a:gd name="connsiteX82" fmla="*/ 7390 w 10000"/>
                        <a:gd name="connsiteY82" fmla="*/ 622 h 9598"/>
                        <a:gd name="connsiteX83" fmla="*/ 7309 w 10000"/>
                        <a:gd name="connsiteY83" fmla="*/ 910 h 9598"/>
                        <a:gd name="connsiteX84" fmla="*/ 7028 w 10000"/>
                        <a:gd name="connsiteY84" fmla="*/ 910 h 9598"/>
                        <a:gd name="connsiteX85" fmla="*/ 6787 w 10000"/>
                        <a:gd name="connsiteY85" fmla="*/ 787 h 9598"/>
                        <a:gd name="connsiteX86" fmla="*/ 6265 w 10000"/>
                        <a:gd name="connsiteY86" fmla="*/ 787 h 9598"/>
                        <a:gd name="connsiteX87" fmla="*/ 5743 w 10000"/>
                        <a:gd name="connsiteY87" fmla="*/ 787 h 9598"/>
                        <a:gd name="connsiteX88" fmla="*/ 5783 w 10000"/>
                        <a:gd name="connsiteY88" fmla="*/ 622 h 9598"/>
                        <a:gd name="connsiteX89" fmla="*/ 5703 w 10000"/>
                        <a:gd name="connsiteY89" fmla="*/ 622 h 9598"/>
                        <a:gd name="connsiteX90" fmla="*/ 5663 w 10000"/>
                        <a:gd name="connsiteY90" fmla="*/ 787 h 9598"/>
                        <a:gd name="connsiteX91" fmla="*/ 5181 w 10000"/>
                        <a:gd name="connsiteY91" fmla="*/ 787 h 9598"/>
                        <a:gd name="connsiteX92" fmla="*/ 4699 w 10000"/>
                        <a:gd name="connsiteY92" fmla="*/ 787 h 9598"/>
                        <a:gd name="connsiteX93" fmla="*/ 4217 w 10000"/>
                        <a:gd name="connsiteY93" fmla="*/ 787 h 9598"/>
                        <a:gd name="connsiteX94" fmla="*/ 3735 w 10000"/>
                        <a:gd name="connsiteY94" fmla="*/ 787 h 9598"/>
                        <a:gd name="connsiteX95" fmla="*/ 3293 w 10000"/>
                        <a:gd name="connsiteY95" fmla="*/ 787 h 9598"/>
                        <a:gd name="connsiteX96" fmla="*/ 2811 w 10000"/>
                        <a:gd name="connsiteY96" fmla="*/ 787 h 9598"/>
                        <a:gd name="connsiteX97" fmla="*/ 2369 w 10000"/>
                        <a:gd name="connsiteY97" fmla="*/ 787 h 9598"/>
                        <a:gd name="connsiteX98" fmla="*/ 1888 w 10000"/>
                        <a:gd name="connsiteY98" fmla="*/ 787 h 9598"/>
                        <a:gd name="connsiteX99" fmla="*/ 1888 w 10000"/>
                        <a:gd name="connsiteY99" fmla="*/ 1366 h 9598"/>
                        <a:gd name="connsiteX100" fmla="*/ 1888 w 10000"/>
                        <a:gd name="connsiteY100" fmla="*/ 2112 h 9598"/>
                        <a:gd name="connsiteX101" fmla="*/ 1285 w 10000"/>
                        <a:gd name="connsiteY101" fmla="*/ 2112 h 9598"/>
                        <a:gd name="connsiteX102" fmla="*/ 1285 w 10000"/>
                        <a:gd name="connsiteY102" fmla="*/ 2443 h 9598"/>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964 w 10000"/>
                        <a:gd name="connsiteY20" fmla="*/ 9879 h 10000"/>
                        <a:gd name="connsiteX21" fmla="*/ 1192 w 10000"/>
                        <a:gd name="connsiteY21" fmla="*/ 10000 h 10000"/>
                        <a:gd name="connsiteX22" fmla="*/ 1332 w 10000"/>
                        <a:gd name="connsiteY22" fmla="*/ 9404 h 10000"/>
                        <a:gd name="connsiteX23" fmla="*/ 1439 w 10000"/>
                        <a:gd name="connsiteY23" fmla="*/ 9506 h 10000"/>
                        <a:gd name="connsiteX24" fmla="*/ 1767 w 10000"/>
                        <a:gd name="connsiteY24" fmla="*/ 9426 h 10000"/>
                        <a:gd name="connsiteX25" fmla="*/ 1951 w 10000"/>
                        <a:gd name="connsiteY25" fmla="*/ 9317 h 10000"/>
                        <a:gd name="connsiteX26" fmla="*/ 2025 w 10000"/>
                        <a:gd name="connsiteY26" fmla="*/ 9052 h 10000"/>
                        <a:gd name="connsiteX27" fmla="*/ 2338 w 10000"/>
                        <a:gd name="connsiteY27" fmla="*/ 8966 h 10000"/>
                        <a:gd name="connsiteX28" fmla="*/ 2643 w 10000"/>
                        <a:gd name="connsiteY28" fmla="*/ 9388 h 10000"/>
                        <a:gd name="connsiteX29" fmla="*/ 2911 w 10000"/>
                        <a:gd name="connsiteY29" fmla="*/ 9572 h 10000"/>
                        <a:gd name="connsiteX30" fmla="*/ 3167 w 10000"/>
                        <a:gd name="connsiteY30" fmla="*/ 9539 h 10000"/>
                        <a:gd name="connsiteX31" fmla="*/ 3795 w 10000"/>
                        <a:gd name="connsiteY31" fmla="*/ 9693 h 10000"/>
                        <a:gd name="connsiteX32" fmla="*/ 4153 w 10000"/>
                        <a:gd name="connsiteY32" fmla="*/ 9776 h 10000"/>
                        <a:gd name="connsiteX33" fmla="*/ 4600 w 10000"/>
                        <a:gd name="connsiteY33" fmla="*/ 9556 h 10000"/>
                        <a:gd name="connsiteX34" fmla="*/ 4901 w 10000"/>
                        <a:gd name="connsiteY34" fmla="*/ 9086 h 10000"/>
                        <a:gd name="connsiteX35" fmla="*/ 5337 w 10000"/>
                        <a:gd name="connsiteY35" fmla="*/ 9340 h 10000"/>
                        <a:gd name="connsiteX36" fmla="*/ 5564 w 10000"/>
                        <a:gd name="connsiteY36" fmla="*/ 9506 h 10000"/>
                        <a:gd name="connsiteX37" fmla="*/ 5768 w 10000"/>
                        <a:gd name="connsiteY37" fmla="*/ 9399 h 10000"/>
                        <a:gd name="connsiteX38" fmla="*/ 5933 w 10000"/>
                        <a:gd name="connsiteY38" fmla="*/ 9300 h 10000"/>
                        <a:gd name="connsiteX39" fmla="*/ 6089 w 10000"/>
                        <a:gd name="connsiteY39" fmla="*/ 9078 h 10000"/>
                        <a:gd name="connsiteX40" fmla="*/ 6274 w 10000"/>
                        <a:gd name="connsiteY40" fmla="*/ 8778 h 10000"/>
                        <a:gd name="connsiteX41" fmla="*/ 6389 w 10000"/>
                        <a:gd name="connsiteY41" fmla="*/ 8638 h 10000"/>
                        <a:gd name="connsiteX42" fmla="*/ 6524 w 10000"/>
                        <a:gd name="connsiteY42" fmla="*/ 8582 h 10000"/>
                        <a:gd name="connsiteX43" fmla="*/ 6531 w 10000"/>
                        <a:gd name="connsiteY43" fmla="*/ 8405 h 10000"/>
                        <a:gd name="connsiteX44" fmla="*/ 6572 w 10000"/>
                        <a:gd name="connsiteY44" fmla="*/ 8201 h 10000"/>
                        <a:gd name="connsiteX45" fmla="*/ 6602 w 10000"/>
                        <a:gd name="connsiteY45" fmla="*/ 8014 h 10000"/>
                        <a:gd name="connsiteX46" fmla="*/ 6707 w 10000"/>
                        <a:gd name="connsiteY46" fmla="*/ 7862 h 10000"/>
                        <a:gd name="connsiteX47" fmla="*/ 6876 w 10000"/>
                        <a:gd name="connsiteY47" fmla="*/ 7863 h 10000"/>
                        <a:gd name="connsiteX48" fmla="*/ 6827 w 10000"/>
                        <a:gd name="connsiteY48" fmla="*/ 8797 h 10000"/>
                        <a:gd name="connsiteX49" fmla="*/ 6991 w 10000"/>
                        <a:gd name="connsiteY49" fmla="*/ 8904 h 10000"/>
                        <a:gd name="connsiteX50" fmla="*/ 7275 w 10000"/>
                        <a:gd name="connsiteY50" fmla="*/ 9176 h 10000"/>
                        <a:gd name="connsiteX51" fmla="*/ 7430 w 10000"/>
                        <a:gd name="connsiteY51" fmla="*/ 8756 h 10000"/>
                        <a:gd name="connsiteX52" fmla="*/ 7470 w 10000"/>
                        <a:gd name="connsiteY52" fmla="*/ 8798 h 10000"/>
                        <a:gd name="connsiteX53" fmla="*/ 7590 w 10000"/>
                        <a:gd name="connsiteY53" fmla="*/ 8541 h 10000"/>
                        <a:gd name="connsiteX54" fmla="*/ 7831 w 10000"/>
                        <a:gd name="connsiteY54" fmla="*/ 8412 h 10000"/>
                        <a:gd name="connsiteX55" fmla="*/ 7952 w 10000"/>
                        <a:gd name="connsiteY55" fmla="*/ 7937 h 10000"/>
                        <a:gd name="connsiteX56" fmla="*/ 8313 w 10000"/>
                        <a:gd name="connsiteY56" fmla="*/ 7377 h 10000"/>
                        <a:gd name="connsiteX57" fmla="*/ 8594 w 10000"/>
                        <a:gd name="connsiteY57" fmla="*/ 7117 h 10000"/>
                        <a:gd name="connsiteX58" fmla="*/ 8795 w 10000"/>
                        <a:gd name="connsiteY58" fmla="*/ 6386 h 10000"/>
                        <a:gd name="connsiteX59" fmla="*/ 8795 w 10000"/>
                        <a:gd name="connsiteY59" fmla="*/ 6213 h 10000"/>
                        <a:gd name="connsiteX60" fmla="*/ 8755 w 10000"/>
                        <a:gd name="connsiteY60" fmla="*/ 5781 h 10000"/>
                        <a:gd name="connsiteX61" fmla="*/ 9157 w 10000"/>
                        <a:gd name="connsiteY61" fmla="*/ 4227 h 10000"/>
                        <a:gd name="connsiteX62" fmla="*/ 9277 w 10000"/>
                        <a:gd name="connsiteY62" fmla="*/ 4227 h 10000"/>
                        <a:gd name="connsiteX63" fmla="*/ 9438 w 10000"/>
                        <a:gd name="connsiteY63" fmla="*/ 4098 h 10000"/>
                        <a:gd name="connsiteX64" fmla="*/ 9920 w 10000"/>
                        <a:gd name="connsiteY64" fmla="*/ 3882 h 10000"/>
                        <a:gd name="connsiteX65" fmla="*/ 10000 w 10000"/>
                        <a:gd name="connsiteY65" fmla="*/ 3537 h 10000"/>
                        <a:gd name="connsiteX66" fmla="*/ 9960 w 10000"/>
                        <a:gd name="connsiteY66" fmla="*/ 3450 h 10000"/>
                        <a:gd name="connsiteX67" fmla="*/ 9799 w 10000"/>
                        <a:gd name="connsiteY67" fmla="*/ 3450 h 10000"/>
                        <a:gd name="connsiteX68" fmla="*/ 9679 w 10000"/>
                        <a:gd name="connsiteY68" fmla="*/ 3235 h 10000"/>
                        <a:gd name="connsiteX69" fmla="*/ 9438 w 10000"/>
                        <a:gd name="connsiteY69" fmla="*/ 3151 h 10000"/>
                        <a:gd name="connsiteX70" fmla="*/ 9317 w 10000"/>
                        <a:gd name="connsiteY70" fmla="*/ 2978 h 10000"/>
                        <a:gd name="connsiteX71" fmla="*/ 9237 w 10000"/>
                        <a:gd name="connsiteY71" fmla="*/ 2331 h 10000"/>
                        <a:gd name="connsiteX72" fmla="*/ 9237 w 10000"/>
                        <a:gd name="connsiteY72" fmla="*/ 1423 h 10000"/>
                        <a:gd name="connsiteX73" fmla="*/ 9036 w 10000"/>
                        <a:gd name="connsiteY73" fmla="*/ 1123 h 10000"/>
                        <a:gd name="connsiteX74" fmla="*/ 8996 w 10000"/>
                        <a:gd name="connsiteY74" fmla="*/ 820 h 10000"/>
                        <a:gd name="connsiteX75" fmla="*/ 8675 w 10000"/>
                        <a:gd name="connsiteY75" fmla="*/ 389 h 10000"/>
                        <a:gd name="connsiteX76" fmla="*/ 8394 w 10000"/>
                        <a:gd name="connsiteY76" fmla="*/ 218 h 10000"/>
                        <a:gd name="connsiteX77" fmla="*/ 8233 w 10000"/>
                        <a:gd name="connsiteY77" fmla="*/ 0 h 10000"/>
                        <a:gd name="connsiteX78" fmla="*/ 7992 w 10000"/>
                        <a:gd name="connsiteY78" fmla="*/ 218 h 10000"/>
                        <a:gd name="connsiteX79" fmla="*/ 7831 w 10000"/>
                        <a:gd name="connsiteY79" fmla="*/ 173 h 10000"/>
                        <a:gd name="connsiteX80" fmla="*/ 7711 w 10000"/>
                        <a:gd name="connsiteY80" fmla="*/ 559 h 10000"/>
                        <a:gd name="connsiteX81" fmla="*/ 7390 w 10000"/>
                        <a:gd name="connsiteY81" fmla="*/ 648 h 10000"/>
                        <a:gd name="connsiteX82" fmla="*/ 7309 w 10000"/>
                        <a:gd name="connsiteY82" fmla="*/ 948 h 10000"/>
                        <a:gd name="connsiteX83" fmla="*/ 7028 w 10000"/>
                        <a:gd name="connsiteY83" fmla="*/ 948 h 10000"/>
                        <a:gd name="connsiteX84" fmla="*/ 6787 w 10000"/>
                        <a:gd name="connsiteY84" fmla="*/ 820 h 10000"/>
                        <a:gd name="connsiteX85" fmla="*/ 6265 w 10000"/>
                        <a:gd name="connsiteY85" fmla="*/ 820 h 10000"/>
                        <a:gd name="connsiteX86" fmla="*/ 5743 w 10000"/>
                        <a:gd name="connsiteY86" fmla="*/ 820 h 10000"/>
                        <a:gd name="connsiteX87" fmla="*/ 5783 w 10000"/>
                        <a:gd name="connsiteY87" fmla="*/ 648 h 10000"/>
                        <a:gd name="connsiteX88" fmla="*/ 5703 w 10000"/>
                        <a:gd name="connsiteY88" fmla="*/ 648 h 10000"/>
                        <a:gd name="connsiteX89" fmla="*/ 5663 w 10000"/>
                        <a:gd name="connsiteY89" fmla="*/ 820 h 10000"/>
                        <a:gd name="connsiteX90" fmla="*/ 5181 w 10000"/>
                        <a:gd name="connsiteY90" fmla="*/ 820 h 10000"/>
                        <a:gd name="connsiteX91" fmla="*/ 4699 w 10000"/>
                        <a:gd name="connsiteY91" fmla="*/ 820 h 10000"/>
                        <a:gd name="connsiteX92" fmla="*/ 4217 w 10000"/>
                        <a:gd name="connsiteY92" fmla="*/ 820 h 10000"/>
                        <a:gd name="connsiteX93" fmla="*/ 3735 w 10000"/>
                        <a:gd name="connsiteY93" fmla="*/ 820 h 10000"/>
                        <a:gd name="connsiteX94" fmla="*/ 3293 w 10000"/>
                        <a:gd name="connsiteY94" fmla="*/ 820 h 10000"/>
                        <a:gd name="connsiteX95" fmla="*/ 2811 w 10000"/>
                        <a:gd name="connsiteY95" fmla="*/ 820 h 10000"/>
                        <a:gd name="connsiteX96" fmla="*/ 2369 w 10000"/>
                        <a:gd name="connsiteY96" fmla="*/ 820 h 10000"/>
                        <a:gd name="connsiteX97" fmla="*/ 1888 w 10000"/>
                        <a:gd name="connsiteY97" fmla="*/ 820 h 10000"/>
                        <a:gd name="connsiteX98" fmla="*/ 1888 w 10000"/>
                        <a:gd name="connsiteY98" fmla="*/ 1423 h 10000"/>
                        <a:gd name="connsiteX99" fmla="*/ 1888 w 10000"/>
                        <a:gd name="connsiteY99" fmla="*/ 2200 h 10000"/>
                        <a:gd name="connsiteX100" fmla="*/ 1285 w 10000"/>
                        <a:gd name="connsiteY100" fmla="*/ 2200 h 10000"/>
                        <a:gd name="connsiteX101" fmla="*/ 1285 w 10000"/>
                        <a:gd name="connsiteY101"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964 w 10000"/>
                        <a:gd name="connsiteY20" fmla="*/ 9879 h 10000"/>
                        <a:gd name="connsiteX21" fmla="*/ 1192 w 10000"/>
                        <a:gd name="connsiteY21" fmla="*/ 10000 h 10000"/>
                        <a:gd name="connsiteX22" fmla="*/ 1332 w 10000"/>
                        <a:gd name="connsiteY22" fmla="*/ 9404 h 10000"/>
                        <a:gd name="connsiteX23" fmla="*/ 1439 w 10000"/>
                        <a:gd name="connsiteY23" fmla="*/ 9506 h 10000"/>
                        <a:gd name="connsiteX24" fmla="*/ 1767 w 10000"/>
                        <a:gd name="connsiteY24" fmla="*/ 9426 h 10000"/>
                        <a:gd name="connsiteX25" fmla="*/ 1951 w 10000"/>
                        <a:gd name="connsiteY25" fmla="*/ 9317 h 10000"/>
                        <a:gd name="connsiteX26" fmla="*/ 2025 w 10000"/>
                        <a:gd name="connsiteY26" fmla="*/ 9052 h 10000"/>
                        <a:gd name="connsiteX27" fmla="*/ 2338 w 10000"/>
                        <a:gd name="connsiteY27" fmla="*/ 8966 h 10000"/>
                        <a:gd name="connsiteX28" fmla="*/ 2643 w 10000"/>
                        <a:gd name="connsiteY28" fmla="*/ 9388 h 10000"/>
                        <a:gd name="connsiteX29" fmla="*/ 2911 w 10000"/>
                        <a:gd name="connsiteY29" fmla="*/ 9572 h 10000"/>
                        <a:gd name="connsiteX30" fmla="*/ 3167 w 10000"/>
                        <a:gd name="connsiteY30" fmla="*/ 9539 h 10000"/>
                        <a:gd name="connsiteX31" fmla="*/ 3795 w 10000"/>
                        <a:gd name="connsiteY31" fmla="*/ 9693 h 10000"/>
                        <a:gd name="connsiteX32" fmla="*/ 4153 w 10000"/>
                        <a:gd name="connsiteY32" fmla="*/ 9776 h 10000"/>
                        <a:gd name="connsiteX33" fmla="*/ 4600 w 10000"/>
                        <a:gd name="connsiteY33" fmla="*/ 9556 h 10000"/>
                        <a:gd name="connsiteX34" fmla="*/ 4901 w 10000"/>
                        <a:gd name="connsiteY34" fmla="*/ 9086 h 10000"/>
                        <a:gd name="connsiteX35" fmla="*/ 5337 w 10000"/>
                        <a:gd name="connsiteY35" fmla="*/ 9340 h 10000"/>
                        <a:gd name="connsiteX36" fmla="*/ 5564 w 10000"/>
                        <a:gd name="connsiteY36" fmla="*/ 9506 h 10000"/>
                        <a:gd name="connsiteX37" fmla="*/ 5768 w 10000"/>
                        <a:gd name="connsiteY37" fmla="*/ 9399 h 10000"/>
                        <a:gd name="connsiteX38" fmla="*/ 5933 w 10000"/>
                        <a:gd name="connsiteY38" fmla="*/ 9300 h 10000"/>
                        <a:gd name="connsiteX39" fmla="*/ 6089 w 10000"/>
                        <a:gd name="connsiteY39" fmla="*/ 9078 h 10000"/>
                        <a:gd name="connsiteX40" fmla="*/ 6274 w 10000"/>
                        <a:gd name="connsiteY40" fmla="*/ 8778 h 10000"/>
                        <a:gd name="connsiteX41" fmla="*/ 6389 w 10000"/>
                        <a:gd name="connsiteY41" fmla="*/ 8638 h 10000"/>
                        <a:gd name="connsiteX42" fmla="*/ 6524 w 10000"/>
                        <a:gd name="connsiteY42" fmla="*/ 8582 h 10000"/>
                        <a:gd name="connsiteX43" fmla="*/ 6531 w 10000"/>
                        <a:gd name="connsiteY43" fmla="*/ 8405 h 10000"/>
                        <a:gd name="connsiteX44" fmla="*/ 6572 w 10000"/>
                        <a:gd name="connsiteY44" fmla="*/ 8201 h 10000"/>
                        <a:gd name="connsiteX45" fmla="*/ 6602 w 10000"/>
                        <a:gd name="connsiteY45" fmla="*/ 8014 h 10000"/>
                        <a:gd name="connsiteX46" fmla="*/ 6707 w 10000"/>
                        <a:gd name="connsiteY46" fmla="*/ 7862 h 10000"/>
                        <a:gd name="connsiteX47" fmla="*/ 6827 w 10000"/>
                        <a:gd name="connsiteY47" fmla="*/ 8797 h 10000"/>
                        <a:gd name="connsiteX48" fmla="*/ 6991 w 10000"/>
                        <a:gd name="connsiteY48" fmla="*/ 8904 h 10000"/>
                        <a:gd name="connsiteX49" fmla="*/ 7275 w 10000"/>
                        <a:gd name="connsiteY49" fmla="*/ 9176 h 10000"/>
                        <a:gd name="connsiteX50" fmla="*/ 7430 w 10000"/>
                        <a:gd name="connsiteY50" fmla="*/ 8756 h 10000"/>
                        <a:gd name="connsiteX51" fmla="*/ 7470 w 10000"/>
                        <a:gd name="connsiteY51" fmla="*/ 8798 h 10000"/>
                        <a:gd name="connsiteX52" fmla="*/ 7590 w 10000"/>
                        <a:gd name="connsiteY52" fmla="*/ 8541 h 10000"/>
                        <a:gd name="connsiteX53" fmla="*/ 7831 w 10000"/>
                        <a:gd name="connsiteY53" fmla="*/ 8412 h 10000"/>
                        <a:gd name="connsiteX54" fmla="*/ 7952 w 10000"/>
                        <a:gd name="connsiteY54" fmla="*/ 7937 h 10000"/>
                        <a:gd name="connsiteX55" fmla="*/ 8313 w 10000"/>
                        <a:gd name="connsiteY55" fmla="*/ 7377 h 10000"/>
                        <a:gd name="connsiteX56" fmla="*/ 8594 w 10000"/>
                        <a:gd name="connsiteY56" fmla="*/ 7117 h 10000"/>
                        <a:gd name="connsiteX57" fmla="*/ 8795 w 10000"/>
                        <a:gd name="connsiteY57" fmla="*/ 6386 h 10000"/>
                        <a:gd name="connsiteX58" fmla="*/ 8795 w 10000"/>
                        <a:gd name="connsiteY58" fmla="*/ 6213 h 10000"/>
                        <a:gd name="connsiteX59" fmla="*/ 8755 w 10000"/>
                        <a:gd name="connsiteY59" fmla="*/ 5781 h 10000"/>
                        <a:gd name="connsiteX60" fmla="*/ 9157 w 10000"/>
                        <a:gd name="connsiteY60" fmla="*/ 4227 h 10000"/>
                        <a:gd name="connsiteX61" fmla="*/ 9277 w 10000"/>
                        <a:gd name="connsiteY61" fmla="*/ 4227 h 10000"/>
                        <a:gd name="connsiteX62" fmla="*/ 9438 w 10000"/>
                        <a:gd name="connsiteY62" fmla="*/ 4098 h 10000"/>
                        <a:gd name="connsiteX63" fmla="*/ 9920 w 10000"/>
                        <a:gd name="connsiteY63" fmla="*/ 3882 h 10000"/>
                        <a:gd name="connsiteX64" fmla="*/ 10000 w 10000"/>
                        <a:gd name="connsiteY64" fmla="*/ 3537 h 10000"/>
                        <a:gd name="connsiteX65" fmla="*/ 9960 w 10000"/>
                        <a:gd name="connsiteY65" fmla="*/ 3450 h 10000"/>
                        <a:gd name="connsiteX66" fmla="*/ 9799 w 10000"/>
                        <a:gd name="connsiteY66" fmla="*/ 3450 h 10000"/>
                        <a:gd name="connsiteX67" fmla="*/ 9679 w 10000"/>
                        <a:gd name="connsiteY67" fmla="*/ 3235 h 10000"/>
                        <a:gd name="connsiteX68" fmla="*/ 9438 w 10000"/>
                        <a:gd name="connsiteY68" fmla="*/ 3151 h 10000"/>
                        <a:gd name="connsiteX69" fmla="*/ 9317 w 10000"/>
                        <a:gd name="connsiteY69" fmla="*/ 2978 h 10000"/>
                        <a:gd name="connsiteX70" fmla="*/ 9237 w 10000"/>
                        <a:gd name="connsiteY70" fmla="*/ 2331 h 10000"/>
                        <a:gd name="connsiteX71" fmla="*/ 9237 w 10000"/>
                        <a:gd name="connsiteY71" fmla="*/ 1423 h 10000"/>
                        <a:gd name="connsiteX72" fmla="*/ 9036 w 10000"/>
                        <a:gd name="connsiteY72" fmla="*/ 1123 h 10000"/>
                        <a:gd name="connsiteX73" fmla="*/ 8996 w 10000"/>
                        <a:gd name="connsiteY73" fmla="*/ 820 h 10000"/>
                        <a:gd name="connsiteX74" fmla="*/ 8675 w 10000"/>
                        <a:gd name="connsiteY74" fmla="*/ 389 h 10000"/>
                        <a:gd name="connsiteX75" fmla="*/ 8394 w 10000"/>
                        <a:gd name="connsiteY75" fmla="*/ 218 h 10000"/>
                        <a:gd name="connsiteX76" fmla="*/ 8233 w 10000"/>
                        <a:gd name="connsiteY76" fmla="*/ 0 h 10000"/>
                        <a:gd name="connsiteX77" fmla="*/ 7992 w 10000"/>
                        <a:gd name="connsiteY77" fmla="*/ 218 h 10000"/>
                        <a:gd name="connsiteX78" fmla="*/ 7831 w 10000"/>
                        <a:gd name="connsiteY78" fmla="*/ 173 h 10000"/>
                        <a:gd name="connsiteX79" fmla="*/ 7711 w 10000"/>
                        <a:gd name="connsiteY79" fmla="*/ 559 h 10000"/>
                        <a:gd name="connsiteX80" fmla="*/ 7390 w 10000"/>
                        <a:gd name="connsiteY80" fmla="*/ 648 h 10000"/>
                        <a:gd name="connsiteX81" fmla="*/ 7309 w 10000"/>
                        <a:gd name="connsiteY81" fmla="*/ 948 h 10000"/>
                        <a:gd name="connsiteX82" fmla="*/ 7028 w 10000"/>
                        <a:gd name="connsiteY82" fmla="*/ 948 h 10000"/>
                        <a:gd name="connsiteX83" fmla="*/ 6787 w 10000"/>
                        <a:gd name="connsiteY83" fmla="*/ 820 h 10000"/>
                        <a:gd name="connsiteX84" fmla="*/ 6265 w 10000"/>
                        <a:gd name="connsiteY84" fmla="*/ 820 h 10000"/>
                        <a:gd name="connsiteX85" fmla="*/ 5743 w 10000"/>
                        <a:gd name="connsiteY85" fmla="*/ 820 h 10000"/>
                        <a:gd name="connsiteX86" fmla="*/ 5783 w 10000"/>
                        <a:gd name="connsiteY86" fmla="*/ 648 h 10000"/>
                        <a:gd name="connsiteX87" fmla="*/ 5703 w 10000"/>
                        <a:gd name="connsiteY87" fmla="*/ 648 h 10000"/>
                        <a:gd name="connsiteX88" fmla="*/ 5663 w 10000"/>
                        <a:gd name="connsiteY88" fmla="*/ 820 h 10000"/>
                        <a:gd name="connsiteX89" fmla="*/ 5181 w 10000"/>
                        <a:gd name="connsiteY89" fmla="*/ 820 h 10000"/>
                        <a:gd name="connsiteX90" fmla="*/ 4699 w 10000"/>
                        <a:gd name="connsiteY90" fmla="*/ 820 h 10000"/>
                        <a:gd name="connsiteX91" fmla="*/ 4217 w 10000"/>
                        <a:gd name="connsiteY91" fmla="*/ 820 h 10000"/>
                        <a:gd name="connsiteX92" fmla="*/ 3735 w 10000"/>
                        <a:gd name="connsiteY92" fmla="*/ 820 h 10000"/>
                        <a:gd name="connsiteX93" fmla="*/ 3293 w 10000"/>
                        <a:gd name="connsiteY93" fmla="*/ 820 h 10000"/>
                        <a:gd name="connsiteX94" fmla="*/ 2811 w 10000"/>
                        <a:gd name="connsiteY94" fmla="*/ 820 h 10000"/>
                        <a:gd name="connsiteX95" fmla="*/ 2369 w 10000"/>
                        <a:gd name="connsiteY95" fmla="*/ 820 h 10000"/>
                        <a:gd name="connsiteX96" fmla="*/ 1888 w 10000"/>
                        <a:gd name="connsiteY96" fmla="*/ 820 h 10000"/>
                        <a:gd name="connsiteX97" fmla="*/ 1888 w 10000"/>
                        <a:gd name="connsiteY97" fmla="*/ 1423 h 10000"/>
                        <a:gd name="connsiteX98" fmla="*/ 1888 w 10000"/>
                        <a:gd name="connsiteY98" fmla="*/ 2200 h 10000"/>
                        <a:gd name="connsiteX99" fmla="*/ 1285 w 10000"/>
                        <a:gd name="connsiteY99" fmla="*/ 2200 h 10000"/>
                        <a:gd name="connsiteX100" fmla="*/ 1285 w 10000"/>
                        <a:gd name="connsiteY100"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964 w 10000"/>
                        <a:gd name="connsiteY20" fmla="*/ 9879 h 10000"/>
                        <a:gd name="connsiteX21" fmla="*/ 1192 w 10000"/>
                        <a:gd name="connsiteY21" fmla="*/ 10000 h 10000"/>
                        <a:gd name="connsiteX22" fmla="*/ 1332 w 10000"/>
                        <a:gd name="connsiteY22" fmla="*/ 9404 h 10000"/>
                        <a:gd name="connsiteX23" fmla="*/ 1439 w 10000"/>
                        <a:gd name="connsiteY23" fmla="*/ 9506 h 10000"/>
                        <a:gd name="connsiteX24" fmla="*/ 1767 w 10000"/>
                        <a:gd name="connsiteY24" fmla="*/ 9426 h 10000"/>
                        <a:gd name="connsiteX25" fmla="*/ 1951 w 10000"/>
                        <a:gd name="connsiteY25" fmla="*/ 9317 h 10000"/>
                        <a:gd name="connsiteX26" fmla="*/ 2025 w 10000"/>
                        <a:gd name="connsiteY26" fmla="*/ 9052 h 10000"/>
                        <a:gd name="connsiteX27" fmla="*/ 2338 w 10000"/>
                        <a:gd name="connsiteY27" fmla="*/ 8966 h 10000"/>
                        <a:gd name="connsiteX28" fmla="*/ 2643 w 10000"/>
                        <a:gd name="connsiteY28" fmla="*/ 9388 h 10000"/>
                        <a:gd name="connsiteX29" fmla="*/ 2911 w 10000"/>
                        <a:gd name="connsiteY29" fmla="*/ 9572 h 10000"/>
                        <a:gd name="connsiteX30" fmla="*/ 3167 w 10000"/>
                        <a:gd name="connsiteY30" fmla="*/ 9539 h 10000"/>
                        <a:gd name="connsiteX31" fmla="*/ 3795 w 10000"/>
                        <a:gd name="connsiteY31" fmla="*/ 9693 h 10000"/>
                        <a:gd name="connsiteX32" fmla="*/ 4153 w 10000"/>
                        <a:gd name="connsiteY32" fmla="*/ 9776 h 10000"/>
                        <a:gd name="connsiteX33" fmla="*/ 4600 w 10000"/>
                        <a:gd name="connsiteY33" fmla="*/ 9556 h 10000"/>
                        <a:gd name="connsiteX34" fmla="*/ 4901 w 10000"/>
                        <a:gd name="connsiteY34" fmla="*/ 9086 h 10000"/>
                        <a:gd name="connsiteX35" fmla="*/ 5337 w 10000"/>
                        <a:gd name="connsiteY35" fmla="*/ 9340 h 10000"/>
                        <a:gd name="connsiteX36" fmla="*/ 5564 w 10000"/>
                        <a:gd name="connsiteY36" fmla="*/ 9506 h 10000"/>
                        <a:gd name="connsiteX37" fmla="*/ 5768 w 10000"/>
                        <a:gd name="connsiteY37" fmla="*/ 9399 h 10000"/>
                        <a:gd name="connsiteX38" fmla="*/ 5933 w 10000"/>
                        <a:gd name="connsiteY38" fmla="*/ 9300 h 10000"/>
                        <a:gd name="connsiteX39" fmla="*/ 6089 w 10000"/>
                        <a:gd name="connsiteY39" fmla="*/ 9078 h 10000"/>
                        <a:gd name="connsiteX40" fmla="*/ 6274 w 10000"/>
                        <a:gd name="connsiteY40" fmla="*/ 8778 h 10000"/>
                        <a:gd name="connsiteX41" fmla="*/ 6389 w 10000"/>
                        <a:gd name="connsiteY41" fmla="*/ 8638 h 10000"/>
                        <a:gd name="connsiteX42" fmla="*/ 6524 w 10000"/>
                        <a:gd name="connsiteY42" fmla="*/ 8582 h 10000"/>
                        <a:gd name="connsiteX43" fmla="*/ 6531 w 10000"/>
                        <a:gd name="connsiteY43" fmla="*/ 8405 h 10000"/>
                        <a:gd name="connsiteX44" fmla="*/ 6572 w 10000"/>
                        <a:gd name="connsiteY44" fmla="*/ 8201 h 10000"/>
                        <a:gd name="connsiteX45" fmla="*/ 6602 w 10000"/>
                        <a:gd name="connsiteY45" fmla="*/ 8014 h 10000"/>
                        <a:gd name="connsiteX46" fmla="*/ 6707 w 10000"/>
                        <a:gd name="connsiteY46" fmla="*/ 7862 h 10000"/>
                        <a:gd name="connsiteX47" fmla="*/ 6827 w 10000"/>
                        <a:gd name="connsiteY47" fmla="*/ 8797 h 10000"/>
                        <a:gd name="connsiteX48" fmla="*/ 7275 w 10000"/>
                        <a:gd name="connsiteY48" fmla="*/ 9176 h 10000"/>
                        <a:gd name="connsiteX49" fmla="*/ 7430 w 10000"/>
                        <a:gd name="connsiteY49" fmla="*/ 8756 h 10000"/>
                        <a:gd name="connsiteX50" fmla="*/ 7470 w 10000"/>
                        <a:gd name="connsiteY50" fmla="*/ 8798 h 10000"/>
                        <a:gd name="connsiteX51" fmla="*/ 7590 w 10000"/>
                        <a:gd name="connsiteY51" fmla="*/ 8541 h 10000"/>
                        <a:gd name="connsiteX52" fmla="*/ 7831 w 10000"/>
                        <a:gd name="connsiteY52" fmla="*/ 8412 h 10000"/>
                        <a:gd name="connsiteX53" fmla="*/ 7952 w 10000"/>
                        <a:gd name="connsiteY53" fmla="*/ 7937 h 10000"/>
                        <a:gd name="connsiteX54" fmla="*/ 8313 w 10000"/>
                        <a:gd name="connsiteY54" fmla="*/ 7377 h 10000"/>
                        <a:gd name="connsiteX55" fmla="*/ 8594 w 10000"/>
                        <a:gd name="connsiteY55" fmla="*/ 7117 h 10000"/>
                        <a:gd name="connsiteX56" fmla="*/ 8795 w 10000"/>
                        <a:gd name="connsiteY56" fmla="*/ 6386 h 10000"/>
                        <a:gd name="connsiteX57" fmla="*/ 8795 w 10000"/>
                        <a:gd name="connsiteY57" fmla="*/ 6213 h 10000"/>
                        <a:gd name="connsiteX58" fmla="*/ 8755 w 10000"/>
                        <a:gd name="connsiteY58" fmla="*/ 5781 h 10000"/>
                        <a:gd name="connsiteX59" fmla="*/ 9157 w 10000"/>
                        <a:gd name="connsiteY59" fmla="*/ 4227 h 10000"/>
                        <a:gd name="connsiteX60" fmla="*/ 9277 w 10000"/>
                        <a:gd name="connsiteY60" fmla="*/ 4227 h 10000"/>
                        <a:gd name="connsiteX61" fmla="*/ 9438 w 10000"/>
                        <a:gd name="connsiteY61" fmla="*/ 4098 h 10000"/>
                        <a:gd name="connsiteX62" fmla="*/ 9920 w 10000"/>
                        <a:gd name="connsiteY62" fmla="*/ 3882 h 10000"/>
                        <a:gd name="connsiteX63" fmla="*/ 10000 w 10000"/>
                        <a:gd name="connsiteY63" fmla="*/ 3537 h 10000"/>
                        <a:gd name="connsiteX64" fmla="*/ 9960 w 10000"/>
                        <a:gd name="connsiteY64" fmla="*/ 3450 h 10000"/>
                        <a:gd name="connsiteX65" fmla="*/ 9799 w 10000"/>
                        <a:gd name="connsiteY65" fmla="*/ 3450 h 10000"/>
                        <a:gd name="connsiteX66" fmla="*/ 9679 w 10000"/>
                        <a:gd name="connsiteY66" fmla="*/ 3235 h 10000"/>
                        <a:gd name="connsiteX67" fmla="*/ 9438 w 10000"/>
                        <a:gd name="connsiteY67" fmla="*/ 3151 h 10000"/>
                        <a:gd name="connsiteX68" fmla="*/ 9317 w 10000"/>
                        <a:gd name="connsiteY68" fmla="*/ 2978 h 10000"/>
                        <a:gd name="connsiteX69" fmla="*/ 9237 w 10000"/>
                        <a:gd name="connsiteY69" fmla="*/ 2331 h 10000"/>
                        <a:gd name="connsiteX70" fmla="*/ 9237 w 10000"/>
                        <a:gd name="connsiteY70" fmla="*/ 1423 h 10000"/>
                        <a:gd name="connsiteX71" fmla="*/ 9036 w 10000"/>
                        <a:gd name="connsiteY71" fmla="*/ 1123 h 10000"/>
                        <a:gd name="connsiteX72" fmla="*/ 8996 w 10000"/>
                        <a:gd name="connsiteY72" fmla="*/ 820 h 10000"/>
                        <a:gd name="connsiteX73" fmla="*/ 8675 w 10000"/>
                        <a:gd name="connsiteY73" fmla="*/ 389 h 10000"/>
                        <a:gd name="connsiteX74" fmla="*/ 8394 w 10000"/>
                        <a:gd name="connsiteY74" fmla="*/ 218 h 10000"/>
                        <a:gd name="connsiteX75" fmla="*/ 8233 w 10000"/>
                        <a:gd name="connsiteY75" fmla="*/ 0 h 10000"/>
                        <a:gd name="connsiteX76" fmla="*/ 7992 w 10000"/>
                        <a:gd name="connsiteY76" fmla="*/ 218 h 10000"/>
                        <a:gd name="connsiteX77" fmla="*/ 7831 w 10000"/>
                        <a:gd name="connsiteY77" fmla="*/ 173 h 10000"/>
                        <a:gd name="connsiteX78" fmla="*/ 7711 w 10000"/>
                        <a:gd name="connsiteY78" fmla="*/ 559 h 10000"/>
                        <a:gd name="connsiteX79" fmla="*/ 7390 w 10000"/>
                        <a:gd name="connsiteY79" fmla="*/ 648 h 10000"/>
                        <a:gd name="connsiteX80" fmla="*/ 7309 w 10000"/>
                        <a:gd name="connsiteY80" fmla="*/ 948 h 10000"/>
                        <a:gd name="connsiteX81" fmla="*/ 7028 w 10000"/>
                        <a:gd name="connsiteY81" fmla="*/ 948 h 10000"/>
                        <a:gd name="connsiteX82" fmla="*/ 6787 w 10000"/>
                        <a:gd name="connsiteY82" fmla="*/ 820 h 10000"/>
                        <a:gd name="connsiteX83" fmla="*/ 6265 w 10000"/>
                        <a:gd name="connsiteY83" fmla="*/ 820 h 10000"/>
                        <a:gd name="connsiteX84" fmla="*/ 5743 w 10000"/>
                        <a:gd name="connsiteY84" fmla="*/ 820 h 10000"/>
                        <a:gd name="connsiteX85" fmla="*/ 5783 w 10000"/>
                        <a:gd name="connsiteY85" fmla="*/ 648 h 10000"/>
                        <a:gd name="connsiteX86" fmla="*/ 5703 w 10000"/>
                        <a:gd name="connsiteY86" fmla="*/ 648 h 10000"/>
                        <a:gd name="connsiteX87" fmla="*/ 5663 w 10000"/>
                        <a:gd name="connsiteY87" fmla="*/ 820 h 10000"/>
                        <a:gd name="connsiteX88" fmla="*/ 5181 w 10000"/>
                        <a:gd name="connsiteY88" fmla="*/ 820 h 10000"/>
                        <a:gd name="connsiteX89" fmla="*/ 4699 w 10000"/>
                        <a:gd name="connsiteY89" fmla="*/ 820 h 10000"/>
                        <a:gd name="connsiteX90" fmla="*/ 4217 w 10000"/>
                        <a:gd name="connsiteY90" fmla="*/ 820 h 10000"/>
                        <a:gd name="connsiteX91" fmla="*/ 3735 w 10000"/>
                        <a:gd name="connsiteY91" fmla="*/ 820 h 10000"/>
                        <a:gd name="connsiteX92" fmla="*/ 3293 w 10000"/>
                        <a:gd name="connsiteY92" fmla="*/ 820 h 10000"/>
                        <a:gd name="connsiteX93" fmla="*/ 2811 w 10000"/>
                        <a:gd name="connsiteY93" fmla="*/ 820 h 10000"/>
                        <a:gd name="connsiteX94" fmla="*/ 2369 w 10000"/>
                        <a:gd name="connsiteY94" fmla="*/ 820 h 10000"/>
                        <a:gd name="connsiteX95" fmla="*/ 1888 w 10000"/>
                        <a:gd name="connsiteY95" fmla="*/ 820 h 10000"/>
                        <a:gd name="connsiteX96" fmla="*/ 1888 w 10000"/>
                        <a:gd name="connsiteY96" fmla="*/ 1423 h 10000"/>
                        <a:gd name="connsiteX97" fmla="*/ 1888 w 10000"/>
                        <a:gd name="connsiteY97" fmla="*/ 2200 h 10000"/>
                        <a:gd name="connsiteX98" fmla="*/ 1285 w 10000"/>
                        <a:gd name="connsiteY98" fmla="*/ 2200 h 10000"/>
                        <a:gd name="connsiteX99" fmla="*/ 1285 w 10000"/>
                        <a:gd name="connsiteY99"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964 w 10000"/>
                        <a:gd name="connsiteY20" fmla="*/ 9879 h 10000"/>
                        <a:gd name="connsiteX21" fmla="*/ 1192 w 10000"/>
                        <a:gd name="connsiteY21" fmla="*/ 10000 h 10000"/>
                        <a:gd name="connsiteX22" fmla="*/ 1332 w 10000"/>
                        <a:gd name="connsiteY22" fmla="*/ 9404 h 10000"/>
                        <a:gd name="connsiteX23" fmla="*/ 1439 w 10000"/>
                        <a:gd name="connsiteY23" fmla="*/ 9506 h 10000"/>
                        <a:gd name="connsiteX24" fmla="*/ 1767 w 10000"/>
                        <a:gd name="connsiteY24" fmla="*/ 9426 h 10000"/>
                        <a:gd name="connsiteX25" fmla="*/ 1951 w 10000"/>
                        <a:gd name="connsiteY25" fmla="*/ 9317 h 10000"/>
                        <a:gd name="connsiteX26" fmla="*/ 2025 w 10000"/>
                        <a:gd name="connsiteY26" fmla="*/ 9052 h 10000"/>
                        <a:gd name="connsiteX27" fmla="*/ 2338 w 10000"/>
                        <a:gd name="connsiteY27" fmla="*/ 8966 h 10000"/>
                        <a:gd name="connsiteX28" fmla="*/ 2643 w 10000"/>
                        <a:gd name="connsiteY28" fmla="*/ 9388 h 10000"/>
                        <a:gd name="connsiteX29" fmla="*/ 2911 w 10000"/>
                        <a:gd name="connsiteY29" fmla="*/ 9572 h 10000"/>
                        <a:gd name="connsiteX30" fmla="*/ 3167 w 10000"/>
                        <a:gd name="connsiteY30" fmla="*/ 9539 h 10000"/>
                        <a:gd name="connsiteX31" fmla="*/ 3795 w 10000"/>
                        <a:gd name="connsiteY31" fmla="*/ 9693 h 10000"/>
                        <a:gd name="connsiteX32" fmla="*/ 4153 w 10000"/>
                        <a:gd name="connsiteY32" fmla="*/ 9776 h 10000"/>
                        <a:gd name="connsiteX33" fmla="*/ 4600 w 10000"/>
                        <a:gd name="connsiteY33" fmla="*/ 9556 h 10000"/>
                        <a:gd name="connsiteX34" fmla="*/ 4901 w 10000"/>
                        <a:gd name="connsiteY34" fmla="*/ 9086 h 10000"/>
                        <a:gd name="connsiteX35" fmla="*/ 5337 w 10000"/>
                        <a:gd name="connsiteY35" fmla="*/ 9340 h 10000"/>
                        <a:gd name="connsiteX36" fmla="*/ 5564 w 10000"/>
                        <a:gd name="connsiteY36" fmla="*/ 9506 h 10000"/>
                        <a:gd name="connsiteX37" fmla="*/ 5768 w 10000"/>
                        <a:gd name="connsiteY37" fmla="*/ 9399 h 10000"/>
                        <a:gd name="connsiteX38" fmla="*/ 5933 w 10000"/>
                        <a:gd name="connsiteY38" fmla="*/ 9300 h 10000"/>
                        <a:gd name="connsiteX39" fmla="*/ 6089 w 10000"/>
                        <a:gd name="connsiteY39" fmla="*/ 9078 h 10000"/>
                        <a:gd name="connsiteX40" fmla="*/ 6274 w 10000"/>
                        <a:gd name="connsiteY40" fmla="*/ 8778 h 10000"/>
                        <a:gd name="connsiteX41" fmla="*/ 6389 w 10000"/>
                        <a:gd name="connsiteY41" fmla="*/ 8638 h 10000"/>
                        <a:gd name="connsiteX42" fmla="*/ 6524 w 10000"/>
                        <a:gd name="connsiteY42" fmla="*/ 8582 h 10000"/>
                        <a:gd name="connsiteX43" fmla="*/ 6531 w 10000"/>
                        <a:gd name="connsiteY43" fmla="*/ 8405 h 10000"/>
                        <a:gd name="connsiteX44" fmla="*/ 6572 w 10000"/>
                        <a:gd name="connsiteY44" fmla="*/ 8201 h 10000"/>
                        <a:gd name="connsiteX45" fmla="*/ 6602 w 10000"/>
                        <a:gd name="connsiteY45" fmla="*/ 8014 h 10000"/>
                        <a:gd name="connsiteX46" fmla="*/ 6707 w 10000"/>
                        <a:gd name="connsiteY46" fmla="*/ 7862 h 10000"/>
                        <a:gd name="connsiteX47" fmla="*/ 6893 w 10000"/>
                        <a:gd name="connsiteY47" fmla="*/ 8708 h 10000"/>
                        <a:gd name="connsiteX48" fmla="*/ 7275 w 10000"/>
                        <a:gd name="connsiteY48" fmla="*/ 9176 h 10000"/>
                        <a:gd name="connsiteX49" fmla="*/ 7430 w 10000"/>
                        <a:gd name="connsiteY49" fmla="*/ 8756 h 10000"/>
                        <a:gd name="connsiteX50" fmla="*/ 7470 w 10000"/>
                        <a:gd name="connsiteY50" fmla="*/ 8798 h 10000"/>
                        <a:gd name="connsiteX51" fmla="*/ 7590 w 10000"/>
                        <a:gd name="connsiteY51" fmla="*/ 8541 h 10000"/>
                        <a:gd name="connsiteX52" fmla="*/ 7831 w 10000"/>
                        <a:gd name="connsiteY52" fmla="*/ 8412 h 10000"/>
                        <a:gd name="connsiteX53" fmla="*/ 7952 w 10000"/>
                        <a:gd name="connsiteY53" fmla="*/ 7937 h 10000"/>
                        <a:gd name="connsiteX54" fmla="*/ 8313 w 10000"/>
                        <a:gd name="connsiteY54" fmla="*/ 7377 h 10000"/>
                        <a:gd name="connsiteX55" fmla="*/ 8594 w 10000"/>
                        <a:gd name="connsiteY55" fmla="*/ 7117 h 10000"/>
                        <a:gd name="connsiteX56" fmla="*/ 8795 w 10000"/>
                        <a:gd name="connsiteY56" fmla="*/ 6386 h 10000"/>
                        <a:gd name="connsiteX57" fmla="*/ 8795 w 10000"/>
                        <a:gd name="connsiteY57" fmla="*/ 6213 h 10000"/>
                        <a:gd name="connsiteX58" fmla="*/ 8755 w 10000"/>
                        <a:gd name="connsiteY58" fmla="*/ 5781 h 10000"/>
                        <a:gd name="connsiteX59" fmla="*/ 9157 w 10000"/>
                        <a:gd name="connsiteY59" fmla="*/ 4227 h 10000"/>
                        <a:gd name="connsiteX60" fmla="*/ 9277 w 10000"/>
                        <a:gd name="connsiteY60" fmla="*/ 4227 h 10000"/>
                        <a:gd name="connsiteX61" fmla="*/ 9438 w 10000"/>
                        <a:gd name="connsiteY61" fmla="*/ 4098 h 10000"/>
                        <a:gd name="connsiteX62" fmla="*/ 9920 w 10000"/>
                        <a:gd name="connsiteY62" fmla="*/ 3882 h 10000"/>
                        <a:gd name="connsiteX63" fmla="*/ 10000 w 10000"/>
                        <a:gd name="connsiteY63" fmla="*/ 3537 h 10000"/>
                        <a:gd name="connsiteX64" fmla="*/ 9960 w 10000"/>
                        <a:gd name="connsiteY64" fmla="*/ 3450 h 10000"/>
                        <a:gd name="connsiteX65" fmla="*/ 9799 w 10000"/>
                        <a:gd name="connsiteY65" fmla="*/ 3450 h 10000"/>
                        <a:gd name="connsiteX66" fmla="*/ 9679 w 10000"/>
                        <a:gd name="connsiteY66" fmla="*/ 3235 h 10000"/>
                        <a:gd name="connsiteX67" fmla="*/ 9438 w 10000"/>
                        <a:gd name="connsiteY67" fmla="*/ 3151 h 10000"/>
                        <a:gd name="connsiteX68" fmla="*/ 9317 w 10000"/>
                        <a:gd name="connsiteY68" fmla="*/ 2978 h 10000"/>
                        <a:gd name="connsiteX69" fmla="*/ 9237 w 10000"/>
                        <a:gd name="connsiteY69" fmla="*/ 2331 h 10000"/>
                        <a:gd name="connsiteX70" fmla="*/ 9237 w 10000"/>
                        <a:gd name="connsiteY70" fmla="*/ 1423 h 10000"/>
                        <a:gd name="connsiteX71" fmla="*/ 9036 w 10000"/>
                        <a:gd name="connsiteY71" fmla="*/ 1123 h 10000"/>
                        <a:gd name="connsiteX72" fmla="*/ 8996 w 10000"/>
                        <a:gd name="connsiteY72" fmla="*/ 820 h 10000"/>
                        <a:gd name="connsiteX73" fmla="*/ 8675 w 10000"/>
                        <a:gd name="connsiteY73" fmla="*/ 389 h 10000"/>
                        <a:gd name="connsiteX74" fmla="*/ 8394 w 10000"/>
                        <a:gd name="connsiteY74" fmla="*/ 218 h 10000"/>
                        <a:gd name="connsiteX75" fmla="*/ 8233 w 10000"/>
                        <a:gd name="connsiteY75" fmla="*/ 0 h 10000"/>
                        <a:gd name="connsiteX76" fmla="*/ 7992 w 10000"/>
                        <a:gd name="connsiteY76" fmla="*/ 218 h 10000"/>
                        <a:gd name="connsiteX77" fmla="*/ 7831 w 10000"/>
                        <a:gd name="connsiteY77" fmla="*/ 173 h 10000"/>
                        <a:gd name="connsiteX78" fmla="*/ 7711 w 10000"/>
                        <a:gd name="connsiteY78" fmla="*/ 559 h 10000"/>
                        <a:gd name="connsiteX79" fmla="*/ 7390 w 10000"/>
                        <a:gd name="connsiteY79" fmla="*/ 648 h 10000"/>
                        <a:gd name="connsiteX80" fmla="*/ 7309 w 10000"/>
                        <a:gd name="connsiteY80" fmla="*/ 948 h 10000"/>
                        <a:gd name="connsiteX81" fmla="*/ 7028 w 10000"/>
                        <a:gd name="connsiteY81" fmla="*/ 948 h 10000"/>
                        <a:gd name="connsiteX82" fmla="*/ 6787 w 10000"/>
                        <a:gd name="connsiteY82" fmla="*/ 820 h 10000"/>
                        <a:gd name="connsiteX83" fmla="*/ 6265 w 10000"/>
                        <a:gd name="connsiteY83" fmla="*/ 820 h 10000"/>
                        <a:gd name="connsiteX84" fmla="*/ 5743 w 10000"/>
                        <a:gd name="connsiteY84" fmla="*/ 820 h 10000"/>
                        <a:gd name="connsiteX85" fmla="*/ 5783 w 10000"/>
                        <a:gd name="connsiteY85" fmla="*/ 648 h 10000"/>
                        <a:gd name="connsiteX86" fmla="*/ 5703 w 10000"/>
                        <a:gd name="connsiteY86" fmla="*/ 648 h 10000"/>
                        <a:gd name="connsiteX87" fmla="*/ 5663 w 10000"/>
                        <a:gd name="connsiteY87" fmla="*/ 820 h 10000"/>
                        <a:gd name="connsiteX88" fmla="*/ 5181 w 10000"/>
                        <a:gd name="connsiteY88" fmla="*/ 820 h 10000"/>
                        <a:gd name="connsiteX89" fmla="*/ 4699 w 10000"/>
                        <a:gd name="connsiteY89" fmla="*/ 820 h 10000"/>
                        <a:gd name="connsiteX90" fmla="*/ 4217 w 10000"/>
                        <a:gd name="connsiteY90" fmla="*/ 820 h 10000"/>
                        <a:gd name="connsiteX91" fmla="*/ 3735 w 10000"/>
                        <a:gd name="connsiteY91" fmla="*/ 820 h 10000"/>
                        <a:gd name="connsiteX92" fmla="*/ 3293 w 10000"/>
                        <a:gd name="connsiteY92" fmla="*/ 820 h 10000"/>
                        <a:gd name="connsiteX93" fmla="*/ 2811 w 10000"/>
                        <a:gd name="connsiteY93" fmla="*/ 820 h 10000"/>
                        <a:gd name="connsiteX94" fmla="*/ 2369 w 10000"/>
                        <a:gd name="connsiteY94" fmla="*/ 820 h 10000"/>
                        <a:gd name="connsiteX95" fmla="*/ 1888 w 10000"/>
                        <a:gd name="connsiteY95" fmla="*/ 820 h 10000"/>
                        <a:gd name="connsiteX96" fmla="*/ 1888 w 10000"/>
                        <a:gd name="connsiteY96" fmla="*/ 1423 h 10000"/>
                        <a:gd name="connsiteX97" fmla="*/ 1888 w 10000"/>
                        <a:gd name="connsiteY97" fmla="*/ 2200 h 10000"/>
                        <a:gd name="connsiteX98" fmla="*/ 1285 w 10000"/>
                        <a:gd name="connsiteY98" fmla="*/ 2200 h 10000"/>
                        <a:gd name="connsiteX99" fmla="*/ 1285 w 10000"/>
                        <a:gd name="connsiteY99"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964 w 10000"/>
                        <a:gd name="connsiteY20" fmla="*/ 9879 h 10000"/>
                        <a:gd name="connsiteX21" fmla="*/ 1192 w 10000"/>
                        <a:gd name="connsiteY21" fmla="*/ 10000 h 10000"/>
                        <a:gd name="connsiteX22" fmla="*/ 1332 w 10000"/>
                        <a:gd name="connsiteY22" fmla="*/ 9404 h 10000"/>
                        <a:gd name="connsiteX23" fmla="*/ 1439 w 10000"/>
                        <a:gd name="connsiteY23" fmla="*/ 9506 h 10000"/>
                        <a:gd name="connsiteX24" fmla="*/ 1767 w 10000"/>
                        <a:gd name="connsiteY24" fmla="*/ 9426 h 10000"/>
                        <a:gd name="connsiteX25" fmla="*/ 1951 w 10000"/>
                        <a:gd name="connsiteY25" fmla="*/ 9317 h 10000"/>
                        <a:gd name="connsiteX26" fmla="*/ 2025 w 10000"/>
                        <a:gd name="connsiteY26" fmla="*/ 9052 h 10000"/>
                        <a:gd name="connsiteX27" fmla="*/ 2338 w 10000"/>
                        <a:gd name="connsiteY27" fmla="*/ 8966 h 10000"/>
                        <a:gd name="connsiteX28" fmla="*/ 2643 w 10000"/>
                        <a:gd name="connsiteY28" fmla="*/ 9388 h 10000"/>
                        <a:gd name="connsiteX29" fmla="*/ 2911 w 10000"/>
                        <a:gd name="connsiteY29" fmla="*/ 9572 h 10000"/>
                        <a:gd name="connsiteX30" fmla="*/ 3167 w 10000"/>
                        <a:gd name="connsiteY30" fmla="*/ 9539 h 10000"/>
                        <a:gd name="connsiteX31" fmla="*/ 3795 w 10000"/>
                        <a:gd name="connsiteY31" fmla="*/ 9693 h 10000"/>
                        <a:gd name="connsiteX32" fmla="*/ 4153 w 10000"/>
                        <a:gd name="connsiteY32" fmla="*/ 9776 h 10000"/>
                        <a:gd name="connsiteX33" fmla="*/ 4600 w 10000"/>
                        <a:gd name="connsiteY33" fmla="*/ 9556 h 10000"/>
                        <a:gd name="connsiteX34" fmla="*/ 4901 w 10000"/>
                        <a:gd name="connsiteY34" fmla="*/ 9086 h 10000"/>
                        <a:gd name="connsiteX35" fmla="*/ 5337 w 10000"/>
                        <a:gd name="connsiteY35" fmla="*/ 9340 h 10000"/>
                        <a:gd name="connsiteX36" fmla="*/ 5564 w 10000"/>
                        <a:gd name="connsiteY36" fmla="*/ 9506 h 10000"/>
                        <a:gd name="connsiteX37" fmla="*/ 5768 w 10000"/>
                        <a:gd name="connsiteY37" fmla="*/ 9399 h 10000"/>
                        <a:gd name="connsiteX38" fmla="*/ 5933 w 10000"/>
                        <a:gd name="connsiteY38" fmla="*/ 9300 h 10000"/>
                        <a:gd name="connsiteX39" fmla="*/ 6089 w 10000"/>
                        <a:gd name="connsiteY39" fmla="*/ 9078 h 10000"/>
                        <a:gd name="connsiteX40" fmla="*/ 6274 w 10000"/>
                        <a:gd name="connsiteY40" fmla="*/ 8778 h 10000"/>
                        <a:gd name="connsiteX41" fmla="*/ 6389 w 10000"/>
                        <a:gd name="connsiteY41" fmla="*/ 8638 h 10000"/>
                        <a:gd name="connsiteX42" fmla="*/ 6524 w 10000"/>
                        <a:gd name="connsiteY42" fmla="*/ 8582 h 10000"/>
                        <a:gd name="connsiteX43" fmla="*/ 6531 w 10000"/>
                        <a:gd name="connsiteY43" fmla="*/ 8405 h 10000"/>
                        <a:gd name="connsiteX44" fmla="*/ 6572 w 10000"/>
                        <a:gd name="connsiteY44" fmla="*/ 8201 h 10000"/>
                        <a:gd name="connsiteX45" fmla="*/ 6602 w 10000"/>
                        <a:gd name="connsiteY45" fmla="*/ 8014 h 10000"/>
                        <a:gd name="connsiteX46" fmla="*/ 6707 w 10000"/>
                        <a:gd name="connsiteY46" fmla="*/ 7862 h 10000"/>
                        <a:gd name="connsiteX47" fmla="*/ 6893 w 10000"/>
                        <a:gd name="connsiteY47" fmla="*/ 8708 h 10000"/>
                        <a:gd name="connsiteX48" fmla="*/ 7308 w 10000"/>
                        <a:gd name="connsiteY48" fmla="*/ 9034 h 10000"/>
                        <a:gd name="connsiteX49" fmla="*/ 7430 w 10000"/>
                        <a:gd name="connsiteY49" fmla="*/ 8756 h 10000"/>
                        <a:gd name="connsiteX50" fmla="*/ 7470 w 10000"/>
                        <a:gd name="connsiteY50" fmla="*/ 8798 h 10000"/>
                        <a:gd name="connsiteX51" fmla="*/ 7590 w 10000"/>
                        <a:gd name="connsiteY51" fmla="*/ 8541 h 10000"/>
                        <a:gd name="connsiteX52" fmla="*/ 7831 w 10000"/>
                        <a:gd name="connsiteY52" fmla="*/ 8412 h 10000"/>
                        <a:gd name="connsiteX53" fmla="*/ 7952 w 10000"/>
                        <a:gd name="connsiteY53" fmla="*/ 7937 h 10000"/>
                        <a:gd name="connsiteX54" fmla="*/ 8313 w 10000"/>
                        <a:gd name="connsiteY54" fmla="*/ 7377 h 10000"/>
                        <a:gd name="connsiteX55" fmla="*/ 8594 w 10000"/>
                        <a:gd name="connsiteY55" fmla="*/ 7117 h 10000"/>
                        <a:gd name="connsiteX56" fmla="*/ 8795 w 10000"/>
                        <a:gd name="connsiteY56" fmla="*/ 6386 h 10000"/>
                        <a:gd name="connsiteX57" fmla="*/ 8795 w 10000"/>
                        <a:gd name="connsiteY57" fmla="*/ 6213 h 10000"/>
                        <a:gd name="connsiteX58" fmla="*/ 8755 w 10000"/>
                        <a:gd name="connsiteY58" fmla="*/ 5781 h 10000"/>
                        <a:gd name="connsiteX59" fmla="*/ 9157 w 10000"/>
                        <a:gd name="connsiteY59" fmla="*/ 4227 h 10000"/>
                        <a:gd name="connsiteX60" fmla="*/ 9277 w 10000"/>
                        <a:gd name="connsiteY60" fmla="*/ 4227 h 10000"/>
                        <a:gd name="connsiteX61" fmla="*/ 9438 w 10000"/>
                        <a:gd name="connsiteY61" fmla="*/ 4098 h 10000"/>
                        <a:gd name="connsiteX62" fmla="*/ 9920 w 10000"/>
                        <a:gd name="connsiteY62" fmla="*/ 3882 h 10000"/>
                        <a:gd name="connsiteX63" fmla="*/ 10000 w 10000"/>
                        <a:gd name="connsiteY63" fmla="*/ 3537 h 10000"/>
                        <a:gd name="connsiteX64" fmla="*/ 9960 w 10000"/>
                        <a:gd name="connsiteY64" fmla="*/ 3450 h 10000"/>
                        <a:gd name="connsiteX65" fmla="*/ 9799 w 10000"/>
                        <a:gd name="connsiteY65" fmla="*/ 3450 h 10000"/>
                        <a:gd name="connsiteX66" fmla="*/ 9679 w 10000"/>
                        <a:gd name="connsiteY66" fmla="*/ 3235 h 10000"/>
                        <a:gd name="connsiteX67" fmla="*/ 9438 w 10000"/>
                        <a:gd name="connsiteY67" fmla="*/ 3151 h 10000"/>
                        <a:gd name="connsiteX68" fmla="*/ 9317 w 10000"/>
                        <a:gd name="connsiteY68" fmla="*/ 2978 h 10000"/>
                        <a:gd name="connsiteX69" fmla="*/ 9237 w 10000"/>
                        <a:gd name="connsiteY69" fmla="*/ 2331 h 10000"/>
                        <a:gd name="connsiteX70" fmla="*/ 9237 w 10000"/>
                        <a:gd name="connsiteY70" fmla="*/ 1423 h 10000"/>
                        <a:gd name="connsiteX71" fmla="*/ 9036 w 10000"/>
                        <a:gd name="connsiteY71" fmla="*/ 1123 h 10000"/>
                        <a:gd name="connsiteX72" fmla="*/ 8996 w 10000"/>
                        <a:gd name="connsiteY72" fmla="*/ 820 h 10000"/>
                        <a:gd name="connsiteX73" fmla="*/ 8675 w 10000"/>
                        <a:gd name="connsiteY73" fmla="*/ 389 h 10000"/>
                        <a:gd name="connsiteX74" fmla="*/ 8394 w 10000"/>
                        <a:gd name="connsiteY74" fmla="*/ 218 h 10000"/>
                        <a:gd name="connsiteX75" fmla="*/ 8233 w 10000"/>
                        <a:gd name="connsiteY75" fmla="*/ 0 h 10000"/>
                        <a:gd name="connsiteX76" fmla="*/ 7992 w 10000"/>
                        <a:gd name="connsiteY76" fmla="*/ 218 h 10000"/>
                        <a:gd name="connsiteX77" fmla="*/ 7831 w 10000"/>
                        <a:gd name="connsiteY77" fmla="*/ 173 h 10000"/>
                        <a:gd name="connsiteX78" fmla="*/ 7711 w 10000"/>
                        <a:gd name="connsiteY78" fmla="*/ 559 h 10000"/>
                        <a:gd name="connsiteX79" fmla="*/ 7390 w 10000"/>
                        <a:gd name="connsiteY79" fmla="*/ 648 h 10000"/>
                        <a:gd name="connsiteX80" fmla="*/ 7309 w 10000"/>
                        <a:gd name="connsiteY80" fmla="*/ 948 h 10000"/>
                        <a:gd name="connsiteX81" fmla="*/ 7028 w 10000"/>
                        <a:gd name="connsiteY81" fmla="*/ 948 h 10000"/>
                        <a:gd name="connsiteX82" fmla="*/ 6787 w 10000"/>
                        <a:gd name="connsiteY82" fmla="*/ 820 h 10000"/>
                        <a:gd name="connsiteX83" fmla="*/ 6265 w 10000"/>
                        <a:gd name="connsiteY83" fmla="*/ 820 h 10000"/>
                        <a:gd name="connsiteX84" fmla="*/ 5743 w 10000"/>
                        <a:gd name="connsiteY84" fmla="*/ 820 h 10000"/>
                        <a:gd name="connsiteX85" fmla="*/ 5783 w 10000"/>
                        <a:gd name="connsiteY85" fmla="*/ 648 h 10000"/>
                        <a:gd name="connsiteX86" fmla="*/ 5703 w 10000"/>
                        <a:gd name="connsiteY86" fmla="*/ 648 h 10000"/>
                        <a:gd name="connsiteX87" fmla="*/ 5663 w 10000"/>
                        <a:gd name="connsiteY87" fmla="*/ 820 h 10000"/>
                        <a:gd name="connsiteX88" fmla="*/ 5181 w 10000"/>
                        <a:gd name="connsiteY88" fmla="*/ 820 h 10000"/>
                        <a:gd name="connsiteX89" fmla="*/ 4699 w 10000"/>
                        <a:gd name="connsiteY89" fmla="*/ 820 h 10000"/>
                        <a:gd name="connsiteX90" fmla="*/ 4217 w 10000"/>
                        <a:gd name="connsiteY90" fmla="*/ 820 h 10000"/>
                        <a:gd name="connsiteX91" fmla="*/ 3735 w 10000"/>
                        <a:gd name="connsiteY91" fmla="*/ 820 h 10000"/>
                        <a:gd name="connsiteX92" fmla="*/ 3293 w 10000"/>
                        <a:gd name="connsiteY92" fmla="*/ 820 h 10000"/>
                        <a:gd name="connsiteX93" fmla="*/ 2811 w 10000"/>
                        <a:gd name="connsiteY93" fmla="*/ 820 h 10000"/>
                        <a:gd name="connsiteX94" fmla="*/ 2369 w 10000"/>
                        <a:gd name="connsiteY94" fmla="*/ 820 h 10000"/>
                        <a:gd name="connsiteX95" fmla="*/ 1888 w 10000"/>
                        <a:gd name="connsiteY95" fmla="*/ 820 h 10000"/>
                        <a:gd name="connsiteX96" fmla="*/ 1888 w 10000"/>
                        <a:gd name="connsiteY96" fmla="*/ 1423 h 10000"/>
                        <a:gd name="connsiteX97" fmla="*/ 1888 w 10000"/>
                        <a:gd name="connsiteY97" fmla="*/ 2200 h 10000"/>
                        <a:gd name="connsiteX98" fmla="*/ 1285 w 10000"/>
                        <a:gd name="connsiteY98" fmla="*/ 2200 h 10000"/>
                        <a:gd name="connsiteX99" fmla="*/ 1285 w 10000"/>
                        <a:gd name="connsiteY99"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964 w 10000"/>
                        <a:gd name="connsiteY20" fmla="*/ 9879 h 10000"/>
                        <a:gd name="connsiteX21" fmla="*/ 1192 w 10000"/>
                        <a:gd name="connsiteY21" fmla="*/ 10000 h 10000"/>
                        <a:gd name="connsiteX22" fmla="*/ 1332 w 10000"/>
                        <a:gd name="connsiteY22" fmla="*/ 9404 h 10000"/>
                        <a:gd name="connsiteX23" fmla="*/ 1439 w 10000"/>
                        <a:gd name="connsiteY23" fmla="*/ 9506 h 10000"/>
                        <a:gd name="connsiteX24" fmla="*/ 1767 w 10000"/>
                        <a:gd name="connsiteY24" fmla="*/ 9426 h 10000"/>
                        <a:gd name="connsiteX25" fmla="*/ 1951 w 10000"/>
                        <a:gd name="connsiteY25" fmla="*/ 9317 h 10000"/>
                        <a:gd name="connsiteX26" fmla="*/ 2025 w 10000"/>
                        <a:gd name="connsiteY26" fmla="*/ 9052 h 10000"/>
                        <a:gd name="connsiteX27" fmla="*/ 2338 w 10000"/>
                        <a:gd name="connsiteY27" fmla="*/ 8966 h 10000"/>
                        <a:gd name="connsiteX28" fmla="*/ 2643 w 10000"/>
                        <a:gd name="connsiteY28" fmla="*/ 9388 h 10000"/>
                        <a:gd name="connsiteX29" fmla="*/ 2911 w 10000"/>
                        <a:gd name="connsiteY29" fmla="*/ 9572 h 10000"/>
                        <a:gd name="connsiteX30" fmla="*/ 3167 w 10000"/>
                        <a:gd name="connsiteY30" fmla="*/ 9539 h 10000"/>
                        <a:gd name="connsiteX31" fmla="*/ 3795 w 10000"/>
                        <a:gd name="connsiteY31" fmla="*/ 9693 h 10000"/>
                        <a:gd name="connsiteX32" fmla="*/ 4153 w 10000"/>
                        <a:gd name="connsiteY32" fmla="*/ 9776 h 10000"/>
                        <a:gd name="connsiteX33" fmla="*/ 4600 w 10000"/>
                        <a:gd name="connsiteY33" fmla="*/ 9556 h 10000"/>
                        <a:gd name="connsiteX34" fmla="*/ 4901 w 10000"/>
                        <a:gd name="connsiteY34" fmla="*/ 9086 h 10000"/>
                        <a:gd name="connsiteX35" fmla="*/ 5337 w 10000"/>
                        <a:gd name="connsiteY35" fmla="*/ 9340 h 10000"/>
                        <a:gd name="connsiteX36" fmla="*/ 5564 w 10000"/>
                        <a:gd name="connsiteY36" fmla="*/ 9506 h 10000"/>
                        <a:gd name="connsiteX37" fmla="*/ 5768 w 10000"/>
                        <a:gd name="connsiteY37" fmla="*/ 9399 h 10000"/>
                        <a:gd name="connsiteX38" fmla="*/ 5933 w 10000"/>
                        <a:gd name="connsiteY38" fmla="*/ 9300 h 10000"/>
                        <a:gd name="connsiteX39" fmla="*/ 6089 w 10000"/>
                        <a:gd name="connsiteY39" fmla="*/ 9078 h 10000"/>
                        <a:gd name="connsiteX40" fmla="*/ 6274 w 10000"/>
                        <a:gd name="connsiteY40" fmla="*/ 8778 h 10000"/>
                        <a:gd name="connsiteX41" fmla="*/ 6389 w 10000"/>
                        <a:gd name="connsiteY41" fmla="*/ 8638 h 10000"/>
                        <a:gd name="connsiteX42" fmla="*/ 6524 w 10000"/>
                        <a:gd name="connsiteY42" fmla="*/ 8582 h 10000"/>
                        <a:gd name="connsiteX43" fmla="*/ 6531 w 10000"/>
                        <a:gd name="connsiteY43" fmla="*/ 8405 h 10000"/>
                        <a:gd name="connsiteX44" fmla="*/ 6572 w 10000"/>
                        <a:gd name="connsiteY44" fmla="*/ 8201 h 10000"/>
                        <a:gd name="connsiteX45" fmla="*/ 6602 w 10000"/>
                        <a:gd name="connsiteY45" fmla="*/ 8014 h 10000"/>
                        <a:gd name="connsiteX46" fmla="*/ 6855 w 10000"/>
                        <a:gd name="connsiteY46" fmla="*/ 7773 h 10000"/>
                        <a:gd name="connsiteX47" fmla="*/ 6893 w 10000"/>
                        <a:gd name="connsiteY47" fmla="*/ 8708 h 10000"/>
                        <a:gd name="connsiteX48" fmla="*/ 7308 w 10000"/>
                        <a:gd name="connsiteY48" fmla="*/ 9034 h 10000"/>
                        <a:gd name="connsiteX49" fmla="*/ 7430 w 10000"/>
                        <a:gd name="connsiteY49" fmla="*/ 8756 h 10000"/>
                        <a:gd name="connsiteX50" fmla="*/ 7470 w 10000"/>
                        <a:gd name="connsiteY50" fmla="*/ 8798 h 10000"/>
                        <a:gd name="connsiteX51" fmla="*/ 7590 w 10000"/>
                        <a:gd name="connsiteY51" fmla="*/ 8541 h 10000"/>
                        <a:gd name="connsiteX52" fmla="*/ 7831 w 10000"/>
                        <a:gd name="connsiteY52" fmla="*/ 8412 h 10000"/>
                        <a:gd name="connsiteX53" fmla="*/ 7952 w 10000"/>
                        <a:gd name="connsiteY53" fmla="*/ 7937 h 10000"/>
                        <a:gd name="connsiteX54" fmla="*/ 8313 w 10000"/>
                        <a:gd name="connsiteY54" fmla="*/ 7377 h 10000"/>
                        <a:gd name="connsiteX55" fmla="*/ 8594 w 10000"/>
                        <a:gd name="connsiteY55" fmla="*/ 7117 h 10000"/>
                        <a:gd name="connsiteX56" fmla="*/ 8795 w 10000"/>
                        <a:gd name="connsiteY56" fmla="*/ 6386 h 10000"/>
                        <a:gd name="connsiteX57" fmla="*/ 8795 w 10000"/>
                        <a:gd name="connsiteY57" fmla="*/ 6213 h 10000"/>
                        <a:gd name="connsiteX58" fmla="*/ 8755 w 10000"/>
                        <a:gd name="connsiteY58" fmla="*/ 5781 h 10000"/>
                        <a:gd name="connsiteX59" fmla="*/ 9157 w 10000"/>
                        <a:gd name="connsiteY59" fmla="*/ 4227 h 10000"/>
                        <a:gd name="connsiteX60" fmla="*/ 9277 w 10000"/>
                        <a:gd name="connsiteY60" fmla="*/ 4227 h 10000"/>
                        <a:gd name="connsiteX61" fmla="*/ 9438 w 10000"/>
                        <a:gd name="connsiteY61" fmla="*/ 4098 h 10000"/>
                        <a:gd name="connsiteX62" fmla="*/ 9920 w 10000"/>
                        <a:gd name="connsiteY62" fmla="*/ 3882 h 10000"/>
                        <a:gd name="connsiteX63" fmla="*/ 10000 w 10000"/>
                        <a:gd name="connsiteY63" fmla="*/ 3537 h 10000"/>
                        <a:gd name="connsiteX64" fmla="*/ 9960 w 10000"/>
                        <a:gd name="connsiteY64" fmla="*/ 3450 h 10000"/>
                        <a:gd name="connsiteX65" fmla="*/ 9799 w 10000"/>
                        <a:gd name="connsiteY65" fmla="*/ 3450 h 10000"/>
                        <a:gd name="connsiteX66" fmla="*/ 9679 w 10000"/>
                        <a:gd name="connsiteY66" fmla="*/ 3235 h 10000"/>
                        <a:gd name="connsiteX67" fmla="*/ 9438 w 10000"/>
                        <a:gd name="connsiteY67" fmla="*/ 3151 h 10000"/>
                        <a:gd name="connsiteX68" fmla="*/ 9317 w 10000"/>
                        <a:gd name="connsiteY68" fmla="*/ 2978 h 10000"/>
                        <a:gd name="connsiteX69" fmla="*/ 9237 w 10000"/>
                        <a:gd name="connsiteY69" fmla="*/ 2331 h 10000"/>
                        <a:gd name="connsiteX70" fmla="*/ 9237 w 10000"/>
                        <a:gd name="connsiteY70" fmla="*/ 1423 h 10000"/>
                        <a:gd name="connsiteX71" fmla="*/ 9036 w 10000"/>
                        <a:gd name="connsiteY71" fmla="*/ 1123 h 10000"/>
                        <a:gd name="connsiteX72" fmla="*/ 8996 w 10000"/>
                        <a:gd name="connsiteY72" fmla="*/ 820 h 10000"/>
                        <a:gd name="connsiteX73" fmla="*/ 8675 w 10000"/>
                        <a:gd name="connsiteY73" fmla="*/ 389 h 10000"/>
                        <a:gd name="connsiteX74" fmla="*/ 8394 w 10000"/>
                        <a:gd name="connsiteY74" fmla="*/ 218 h 10000"/>
                        <a:gd name="connsiteX75" fmla="*/ 8233 w 10000"/>
                        <a:gd name="connsiteY75" fmla="*/ 0 h 10000"/>
                        <a:gd name="connsiteX76" fmla="*/ 7992 w 10000"/>
                        <a:gd name="connsiteY76" fmla="*/ 218 h 10000"/>
                        <a:gd name="connsiteX77" fmla="*/ 7831 w 10000"/>
                        <a:gd name="connsiteY77" fmla="*/ 173 h 10000"/>
                        <a:gd name="connsiteX78" fmla="*/ 7711 w 10000"/>
                        <a:gd name="connsiteY78" fmla="*/ 559 h 10000"/>
                        <a:gd name="connsiteX79" fmla="*/ 7390 w 10000"/>
                        <a:gd name="connsiteY79" fmla="*/ 648 h 10000"/>
                        <a:gd name="connsiteX80" fmla="*/ 7309 w 10000"/>
                        <a:gd name="connsiteY80" fmla="*/ 948 h 10000"/>
                        <a:gd name="connsiteX81" fmla="*/ 7028 w 10000"/>
                        <a:gd name="connsiteY81" fmla="*/ 948 h 10000"/>
                        <a:gd name="connsiteX82" fmla="*/ 6787 w 10000"/>
                        <a:gd name="connsiteY82" fmla="*/ 820 h 10000"/>
                        <a:gd name="connsiteX83" fmla="*/ 6265 w 10000"/>
                        <a:gd name="connsiteY83" fmla="*/ 820 h 10000"/>
                        <a:gd name="connsiteX84" fmla="*/ 5743 w 10000"/>
                        <a:gd name="connsiteY84" fmla="*/ 820 h 10000"/>
                        <a:gd name="connsiteX85" fmla="*/ 5783 w 10000"/>
                        <a:gd name="connsiteY85" fmla="*/ 648 h 10000"/>
                        <a:gd name="connsiteX86" fmla="*/ 5703 w 10000"/>
                        <a:gd name="connsiteY86" fmla="*/ 648 h 10000"/>
                        <a:gd name="connsiteX87" fmla="*/ 5663 w 10000"/>
                        <a:gd name="connsiteY87" fmla="*/ 820 h 10000"/>
                        <a:gd name="connsiteX88" fmla="*/ 5181 w 10000"/>
                        <a:gd name="connsiteY88" fmla="*/ 820 h 10000"/>
                        <a:gd name="connsiteX89" fmla="*/ 4699 w 10000"/>
                        <a:gd name="connsiteY89" fmla="*/ 820 h 10000"/>
                        <a:gd name="connsiteX90" fmla="*/ 4217 w 10000"/>
                        <a:gd name="connsiteY90" fmla="*/ 820 h 10000"/>
                        <a:gd name="connsiteX91" fmla="*/ 3735 w 10000"/>
                        <a:gd name="connsiteY91" fmla="*/ 820 h 10000"/>
                        <a:gd name="connsiteX92" fmla="*/ 3293 w 10000"/>
                        <a:gd name="connsiteY92" fmla="*/ 820 h 10000"/>
                        <a:gd name="connsiteX93" fmla="*/ 2811 w 10000"/>
                        <a:gd name="connsiteY93" fmla="*/ 820 h 10000"/>
                        <a:gd name="connsiteX94" fmla="*/ 2369 w 10000"/>
                        <a:gd name="connsiteY94" fmla="*/ 820 h 10000"/>
                        <a:gd name="connsiteX95" fmla="*/ 1888 w 10000"/>
                        <a:gd name="connsiteY95" fmla="*/ 820 h 10000"/>
                        <a:gd name="connsiteX96" fmla="*/ 1888 w 10000"/>
                        <a:gd name="connsiteY96" fmla="*/ 1423 h 10000"/>
                        <a:gd name="connsiteX97" fmla="*/ 1888 w 10000"/>
                        <a:gd name="connsiteY97" fmla="*/ 2200 h 10000"/>
                        <a:gd name="connsiteX98" fmla="*/ 1285 w 10000"/>
                        <a:gd name="connsiteY98" fmla="*/ 2200 h 10000"/>
                        <a:gd name="connsiteX99" fmla="*/ 1285 w 10000"/>
                        <a:gd name="connsiteY99"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964 w 10000"/>
                        <a:gd name="connsiteY20" fmla="*/ 9879 h 10000"/>
                        <a:gd name="connsiteX21" fmla="*/ 1192 w 10000"/>
                        <a:gd name="connsiteY21" fmla="*/ 10000 h 10000"/>
                        <a:gd name="connsiteX22" fmla="*/ 1439 w 10000"/>
                        <a:gd name="connsiteY22" fmla="*/ 9506 h 10000"/>
                        <a:gd name="connsiteX23" fmla="*/ 1767 w 10000"/>
                        <a:gd name="connsiteY23" fmla="*/ 9426 h 10000"/>
                        <a:gd name="connsiteX24" fmla="*/ 1951 w 10000"/>
                        <a:gd name="connsiteY24" fmla="*/ 9317 h 10000"/>
                        <a:gd name="connsiteX25" fmla="*/ 2025 w 10000"/>
                        <a:gd name="connsiteY25" fmla="*/ 9052 h 10000"/>
                        <a:gd name="connsiteX26" fmla="*/ 2338 w 10000"/>
                        <a:gd name="connsiteY26" fmla="*/ 8966 h 10000"/>
                        <a:gd name="connsiteX27" fmla="*/ 2643 w 10000"/>
                        <a:gd name="connsiteY27" fmla="*/ 9388 h 10000"/>
                        <a:gd name="connsiteX28" fmla="*/ 2911 w 10000"/>
                        <a:gd name="connsiteY28" fmla="*/ 9572 h 10000"/>
                        <a:gd name="connsiteX29" fmla="*/ 3167 w 10000"/>
                        <a:gd name="connsiteY29" fmla="*/ 9539 h 10000"/>
                        <a:gd name="connsiteX30" fmla="*/ 3795 w 10000"/>
                        <a:gd name="connsiteY30" fmla="*/ 9693 h 10000"/>
                        <a:gd name="connsiteX31" fmla="*/ 4153 w 10000"/>
                        <a:gd name="connsiteY31" fmla="*/ 9776 h 10000"/>
                        <a:gd name="connsiteX32" fmla="*/ 4600 w 10000"/>
                        <a:gd name="connsiteY32" fmla="*/ 9556 h 10000"/>
                        <a:gd name="connsiteX33" fmla="*/ 4901 w 10000"/>
                        <a:gd name="connsiteY33" fmla="*/ 9086 h 10000"/>
                        <a:gd name="connsiteX34" fmla="*/ 5337 w 10000"/>
                        <a:gd name="connsiteY34" fmla="*/ 9340 h 10000"/>
                        <a:gd name="connsiteX35" fmla="*/ 5564 w 10000"/>
                        <a:gd name="connsiteY35" fmla="*/ 9506 h 10000"/>
                        <a:gd name="connsiteX36" fmla="*/ 5768 w 10000"/>
                        <a:gd name="connsiteY36" fmla="*/ 9399 h 10000"/>
                        <a:gd name="connsiteX37" fmla="*/ 5933 w 10000"/>
                        <a:gd name="connsiteY37" fmla="*/ 9300 h 10000"/>
                        <a:gd name="connsiteX38" fmla="*/ 6089 w 10000"/>
                        <a:gd name="connsiteY38" fmla="*/ 9078 h 10000"/>
                        <a:gd name="connsiteX39" fmla="*/ 6274 w 10000"/>
                        <a:gd name="connsiteY39" fmla="*/ 8778 h 10000"/>
                        <a:gd name="connsiteX40" fmla="*/ 6389 w 10000"/>
                        <a:gd name="connsiteY40" fmla="*/ 8638 h 10000"/>
                        <a:gd name="connsiteX41" fmla="*/ 6524 w 10000"/>
                        <a:gd name="connsiteY41" fmla="*/ 8582 h 10000"/>
                        <a:gd name="connsiteX42" fmla="*/ 6531 w 10000"/>
                        <a:gd name="connsiteY42" fmla="*/ 8405 h 10000"/>
                        <a:gd name="connsiteX43" fmla="*/ 6572 w 10000"/>
                        <a:gd name="connsiteY43" fmla="*/ 8201 h 10000"/>
                        <a:gd name="connsiteX44" fmla="*/ 6602 w 10000"/>
                        <a:gd name="connsiteY44" fmla="*/ 8014 h 10000"/>
                        <a:gd name="connsiteX45" fmla="*/ 6855 w 10000"/>
                        <a:gd name="connsiteY45" fmla="*/ 7773 h 10000"/>
                        <a:gd name="connsiteX46" fmla="*/ 6893 w 10000"/>
                        <a:gd name="connsiteY46" fmla="*/ 8708 h 10000"/>
                        <a:gd name="connsiteX47" fmla="*/ 7308 w 10000"/>
                        <a:gd name="connsiteY47" fmla="*/ 9034 h 10000"/>
                        <a:gd name="connsiteX48" fmla="*/ 7430 w 10000"/>
                        <a:gd name="connsiteY48" fmla="*/ 8756 h 10000"/>
                        <a:gd name="connsiteX49" fmla="*/ 7470 w 10000"/>
                        <a:gd name="connsiteY49" fmla="*/ 8798 h 10000"/>
                        <a:gd name="connsiteX50" fmla="*/ 7590 w 10000"/>
                        <a:gd name="connsiteY50" fmla="*/ 8541 h 10000"/>
                        <a:gd name="connsiteX51" fmla="*/ 7831 w 10000"/>
                        <a:gd name="connsiteY51" fmla="*/ 8412 h 10000"/>
                        <a:gd name="connsiteX52" fmla="*/ 7952 w 10000"/>
                        <a:gd name="connsiteY52" fmla="*/ 7937 h 10000"/>
                        <a:gd name="connsiteX53" fmla="*/ 8313 w 10000"/>
                        <a:gd name="connsiteY53" fmla="*/ 7377 h 10000"/>
                        <a:gd name="connsiteX54" fmla="*/ 8594 w 10000"/>
                        <a:gd name="connsiteY54" fmla="*/ 7117 h 10000"/>
                        <a:gd name="connsiteX55" fmla="*/ 8795 w 10000"/>
                        <a:gd name="connsiteY55" fmla="*/ 6386 h 10000"/>
                        <a:gd name="connsiteX56" fmla="*/ 8795 w 10000"/>
                        <a:gd name="connsiteY56" fmla="*/ 6213 h 10000"/>
                        <a:gd name="connsiteX57" fmla="*/ 8755 w 10000"/>
                        <a:gd name="connsiteY57" fmla="*/ 5781 h 10000"/>
                        <a:gd name="connsiteX58" fmla="*/ 9157 w 10000"/>
                        <a:gd name="connsiteY58" fmla="*/ 4227 h 10000"/>
                        <a:gd name="connsiteX59" fmla="*/ 9277 w 10000"/>
                        <a:gd name="connsiteY59" fmla="*/ 4227 h 10000"/>
                        <a:gd name="connsiteX60" fmla="*/ 9438 w 10000"/>
                        <a:gd name="connsiteY60" fmla="*/ 4098 h 10000"/>
                        <a:gd name="connsiteX61" fmla="*/ 9920 w 10000"/>
                        <a:gd name="connsiteY61" fmla="*/ 3882 h 10000"/>
                        <a:gd name="connsiteX62" fmla="*/ 10000 w 10000"/>
                        <a:gd name="connsiteY62" fmla="*/ 3537 h 10000"/>
                        <a:gd name="connsiteX63" fmla="*/ 9960 w 10000"/>
                        <a:gd name="connsiteY63" fmla="*/ 3450 h 10000"/>
                        <a:gd name="connsiteX64" fmla="*/ 9799 w 10000"/>
                        <a:gd name="connsiteY64" fmla="*/ 3450 h 10000"/>
                        <a:gd name="connsiteX65" fmla="*/ 9679 w 10000"/>
                        <a:gd name="connsiteY65" fmla="*/ 3235 h 10000"/>
                        <a:gd name="connsiteX66" fmla="*/ 9438 w 10000"/>
                        <a:gd name="connsiteY66" fmla="*/ 3151 h 10000"/>
                        <a:gd name="connsiteX67" fmla="*/ 9317 w 10000"/>
                        <a:gd name="connsiteY67" fmla="*/ 2978 h 10000"/>
                        <a:gd name="connsiteX68" fmla="*/ 9237 w 10000"/>
                        <a:gd name="connsiteY68" fmla="*/ 2331 h 10000"/>
                        <a:gd name="connsiteX69" fmla="*/ 9237 w 10000"/>
                        <a:gd name="connsiteY69" fmla="*/ 1423 h 10000"/>
                        <a:gd name="connsiteX70" fmla="*/ 9036 w 10000"/>
                        <a:gd name="connsiteY70" fmla="*/ 1123 h 10000"/>
                        <a:gd name="connsiteX71" fmla="*/ 8996 w 10000"/>
                        <a:gd name="connsiteY71" fmla="*/ 820 h 10000"/>
                        <a:gd name="connsiteX72" fmla="*/ 8675 w 10000"/>
                        <a:gd name="connsiteY72" fmla="*/ 389 h 10000"/>
                        <a:gd name="connsiteX73" fmla="*/ 8394 w 10000"/>
                        <a:gd name="connsiteY73" fmla="*/ 218 h 10000"/>
                        <a:gd name="connsiteX74" fmla="*/ 8233 w 10000"/>
                        <a:gd name="connsiteY74" fmla="*/ 0 h 10000"/>
                        <a:gd name="connsiteX75" fmla="*/ 7992 w 10000"/>
                        <a:gd name="connsiteY75" fmla="*/ 218 h 10000"/>
                        <a:gd name="connsiteX76" fmla="*/ 7831 w 10000"/>
                        <a:gd name="connsiteY76" fmla="*/ 173 h 10000"/>
                        <a:gd name="connsiteX77" fmla="*/ 7711 w 10000"/>
                        <a:gd name="connsiteY77" fmla="*/ 559 h 10000"/>
                        <a:gd name="connsiteX78" fmla="*/ 7390 w 10000"/>
                        <a:gd name="connsiteY78" fmla="*/ 648 h 10000"/>
                        <a:gd name="connsiteX79" fmla="*/ 7309 w 10000"/>
                        <a:gd name="connsiteY79" fmla="*/ 948 h 10000"/>
                        <a:gd name="connsiteX80" fmla="*/ 7028 w 10000"/>
                        <a:gd name="connsiteY80" fmla="*/ 948 h 10000"/>
                        <a:gd name="connsiteX81" fmla="*/ 6787 w 10000"/>
                        <a:gd name="connsiteY81" fmla="*/ 820 h 10000"/>
                        <a:gd name="connsiteX82" fmla="*/ 6265 w 10000"/>
                        <a:gd name="connsiteY82" fmla="*/ 820 h 10000"/>
                        <a:gd name="connsiteX83" fmla="*/ 5743 w 10000"/>
                        <a:gd name="connsiteY83" fmla="*/ 820 h 10000"/>
                        <a:gd name="connsiteX84" fmla="*/ 5783 w 10000"/>
                        <a:gd name="connsiteY84" fmla="*/ 648 h 10000"/>
                        <a:gd name="connsiteX85" fmla="*/ 5703 w 10000"/>
                        <a:gd name="connsiteY85" fmla="*/ 648 h 10000"/>
                        <a:gd name="connsiteX86" fmla="*/ 5663 w 10000"/>
                        <a:gd name="connsiteY86" fmla="*/ 820 h 10000"/>
                        <a:gd name="connsiteX87" fmla="*/ 5181 w 10000"/>
                        <a:gd name="connsiteY87" fmla="*/ 820 h 10000"/>
                        <a:gd name="connsiteX88" fmla="*/ 4699 w 10000"/>
                        <a:gd name="connsiteY88" fmla="*/ 820 h 10000"/>
                        <a:gd name="connsiteX89" fmla="*/ 4217 w 10000"/>
                        <a:gd name="connsiteY89" fmla="*/ 820 h 10000"/>
                        <a:gd name="connsiteX90" fmla="*/ 3735 w 10000"/>
                        <a:gd name="connsiteY90" fmla="*/ 820 h 10000"/>
                        <a:gd name="connsiteX91" fmla="*/ 3293 w 10000"/>
                        <a:gd name="connsiteY91" fmla="*/ 820 h 10000"/>
                        <a:gd name="connsiteX92" fmla="*/ 2811 w 10000"/>
                        <a:gd name="connsiteY92" fmla="*/ 820 h 10000"/>
                        <a:gd name="connsiteX93" fmla="*/ 2369 w 10000"/>
                        <a:gd name="connsiteY93" fmla="*/ 820 h 10000"/>
                        <a:gd name="connsiteX94" fmla="*/ 1888 w 10000"/>
                        <a:gd name="connsiteY94" fmla="*/ 820 h 10000"/>
                        <a:gd name="connsiteX95" fmla="*/ 1888 w 10000"/>
                        <a:gd name="connsiteY95" fmla="*/ 1423 h 10000"/>
                        <a:gd name="connsiteX96" fmla="*/ 1888 w 10000"/>
                        <a:gd name="connsiteY96" fmla="*/ 2200 h 10000"/>
                        <a:gd name="connsiteX97" fmla="*/ 1285 w 10000"/>
                        <a:gd name="connsiteY97" fmla="*/ 2200 h 10000"/>
                        <a:gd name="connsiteX98" fmla="*/ 1285 w 10000"/>
                        <a:gd name="connsiteY98"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964 w 10000"/>
                        <a:gd name="connsiteY20" fmla="*/ 9879 h 10000"/>
                        <a:gd name="connsiteX21" fmla="*/ 1192 w 10000"/>
                        <a:gd name="connsiteY21" fmla="*/ 10000 h 10000"/>
                        <a:gd name="connsiteX22" fmla="*/ 1767 w 10000"/>
                        <a:gd name="connsiteY22" fmla="*/ 9426 h 10000"/>
                        <a:gd name="connsiteX23" fmla="*/ 1951 w 10000"/>
                        <a:gd name="connsiteY23" fmla="*/ 9317 h 10000"/>
                        <a:gd name="connsiteX24" fmla="*/ 2025 w 10000"/>
                        <a:gd name="connsiteY24" fmla="*/ 9052 h 10000"/>
                        <a:gd name="connsiteX25" fmla="*/ 2338 w 10000"/>
                        <a:gd name="connsiteY25" fmla="*/ 8966 h 10000"/>
                        <a:gd name="connsiteX26" fmla="*/ 2643 w 10000"/>
                        <a:gd name="connsiteY26" fmla="*/ 9388 h 10000"/>
                        <a:gd name="connsiteX27" fmla="*/ 2911 w 10000"/>
                        <a:gd name="connsiteY27" fmla="*/ 9572 h 10000"/>
                        <a:gd name="connsiteX28" fmla="*/ 3167 w 10000"/>
                        <a:gd name="connsiteY28" fmla="*/ 9539 h 10000"/>
                        <a:gd name="connsiteX29" fmla="*/ 3795 w 10000"/>
                        <a:gd name="connsiteY29" fmla="*/ 9693 h 10000"/>
                        <a:gd name="connsiteX30" fmla="*/ 4153 w 10000"/>
                        <a:gd name="connsiteY30" fmla="*/ 9776 h 10000"/>
                        <a:gd name="connsiteX31" fmla="*/ 4600 w 10000"/>
                        <a:gd name="connsiteY31" fmla="*/ 9556 h 10000"/>
                        <a:gd name="connsiteX32" fmla="*/ 4901 w 10000"/>
                        <a:gd name="connsiteY32" fmla="*/ 9086 h 10000"/>
                        <a:gd name="connsiteX33" fmla="*/ 5337 w 10000"/>
                        <a:gd name="connsiteY33" fmla="*/ 9340 h 10000"/>
                        <a:gd name="connsiteX34" fmla="*/ 5564 w 10000"/>
                        <a:gd name="connsiteY34" fmla="*/ 9506 h 10000"/>
                        <a:gd name="connsiteX35" fmla="*/ 5768 w 10000"/>
                        <a:gd name="connsiteY35" fmla="*/ 9399 h 10000"/>
                        <a:gd name="connsiteX36" fmla="*/ 5933 w 10000"/>
                        <a:gd name="connsiteY36" fmla="*/ 9300 h 10000"/>
                        <a:gd name="connsiteX37" fmla="*/ 6089 w 10000"/>
                        <a:gd name="connsiteY37" fmla="*/ 9078 h 10000"/>
                        <a:gd name="connsiteX38" fmla="*/ 6274 w 10000"/>
                        <a:gd name="connsiteY38" fmla="*/ 8778 h 10000"/>
                        <a:gd name="connsiteX39" fmla="*/ 6389 w 10000"/>
                        <a:gd name="connsiteY39" fmla="*/ 8638 h 10000"/>
                        <a:gd name="connsiteX40" fmla="*/ 6524 w 10000"/>
                        <a:gd name="connsiteY40" fmla="*/ 8582 h 10000"/>
                        <a:gd name="connsiteX41" fmla="*/ 6531 w 10000"/>
                        <a:gd name="connsiteY41" fmla="*/ 8405 h 10000"/>
                        <a:gd name="connsiteX42" fmla="*/ 6572 w 10000"/>
                        <a:gd name="connsiteY42" fmla="*/ 8201 h 10000"/>
                        <a:gd name="connsiteX43" fmla="*/ 6602 w 10000"/>
                        <a:gd name="connsiteY43" fmla="*/ 8014 h 10000"/>
                        <a:gd name="connsiteX44" fmla="*/ 6855 w 10000"/>
                        <a:gd name="connsiteY44" fmla="*/ 7773 h 10000"/>
                        <a:gd name="connsiteX45" fmla="*/ 6893 w 10000"/>
                        <a:gd name="connsiteY45" fmla="*/ 8708 h 10000"/>
                        <a:gd name="connsiteX46" fmla="*/ 7308 w 10000"/>
                        <a:gd name="connsiteY46" fmla="*/ 9034 h 10000"/>
                        <a:gd name="connsiteX47" fmla="*/ 7430 w 10000"/>
                        <a:gd name="connsiteY47" fmla="*/ 8756 h 10000"/>
                        <a:gd name="connsiteX48" fmla="*/ 7470 w 10000"/>
                        <a:gd name="connsiteY48" fmla="*/ 8798 h 10000"/>
                        <a:gd name="connsiteX49" fmla="*/ 7590 w 10000"/>
                        <a:gd name="connsiteY49" fmla="*/ 8541 h 10000"/>
                        <a:gd name="connsiteX50" fmla="*/ 7831 w 10000"/>
                        <a:gd name="connsiteY50" fmla="*/ 8412 h 10000"/>
                        <a:gd name="connsiteX51" fmla="*/ 7952 w 10000"/>
                        <a:gd name="connsiteY51" fmla="*/ 7937 h 10000"/>
                        <a:gd name="connsiteX52" fmla="*/ 8313 w 10000"/>
                        <a:gd name="connsiteY52" fmla="*/ 7377 h 10000"/>
                        <a:gd name="connsiteX53" fmla="*/ 8594 w 10000"/>
                        <a:gd name="connsiteY53" fmla="*/ 7117 h 10000"/>
                        <a:gd name="connsiteX54" fmla="*/ 8795 w 10000"/>
                        <a:gd name="connsiteY54" fmla="*/ 6386 h 10000"/>
                        <a:gd name="connsiteX55" fmla="*/ 8795 w 10000"/>
                        <a:gd name="connsiteY55" fmla="*/ 6213 h 10000"/>
                        <a:gd name="connsiteX56" fmla="*/ 8755 w 10000"/>
                        <a:gd name="connsiteY56" fmla="*/ 5781 h 10000"/>
                        <a:gd name="connsiteX57" fmla="*/ 9157 w 10000"/>
                        <a:gd name="connsiteY57" fmla="*/ 4227 h 10000"/>
                        <a:gd name="connsiteX58" fmla="*/ 9277 w 10000"/>
                        <a:gd name="connsiteY58" fmla="*/ 4227 h 10000"/>
                        <a:gd name="connsiteX59" fmla="*/ 9438 w 10000"/>
                        <a:gd name="connsiteY59" fmla="*/ 4098 h 10000"/>
                        <a:gd name="connsiteX60" fmla="*/ 9920 w 10000"/>
                        <a:gd name="connsiteY60" fmla="*/ 3882 h 10000"/>
                        <a:gd name="connsiteX61" fmla="*/ 10000 w 10000"/>
                        <a:gd name="connsiteY61" fmla="*/ 3537 h 10000"/>
                        <a:gd name="connsiteX62" fmla="*/ 9960 w 10000"/>
                        <a:gd name="connsiteY62" fmla="*/ 3450 h 10000"/>
                        <a:gd name="connsiteX63" fmla="*/ 9799 w 10000"/>
                        <a:gd name="connsiteY63" fmla="*/ 3450 h 10000"/>
                        <a:gd name="connsiteX64" fmla="*/ 9679 w 10000"/>
                        <a:gd name="connsiteY64" fmla="*/ 3235 h 10000"/>
                        <a:gd name="connsiteX65" fmla="*/ 9438 w 10000"/>
                        <a:gd name="connsiteY65" fmla="*/ 3151 h 10000"/>
                        <a:gd name="connsiteX66" fmla="*/ 9317 w 10000"/>
                        <a:gd name="connsiteY66" fmla="*/ 2978 h 10000"/>
                        <a:gd name="connsiteX67" fmla="*/ 9237 w 10000"/>
                        <a:gd name="connsiteY67" fmla="*/ 2331 h 10000"/>
                        <a:gd name="connsiteX68" fmla="*/ 9237 w 10000"/>
                        <a:gd name="connsiteY68" fmla="*/ 1423 h 10000"/>
                        <a:gd name="connsiteX69" fmla="*/ 9036 w 10000"/>
                        <a:gd name="connsiteY69" fmla="*/ 1123 h 10000"/>
                        <a:gd name="connsiteX70" fmla="*/ 8996 w 10000"/>
                        <a:gd name="connsiteY70" fmla="*/ 820 h 10000"/>
                        <a:gd name="connsiteX71" fmla="*/ 8675 w 10000"/>
                        <a:gd name="connsiteY71" fmla="*/ 389 h 10000"/>
                        <a:gd name="connsiteX72" fmla="*/ 8394 w 10000"/>
                        <a:gd name="connsiteY72" fmla="*/ 218 h 10000"/>
                        <a:gd name="connsiteX73" fmla="*/ 8233 w 10000"/>
                        <a:gd name="connsiteY73" fmla="*/ 0 h 10000"/>
                        <a:gd name="connsiteX74" fmla="*/ 7992 w 10000"/>
                        <a:gd name="connsiteY74" fmla="*/ 218 h 10000"/>
                        <a:gd name="connsiteX75" fmla="*/ 7831 w 10000"/>
                        <a:gd name="connsiteY75" fmla="*/ 173 h 10000"/>
                        <a:gd name="connsiteX76" fmla="*/ 7711 w 10000"/>
                        <a:gd name="connsiteY76" fmla="*/ 559 h 10000"/>
                        <a:gd name="connsiteX77" fmla="*/ 7390 w 10000"/>
                        <a:gd name="connsiteY77" fmla="*/ 648 h 10000"/>
                        <a:gd name="connsiteX78" fmla="*/ 7309 w 10000"/>
                        <a:gd name="connsiteY78" fmla="*/ 948 h 10000"/>
                        <a:gd name="connsiteX79" fmla="*/ 7028 w 10000"/>
                        <a:gd name="connsiteY79" fmla="*/ 948 h 10000"/>
                        <a:gd name="connsiteX80" fmla="*/ 6787 w 10000"/>
                        <a:gd name="connsiteY80" fmla="*/ 820 h 10000"/>
                        <a:gd name="connsiteX81" fmla="*/ 6265 w 10000"/>
                        <a:gd name="connsiteY81" fmla="*/ 820 h 10000"/>
                        <a:gd name="connsiteX82" fmla="*/ 5743 w 10000"/>
                        <a:gd name="connsiteY82" fmla="*/ 820 h 10000"/>
                        <a:gd name="connsiteX83" fmla="*/ 5783 w 10000"/>
                        <a:gd name="connsiteY83" fmla="*/ 648 h 10000"/>
                        <a:gd name="connsiteX84" fmla="*/ 5703 w 10000"/>
                        <a:gd name="connsiteY84" fmla="*/ 648 h 10000"/>
                        <a:gd name="connsiteX85" fmla="*/ 5663 w 10000"/>
                        <a:gd name="connsiteY85" fmla="*/ 820 h 10000"/>
                        <a:gd name="connsiteX86" fmla="*/ 5181 w 10000"/>
                        <a:gd name="connsiteY86" fmla="*/ 820 h 10000"/>
                        <a:gd name="connsiteX87" fmla="*/ 4699 w 10000"/>
                        <a:gd name="connsiteY87" fmla="*/ 820 h 10000"/>
                        <a:gd name="connsiteX88" fmla="*/ 4217 w 10000"/>
                        <a:gd name="connsiteY88" fmla="*/ 820 h 10000"/>
                        <a:gd name="connsiteX89" fmla="*/ 3735 w 10000"/>
                        <a:gd name="connsiteY89" fmla="*/ 820 h 10000"/>
                        <a:gd name="connsiteX90" fmla="*/ 3293 w 10000"/>
                        <a:gd name="connsiteY90" fmla="*/ 820 h 10000"/>
                        <a:gd name="connsiteX91" fmla="*/ 2811 w 10000"/>
                        <a:gd name="connsiteY91" fmla="*/ 820 h 10000"/>
                        <a:gd name="connsiteX92" fmla="*/ 2369 w 10000"/>
                        <a:gd name="connsiteY92" fmla="*/ 820 h 10000"/>
                        <a:gd name="connsiteX93" fmla="*/ 1888 w 10000"/>
                        <a:gd name="connsiteY93" fmla="*/ 820 h 10000"/>
                        <a:gd name="connsiteX94" fmla="*/ 1888 w 10000"/>
                        <a:gd name="connsiteY94" fmla="*/ 1423 h 10000"/>
                        <a:gd name="connsiteX95" fmla="*/ 1888 w 10000"/>
                        <a:gd name="connsiteY95" fmla="*/ 2200 h 10000"/>
                        <a:gd name="connsiteX96" fmla="*/ 1285 w 10000"/>
                        <a:gd name="connsiteY96" fmla="*/ 2200 h 10000"/>
                        <a:gd name="connsiteX97" fmla="*/ 1285 w 10000"/>
                        <a:gd name="connsiteY97"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964 w 10000"/>
                        <a:gd name="connsiteY20" fmla="*/ 9879 h 10000"/>
                        <a:gd name="connsiteX21" fmla="*/ 1192 w 10000"/>
                        <a:gd name="connsiteY21" fmla="*/ 10000 h 10000"/>
                        <a:gd name="connsiteX22" fmla="*/ 1454 w 10000"/>
                        <a:gd name="connsiteY22" fmla="*/ 9337 h 10000"/>
                        <a:gd name="connsiteX23" fmla="*/ 1951 w 10000"/>
                        <a:gd name="connsiteY23" fmla="*/ 9317 h 10000"/>
                        <a:gd name="connsiteX24" fmla="*/ 2025 w 10000"/>
                        <a:gd name="connsiteY24" fmla="*/ 9052 h 10000"/>
                        <a:gd name="connsiteX25" fmla="*/ 2338 w 10000"/>
                        <a:gd name="connsiteY25" fmla="*/ 8966 h 10000"/>
                        <a:gd name="connsiteX26" fmla="*/ 2643 w 10000"/>
                        <a:gd name="connsiteY26" fmla="*/ 9388 h 10000"/>
                        <a:gd name="connsiteX27" fmla="*/ 2911 w 10000"/>
                        <a:gd name="connsiteY27" fmla="*/ 9572 h 10000"/>
                        <a:gd name="connsiteX28" fmla="*/ 3167 w 10000"/>
                        <a:gd name="connsiteY28" fmla="*/ 9539 h 10000"/>
                        <a:gd name="connsiteX29" fmla="*/ 3795 w 10000"/>
                        <a:gd name="connsiteY29" fmla="*/ 9693 h 10000"/>
                        <a:gd name="connsiteX30" fmla="*/ 4153 w 10000"/>
                        <a:gd name="connsiteY30" fmla="*/ 9776 h 10000"/>
                        <a:gd name="connsiteX31" fmla="*/ 4600 w 10000"/>
                        <a:gd name="connsiteY31" fmla="*/ 9556 h 10000"/>
                        <a:gd name="connsiteX32" fmla="*/ 4901 w 10000"/>
                        <a:gd name="connsiteY32" fmla="*/ 9086 h 10000"/>
                        <a:gd name="connsiteX33" fmla="*/ 5337 w 10000"/>
                        <a:gd name="connsiteY33" fmla="*/ 9340 h 10000"/>
                        <a:gd name="connsiteX34" fmla="*/ 5564 w 10000"/>
                        <a:gd name="connsiteY34" fmla="*/ 9506 h 10000"/>
                        <a:gd name="connsiteX35" fmla="*/ 5768 w 10000"/>
                        <a:gd name="connsiteY35" fmla="*/ 9399 h 10000"/>
                        <a:gd name="connsiteX36" fmla="*/ 5933 w 10000"/>
                        <a:gd name="connsiteY36" fmla="*/ 9300 h 10000"/>
                        <a:gd name="connsiteX37" fmla="*/ 6089 w 10000"/>
                        <a:gd name="connsiteY37" fmla="*/ 9078 h 10000"/>
                        <a:gd name="connsiteX38" fmla="*/ 6274 w 10000"/>
                        <a:gd name="connsiteY38" fmla="*/ 8778 h 10000"/>
                        <a:gd name="connsiteX39" fmla="*/ 6389 w 10000"/>
                        <a:gd name="connsiteY39" fmla="*/ 8638 h 10000"/>
                        <a:gd name="connsiteX40" fmla="*/ 6524 w 10000"/>
                        <a:gd name="connsiteY40" fmla="*/ 8582 h 10000"/>
                        <a:gd name="connsiteX41" fmla="*/ 6531 w 10000"/>
                        <a:gd name="connsiteY41" fmla="*/ 8405 h 10000"/>
                        <a:gd name="connsiteX42" fmla="*/ 6572 w 10000"/>
                        <a:gd name="connsiteY42" fmla="*/ 8201 h 10000"/>
                        <a:gd name="connsiteX43" fmla="*/ 6602 w 10000"/>
                        <a:gd name="connsiteY43" fmla="*/ 8014 h 10000"/>
                        <a:gd name="connsiteX44" fmla="*/ 6855 w 10000"/>
                        <a:gd name="connsiteY44" fmla="*/ 7773 h 10000"/>
                        <a:gd name="connsiteX45" fmla="*/ 6893 w 10000"/>
                        <a:gd name="connsiteY45" fmla="*/ 8708 h 10000"/>
                        <a:gd name="connsiteX46" fmla="*/ 7308 w 10000"/>
                        <a:gd name="connsiteY46" fmla="*/ 9034 h 10000"/>
                        <a:gd name="connsiteX47" fmla="*/ 7430 w 10000"/>
                        <a:gd name="connsiteY47" fmla="*/ 8756 h 10000"/>
                        <a:gd name="connsiteX48" fmla="*/ 7470 w 10000"/>
                        <a:gd name="connsiteY48" fmla="*/ 8798 h 10000"/>
                        <a:gd name="connsiteX49" fmla="*/ 7590 w 10000"/>
                        <a:gd name="connsiteY49" fmla="*/ 8541 h 10000"/>
                        <a:gd name="connsiteX50" fmla="*/ 7831 w 10000"/>
                        <a:gd name="connsiteY50" fmla="*/ 8412 h 10000"/>
                        <a:gd name="connsiteX51" fmla="*/ 7952 w 10000"/>
                        <a:gd name="connsiteY51" fmla="*/ 7937 h 10000"/>
                        <a:gd name="connsiteX52" fmla="*/ 8313 w 10000"/>
                        <a:gd name="connsiteY52" fmla="*/ 7377 h 10000"/>
                        <a:gd name="connsiteX53" fmla="*/ 8594 w 10000"/>
                        <a:gd name="connsiteY53" fmla="*/ 7117 h 10000"/>
                        <a:gd name="connsiteX54" fmla="*/ 8795 w 10000"/>
                        <a:gd name="connsiteY54" fmla="*/ 6386 h 10000"/>
                        <a:gd name="connsiteX55" fmla="*/ 8795 w 10000"/>
                        <a:gd name="connsiteY55" fmla="*/ 6213 h 10000"/>
                        <a:gd name="connsiteX56" fmla="*/ 8755 w 10000"/>
                        <a:gd name="connsiteY56" fmla="*/ 5781 h 10000"/>
                        <a:gd name="connsiteX57" fmla="*/ 9157 w 10000"/>
                        <a:gd name="connsiteY57" fmla="*/ 4227 h 10000"/>
                        <a:gd name="connsiteX58" fmla="*/ 9277 w 10000"/>
                        <a:gd name="connsiteY58" fmla="*/ 4227 h 10000"/>
                        <a:gd name="connsiteX59" fmla="*/ 9438 w 10000"/>
                        <a:gd name="connsiteY59" fmla="*/ 4098 h 10000"/>
                        <a:gd name="connsiteX60" fmla="*/ 9920 w 10000"/>
                        <a:gd name="connsiteY60" fmla="*/ 3882 h 10000"/>
                        <a:gd name="connsiteX61" fmla="*/ 10000 w 10000"/>
                        <a:gd name="connsiteY61" fmla="*/ 3537 h 10000"/>
                        <a:gd name="connsiteX62" fmla="*/ 9960 w 10000"/>
                        <a:gd name="connsiteY62" fmla="*/ 3450 h 10000"/>
                        <a:gd name="connsiteX63" fmla="*/ 9799 w 10000"/>
                        <a:gd name="connsiteY63" fmla="*/ 3450 h 10000"/>
                        <a:gd name="connsiteX64" fmla="*/ 9679 w 10000"/>
                        <a:gd name="connsiteY64" fmla="*/ 3235 h 10000"/>
                        <a:gd name="connsiteX65" fmla="*/ 9438 w 10000"/>
                        <a:gd name="connsiteY65" fmla="*/ 3151 h 10000"/>
                        <a:gd name="connsiteX66" fmla="*/ 9317 w 10000"/>
                        <a:gd name="connsiteY66" fmla="*/ 2978 h 10000"/>
                        <a:gd name="connsiteX67" fmla="*/ 9237 w 10000"/>
                        <a:gd name="connsiteY67" fmla="*/ 2331 h 10000"/>
                        <a:gd name="connsiteX68" fmla="*/ 9237 w 10000"/>
                        <a:gd name="connsiteY68" fmla="*/ 1423 h 10000"/>
                        <a:gd name="connsiteX69" fmla="*/ 9036 w 10000"/>
                        <a:gd name="connsiteY69" fmla="*/ 1123 h 10000"/>
                        <a:gd name="connsiteX70" fmla="*/ 8996 w 10000"/>
                        <a:gd name="connsiteY70" fmla="*/ 820 h 10000"/>
                        <a:gd name="connsiteX71" fmla="*/ 8675 w 10000"/>
                        <a:gd name="connsiteY71" fmla="*/ 389 h 10000"/>
                        <a:gd name="connsiteX72" fmla="*/ 8394 w 10000"/>
                        <a:gd name="connsiteY72" fmla="*/ 218 h 10000"/>
                        <a:gd name="connsiteX73" fmla="*/ 8233 w 10000"/>
                        <a:gd name="connsiteY73" fmla="*/ 0 h 10000"/>
                        <a:gd name="connsiteX74" fmla="*/ 7992 w 10000"/>
                        <a:gd name="connsiteY74" fmla="*/ 218 h 10000"/>
                        <a:gd name="connsiteX75" fmla="*/ 7831 w 10000"/>
                        <a:gd name="connsiteY75" fmla="*/ 173 h 10000"/>
                        <a:gd name="connsiteX76" fmla="*/ 7711 w 10000"/>
                        <a:gd name="connsiteY76" fmla="*/ 559 h 10000"/>
                        <a:gd name="connsiteX77" fmla="*/ 7390 w 10000"/>
                        <a:gd name="connsiteY77" fmla="*/ 648 h 10000"/>
                        <a:gd name="connsiteX78" fmla="*/ 7309 w 10000"/>
                        <a:gd name="connsiteY78" fmla="*/ 948 h 10000"/>
                        <a:gd name="connsiteX79" fmla="*/ 7028 w 10000"/>
                        <a:gd name="connsiteY79" fmla="*/ 948 h 10000"/>
                        <a:gd name="connsiteX80" fmla="*/ 6787 w 10000"/>
                        <a:gd name="connsiteY80" fmla="*/ 820 h 10000"/>
                        <a:gd name="connsiteX81" fmla="*/ 6265 w 10000"/>
                        <a:gd name="connsiteY81" fmla="*/ 820 h 10000"/>
                        <a:gd name="connsiteX82" fmla="*/ 5743 w 10000"/>
                        <a:gd name="connsiteY82" fmla="*/ 820 h 10000"/>
                        <a:gd name="connsiteX83" fmla="*/ 5783 w 10000"/>
                        <a:gd name="connsiteY83" fmla="*/ 648 h 10000"/>
                        <a:gd name="connsiteX84" fmla="*/ 5703 w 10000"/>
                        <a:gd name="connsiteY84" fmla="*/ 648 h 10000"/>
                        <a:gd name="connsiteX85" fmla="*/ 5663 w 10000"/>
                        <a:gd name="connsiteY85" fmla="*/ 820 h 10000"/>
                        <a:gd name="connsiteX86" fmla="*/ 5181 w 10000"/>
                        <a:gd name="connsiteY86" fmla="*/ 820 h 10000"/>
                        <a:gd name="connsiteX87" fmla="*/ 4699 w 10000"/>
                        <a:gd name="connsiteY87" fmla="*/ 820 h 10000"/>
                        <a:gd name="connsiteX88" fmla="*/ 4217 w 10000"/>
                        <a:gd name="connsiteY88" fmla="*/ 820 h 10000"/>
                        <a:gd name="connsiteX89" fmla="*/ 3735 w 10000"/>
                        <a:gd name="connsiteY89" fmla="*/ 820 h 10000"/>
                        <a:gd name="connsiteX90" fmla="*/ 3293 w 10000"/>
                        <a:gd name="connsiteY90" fmla="*/ 820 h 10000"/>
                        <a:gd name="connsiteX91" fmla="*/ 2811 w 10000"/>
                        <a:gd name="connsiteY91" fmla="*/ 820 h 10000"/>
                        <a:gd name="connsiteX92" fmla="*/ 2369 w 10000"/>
                        <a:gd name="connsiteY92" fmla="*/ 820 h 10000"/>
                        <a:gd name="connsiteX93" fmla="*/ 1888 w 10000"/>
                        <a:gd name="connsiteY93" fmla="*/ 820 h 10000"/>
                        <a:gd name="connsiteX94" fmla="*/ 1888 w 10000"/>
                        <a:gd name="connsiteY94" fmla="*/ 1423 h 10000"/>
                        <a:gd name="connsiteX95" fmla="*/ 1888 w 10000"/>
                        <a:gd name="connsiteY95" fmla="*/ 2200 h 10000"/>
                        <a:gd name="connsiteX96" fmla="*/ 1285 w 10000"/>
                        <a:gd name="connsiteY96" fmla="*/ 2200 h 10000"/>
                        <a:gd name="connsiteX97" fmla="*/ 1285 w 10000"/>
                        <a:gd name="connsiteY97"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1178 w 10000"/>
                        <a:gd name="connsiteY20" fmla="*/ 9631 h 10000"/>
                        <a:gd name="connsiteX21" fmla="*/ 1192 w 10000"/>
                        <a:gd name="connsiteY21" fmla="*/ 10000 h 10000"/>
                        <a:gd name="connsiteX22" fmla="*/ 1454 w 10000"/>
                        <a:gd name="connsiteY22" fmla="*/ 9337 h 10000"/>
                        <a:gd name="connsiteX23" fmla="*/ 1951 w 10000"/>
                        <a:gd name="connsiteY23" fmla="*/ 9317 h 10000"/>
                        <a:gd name="connsiteX24" fmla="*/ 2025 w 10000"/>
                        <a:gd name="connsiteY24" fmla="*/ 9052 h 10000"/>
                        <a:gd name="connsiteX25" fmla="*/ 2338 w 10000"/>
                        <a:gd name="connsiteY25" fmla="*/ 8966 h 10000"/>
                        <a:gd name="connsiteX26" fmla="*/ 2643 w 10000"/>
                        <a:gd name="connsiteY26" fmla="*/ 9388 h 10000"/>
                        <a:gd name="connsiteX27" fmla="*/ 2911 w 10000"/>
                        <a:gd name="connsiteY27" fmla="*/ 9572 h 10000"/>
                        <a:gd name="connsiteX28" fmla="*/ 3167 w 10000"/>
                        <a:gd name="connsiteY28" fmla="*/ 9539 h 10000"/>
                        <a:gd name="connsiteX29" fmla="*/ 3795 w 10000"/>
                        <a:gd name="connsiteY29" fmla="*/ 9693 h 10000"/>
                        <a:gd name="connsiteX30" fmla="*/ 4153 w 10000"/>
                        <a:gd name="connsiteY30" fmla="*/ 9776 h 10000"/>
                        <a:gd name="connsiteX31" fmla="*/ 4600 w 10000"/>
                        <a:gd name="connsiteY31" fmla="*/ 9556 h 10000"/>
                        <a:gd name="connsiteX32" fmla="*/ 4901 w 10000"/>
                        <a:gd name="connsiteY32" fmla="*/ 9086 h 10000"/>
                        <a:gd name="connsiteX33" fmla="*/ 5337 w 10000"/>
                        <a:gd name="connsiteY33" fmla="*/ 9340 h 10000"/>
                        <a:gd name="connsiteX34" fmla="*/ 5564 w 10000"/>
                        <a:gd name="connsiteY34" fmla="*/ 9506 h 10000"/>
                        <a:gd name="connsiteX35" fmla="*/ 5768 w 10000"/>
                        <a:gd name="connsiteY35" fmla="*/ 9399 h 10000"/>
                        <a:gd name="connsiteX36" fmla="*/ 5933 w 10000"/>
                        <a:gd name="connsiteY36" fmla="*/ 9300 h 10000"/>
                        <a:gd name="connsiteX37" fmla="*/ 6089 w 10000"/>
                        <a:gd name="connsiteY37" fmla="*/ 9078 h 10000"/>
                        <a:gd name="connsiteX38" fmla="*/ 6274 w 10000"/>
                        <a:gd name="connsiteY38" fmla="*/ 8778 h 10000"/>
                        <a:gd name="connsiteX39" fmla="*/ 6389 w 10000"/>
                        <a:gd name="connsiteY39" fmla="*/ 8638 h 10000"/>
                        <a:gd name="connsiteX40" fmla="*/ 6524 w 10000"/>
                        <a:gd name="connsiteY40" fmla="*/ 8582 h 10000"/>
                        <a:gd name="connsiteX41" fmla="*/ 6531 w 10000"/>
                        <a:gd name="connsiteY41" fmla="*/ 8405 h 10000"/>
                        <a:gd name="connsiteX42" fmla="*/ 6572 w 10000"/>
                        <a:gd name="connsiteY42" fmla="*/ 8201 h 10000"/>
                        <a:gd name="connsiteX43" fmla="*/ 6602 w 10000"/>
                        <a:gd name="connsiteY43" fmla="*/ 8014 h 10000"/>
                        <a:gd name="connsiteX44" fmla="*/ 6855 w 10000"/>
                        <a:gd name="connsiteY44" fmla="*/ 7773 h 10000"/>
                        <a:gd name="connsiteX45" fmla="*/ 6893 w 10000"/>
                        <a:gd name="connsiteY45" fmla="*/ 8708 h 10000"/>
                        <a:gd name="connsiteX46" fmla="*/ 7308 w 10000"/>
                        <a:gd name="connsiteY46" fmla="*/ 9034 h 10000"/>
                        <a:gd name="connsiteX47" fmla="*/ 7430 w 10000"/>
                        <a:gd name="connsiteY47" fmla="*/ 8756 h 10000"/>
                        <a:gd name="connsiteX48" fmla="*/ 7470 w 10000"/>
                        <a:gd name="connsiteY48" fmla="*/ 8798 h 10000"/>
                        <a:gd name="connsiteX49" fmla="*/ 7590 w 10000"/>
                        <a:gd name="connsiteY49" fmla="*/ 8541 h 10000"/>
                        <a:gd name="connsiteX50" fmla="*/ 7831 w 10000"/>
                        <a:gd name="connsiteY50" fmla="*/ 8412 h 10000"/>
                        <a:gd name="connsiteX51" fmla="*/ 7952 w 10000"/>
                        <a:gd name="connsiteY51" fmla="*/ 7937 h 10000"/>
                        <a:gd name="connsiteX52" fmla="*/ 8313 w 10000"/>
                        <a:gd name="connsiteY52" fmla="*/ 7377 h 10000"/>
                        <a:gd name="connsiteX53" fmla="*/ 8594 w 10000"/>
                        <a:gd name="connsiteY53" fmla="*/ 7117 h 10000"/>
                        <a:gd name="connsiteX54" fmla="*/ 8795 w 10000"/>
                        <a:gd name="connsiteY54" fmla="*/ 6386 h 10000"/>
                        <a:gd name="connsiteX55" fmla="*/ 8795 w 10000"/>
                        <a:gd name="connsiteY55" fmla="*/ 6213 h 10000"/>
                        <a:gd name="connsiteX56" fmla="*/ 8755 w 10000"/>
                        <a:gd name="connsiteY56" fmla="*/ 5781 h 10000"/>
                        <a:gd name="connsiteX57" fmla="*/ 9157 w 10000"/>
                        <a:gd name="connsiteY57" fmla="*/ 4227 h 10000"/>
                        <a:gd name="connsiteX58" fmla="*/ 9277 w 10000"/>
                        <a:gd name="connsiteY58" fmla="*/ 4227 h 10000"/>
                        <a:gd name="connsiteX59" fmla="*/ 9438 w 10000"/>
                        <a:gd name="connsiteY59" fmla="*/ 4098 h 10000"/>
                        <a:gd name="connsiteX60" fmla="*/ 9920 w 10000"/>
                        <a:gd name="connsiteY60" fmla="*/ 3882 h 10000"/>
                        <a:gd name="connsiteX61" fmla="*/ 10000 w 10000"/>
                        <a:gd name="connsiteY61" fmla="*/ 3537 h 10000"/>
                        <a:gd name="connsiteX62" fmla="*/ 9960 w 10000"/>
                        <a:gd name="connsiteY62" fmla="*/ 3450 h 10000"/>
                        <a:gd name="connsiteX63" fmla="*/ 9799 w 10000"/>
                        <a:gd name="connsiteY63" fmla="*/ 3450 h 10000"/>
                        <a:gd name="connsiteX64" fmla="*/ 9679 w 10000"/>
                        <a:gd name="connsiteY64" fmla="*/ 3235 h 10000"/>
                        <a:gd name="connsiteX65" fmla="*/ 9438 w 10000"/>
                        <a:gd name="connsiteY65" fmla="*/ 3151 h 10000"/>
                        <a:gd name="connsiteX66" fmla="*/ 9317 w 10000"/>
                        <a:gd name="connsiteY66" fmla="*/ 2978 h 10000"/>
                        <a:gd name="connsiteX67" fmla="*/ 9237 w 10000"/>
                        <a:gd name="connsiteY67" fmla="*/ 2331 h 10000"/>
                        <a:gd name="connsiteX68" fmla="*/ 9237 w 10000"/>
                        <a:gd name="connsiteY68" fmla="*/ 1423 h 10000"/>
                        <a:gd name="connsiteX69" fmla="*/ 9036 w 10000"/>
                        <a:gd name="connsiteY69" fmla="*/ 1123 h 10000"/>
                        <a:gd name="connsiteX70" fmla="*/ 8996 w 10000"/>
                        <a:gd name="connsiteY70" fmla="*/ 820 h 10000"/>
                        <a:gd name="connsiteX71" fmla="*/ 8675 w 10000"/>
                        <a:gd name="connsiteY71" fmla="*/ 389 h 10000"/>
                        <a:gd name="connsiteX72" fmla="*/ 8394 w 10000"/>
                        <a:gd name="connsiteY72" fmla="*/ 218 h 10000"/>
                        <a:gd name="connsiteX73" fmla="*/ 8233 w 10000"/>
                        <a:gd name="connsiteY73" fmla="*/ 0 h 10000"/>
                        <a:gd name="connsiteX74" fmla="*/ 7992 w 10000"/>
                        <a:gd name="connsiteY74" fmla="*/ 218 h 10000"/>
                        <a:gd name="connsiteX75" fmla="*/ 7831 w 10000"/>
                        <a:gd name="connsiteY75" fmla="*/ 173 h 10000"/>
                        <a:gd name="connsiteX76" fmla="*/ 7711 w 10000"/>
                        <a:gd name="connsiteY76" fmla="*/ 559 h 10000"/>
                        <a:gd name="connsiteX77" fmla="*/ 7390 w 10000"/>
                        <a:gd name="connsiteY77" fmla="*/ 648 h 10000"/>
                        <a:gd name="connsiteX78" fmla="*/ 7309 w 10000"/>
                        <a:gd name="connsiteY78" fmla="*/ 948 h 10000"/>
                        <a:gd name="connsiteX79" fmla="*/ 7028 w 10000"/>
                        <a:gd name="connsiteY79" fmla="*/ 948 h 10000"/>
                        <a:gd name="connsiteX80" fmla="*/ 6787 w 10000"/>
                        <a:gd name="connsiteY80" fmla="*/ 820 h 10000"/>
                        <a:gd name="connsiteX81" fmla="*/ 6265 w 10000"/>
                        <a:gd name="connsiteY81" fmla="*/ 820 h 10000"/>
                        <a:gd name="connsiteX82" fmla="*/ 5743 w 10000"/>
                        <a:gd name="connsiteY82" fmla="*/ 820 h 10000"/>
                        <a:gd name="connsiteX83" fmla="*/ 5783 w 10000"/>
                        <a:gd name="connsiteY83" fmla="*/ 648 h 10000"/>
                        <a:gd name="connsiteX84" fmla="*/ 5703 w 10000"/>
                        <a:gd name="connsiteY84" fmla="*/ 648 h 10000"/>
                        <a:gd name="connsiteX85" fmla="*/ 5663 w 10000"/>
                        <a:gd name="connsiteY85" fmla="*/ 820 h 10000"/>
                        <a:gd name="connsiteX86" fmla="*/ 5181 w 10000"/>
                        <a:gd name="connsiteY86" fmla="*/ 820 h 10000"/>
                        <a:gd name="connsiteX87" fmla="*/ 4699 w 10000"/>
                        <a:gd name="connsiteY87" fmla="*/ 820 h 10000"/>
                        <a:gd name="connsiteX88" fmla="*/ 4217 w 10000"/>
                        <a:gd name="connsiteY88" fmla="*/ 820 h 10000"/>
                        <a:gd name="connsiteX89" fmla="*/ 3735 w 10000"/>
                        <a:gd name="connsiteY89" fmla="*/ 820 h 10000"/>
                        <a:gd name="connsiteX90" fmla="*/ 3293 w 10000"/>
                        <a:gd name="connsiteY90" fmla="*/ 820 h 10000"/>
                        <a:gd name="connsiteX91" fmla="*/ 2811 w 10000"/>
                        <a:gd name="connsiteY91" fmla="*/ 820 h 10000"/>
                        <a:gd name="connsiteX92" fmla="*/ 2369 w 10000"/>
                        <a:gd name="connsiteY92" fmla="*/ 820 h 10000"/>
                        <a:gd name="connsiteX93" fmla="*/ 1888 w 10000"/>
                        <a:gd name="connsiteY93" fmla="*/ 820 h 10000"/>
                        <a:gd name="connsiteX94" fmla="*/ 1888 w 10000"/>
                        <a:gd name="connsiteY94" fmla="*/ 1423 h 10000"/>
                        <a:gd name="connsiteX95" fmla="*/ 1888 w 10000"/>
                        <a:gd name="connsiteY95" fmla="*/ 2200 h 10000"/>
                        <a:gd name="connsiteX96" fmla="*/ 1285 w 10000"/>
                        <a:gd name="connsiteY96" fmla="*/ 2200 h 10000"/>
                        <a:gd name="connsiteX97" fmla="*/ 1285 w 10000"/>
                        <a:gd name="connsiteY97" fmla="*/ 2545 h 10000"/>
                        <a:gd name="connsiteX0" fmla="*/ 1285 w 10000"/>
                        <a:gd name="connsiteY0" fmla="*/ 2545 h 10000"/>
                        <a:gd name="connsiteX1" fmla="*/ 1285 w 10000"/>
                        <a:gd name="connsiteY1" fmla="*/ 3235 h 10000"/>
                        <a:gd name="connsiteX2" fmla="*/ 1285 w 10000"/>
                        <a:gd name="connsiteY2" fmla="*/ 3882 h 10000"/>
                        <a:gd name="connsiteX3" fmla="*/ 1285 w 10000"/>
                        <a:gd name="connsiteY3" fmla="*/ 4530 h 10000"/>
                        <a:gd name="connsiteX4" fmla="*/ 1285 w 10000"/>
                        <a:gd name="connsiteY4" fmla="*/ 5131 h 10000"/>
                        <a:gd name="connsiteX5" fmla="*/ 643 w 10000"/>
                        <a:gd name="connsiteY5" fmla="*/ 5263 h 10000"/>
                        <a:gd name="connsiteX6" fmla="*/ 522 w 10000"/>
                        <a:gd name="connsiteY6" fmla="*/ 5607 h 10000"/>
                        <a:gd name="connsiteX7" fmla="*/ 241 w 10000"/>
                        <a:gd name="connsiteY7" fmla="*/ 6039 h 10000"/>
                        <a:gd name="connsiteX8" fmla="*/ 241 w 10000"/>
                        <a:gd name="connsiteY8" fmla="*/ 6386 h 10000"/>
                        <a:gd name="connsiteX9" fmla="*/ 120 w 10000"/>
                        <a:gd name="connsiteY9" fmla="*/ 6470 h 10000"/>
                        <a:gd name="connsiteX10" fmla="*/ 120 w 10000"/>
                        <a:gd name="connsiteY10" fmla="*/ 6771 h 10000"/>
                        <a:gd name="connsiteX11" fmla="*/ 0 w 10000"/>
                        <a:gd name="connsiteY11" fmla="*/ 7033 h 10000"/>
                        <a:gd name="connsiteX12" fmla="*/ 0 w 10000"/>
                        <a:gd name="connsiteY12" fmla="*/ 7246 h 10000"/>
                        <a:gd name="connsiteX13" fmla="*/ 241 w 10000"/>
                        <a:gd name="connsiteY13" fmla="*/ 7204 h 10000"/>
                        <a:gd name="connsiteX14" fmla="*/ 281 w 10000"/>
                        <a:gd name="connsiteY14" fmla="*/ 7590 h 10000"/>
                        <a:gd name="connsiteX15" fmla="*/ 602 w 10000"/>
                        <a:gd name="connsiteY15" fmla="*/ 8284 h 10000"/>
                        <a:gd name="connsiteX16" fmla="*/ 602 w 10000"/>
                        <a:gd name="connsiteY16" fmla="*/ 8326 h 10000"/>
                        <a:gd name="connsiteX17" fmla="*/ 482 w 10000"/>
                        <a:gd name="connsiteY17" fmla="*/ 8368 h 10000"/>
                        <a:gd name="connsiteX18" fmla="*/ 964 w 10000"/>
                        <a:gd name="connsiteY18" fmla="*/ 9058 h 10000"/>
                        <a:gd name="connsiteX19" fmla="*/ 1004 w 10000"/>
                        <a:gd name="connsiteY19" fmla="*/ 9275 h 10000"/>
                        <a:gd name="connsiteX20" fmla="*/ 1178 w 10000"/>
                        <a:gd name="connsiteY20" fmla="*/ 9631 h 10000"/>
                        <a:gd name="connsiteX21" fmla="*/ 1192 w 10000"/>
                        <a:gd name="connsiteY21" fmla="*/ 10000 h 10000"/>
                        <a:gd name="connsiteX22" fmla="*/ 1652 w 10000"/>
                        <a:gd name="connsiteY22" fmla="*/ 9372 h 10000"/>
                        <a:gd name="connsiteX23" fmla="*/ 1951 w 10000"/>
                        <a:gd name="connsiteY23" fmla="*/ 9317 h 10000"/>
                        <a:gd name="connsiteX24" fmla="*/ 2025 w 10000"/>
                        <a:gd name="connsiteY24" fmla="*/ 9052 h 10000"/>
                        <a:gd name="connsiteX25" fmla="*/ 2338 w 10000"/>
                        <a:gd name="connsiteY25" fmla="*/ 8966 h 10000"/>
                        <a:gd name="connsiteX26" fmla="*/ 2643 w 10000"/>
                        <a:gd name="connsiteY26" fmla="*/ 9388 h 10000"/>
                        <a:gd name="connsiteX27" fmla="*/ 2911 w 10000"/>
                        <a:gd name="connsiteY27" fmla="*/ 9572 h 10000"/>
                        <a:gd name="connsiteX28" fmla="*/ 3167 w 10000"/>
                        <a:gd name="connsiteY28" fmla="*/ 9539 h 10000"/>
                        <a:gd name="connsiteX29" fmla="*/ 3795 w 10000"/>
                        <a:gd name="connsiteY29" fmla="*/ 9693 h 10000"/>
                        <a:gd name="connsiteX30" fmla="*/ 4153 w 10000"/>
                        <a:gd name="connsiteY30" fmla="*/ 9776 h 10000"/>
                        <a:gd name="connsiteX31" fmla="*/ 4600 w 10000"/>
                        <a:gd name="connsiteY31" fmla="*/ 9556 h 10000"/>
                        <a:gd name="connsiteX32" fmla="*/ 4901 w 10000"/>
                        <a:gd name="connsiteY32" fmla="*/ 9086 h 10000"/>
                        <a:gd name="connsiteX33" fmla="*/ 5337 w 10000"/>
                        <a:gd name="connsiteY33" fmla="*/ 9340 h 10000"/>
                        <a:gd name="connsiteX34" fmla="*/ 5564 w 10000"/>
                        <a:gd name="connsiteY34" fmla="*/ 9506 h 10000"/>
                        <a:gd name="connsiteX35" fmla="*/ 5768 w 10000"/>
                        <a:gd name="connsiteY35" fmla="*/ 9399 h 10000"/>
                        <a:gd name="connsiteX36" fmla="*/ 5933 w 10000"/>
                        <a:gd name="connsiteY36" fmla="*/ 9300 h 10000"/>
                        <a:gd name="connsiteX37" fmla="*/ 6089 w 10000"/>
                        <a:gd name="connsiteY37" fmla="*/ 9078 h 10000"/>
                        <a:gd name="connsiteX38" fmla="*/ 6274 w 10000"/>
                        <a:gd name="connsiteY38" fmla="*/ 8778 h 10000"/>
                        <a:gd name="connsiteX39" fmla="*/ 6389 w 10000"/>
                        <a:gd name="connsiteY39" fmla="*/ 8638 h 10000"/>
                        <a:gd name="connsiteX40" fmla="*/ 6524 w 10000"/>
                        <a:gd name="connsiteY40" fmla="*/ 8582 h 10000"/>
                        <a:gd name="connsiteX41" fmla="*/ 6531 w 10000"/>
                        <a:gd name="connsiteY41" fmla="*/ 8405 h 10000"/>
                        <a:gd name="connsiteX42" fmla="*/ 6572 w 10000"/>
                        <a:gd name="connsiteY42" fmla="*/ 8201 h 10000"/>
                        <a:gd name="connsiteX43" fmla="*/ 6602 w 10000"/>
                        <a:gd name="connsiteY43" fmla="*/ 8014 h 10000"/>
                        <a:gd name="connsiteX44" fmla="*/ 6855 w 10000"/>
                        <a:gd name="connsiteY44" fmla="*/ 7773 h 10000"/>
                        <a:gd name="connsiteX45" fmla="*/ 6893 w 10000"/>
                        <a:gd name="connsiteY45" fmla="*/ 8708 h 10000"/>
                        <a:gd name="connsiteX46" fmla="*/ 7308 w 10000"/>
                        <a:gd name="connsiteY46" fmla="*/ 9034 h 10000"/>
                        <a:gd name="connsiteX47" fmla="*/ 7430 w 10000"/>
                        <a:gd name="connsiteY47" fmla="*/ 8756 h 10000"/>
                        <a:gd name="connsiteX48" fmla="*/ 7470 w 10000"/>
                        <a:gd name="connsiteY48" fmla="*/ 8798 h 10000"/>
                        <a:gd name="connsiteX49" fmla="*/ 7590 w 10000"/>
                        <a:gd name="connsiteY49" fmla="*/ 8541 h 10000"/>
                        <a:gd name="connsiteX50" fmla="*/ 7831 w 10000"/>
                        <a:gd name="connsiteY50" fmla="*/ 8412 h 10000"/>
                        <a:gd name="connsiteX51" fmla="*/ 7952 w 10000"/>
                        <a:gd name="connsiteY51" fmla="*/ 7937 h 10000"/>
                        <a:gd name="connsiteX52" fmla="*/ 8313 w 10000"/>
                        <a:gd name="connsiteY52" fmla="*/ 7377 h 10000"/>
                        <a:gd name="connsiteX53" fmla="*/ 8594 w 10000"/>
                        <a:gd name="connsiteY53" fmla="*/ 7117 h 10000"/>
                        <a:gd name="connsiteX54" fmla="*/ 8795 w 10000"/>
                        <a:gd name="connsiteY54" fmla="*/ 6386 h 10000"/>
                        <a:gd name="connsiteX55" fmla="*/ 8795 w 10000"/>
                        <a:gd name="connsiteY55" fmla="*/ 6213 h 10000"/>
                        <a:gd name="connsiteX56" fmla="*/ 8755 w 10000"/>
                        <a:gd name="connsiteY56" fmla="*/ 5781 h 10000"/>
                        <a:gd name="connsiteX57" fmla="*/ 9157 w 10000"/>
                        <a:gd name="connsiteY57" fmla="*/ 4227 h 10000"/>
                        <a:gd name="connsiteX58" fmla="*/ 9277 w 10000"/>
                        <a:gd name="connsiteY58" fmla="*/ 4227 h 10000"/>
                        <a:gd name="connsiteX59" fmla="*/ 9438 w 10000"/>
                        <a:gd name="connsiteY59" fmla="*/ 4098 h 10000"/>
                        <a:gd name="connsiteX60" fmla="*/ 9920 w 10000"/>
                        <a:gd name="connsiteY60" fmla="*/ 3882 h 10000"/>
                        <a:gd name="connsiteX61" fmla="*/ 10000 w 10000"/>
                        <a:gd name="connsiteY61" fmla="*/ 3537 h 10000"/>
                        <a:gd name="connsiteX62" fmla="*/ 9960 w 10000"/>
                        <a:gd name="connsiteY62" fmla="*/ 3450 h 10000"/>
                        <a:gd name="connsiteX63" fmla="*/ 9799 w 10000"/>
                        <a:gd name="connsiteY63" fmla="*/ 3450 h 10000"/>
                        <a:gd name="connsiteX64" fmla="*/ 9679 w 10000"/>
                        <a:gd name="connsiteY64" fmla="*/ 3235 h 10000"/>
                        <a:gd name="connsiteX65" fmla="*/ 9438 w 10000"/>
                        <a:gd name="connsiteY65" fmla="*/ 3151 h 10000"/>
                        <a:gd name="connsiteX66" fmla="*/ 9317 w 10000"/>
                        <a:gd name="connsiteY66" fmla="*/ 2978 h 10000"/>
                        <a:gd name="connsiteX67" fmla="*/ 9237 w 10000"/>
                        <a:gd name="connsiteY67" fmla="*/ 2331 h 10000"/>
                        <a:gd name="connsiteX68" fmla="*/ 9237 w 10000"/>
                        <a:gd name="connsiteY68" fmla="*/ 1423 h 10000"/>
                        <a:gd name="connsiteX69" fmla="*/ 9036 w 10000"/>
                        <a:gd name="connsiteY69" fmla="*/ 1123 h 10000"/>
                        <a:gd name="connsiteX70" fmla="*/ 8996 w 10000"/>
                        <a:gd name="connsiteY70" fmla="*/ 820 h 10000"/>
                        <a:gd name="connsiteX71" fmla="*/ 8675 w 10000"/>
                        <a:gd name="connsiteY71" fmla="*/ 389 h 10000"/>
                        <a:gd name="connsiteX72" fmla="*/ 8394 w 10000"/>
                        <a:gd name="connsiteY72" fmla="*/ 218 h 10000"/>
                        <a:gd name="connsiteX73" fmla="*/ 8233 w 10000"/>
                        <a:gd name="connsiteY73" fmla="*/ 0 h 10000"/>
                        <a:gd name="connsiteX74" fmla="*/ 7992 w 10000"/>
                        <a:gd name="connsiteY74" fmla="*/ 218 h 10000"/>
                        <a:gd name="connsiteX75" fmla="*/ 7831 w 10000"/>
                        <a:gd name="connsiteY75" fmla="*/ 173 h 10000"/>
                        <a:gd name="connsiteX76" fmla="*/ 7711 w 10000"/>
                        <a:gd name="connsiteY76" fmla="*/ 559 h 10000"/>
                        <a:gd name="connsiteX77" fmla="*/ 7390 w 10000"/>
                        <a:gd name="connsiteY77" fmla="*/ 648 h 10000"/>
                        <a:gd name="connsiteX78" fmla="*/ 7309 w 10000"/>
                        <a:gd name="connsiteY78" fmla="*/ 948 h 10000"/>
                        <a:gd name="connsiteX79" fmla="*/ 7028 w 10000"/>
                        <a:gd name="connsiteY79" fmla="*/ 948 h 10000"/>
                        <a:gd name="connsiteX80" fmla="*/ 6787 w 10000"/>
                        <a:gd name="connsiteY80" fmla="*/ 820 h 10000"/>
                        <a:gd name="connsiteX81" fmla="*/ 6265 w 10000"/>
                        <a:gd name="connsiteY81" fmla="*/ 820 h 10000"/>
                        <a:gd name="connsiteX82" fmla="*/ 5743 w 10000"/>
                        <a:gd name="connsiteY82" fmla="*/ 820 h 10000"/>
                        <a:gd name="connsiteX83" fmla="*/ 5783 w 10000"/>
                        <a:gd name="connsiteY83" fmla="*/ 648 h 10000"/>
                        <a:gd name="connsiteX84" fmla="*/ 5703 w 10000"/>
                        <a:gd name="connsiteY84" fmla="*/ 648 h 10000"/>
                        <a:gd name="connsiteX85" fmla="*/ 5663 w 10000"/>
                        <a:gd name="connsiteY85" fmla="*/ 820 h 10000"/>
                        <a:gd name="connsiteX86" fmla="*/ 5181 w 10000"/>
                        <a:gd name="connsiteY86" fmla="*/ 820 h 10000"/>
                        <a:gd name="connsiteX87" fmla="*/ 4699 w 10000"/>
                        <a:gd name="connsiteY87" fmla="*/ 820 h 10000"/>
                        <a:gd name="connsiteX88" fmla="*/ 4217 w 10000"/>
                        <a:gd name="connsiteY88" fmla="*/ 820 h 10000"/>
                        <a:gd name="connsiteX89" fmla="*/ 3735 w 10000"/>
                        <a:gd name="connsiteY89" fmla="*/ 820 h 10000"/>
                        <a:gd name="connsiteX90" fmla="*/ 3293 w 10000"/>
                        <a:gd name="connsiteY90" fmla="*/ 820 h 10000"/>
                        <a:gd name="connsiteX91" fmla="*/ 2811 w 10000"/>
                        <a:gd name="connsiteY91" fmla="*/ 820 h 10000"/>
                        <a:gd name="connsiteX92" fmla="*/ 2369 w 10000"/>
                        <a:gd name="connsiteY92" fmla="*/ 820 h 10000"/>
                        <a:gd name="connsiteX93" fmla="*/ 1888 w 10000"/>
                        <a:gd name="connsiteY93" fmla="*/ 820 h 10000"/>
                        <a:gd name="connsiteX94" fmla="*/ 1888 w 10000"/>
                        <a:gd name="connsiteY94" fmla="*/ 1423 h 10000"/>
                        <a:gd name="connsiteX95" fmla="*/ 1888 w 10000"/>
                        <a:gd name="connsiteY95" fmla="*/ 2200 h 10000"/>
                        <a:gd name="connsiteX96" fmla="*/ 1285 w 10000"/>
                        <a:gd name="connsiteY96" fmla="*/ 2200 h 10000"/>
                        <a:gd name="connsiteX97" fmla="*/ 1285 w 10000"/>
                        <a:gd name="connsiteY97" fmla="*/ 2545 h 10000"/>
                        <a:gd name="connsiteX0" fmla="*/ 1285 w 10000"/>
                        <a:gd name="connsiteY0" fmla="*/ 2545 h 9819"/>
                        <a:gd name="connsiteX1" fmla="*/ 1285 w 10000"/>
                        <a:gd name="connsiteY1" fmla="*/ 3235 h 9819"/>
                        <a:gd name="connsiteX2" fmla="*/ 1285 w 10000"/>
                        <a:gd name="connsiteY2" fmla="*/ 3882 h 9819"/>
                        <a:gd name="connsiteX3" fmla="*/ 1285 w 10000"/>
                        <a:gd name="connsiteY3" fmla="*/ 4530 h 9819"/>
                        <a:gd name="connsiteX4" fmla="*/ 1285 w 10000"/>
                        <a:gd name="connsiteY4" fmla="*/ 5131 h 9819"/>
                        <a:gd name="connsiteX5" fmla="*/ 643 w 10000"/>
                        <a:gd name="connsiteY5" fmla="*/ 5263 h 9819"/>
                        <a:gd name="connsiteX6" fmla="*/ 522 w 10000"/>
                        <a:gd name="connsiteY6" fmla="*/ 5607 h 9819"/>
                        <a:gd name="connsiteX7" fmla="*/ 241 w 10000"/>
                        <a:gd name="connsiteY7" fmla="*/ 6039 h 9819"/>
                        <a:gd name="connsiteX8" fmla="*/ 241 w 10000"/>
                        <a:gd name="connsiteY8" fmla="*/ 6386 h 9819"/>
                        <a:gd name="connsiteX9" fmla="*/ 120 w 10000"/>
                        <a:gd name="connsiteY9" fmla="*/ 6470 h 9819"/>
                        <a:gd name="connsiteX10" fmla="*/ 120 w 10000"/>
                        <a:gd name="connsiteY10" fmla="*/ 6771 h 9819"/>
                        <a:gd name="connsiteX11" fmla="*/ 0 w 10000"/>
                        <a:gd name="connsiteY11" fmla="*/ 7033 h 9819"/>
                        <a:gd name="connsiteX12" fmla="*/ 0 w 10000"/>
                        <a:gd name="connsiteY12" fmla="*/ 7246 h 9819"/>
                        <a:gd name="connsiteX13" fmla="*/ 241 w 10000"/>
                        <a:gd name="connsiteY13" fmla="*/ 7204 h 9819"/>
                        <a:gd name="connsiteX14" fmla="*/ 281 w 10000"/>
                        <a:gd name="connsiteY14" fmla="*/ 7590 h 9819"/>
                        <a:gd name="connsiteX15" fmla="*/ 602 w 10000"/>
                        <a:gd name="connsiteY15" fmla="*/ 8284 h 9819"/>
                        <a:gd name="connsiteX16" fmla="*/ 602 w 10000"/>
                        <a:gd name="connsiteY16" fmla="*/ 8326 h 9819"/>
                        <a:gd name="connsiteX17" fmla="*/ 482 w 10000"/>
                        <a:gd name="connsiteY17" fmla="*/ 8368 h 9819"/>
                        <a:gd name="connsiteX18" fmla="*/ 964 w 10000"/>
                        <a:gd name="connsiteY18" fmla="*/ 9058 h 9819"/>
                        <a:gd name="connsiteX19" fmla="*/ 1004 w 10000"/>
                        <a:gd name="connsiteY19" fmla="*/ 9275 h 9819"/>
                        <a:gd name="connsiteX20" fmla="*/ 1178 w 10000"/>
                        <a:gd name="connsiteY20" fmla="*/ 9631 h 9819"/>
                        <a:gd name="connsiteX21" fmla="*/ 1357 w 10000"/>
                        <a:gd name="connsiteY21" fmla="*/ 9433 h 9819"/>
                        <a:gd name="connsiteX22" fmla="*/ 1652 w 10000"/>
                        <a:gd name="connsiteY22" fmla="*/ 9372 h 9819"/>
                        <a:gd name="connsiteX23" fmla="*/ 1951 w 10000"/>
                        <a:gd name="connsiteY23" fmla="*/ 9317 h 9819"/>
                        <a:gd name="connsiteX24" fmla="*/ 2025 w 10000"/>
                        <a:gd name="connsiteY24" fmla="*/ 9052 h 9819"/>
                        <a:gd name="connsiteX25" fmla="*/ 2338 w 10000"/>
                        <a:gd name="connsiteY25" fmla="*/ 8966 h 9819"/>
                        <a:gd name="connsiteX26" fmla="*/ 2643 w 10000"/>
                        <a:gd name="connsiteY26" fmla="*/ 9388 h 9819"/>
                        <a:gd name="connsiteX27" fmla="*/ 2911 w 10000"/>
                        <a:gd name="connsiteY27" fmla="*/ 9572 h 9819"/>
                        <a:gd name="connsiteX28" fmla="*/ 3167 w 10000"/>
                        <a:gd name="connsiteY28" fmla="*/ 9539 h 9819"/>
                        <a:gd name="connsiteX29" fmla="*/ 3795 w 10000"/>
                        <a:gd name="connsiteY29" fmla="*/ 9693 h 9819"/>
                        <a:gd name="connsiteX30" fmla="*/ 4153 w 10000"/>
                        <a:gd name="connsiteY30" fmla="*/ 9776 h 9819"/>
                        <a:gd name="connsiteX31" fmla="*/ 4600 w 10000"/>
                        <a:gd name="connsiteY31" fmla="*/ 9556 h 9819"/>
                        <a:gd name="connsiteX32" fmla="*/ 4901 w 10000"/>
                        <a:gd name="connsiteY32" fmla="*/ 9086 h 9819"/>
                        <a:gd name="connsiteX33" fmla="*/ 5337 w 10000"/>
                        <a:gd name="connsiteY33" fmla="*/ 9340 h 9819"/>
                        <a:gd name="connsiteX34" fmla="*/ 5564 w 10000"/>
                        <a:gd name="connsiteY34" fmla="*/ 9506 h 9819"/>
                        <a:gd name="connsiteX35" fmla="*/ 5768 w 10000"/>
                        <a:gd name="connsiteY35" fmla="*/ 9399 h 9819"/>
                        <a:gd name="connsiteX36" fmla="*/ 5933 w 10000"/>
                        <a:gd name="connsiteY36" fmla="*/ 9300 h 9819"/>
                        <a:gd name="connsiteX37" fmla="*/ 6089 w 10000"/>
                        <a:gd name="connsiteY37" fmla="*/ 9078 h 9819"/>
                        <a:gd name="connsiteX38" fmla="*/ 6274 w 10000"/>
                        <a:gd name="connsiteY38" fmla="*/ 8778 h 9819"/>
                        <a:gd name="connsiteX39" fmla="*/ 6389 w 10000"/>
                        <a:gd name="connsiteY39" fmla="*/ 8638 h 9819"/>
                        <a:gd name="connsiteX40" fmla="*/ 6524 w 10000"/>
                        <a:gd name="connsiteY40" fmla="*/ 8582 h 9819"/>
                        <a:gd name="connsiteX41" fmla="*/ 6531 w 10000"/>
                        <a:gd name="connsiteY41" fmla="*/ 8405 h 9819"/>
                        <a:gd name="connsiteX42" fmla="*/ 6572 w 10000"/>
                        <a:gd name="connsiteY42" fmla="*/ 8201 h 9819"/>
                        <a:gd name="connsiteX43" fmla="*/ 6602 w 10000"/>
                        <a:gd name="connsiteY43" fmla="*/ 8014 h 9819"/>
                        <a:gd name="connsiteX44" fmla="*/ 6855 w 10000"/>
                        <a:gd name="connsiteY44" fmla="*/ 7773 h 9819"/>
                        <a:gd name="connsiteX45" fmla="*/ 6893 w 10000"/>
                        <a:gd name="connsiteY45" fmla="*/ 8708 h 9819"/>
                        <a:gd name="connsiteX46" fmla="*/ 7308 w 10000"/>
                        <a:gd name="connsiteY46" fmla="*/ 9034 h 9819"/>
                        <a:gd name="connsiteX47" fmla="*/ 7430 w 10000"/>
                        <a:gd name="connsiteY47" fmla="*/ 8756 h 9819"/>
                        <a:gd name="connsiteX48" fmla="*/ 7470 w 10000"/>
                        <a:gd name="connsiteY48" fmla="*/ 8798 h 9819"/>
                        <a:gd name="connsiteX49" fmla="*/ 7590 w 10000"/>
                        <a:gd name="connsiteY49" fmla="*/ 8541 h 9819"/>
                        <a:gd name="connsiteX50" fmla="*/ 7831 w 10000"/>
                        <a:gd name="connsiteY50" fmla="*/ 8412 h 9819"/>
                        <a:gd name="connsiteX51" fmla="*/ 7952 w 10000"/>
                        <a:gd name="connsiteY51" fmla="*/ 7937 h 9819"/>
                        <a:gd name="connsiteX52" fmla="*/ 8313 w 10000"/>
                        <a:gd name="connsiteY52" fmla="*/ 7377 h 9819"/>
                        <a:gd name="connsiteX53" fmla="*/ 8594 w 10000"/>
                        <a:gd name="connsiteY53" fmla="*/ 7117 h 9819"/>
                        <a:gd name="connsiteX54" fmla="*/ 8795 w 10000"/>
                        <a:gd name="connsiteY54" fmla="*/ 6386 h 9819"/>
                        <a:gd name="connsiteX55" fmla="*/ 8795 w 10000"/>
                        <a:gd name="connsiteY55" fmla="*/ 6213 h 9819"/>
                        <a:gd name="connsiteX56" fmla="*/ 8755 w 10000"/>
                        <a:gd name="connsiteY56" fmla="*/ 5781 h 9819"/>
                        <a:gd name="connsiteX57" fmla="*/ 9157 w 10000"/>
                        <a:gd name="connsiteY57" fmla="*/ 4227 h 9819"/>
                        <a:gd name="connsiteX58" fmla="*/ 9277 w 10000"/>
                        <a:gd name="connsiteY58" fmla="*/ 4227 h 9819"/>
                        <a:gd name="connsiteX59" fmla="*/ 9438 w 10000"/>
                        <a:gd name="connsiteY59" fmla="*/ 4098 h 9819"/>
                        <a:gd name="connsiteX60" fmla="*/ 9920 w 10000"/>
                        <a:gd name="connsiteY60" fmla="*/ 3882 h 9819"/>
                        <a:gd name="connsiteX61" fmla="*/ 10000 w 10000"/>
                        <a:gd name="connsiteY61" fmla="*/ 3537 h 9819"/>
                        <a:gd name="connsiteX62" fmla="*/ 9960 w 10000"/>
                        <a:gd name="connsiteY62" fmla="*/ 3450 h 9819"/>
                        <a:gd name="connsiteX63" fmla="*/ 9799 w 10000"/>
                        <a:gd name="connsiteY63" fmla="*/ 3450 h 9819"/>
                        <a:gd name="connsiteX64" fmla="*/ 9679 w 10000"/>
                        <a:gd name="connsiteY64" fmla="*/ 3235 h 9819"/>
                        <a:gd name="connsiteX65" fmla="*/ 9438 w 10000"/>
                        <a:gd name="connsiteY65" fmla="*/ 3151 h 9819"/>
                        <a:gd name="connsiteX66" fmla="*/ 9317 w 10000"/>
                        <a:gd name="connsiteY66" fmla="*/ 2978 h 9819"/>
                        <a:gd name="connsiteX67" fmla="*/ 9237 w 10000"/>
                        <a:gd name="connsiteY67" fmla="*/ 2331 h 9819"/>
                        <a:gd name="connsiteX68" fmla="*/ 9237 w 10000"/>
                        <a:gd name="connsiteY68" fmla="*/ 1423 h 9819"/>
                        <a:gd name="connsiteX69" fmla="*/ 9036 w 10000"/>
                        <a:gd name="connsiteY69" fmla="*/ 1123 h 9819"/>
                        <a:gd name="connsiteX70" fmla="*/ 8996 w 10000"/>
                        <a:gd name="connsiteY70" fmla="*/ 820 h 9819"/>
                        <a:gd name="connsiteX71" fmla="*/ 8675 w 10000"/>
                        <a:gd name="connsiteY71" fmla="*/ 389 h 9819"/>
                        <a:gd name="connsiteX72" fmla="*/ 8394 w 10000"/>
                        <a:gd name="connsiteY72" fmla="*/ 218 h 9819"/>
                        <a:gd name="connsiteX73" fmla="*/ 8233 w 10000"/>
                        <a:gd name="connsiteY73" fmla="*/ 0 h 9819"/>
                        <a:gd name="connsiteX74" fmla="*/ 7992 w 10000"/>
                        <a:gd name="connsiteY74" fmla="*/ 218 h 9819"/>
                        <a:gd name="connsiteX75" fmla="*/ 7831 w 10000"/>
                        <a:gd name="connsiteY75" fmla="*/ 173 h 9819"/>
                        <a:gd name="connsiteX76" fmla="*/ 7711 w 10000"/>
                        <a:gd name="connsiteY76" fmla="*/ 559 h 9819"/>
                        <a:gd name="connsiteX77" fmla="*/ 7390 w 10000"/>
                        <a:gd name="connsiteY77" fmla="*/ 648 h 9819"/>
                        <a:gd name="connsiteX78" fmla="*/ 7309 w 10000"/>
                        <a:gd name="connsiteY78" fmla="*/ 948 h 9819"/>
                        <a:gd name="connsiteX79" fmla="*/ 7028 w 10000"/>
                        <a:gd name="connsiteY79" fmla="*/ 948 h 9819"/>
                        <a:gd name="connsiteX80" fmla="*/ 6787 w 10000"/>
                        <a:gd name="connsiteY80" fmla="*/ 820 h 9819"/>
                        <a:gd name="connsiteX81" fmla="*/ 6265 w 10000"/>
                        <a:gd name="connsiteY81" fmla="*/ 820 h 9819"/>
                        <a:gd name="connsiteX82" fmla="*/ 5743 w 10000"/>
                        <a:gd name="connsiteY82" fmla="*/ 820 h 9819"/>
                        <a:gd name="connsiteX83" fmla="*/ 5783 w 10000"/>
                        <a:gd name="connsiteY83" fmla="*/ 648 h 9819"/>
                        <a:gd name="connsiteX84" fmla="*/ 5703 w 10000"/>
                        <a:gd name="connsiteY84" fmla="*/ 648 h 9819"/>
                        <a:gd name="connsiteX85" fmla="*/ 5663 w 10000"/>
                        <a:gd name="connsiteY85" fmla="*/ 820 h 9819"/>
                        <a:gd name="connsiteX86" fmla="*/ 5181 w 10000"/>
                        <a:gd name="connsiteY86" fmla="*/ 820 h 9819"/>
                        <a:gd name="connsiteX87" fmla="*/ 4699 w 10000"/>
                        <a:gd name="connsiteY87" fmla="*/ 820 h 9819"/>
                        <a:gd name="connsiteX88" fmla="*/ 4217 w 10000"/>
                        <a:gd name="connsiteY88" fmla="*/ 820 h 9819"/>
                        <a:gd name="connsiteX89" fmla="*/ 3735 w 10000"/>
                        <a:gd name="connsiteY89" fmla="*/ 820 h 9819"/>
                        <a:gd name="connsiteX90" fmla="*/ 3293 w 10000"/>
                        <a:gd name="connsiteY90" fmla="*/ 820 h 9819"/>
                        <a:gd name="connsiteX91" fmla="*/ 2811 w 10000"/>
                        <a:gd name="connsiteY91" fmla="*/ 820 h 9819"/>
                        <a:gd name="connsiteX92" fmla="*/ 2369 w 10000"/>
                        <a:gd name="connsiteY92" fmla="*/ 820 h 9819"/>
                        <a:gd name="connsiteX93" fmla="*/ 1888 w 10000"/>
                        <a:gd name="connsiteY93" fmla="*/ 820 h 9819"/>
                        <a:gd name="connsiteX94" fmla="*/ 1888 w 10000"/>
                        <a:gd name="connsiteY94" fmla="*/ 1423 h 9819"/>
                        <a:gd name="connsiteX95" fmla="*/ 1888 w 10000"/>
                        <a:gd name="connsiteY95" fmla="*/ 2200 h 9819"/>
                        <a:gd name="connsiteX96" fmla="*/ 1285 w 10000"/>
                        <a:gd name="connsiteY96" fmla="*/ 2200 h 9819"/>
                        <a:gd name="connsiteX97" fmla="*/ 1285 w 10000"/>
                        <a:gd name="connsiteY97" fmla="*/ 2545 h 9819"/>
                        <a:gd name="connsiteX0" fmla="*/ 1285 w 10000"/>
                        <a:gd name="connsiteY0" fmla="*/ 2592 h 10000"/>
                        <a:gd name="connsiteX1" fmla="*/ 1285 w 10000"/>
                        <a:gd name="connsiteY1" fmla="*/ 3295 h 10000"/>
                        <a:gd name="connsiteX2" fmla="*/ 1285 w 10000"/>
                        <a:gd name="connsiteY2" fmla="*/ 3954 h 10000"/>
                        <a:gd name="connsiteX3" fmla="*/ 1285 w 10000"/>
                        <a:gd name="connsiteY3" fmla="*/ 4614 h 10000"/>
                        <a:gd name="connsiteX4" fmla="*/ 1285 w 10000"/>
                        <a:gd name="connsiteY4" fmla="*/ 5226 h 10000"/>
                        <a:gd name="connsiteX5" fmla="*/ 643 w 10000"/>
                        <a:gd name="connsiteY5" fmla="*/ 5360 h 10000"/>
                        <a:gd name="connsiteX6" fmla="*/ 522 w 10000"/>
                        <a:gd name="connsiteY6" fmla="*/ 5710 h 10000"/>
                        <a:gd name="connsiteX7" fmla="*/ 241 w 10000"/>
                        <a:gd name="connsiteY7" fmla="*/ 6150 h 10000"/>
                        <a:gd name="connsiteX8" fmla="*/ 241 w 10000"/>
                        <a:gd name="connsiteY8" fmla="*/ 6504 h 10000"/>
                        <a:gd name="connsiteX9" fmla="*/ 120 w 10000"/>
                        <a:gd name="connsiteY9" fmla="*/ 6589 h 10000"/>
                        <a:gd name="connsiteX10" fmla="*/ 120 w 10000"/>
                        <a:gd name="connsiteY10" fmla="*/ 6896 h 10000"/>
                        <a:gd name="connsiteX11" fmla="*/ 0 w 10000"/>
                        <a:gd name="connsiteY11" fmla="*/ 7163 h 10000"/>
                        <a:gd name="connsiteX12" fmla="*/ 0 w 10000"/>
                        <a:gd name="connsiteY12" fmla="*/ 7380 h 10000"/>
                        <a:gd name="connsiteX13" fmla="*/ 241 w 10000"/>
                        <a:gd name="connsiteY13" fmla="*/ 7337 h 10000"/>
                        <a:gd name="connsiteX14" fmla="*/ 281 w 10000"/>
                        <a:gd name="connsiteY14" fmla="*/ 7730 h 10000"/>
                        <a:gd name="connsiteX15" fmla="*/ 602 w 10000"/>
                        <a:gd name="connsiteY15" fmla="*/ 8437 h 10000"/>
                        <a:gd name="connsiteX16" fmla="*/ 602 w 10000"/>
                        <a:gd name="connsiteY16" fmla="*/ 8479 h 10000"/>
                        <a:gd name="connsiteX17" fmla="*/ 482 w 10000"/>
                        <a:gd name="connsiteY17" fmla="*/ 8522 h 10000"/>
                        <a:gd name="connsiteX18" fmla="*/ 964 w 10000"/>
                        <a:gd name="connsiteY18" fmla="*/ 9225 h 10000"/>
                        <a:gd name="connsiteX19" fmla="*/ 1004 w 10000"/>
                        <a:gd name="connsiteY19" fmla="*/ 9446 h 10000"/>
                        <a:gd name="connsiteX20" fmla="*/ 1178 w 10000"/>
                        <a:gd name="connsiteY20" fmla="*/ 9809 h 10000"/>
                        <a:gd name="connsiteX21" fmla="*/ 1357 w 10000"/>
                        <a:gd name="connsiteY21" fmla="*/ 9607 h 10000"/>
                        <a:gd name="connsiteX22" fmla="*/ 1652 w 10000"/>
                        <a:gd name="connsiteY22" fmla="*/ 9545 h 10000"/>
                        <a:gd name="connsiteX23" fmla="*/ 1951 w 10000"/>
                        <a:gd name="connsiteY23" fmla="*/ 9489 h 10000"/>
                        <a:gd name="connsiteX24" fmla="*/ 2025 w 10000"/>
                        <a:gd name="connsiteY24" fmla="*/ 9219 h 10000"/>
                        <a:gd name="connsiteX25" fmla="*/ 2338 w 10000"/>
                        <a:gd name="connsiteY25" fmla="*/ 9131 h 10000"/>
                        <a:gd name="connsiteX26" fmla="*/ 2643 w 10000"/>
                        <a:gd name="connsiteY26" fmla="*/ 9561 h 10000"/>
                        <a:gd name="connsiteX27" fmla="*/ 2911 w 10000"/>
                        <a:gd name="connsiteY27" fmla="*/ 9748 h 10000"/>
                        <a:gd name="connsiteX28" fmla="*/ 3167 w 10000"/>
                        <a:gd name="connsiteY28" fmla="*/ 9715 h 10000"/>
                        <a:gd name="connsiteX29" fmla="*/ 3795 w 10000"/>
                        <a:gd name="connsiteY29" fmla="*/ 9872 h 10000"/>
                        <a:gd name="connsiteX30" fmla="*/ 4153 w 10000"/>
                        <a:gd name="connsiteY30" fmla="*/ 9956 h 10000"/>
                        <a:gd name="connsiteX31" fmla="*/ 4682 w 10000"/>
                        <a:gd name="connsiteY31" fmla="*/ 9732 h 10000"/>
                        <a:gd name="connsiteX32" fmla="*/ 4901 w 10000"/>
                        <a:gd name="connsiteY32" fmla="*/ 9253 h 10000"/>
                        <a:gd name="connsiteX33" fmla="*/ 5337 w 10000"/>
                        <a:gd name="connsiteY33" fmla="*/ 9512 h 10000"/>
                        <a:gd name="connsiteX34" fmla="*/ 5564 w 10000"/>
                        <a:gd name="connsiteY34" fmla="*/ 9681 h 10000"/>
                        <a:gd name="connsiteX35" fmla="*/ 5768 w 10000"/>
                        <a:gd name="connsiteY35" fmla="*/ 9572 h 10000"/>
                        <a:gd name="connsiteX36" fmla="*/ 5933 w 10000"/>
                        <a:gd name="connsiteY36" fmla="*/ 9471 h 10000"/>
                        <a:gd name="connsiteX37" fmla="*/ 6089 w 10000"/>
                        <a:gd name="connsiteY37" fmla="*/ 9245 h 10000"/>
                        <a:gd name="connsiteX38" fmla="*/ 6274 w 10000"/>
                        <a:gd name="connsiteY38" fmla="*/ 8940 h 10000"/>
                        <a:gd name="connsiteX39" fmla="*/ 6389 w 10000"/>
                        <a:gd name="connsiteY39" fmla="*/ 8797 h 10000"/>
                        <a:gd name="connsiteX40" fmla="*/ 6524 w 10000"/>
                        <a:gd name="connsiteY40" fmla="*/ 8740 h 10000"/>
                        <a:gd name="connsiteX41" fmla="*/ 6531 w 10000"/>
                        <a:gd name="connsiteY41" fmla="*/ 8560 h 10000"/>
                        <a:gd name="connsiteX42" fmla="*/ 6572 w 10000"/>
                        <a:gd name="connsiteY42" fmla="*/ 8352 h 10000"/>
                        <a:gd name="connsiteX43" fmla="*/ 6602 w 10000"/>
                        <a:gd name="connsiteY43" fmla="*/ 8162 h 10000"/>
                        <a:gd name="connsiteX44" fmla="*/ 6855 w 10000"/>
                        <a:gd name="connsiteY44" fmla="*/ 7916 h 10000"/>
                        <a:gd name="connsiteX45" fmla="*/ 6893 w 10000"/>
                        <a:gd name="connsiteY45" fmla="*/ 8869 h 10000"/>
                        <a:gd name="connsiteX46" fmla="*/ 7308 w 10000"/>
                        <a:gd name="connsiteY46" fmla="*/ 9201 h 10000"/>
                        <a:gd name="connsiteX47" fmla="*/ 7430 w 10000"/>
                        <a:gd name="connsiteY47" fmla="*/ 8917 h 10000"/>
                        <a:gd name="connsiteX48" fmla="*/ 7470 w 10000"/>
                        <a:gd name="connsiteY48" fmla="*/ 8960 h 10000"/>
                        <a:gd name="connsiteX49" fmla="*/ 7590 w 10000"/>
                        <a:gd name="connsiteY49" fmla="*/ 8698 h 10000"/>
                        <a:gd name="connsiteX50" fmla="*/ 7831 w 10000"/>
                        <a:gd name="connsiteY50" fmla="*/ 8567 h 10000"/>
                        <a:gd name="connsiteX51" fmla="*/ 7952 w 10000"/>
                        <a:gd name="connsiteY51" fmla="*/ 8083 h 10000"/>
                        <a:gd name="connsiteX52" fmla="*/ 8313 w 10000"/>
                        <a:gd name="connsiteY52" fmla="*/ 7513 h 10000"/>
                        <a:gd name="connsiteX53" fmla="*/ 8594 w 10000"/>
                        <a:gd name="connsiteY53" fmla="*/ 7248 h 10000"/>
                        <a:gd name="connsiteX54" fmla="*/ 8795 w 10000"/>
                        <a:gd name="connsiteY54" fmla="*/ 6504 h 10000"/>
                        <a:gd name="connsiteX55" fmla="*/ 8795 w 10000"/>
                        <a:gd name="connsiteY55" fmla="*/ 6328 h 10000"/>
                        <a:gd name="connsiteX56" fmla="*/ 8755 w 10000"/>
                        <a:gd name="connsiteY56" fmla="*/ 5888 h 10000"/>
                        <a:gd name="connsiteX57" fmla="*/ 9157 w 10000"/>
                        <a:gd name="connsiteY57" fmla="*/ 4305 h 10000"/>
                        <a:gd name="connsiteX58" fmla="*/ 9277 w 10000"/>
                        <a:gd name="connsiteY58" fmla="*/ 4305 h 10000"/>
                        <a:gd name="connsiteX59" fmla="*/ 9438 w 10000"/>
                        <a:gd name="connsiteY59" fmla="*/ 4174 h 10000"/>
                        <a:gd name="connsiteX60" fmla="*/ 9920 w 10000"/>
                        <a:gd name="connsiteY60" fmla="*/ 3954 h 10000"/>
                        <a:gd name="connsiteX61" fmla="*/ 10000 w 10000"/>
                        <a:gd name="connsiteY61" fmla="*/ 3602 h 10000"/>
                        <a:gd name="connsiteX62" fmla="*/ 9960 w 10000"/>
                        <a:gd name="connsiteY62" fmla="*/ 3514 h 10000"/>
                        <a:gd name="connsiteX63" fmla="*/ 9799 w 10000"/>
                        <a:gd name="connsiteY63" fmla="*/ 3514 h 10000"/>
                        <a:gd name="connsiteX64" fmla="*/ 9679 w 10000"/>
                        <a:gd name="connsiteY64" fmla="*/ 3295 h 10000"/>
                        <a:gd name="connsiteX65" fmla="*/ 9438 w 10000"/>
                        <a:gd name="connsiteY65" fmla="*/ 3209 h 10000"/>
                        <a:gd name="connsiteX66" fmla="*/ 9317 w 10000"/>
                        <a:gd name="connsiteY66" fmla="*/ 3033 h 10000"/>
                        <a:gd name="connsiteX67" fmla="*/ 9237 w 10000"/>
                        <a:gd name="connsiteY67" fmla="*/ 2374 h 10000"/>
                        <a:gd name="connsiteX68" fmla="*/ 9237 w 10000"/>
                        <a:gd name="connsiteY68" fmla="*/ 1449 h 10000"/>
                        <a:gd name="connsiteX69" fmla="*/ 9036 w 10000"/>
                        <a:gd name="connsiteY69" fmla="*/ 1144 h 10000"/>
                        <a:gd name="connsiteX70" fmla="*/ 8996 w 10000"/>
                        <a:gd name="connsiteY70" fmla="*/ 835 h 10000"/>
                        <a:gd name="connsiteX71" fmla="*/ 8675 w 10000"/>
                        <a:gd name="connsiteY71" fmla="*/ 396 h 10000"/>
                        <a:gd name="connsiteX72" fmla="*/ 8394 w 10000"/>
                        <a:gd name="connsiteY72" fmla="*/ 222 h 10000"/>
                        <a:gd name="connsiteX73" fmla="*/ 8233 w 10000"/>
                        <a:gd name="connsiteY73" fmla="*/ 0 h 10000"/>
                        <a:gd name="connsiteX74" fmla="*/ 7992 w 10000"/>
                        <a:gd name="connsiteY74" fmla="*/ 222 h 10000"/>
                        <a:gd name="connsiteX75" fmla="*/ 7831 w 10000"/>
                        <a:gd name="connsiteY75" fmla="*/ 176 h 10000"/>
                        <a:gd name="connsiteX76" fmla="*/ 7711 w 10000"/>
                        <a:gd name="connsiteY76" fmla="*/ 569 h 10000"/>
                        <a:gd name="connsiteX77" fmla="*/ 7390 w 10000"/>
                        <a:gd name="connsiteY77" fmla="*/ 660 h 10000"/>
                        <a:gd name="connsiteX78" fmla="*/ 7309 w 10000"/>
                        <a:gd name="connsiteY78" fmla="*/ 965 h 10000"/>
                        <a:gd name="connsiteX79" fmla="*/ 7028 w 10000"/>
                        <a:gd name="connsiteY79" fmla="*/ 965 h 10000"/>
                        <a:gd name="connsiteX80" fmla="*/ 6787 w 10000"/>
                        <a:gd name="connsiteY80" fmla="*/ 835 h 10000"/>
                        <a:gd name="connsiteX81" fmla="*/ 6265 w 10000"/>
                        <a:gd name="connsiteY81" fmla="*/ 835 h 10000"/>
                        <a:gd name="connsiteX82" fmla="*/ 5743 w 10000"/>
                        <a:gd name="connsiteY82" fmla="*/ 835 h 10000"/>
                        <a:gd name="connsiteX83" fmla="*/ 5783 w 10000"/>
                        <a:gd name="connsiteY83" fmla="*/ 660 h 10000"/>
                        <a:gd name="connsiteX84" fmla="*/ 5703 w 10000"/>
                        <a:gd name="connsiteY84" fmla="*/ 660 h 10000"/>
                        <a:gd name="connsiteX85" fmla="*/ 5663 w 10000"/>
                        <a:gd name="connsiteY85" fmla="*/ 835 h 10000"/>
                        <a:gd name="connsiteX86" fmla="*/ 5181 w 10000"/>
                        <a:gd name="connsiteY86" fmla="*/ 835 h 10000"/>
                        <a:gd name="connsiteX87" fmla="*/ 4699 w 10000"/>
                        <a:gd name="connsiteY87" fmla="*/ 835 h 10000"/>
                        <a:gd name="connsiteX88" fmla="*/ 4217 w 10000"/>
                        <a:gd name="connsiteY88" fmla="*/ 835 h 10000"/>
                        <a:gd name="connsiteX89" fmla="*/ 3735 w 10000"/>
                        <a:gd name="connsiteY89" fmla="*/ 835 h 10000"/>
                        <a:gd name="connsiteX90" fmla="*/ 3293 w 10000"/>
                        <a:gd name="connsiteY90" fmla="*/ 835 h 10000"/>
                        <a:gd name="connsiteX91" fmla="*/ 2811 w 10000"/>
                        <a:gd name="connsiteY91" fmla="*/ 835 h 10000"/>
                        <a:gd name="connsiteX92" fmla="*/ 2369 w 10000"/>
                        <a:gd name="connsiteY92" fmla="*/ 835 h 10000"/>
                        <a:gd name="connsiteX93" fmla="*/ 1888 w 10000"/>
                        <a:gd name="connsiteY93" fmla="*/ 835 h 10000"/>
                        <a:gd name="connsiteX94" fmla="*/ 1888 w 10000"/>
                        <a:gd name="connsiteY94" fmla="*/ 1449 h 10000"/>
                        <a:gd name="connsiteX95" fmla="*/ 1888 w 10000"/>
                        <a:gd name="connsiteY95" fmla="*/ 2241 h 10000"/>
                        <a:gd name="connsiteX96" fmla="*/ 1285 w 10000"/>
                        <a:gd name="connsiteY96" fmla="*/ 2241 h 10000"/>
                        <a:gd name="connsiteX97" fmla="*/ 1285 w 10000"/>
                        <a:gd name="connsiteY97" fmla="*/ 2592 h 10000"/>
                        <a:gd name="connsiteX0" fmla="*/ 1285 w 10000"/>
                        <a:gd name="connsiteY0" fmla="*/ 2592 h 10000"/>
                        <a:gd name="connsiteX1" fmla="*/ 1285 w 10000"/>
                        <a:gd name="connsiteY1" fmla="*/ 3295 h 10000"/>
                        <a:gd name="connsiteX2" fmla="*/ 1285 w 10000"/>
                        <a:gd name="connsiteY2" fmla="*/ 3954 h 10000"/>
                        <a:gd name="connsiteX3" fmla="*/ 1285 w 10000"/>
                        <a:gd name="connsiteY3" fmla="*/ 4614 h 10000"/>
                        <a:gd name="connsiteX4" fmla="*/ 1285 w 10000"/>
                        <a:gd name="connsiteY4" fmla="*/ 5226 h 10000"/>
                        <a:gd name="connsiteX5" fmla="*/ 643 w 10000"/>
                        <a:gd name="connsiteY5" fmla="*/ 5360 h 10000"/>
                        <a:gd name="connsiteX6" fmla="*/ 522 w 10000"/>
                        <a:gd name="connsiteY6" fmla="*/ 5710 h 10000"/>
                        <a:gd name="connsiteX7" fmla="*/ 241 w 10000"/>
                        <a:gd name="connsiteY7" fmla="*/ 6150 h 10000"/>
                        <a:gd name="connsiteX8" fmla="*/ 241 w 10000"/>
                        <a:gd name="connsiteY8" fmla="*/ 6504 h 10000"/>
                        <a:gd name="connsiteX9" fmla="*/ 120 w 10000"/>
                        <a:gd name="connsiteY9" fmla="*/ 6589 h 10000"/>
                        <a:gd name="connsiteX10" fmla="*/ 120 w 10000"/>
                        <a:gd name="connsiteY10" fmla="*/ 6896 h 10000"/>
                        <a:gd name="connsiteX11" fmla="*/ 0 w 10000"/>
                        <a:gd name="connsiteY11" fmla="*/ 7163 h 10000"/>
                        <a:gd name="connsiteX12" fmla="*/ 0 w 10000"/>
                        <a:gd name="connsiteY12" fmla="*/ 7380 h 10000"/>
                        <a:gd name="connsiteX13" fmla="*/ 241 w 10000"/>
                        <a:gd name="connsiteY13" fmla="*/ 7337 h 10000"/>
                        <a:gd name="connsiteX14" fmla="*/ 281 w 10000"/>
                        <a:gd name="connsiteY14" fmla="*/ 7730 h 10000"/>
                        <a:gd name="connsiteX15" fmla="*/ 602 w 10000"/>
                        <a:gd name="connsiteY15" fmla="*/ 8437 h 10000"/>
                        <a:gd name="connsiteX16" fmla="*/ 602 w 10000"/>
                        <a:gd name="connsiteY16" fmla="*/ 8479 h 10000"/>
                        <a:gd name="connsiteX17" fmla="*/ 482 w 10000"/>
                        <a:gd name="connsiteY17" fmla="*/ 8522 h 10000"/>
                        <a:gd name="connsiteX18" fmla="*/ 964 w 10000"/>
                        <a:gd name="connsiteY18" fmla="*/ 9225 h 10000"/>
                        <a:gd name="connsiteX19" fmla="*/ 1004 w 10000"/>
                        <a:gd name="connsiteY19" fmla="*/ 9446 h 10000"/>
                        <a:gd name="connsiteX20" fmla="*/ 1178 w 10000"/>
                        <a:gd name="connsiteY20" fmla="*/ 9809 h 10000"/>
                        <a:gd name="connsiteX21" fmla="*/ 1357 w 10000"/>
                        <a:gd name="connsiteY21" fmla="*/ 9607 h 10000"/>
                        <a:gd name="connsiteX22" fmla="*/ 1652 w 10000"/>
                        <a:gd name="connsiteY22" fmla="*/ 9545 h 10000"/>
                        <a:gd name="connsiteX23" fmla="*/ 1951 w 10000"/>
                        <a:gd name="connsiteY23" fmla="*/ 9489 h 10000"/>
                        <a:gd name="connsiteX24" fmla="*/ 2025 w 10000"/>
                        <a:gd name="connsiteY24" fmla="*/ 9219 h 10000"/>
                        <a:gd name="connsiteX25" fmla="*/ 2338 w 10000"/>
                        <a:gd name="connsiteY25" fmla="*/ 9131 h 10000"/>
                        <a:gd name="connsiteX26" fmla="*/ 2643 w 10000"/>
                        <a:gd name="connsiteY26" fmla="*/ 9561 h 10000"/>
                        <a:gd name="connsiteX27" fmla="*/ 2911 w 10000"/>
                        <a:gd name="connsiteY27" fmla="*/ 9748 h 10000"/>
                        <a:gd name="connsiteX28" fmla="*/ 3167 w 10000"/>
                        <a:gd name="connsiteY28" fmla="*/ 9715 h 10000"/>
                        <a:gd name="connsiteX29" fmla="*/ 3795 w 10000"/>
                        <a:gd name="connsiteY29" fmla="*/ 9872 h 10000"/>
                        <a:gd name="connsiteX30" fmla="*/ 4153 w 10000"/>
                        <a:gd name="connsiteY30" fmla="*/ 9956 h 10000"/>
                        <a:gd name="connsiteX31" fmla="*/ 4682 w 10000"/>
                        <a:gd name="connsiteY31" fmla="*/ 9732 h 10000"/>
                        <a:gd name="connsiteX32" fmla="*/ 4983 w 10000"/>
                        <a:gd name="connsiteY32" fmla="*/ 9289 h 10000"/>
                        <a:gd name="connsiteX33" fmla="*/ 5337 w 10000"/>
                        <a:gd name="connsiteY33" fmla="*/ 9512 h 10000"/>
                        <a:gd name="connsiteX34" fmla="*/ 5564 w 10000"/>
                        <a:gd name="connsiteY34" fmla="*/ 9681 h 10000"/>
                        <a:gd name="connsiteX35" fmla="*/ 5768 w 10000"/>
                        <a:gd name="connsiteY35" fmla="*/ 9572 h 10000"/>
                        <a:gd name="connsiteX36" fmla="*/ 5933 w 10000"/>
                        <a:gd name="connsiteY36" fmla="*/ 9471 h 10000"/>
                        <a:gd name="connsiteX37" fmla="*/ 6089 w 10000"/>
                        <a:gd name="connsiteY37" fmla="*/ 9245 h 10000"/>
                        <a:gd name="connsiteX38" fmla="*/ 6274 w 10000"/>
                        <a:gd name="connsiteY38" fmla="*/ 8940 h 10000"/>
                        <a:gd name="connsiteX39" fmla="*/ 6389 w 10000"/>
                        <a:gd name="connsiteY39" fmla="*/ 8797 h 10000"/>
                        <a:gd name="connsiteX40" fmla="*/ 6524 w 10000"/>
                        <a:gd name="connsiteY40" fmla="*/ 8740 h 10000"/>
                        <a:gd name="connsiteX41" fmla="*/ 6531 w 10000"/>
                        <a:gd name="connsiteY41" fmla="*/ 8560 h 10000"/>
                        <a:gd name="connsiteX42" fmla="*/ 6572 w 10000"/>
                        <a:gd name="connsiteY42" fmla="*/ 8352 h 10000"/>
                        <a:gd name="connsiteX43" fmla="*/ 6602 w 10000"/>
                        <a:gd name="connsiteY43" fmla="*/ 8162 h 10000"/>
                        <a:gd name="connsiteX44" fmla="*/ 6855 w 10000"/>
                        <a:gd name="connsiteY44" fmla="*/ 7916 h 10000"/>
                        <a:gd name="connsiteX45" fmla="*/ 6893 w 10000"/>
                        <a:gd name="connsiteY45" fmla="*/ 8869 h 10000"/>
                        <a:gd name="connsiteX46" fmla="*/ 7308 w 10000"/>
                        <a:gd name="connsiteY46" fmla="*/ 9201 h 10000"/>
                        <a:gd name="connsiteX47" fmla="*/ 7430 w 10000"/>
                        <a:gd name="connsiteY47" fmla="*/ 8917 h 10000"/>
                        <a:gd name="connsiteX48" fmla="*/ 7470 w 10000"/>
                        <a:gd name="connsiteY48" fmla="*/ 8960 h 10000"/>
                        <a:gd name="connsiteX49" fmla="*/ 7590 w 10000"/>
                        <a:gd name="connsiteY49" fmla="*/ 8698 h 10000"/>
                        <a:gd name="connsiteX50" fmla="*/ 7831 w 10000"/>
                        <a:gd name="connsiteY50" fmla="*/ 8567 h 10000"/>
                        <a:gd name="connsiteX51" fmla="*/ 7952 w 10000"/>
                        <a:gd name="connsiteY51" fmla="*/ 8083 h 10000"/>
                        <a:gd name="connsiteX52" fmla="*/ 8313 w 10000"/>
                        <a:gd name="connsiteY52" fmla="*/ 7513 h 10000"/>
                        <a:gd name="connsiteX53" fmla="*/ 8594 w 10000"/>
                        <a:gd name="connsiteY53" fmla="*/ 7248 h 10000"/>
                        <a:gd name="connsiteX54" fmla="*/ 8795 w 10000"/>
                        <a:gd name="connsiteY54" fmla="*/ 6504 h 10000"/>
                        <a:gd name="connsiteX55" fmla="*/ 8795 w 10000"/>
                        <a:gd name="connsiteY55" fmla="*/ 6328 h 10000"/>
                        <a:gd name="connsiteX56" fmla="*/ 8755 w 10000"/>
                        <a:gd name="connsiteY56" fmla="*/ 5888 h 10000"/>
                        <a:gd name="connsiteX57" fmla="*/ 9157 w 10000"/>
                        <a:gd name="connsiteY57" fmla="*/ 4305 h 10000"/>
                        <a:gd name="connsiteX58" fmla="*/ 9277 w 10000"/>
                        <a:gd name="connsiteY58" fmla="*/ 4305 h 10000"/>
                        <a:gd name="connsiteX59" fmla="*/ 9438 w 10000"/>
                        <a:gd name="connsiteY59" fmla="*/ 4174 h 10000"/>
                        <a:gd name="connsiteX60" fmla="*/ 9920 w 10000"/>
                        <a:gd name="connsiteY60" fmla="*/ 3954 h 10000"/>
                        <a:gd name="connsiteX61" fmla="*/ 10000 w 10000"/>
                        <a:gd name="connsiteY61" fmla="*/ 3602 h 10000"/>
                        <a:gd name="connsiteX62" fmla="*/ 9960 w 10000"/>
                        <a:gd name="connsiteY62" fmla="*/ 3514 h 10000"/>
                        <a:gd name="connsiteX63" fmla="*/ 9799 w 10000"/>
                        <a:gd name="connsiteY63" fmla="*/ 3514 h 10000"/>
                        <a:gd name="connsiteX64" fmla="*/ 9679 w 10000"/>
                        <a:gd name="connsiteY64" fmla="*/ 3295 h 10000"/>
                        <a:gd name="connsiteX65" fmla="*/ 9438 w 10000"/>
                        <a:gd name="connsiteY65" fmla="*/ 3209 h 10000"/>
                        <a:gd name="connsiteX66" fmla="*/ 9317 w 10000"/>
                        <a:gd name="connsiteY66" fmla="*/ 3033 h 10000"/>
                        <a:gd name="connsiteX67" fmla="*/ 9237 w 10000"/>
                        <a:gd name="connsiteY67" fmla="*/ 2374 h 10000"/>
                        <a:gd name="connsiteX68" fmla="*/ 9237 w 10000"/>
                        <a:gd name="connsiteY68" fmla="*/ 1449 h 10000"/>
                        <a:gd name="connsiteX69" fmla="*/ 9036 w 10000"/>
                        <a:gd name="connsiteY69" fmla="*/ 1144 h 10000"/>
                        <a:gd name="connsiteX70" fmla="*/ 8996 w 10000"/>
                        <a:gd name="connsiteY70" fmla="*/ 835 h 10000"/>
                        <a:gd name="connsiteX71" fmla="*/ 8675 w 10000"/>
                        <a:gd name="connsiteY71" fmla="*/ 396 h 10000"/>
                        <a:gd name="connsiteX72" fmla="*/ 8394 w 10000"/>
                        <a:gd name="connsiteY72" fmla="*/ 222 h 10000"/>
                        <a:gd name="connsiteX73" fmla="*/ 8233 w 10000"/>
                        <a:gd name="connsiteY73" fmla="*/ 0 h 10000"/>
                        <a:gd name="connsiteX74" fmla="*/ 7992 w 10000"/>
                        <a:gd name="connsiteY74" fmla="*/ 222 h 10000"/>
                        <a:gd name="connsiteX75" fmla="*/ 7831 w 10000"/>
                        <a:gd name="connsiteY75" fmla="*/ 176 h 10000"/>
                        <a:gd name="connsiteX76" fmla="*/ 7711 w 10000"/>
                        <a:gd name="connsiteY76" fmla="*/ 569 h 10000"/>
                        <a:gd name="connsiteX77" fmla="*/ 7390 w 10000"/>
                        <a:gd name="connsiteY77" fmla="*/ 660 h 10000"/>
                        <a:gd name="connsiteX78" fmla="*/ 7309 w 10000"/>
                        <a:gd name="connsiteY78" fmla="*/ 965 h 10000"/>
                        <a:gd name="connsiteX79" fmla="*/ 7028 w 10000"/>
                        <a:gd name="connsiteY79" fmla="*/ 965 h 10000"/>
                        <a:gd name="connsiteX80" fmla="*/ 6787 w 10000"/>
                        <a:gd name="connsiteY80" fmla="*/ 835 h 10000"/>
                        <a:gd name="connsiteX81" fmla="*/ 6265 w 10000"/>
                        <a:gd name="connsiteY81" fmla="*/ 835 h 10000"/>
                        <a:gd name="connsiteX82" fmla="*/ 5743 w 10000"/>
                        <a:gd name="connsiteY82" fmla="*/ 835 h 10000"/>
                        <a:gd name="connsiteX83" fmla="*/ 5783 w 10000"/>
                        <a:gd name="connsiteY83" fmla="*/ 660 h 10000"/>
                        <a:gd name="connsiteX84" fmla="*/ 5703 w 10000"/>
                        <a:gd name="connsiteY84" fmla="*/ 660 h 10000"/>
                        <a:gd name="connsiteX85" fmla="*/ 5663 w 10000"/>
                        <a:gd name="connsiteY85" fmla="*/ 835 h 10000"/>
                        <a:gd name="connsiteX86" fmla="*/ 5181 w 10000"/>
                        <a:gd name="connsiteY86" fmla="*/ 835 h 10000"/>
                        <a:gd name="connsiteX87" fmla="*/ 4699 w 10000"/>
                        <a:gd name="connsiteY87" fmla="*/ 835 h 10000"/>
                        <a:gd name="connsiteX88" fmla="*/ 4217 w 10000"/>
                        <a:gd name="connsiteY88" fmla="*/ 835 h 10000"/>
                        <a:gd name="connsiteX89" fmla="*/ 3735 w 10000"/>
                        <a:gd name="connsiteY89" fmla="*/ 835 h 10000"/>
                        <a:gd name="connsiteX90" fmla="*/ 3293 w 10000"/>
                        <a:gd name="connsiteY90" fmla="*/ 835 h 10000"/>
                        <a:gd name="connsiteX91" fmla="*/ 2811 w 10000"/>
                        <a:gd name="connsiteY91" fmla="*/ 835 h 10000"/>
                        <a:gd name="connsiteX92" fmla="*/ 2369 w 10000"/>
                        <a:gd name="connsiteY92" fmla="*/ 835 h 10000"/>
                        <a:gd name="connsiteX93" fmla="*/ 1888 w 10000"/>
                        <a:gd name="connsiteY93" fmla="*/ 835 h 10000"/>
                        <a:gd name="connsiteX94" fmla="*/ 1888 w 10000"/>
                        <a:gd name="connsiteY94" fmla="*/ 1449 h 10000"/>
                        <a:gd name="connsiteX95" fmla="*/ 1888 w 10000"/>
                        <a:gd name="connsiteY95" fmla="*/ 2241 h 10000"/>
                        <a:gd name="connsiteX96" fmla="*/ 1285 w 10000"/>
                        <a:gd name="connsiteY96" fmla="*/ 2241 h 10000"/>
                        <a:gd name="connsiteX97" fmla="*/ 1285 w 10000"/>
                        <a:gd name="connsiteY97" fmla="*/ 2592 h 10000"/>
                        <a:gd name="connsiteX0" fmla="*/ 1285 w 10000"/>
                        <a:gd name="connsiteY0" fmla="*/ 2592 h 10000"/>
                        <a:gd name="connsiteX1" fmla="*/ 1285 w 10000"/>
                        <a:gd name="connsiteY1" fmla="*/ 3295 h 10000"/>
                        <a:gd name="connsiteX2" fmla="*/ 1285 w 10000"/>
                        <a:gd name="connsiteY2" fmla="*/ 3954 h 10000"/>
                        <a:gd name="connsiteX3" fmla="*/ 1285 w 10000"/>
                        <a:gd name="connsiteY3" fmla="*/ 4614 h 10000"/>
                        <a:gd name="connsiteX4" fmla="*/ 1285 w 10000"/>
                        <a:gd name="connsiteY4" fmla="*/ 5226 h 10000"/>
                        <a:gd name="connsiteX5" fmla="*/ 643 w 10000"/>
                        <a:gd name="connsiteY5" fmla="*/ 5360 h 10000"/>
                        <a:gd name="connsiteX6" fmla="*/ 522 w 10000"/>
                        <a:gd name="connsiteY6" fmla="*/ 5710 h 10000"/>
                        <a:gd name="connsiteX7" fmla="*/ 241 w 10000"/>
                        <a:gd name="connsiteY7" fmla="*/ 6150 h 10000"/>
                        <a:gd name="connsiteX8" fmla="*/ 241 w 10000"/>
                        <a:gd name="connsiteY8" fmla="*/ 6504 h 10000"/>
                        <a:gd name="connsiteX9" fmla="*/ 120 w 10000"/>
                        <a:gd name="connsiteY9" fmla="*/ 6589 h 10000"/>
                        <a:gd name="connsiteX10" fmla="*/ 120 w 10000"/>
                        <a:gd name="connsiteY10" fmla="*/ 6896 h 10000"/>
                        <a:gd name="connsiteX11" fmla="*/ 0 w 10000"/>
                        <a:gd name="connsiteY11" fmla="*/ 7163 h 10000"/>
                        <a:gd name="connsiteX12" fmla="*/ 0 w 10000"/>
                        <a:gd name="connsiteY12" fmla="*/ 7380 h 10000"/>
                        <a:gd name="connsiteX13" fmla="*/ 241 w 10000"/>
                        <a:gd name="connsiteY13" fmla="*/ 7337 h 10000"/>
                        <a:gd name="connsiteX14" fmla="*/ 281 w 10000"/>
                        <a:gd name="connsiteY14" fmla="*/ 7730 h 10000"/>
                        <a:gd name="connsiteX15" fmla="*/ 602 w 10000"/>
                        <a:gd name="connsiteY15" fmla="*/ 8437 h 10000"/>
                        <a:gd name="connsiteX16" fmla="*/ 602 w 10000"/>
                        <a:gd name="connsiteY16" fmla="*/ 8479 h 10000"/>
                        <a:gd name="connsiteX17" fmla="*/ 482 w 10000"/>
                        <a:gd name="connsiteY17" fmla="*/ 8522 h 10000"/>
                        <a:gd name="connsiteX18" fmla="*/ 964 w 10000"/>
                        <a:gd name="connsiteY18" fmla="*/ 9225 h 10000"/>
                        <a:gd name="connsiteX19" fmla="*/ 1004 w 10000"/>
                        <a:gd name="connsiteY19" fmla="*/ 9446 h 10000"/>
                        <a:gd name="connsiteX20" fmla="*/ 1178 w 10000"/>
                        <a:gd name="connsiteY20" fmla="*/ 9809 h 10000"/>
                        <a:gd name="connsiteX21" fmla="*/ 1357 w 10000"/>
                        <a:gd name="connsiteY21" fmla="*/ 9607 h 10000"/>
                        <a:gd name="connsiteX22" fmla="*/ 1652 w 10000"/>
                        <a:gd name="connsiteY22" fmla="*/ 9545 h 10000"/>
                        <a:gd name="connsiteX23" fmla="*/ 1951 w 10000"/>
                        <a:gd name="connsiteY23" fmla="*/ 9489 h 10000"/>
                        <a:gd name="connsiteX24" fmla="*/ 2025 w 10000"/>
                        <a:gd name="connsiteY24" fmla="*/ 9219 h 10000"/>
                        <a:gd name="connsiteX25" fmla="*/ 2338 w 10000"/>
                        <a:gd name="connsiteY25" fmla="*/ 9131 h 10000"/>
                        <a:gd name="connsiteX26" fmla="*/ 2643 w 10000"/>
                        <a:gd name="connsiteY26" fmla="*/ 9561 h 10000"/>
                        <a:gd name="connsiteX27" fmla="*/ 2977 w 10000"/>
                        <a:gd name="connsiteY27" fmla="*/ 9748 h 10000"/>
                        <a:gd name="connsiteX28" fmla="*/ 3167 w 10000"/>
                        <a:gd name="connsiteY28" fmla="*/ 9715 h 10000"/>
                        <a:gd name="connsiteX29" fmla="*/ 3795 w 10000"/>
                        <a:gd name="connsiteY29" fmla="*/ 9872 h 10000"/>
                        <a:gd name="connsiteX30" fmla="*/ 4153 w 10000"/>
                        <a:gd name="connsiteY30" fmla="*/ 9956 h 10000"/>
                        <a:gd name="connsiteX31" fmla="*/ 4682 w 10000"/>
                        <a:gd name="connsiteY31" fmla="*/ 9732 h 10000"/>
                        <a:gd name="connsiteX32" fmla="*/ 4983 w 10000"/>
                        <a:gd name="connsiteY32" fmla="*/ 9289 h 10000"/>
                        <a:gd name="connsiteX33" fmla="*/ 5337 w 10000"/>
                        <a:gd name="connsiteY33" fmla="*/ 9512 h 10000"/>
                        <a:gd name="connsiteX34" fmla="*/ 5564 w 10000"/>
                        <a:gd name="connsiteY34" fmla="*/ 9681 h 10000"/>
                        <a:gd name="connsiteX35" fmla="*/ 5768 w 10000"/>
                        <a:gd name="connsiteY35" fmla="*/ 9572 h 10000"/>
                        <a:gd name="connsiteX36" fmla="*/ 5933 w 10000"/>
                        <a:gd name="connsiteY36" fmla="*/ 9471 h 10000"/>
                        <a:gd name="connsiteX37" fmla="*/ 6089 w 10000"/>
                        <a:gd name="connsiteY37" fmla="*/ 9245 h 10000"/>
                        <a:gd name="connsiteX38" fmla="*/ 6274 w 10000"/>
                        <a:gd name="connsiteY38" fmla="*/ 8940 h 10000"/>
                        <a:gd name="connsiteX39" fmla="*/ 6389 w 10000"/>
                        <a:gd name="connsiteY39" fmla="*/ 8797 h 10000"/>
                        <a:gd name="connsiteX40" fmla="*/ 6524 w 10000"/>
                        <a:gd name="connsiteY40" fmla="*/ 8740 h 10000"/>
                        <a:gd name="connsiteX41" fmla="*/ 6531 w 10000"/>
                        <a:gd name="connsiteY41" fmla="*/ 8560 h 10000"/>
                        <a:gd name="connsiteX42" fmla="*/ 6572 w 10000"/>
                        <a:gd name="connsiteY42" fmla="*/ 8352 h 10000"/>
                        <a:gd name="connsiteX43" fmla="*/ 6602 w 10000"/>
                        <a:gd name="connsiteY43" fmla="*/ 8162 h 10000"/>
                        <a:gd name="connsiteX44" fmla="*/ 6855 w 10000"/>
                        <a:gd name="connsiteY44" fmla="*/ 7916 h 10000"/>
                        <a:gd name="connsiteX45" fmla="*/ 6893 w 10000"/>
                        <a:gd name="connsiteY45" fmla="*/ 8869 h 10000"/>
                        <a:gd name="connsiteX46" fmla="*/ 7308 w 10000"/>
                        <a:gd name="connsiteY46" fmla="*/ 9201 h 10000"/>
                        <a:gd name="connsiteX47" fmla="*/ 7430 w 10000"/>
                        <a:gd name="connsiteY47" fmla="*/ 8917 h 10000"/>
                        <a:gd name="connsiteX48" fmla="*/ 7470 w 10000"/>
                        <a:gd name="connsiteY48" fmla="*/ 8960 h 10000"/>
                        <a:gd name="connsiteX49" fmla="*/ 7590 w 10000"/>
                        <a:gd name="connsiteY49" fmla="*/ 8698 h 10000"/>
                        <a:gd name="connsiteX50" fmla="*/ 7831 w 10000"/>
                        <a:gd name="connsiteY50" fmla="*/ 8567 h 10000"/>
                        <a:gd name="connsiteX51" fmla="*/ 7952 w 10000"/>
                        <a:gd name="connsiteY51" fmla="*/ 8083 h 10000"/>
                        <a:gd name="connsiteX52" fmla="*/ 8313 w 10000"/>
                        <a:gd name="connsiteY52" fmla="*/ 7513 h 10000"/>
                        <a:gd name="connsiteX53" fmla="*/ 8594 w 10000"/>
                        <a:gd name="connsiteY53" fmla="*/ 7248 h 10000"/>
                        <a:gd name="connsiteX54" fmla="*/ 8795 w 10000"/>
                        <a:gd name="connsiteY54" fmla="*/ 6504 h 10000"/>
                        <a:gd name="connsiteX55" fmla="*/ 8795 w 10000"/>
                        <a:gd name="connsiteY55" fmla="*/ 6328 h 10000"/>
                        <a:gd name="connsiteX56" fmla="*/ 8755 w 10000"/>
                        <a:gd name="connsiteY56" fmla="*/ 5888 h 10000"/>
                        <a:gd name="connsiteX57" fmla="*/ 9157 w 10000"/>
                        <a:gd name="connsiteY57" fmla="*/ 4305 h 10000"/>
                        <a:gd name="connsiteX58" fmla="*/ 9277 w 10000"/>
                        <a:gd name="connsiteY58" fmla="*/ 4305 h 10000"/>
                        <a:gd name="connsiteX59" fmla="*/ 9438 w 10000"/>
                        <a:gd name="connsiteY59" fmla="*/ 4174 h 10000"/>
                        <a:gd name="connsiteX60" fmla="*/ 9920 w 10000"/>
                        <a:gd name="connsiteY60" fmla="*/ 3954 h 10000"/>
                        <a:gd name="connsiteX61" fmla="*/ 10000 w 10000"/>
                        <a:gd name="connsiteY61" fmla="*/ 3602 h 10000"/>
                        <a:gd name="connsiteX62" fmla="*/ 9960 w 10000"/>
                        <a:gd name="connsiteY62" fmla="*/ 3514 h 10000"/>
                        <a:gd name="connsiteX63" fmla="*/ 9799 w 10000"/>
                        <a:gd name="connsiteY63" fmla="*/ 3514 h 10000"/>
                        <a:gd name="connsiteX64" fmla="*/ 9679 w 10000"/>
                        <a:gd name="connsiteY64" fmla="*/ 3295 h 10000"/>
                        <a:gd name="connsiteX65" fmla="*/ 9438 w 10000"/>
                        <a:gd name="connsiteY65" fmla="*/ 3209 h 10000"/>
                        <a:gd name="connsiteX66" fmla="*/ 9317 w 10000"/>
                        <a:gd name="connsiteY66" fmla="*/ 3033 h 10000"/>
                        <a:gd name="connsiteX67" fmla="*/ 9237 w 10000"/>
                        <a:gd name="connsiteY67" fmla="*/ 2374 h 10000"/>
                        <a:gd name="connsiteX68" fmla="*/ 9237 w 10000"/>
                        <a:gd name="connsiteY68" fmla="*/ 1449 h 10000"/>
                        <a:gd name="connsiteX69" fmla="*/ 9036 w 10000"/>
                        <a:gd name="connsiteY69" fmla="*/ 1144 h 10000"/>
                        <a:gd name="connsiteX70" fmla="*/ 8996 w 10000"/>
                        <a:gd name="connsiteY70" fmla="*/ 835 h 10000"/>
                        <a:gd name="connsiteX71" fmla="*/ 8675 w 10000"/>
                        <a:gd name="connsiteY71" fmla="*/ 396 h 10000"/>
                        <a:gd name="connsiteX72" fmla="*/ 8394 w 10000"/>
                        <a:gd name="connsiteY72" fmla="*/ 222 h 10000"/>
                        <a:gd name="connsiteX73" fmla="*/ 8233 w 10000"/>
                        <a:gd name="connsiteY73" fmla="*/ 0 h 10000"/>
                        <a:gd name="connsiteX74" fmla="*/ 7992 w 10000"/>
                        <a:gd name="connsiteY74" fmla="*/ 222 h 10000"/>
                        <a:gd name="connsiteX75" fmla="*/ 7831 w 10000"/>
                        <a:gd name="connsiteY75" fmla="*/ 176 h 10000"/>
                        <a:gd name="connsiteX76" fmla="*/ 7711 w 10000"/>
                        <a:gd name="connsiteY76" fmla="*/ 569 h 10000"/>
                        <a:gd name="connsiteX77" fmla="*/ 7390 w 10000"/>
                        <a:gd name="connsiteY77" fmla="*/ 660 h 10000"/>
                        <a:gd name="connsiteX78" fmla="*/ 7309 w 10000"/>
                        <a:gd name="connsiteY78" fmla="*/ 965 h 10000"/>
                        <a:gd name="connsiteX79" fmla="*/ 7028 w 10000"/>
                        <a:gd name="connsiteY79" fmla="*/ 965 h 10000"/>
                        <a:gd name="connsiteX80" fmla="*/ 6787 w 10000"/>
                        <a:gd name="connsiteY80" fmla="*/ 835 h 10000"/>
                        <a:gd name="connsiteX81" fmla="*/ 6265 w 10000"/>
                        <a:gd name="connsiteY81" fmla="*/ 835 h 10000"/>
                        <a:gd name="connsiteX82" fmla="*/ 5743 w 10000"/>
                        <a:gd name="connsiteY82" fmla="*/ 835 h 10000"/>
                        <a:gd name="connsiteX83" fmla="*/ 5783 w 10000"/>
                        <a:gd name="connsiteY83" fmla="*/ 660 h 10000"/>
                        <a:gd name="connsiteX84" fmla="*/ 5703 w 10000"/>
                        <a:gd name="connsiteY84" fmla="*/ 660 h 10000"/>
                        <a:gd name="connsiteX85" fmla="*/ 5663 w 10000"/>
                        <a:gd name="connsiteY85" fmla="*/ 835 h 10000"/>
                        <a:gd name="connsiteX86" fmla="*/ 5181 w 10000"/>
                        <a:gd name="connsiteY86" fmla="*/ 835 h 10000"/>
                        <a:gd name="connsiteX87" fmla="*/ 4699 w 10000"/>
                        <a:gd name="connsiteY87" fmla="*/ 835 h 10000"/>
                        <a:gd name="connsiteX88" fmla="*/ 4217 w 10000"/>
                        <a:gd name="connsiteY88" fmla="*/ 835 h 10000"/>
                        <a:gd name="connsiteX89" fmla="*/ 3735 w 10000"/>
                        <a:gd name="connsiteY89" fmla="*/ 835 h 10000"/>
                        <a:gd name="connsiteX90" fmla="*/ 3293 w 10000"/>
                        <a:gd name="connsiteY90" fmla="*/ 835 h 10000"/>
                        <a:gd name="connsiteX91" fmla="*/ 2811 w 10000"/>
                        <a:gd name="connsiteY91" fmla="*/ 835 h 10000"/>
                        <a:gd name="connsiteX92" fmla="*/ 2369 w 10000"/>
                        <a:gd name="connsiteY92" fmla="*/ 835 h 10000"/>
                        <a:gd name="connsiteX93" fmla="*/ 1888 w 10000"/>
                        <a:gd name="connsiteY93" fmla="*/ 835 h 10000"/>
                        <a:gd name="connsiteX94" fmla="*/ 1888 w 10000"/>
                        <a:gd name="connsiteY94" fmla="*/ 1449 h 10000"/>
                        <a:gd name="connsiteX95" fmla="*/ 1888 w 10000"/>
                        <a:gd name="connsiteY95" fmla="*/ 2241 h 10000"/>
                        <a:gd name="connsiteX96" fmla="*/ 1285 w 10000"/>
                        <a:gd name="connsiteY96" fmla="*/ 2241 h 10000"/>
                        <a:gd name="connsiteX97" fmla="*/ 1285 w 10000"/>
                        <a:gd name="connsiteY97" fmla="*/ 259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0000" h="10000">
                          <a:moveTo>
                            <a:pt x="1285" y="2592"/>
                          </a:moveTo>
                          <a:lnTo>
                            <a:pt x="1285" y="3295"/>
                          </a:lnTo>
                          <a:lnTo>
                            <a:pt x="1285" y="3954"/>
                          </a:lnTo>
                          <a:lnTo>
                            <a:pt x="1285" y="4614"/>
                          </a:lnTo>
                          <a:lnTo>
                            <a:pt x="1285" y="5226"/>
                          </a:lnTo>
                          <a:lnTo>
                            <a:pt x="643" y="5360"/>
                          </a:lnTo>
                          <a:cubicBezTo>
                            <a:pt x="603" y="5477"/>
                            <a:pt x="562" y="5593"/>
                            <a:pt x="522" y="5710"/>
                          </a:cubicBezTo>
                          <a:lnTo>
                            <a:pt x="241" y="6150"/>
                          </a:lnTo>
                          <a:lnTo>
                            <a:pt x="241" y="6504"/>
                          </a:lnTo>
                          <a:lnTo>
                            <a:pt x="120" y="6589"/>
                          </a:lnTo>
                          <a:lnTo>
                            <a:pt x="120" y="6896"/>
                          </a:lnTo>
                          <a:lnTo>
                            <a:pt x="0" y="7163"/>
                          </a:lnTo>
                          <a:lnTo>
                            <a:pt x="0" y="7380"/>
                          </a:lnTo>
                          <a:lnTo>
                            <a:pt x="241" y="7337"/>
                          </a:lnTo>
                          <a:cubicBezTo>
                            <a:pt x="254" y="7469"/>
                            <a:pt x="268" y="7600"/>
                            <a:pt x="281" y="7730"/>
                          </a:cubicBezTo>
                          <a:lnTo>
                            <a:pt x="602" y="8437"/>
                          </a:lnTo>
                          <a:lnTo>
                            <a:pt x="602" y="8479"/>
                          </a:lnTo>
                          <a:lnTo>
                            <a:pt x="482" y="8522"/>
                          </a:lnTo>
                          <a:lnTo>
                            <a:pt x="964" y="9225"/>
                          </a:lnTo>
                          <a:cubicBezTo>
                            <a:pt x="977" y="9299"/>
                            <a:pt x="991" y="9372"/>
                            <a:pt x="1004" y="9446"/>
                          </a:cubicBezTo>
                          <a:cubicBezTo>
                            <a:pt x="991" y="9651"/>
                            <a:pt x="1191" y="9602"/>
                            <a:pt x="1178" y="9809"/>
                          </a:cubicBezTo>
                          <a:cubicBezTo>
                            <a:pt x="1205" y="9838"/>
                            <a:pt x="1330" y="9578"/>
                            <a:pt x="1357" y="9607"/>
                          </a:cubicBezTo>
                          <a:cubicBezTo>
                            <a:pt x="1491" y="9531"/>
                            <a:pt x="1526" y="9661"/>
                            <a:pt x="1652" y="9545"/>
                          </a:cubicBezTo>
                          <a:lnTo>
                            <a:pt x="1951" y="9489"/>
                          </a:lnTo>
                          <a:cubicBezTo>
                            <a:pt x="1964" y="9591"/>
                            <a:pt x="2012" y="9117"/>
                            <a:pt x="2025" y="9219"/>
                          </a:cubicBezTo>
                          <a:lnTo>
                            <a:pt x="2338" y="9131"/>
                          </a:lnTo>
                          <a:cubicBezTo>
                            <a:pt x="2482" y="9213"/>
                            <a:pt x="2505" y="9464"/>
                            <a:pt x="2643" y="9561"/>
                          </a:cubicBezTo>
                          <a:cubicBezTo>
                            <a:pt x="2747" y="9644"/>
                            <a:pt x="2890" y="9723"/>
                            <a:pt x="2977" y="9748"/>
                          </a:cubicBezTo>
                          <a:cubicBezTo>
                            <a:pt x="3064" y="9775"/>
                            <a:pt x="3071" y="9711"/>
                            <a:pt x="3167" y="9715"/>
                          </a:cubicBezTo>
                          <a:lnTo>
                            <a:pt x="3795" y="9872"/>
                          </a:lnTo>
                          <a:cubicBezTo>
                            <a:pt x="3849" y="9828"/>
                            <a:pt x="4099" y="10000"/>
                            <a:pt x="4153" y="9956"/>
                          </a:cubicBezTo>
                          <a:cubicBezTo>
                            <a:pt x="4287" y="9933"/>
                            <a:pt x="4581" y="9819"/>
                            <a:pt x="4682" y="9732"/>
                          </a:cubicBezTo>
                          <a:cubicBezTo>
                            <a:pt x="4806" y="9616"/>
                            <a:pt x="4903" y="9349"/>
                            <a:pt x="4983" y="9289"/>
                          </a:cubicBezTo>
                          <a:cubicBezTo>
                            <a:pt x="5106" y="9253"/>
                            <a:pt x="5227" y="9441"/>
                            <a:pt x="5337" y="9512"/>
                          </a:cubicBezTo>
                          <a:cubicBezTo>
                            <a:pt x="5340" y="9373"/>
                            <a:pt x="5492" y="9671"/>
                            <a:pt x="5564" y="9681"/>
                          </a:cubicBezTo>
                          <a:lnTo>
                            <a:pt x="5768" y="9572"/>
                          </a:lnTo>
                          <a:lnTo>
                            <a:pt x="5933" y="9471"/>
                          </a:lnTo>
                          <a:lnTo>
                            <a:pt x="6089" y="9245"/>
                          </a:lnTo>
                          <a:lnTo>
                            <a:pt x="6274" y="8940"/>
                          </a:lnTo>
                          <a:cubicBezTo>
                            <a:pt x="6312" y="8890"/>
                            <a:pt x="6351" y="8843"/>
                            <a:pt x="6389" y="8797"/>
                          </a:cubicBezTo>
                          <a:lnTo>
                            <a:pt x="6524" y="8740"/>
                          </a:lnTo>
                          <a:cubicBezTo>
                            <a:pt x="6526" y="8680"/>
                            <a:pt x="6529" y="8620"/>
                            <a:pt x="6531" y="8560"/>
                          </a:cubicBezTo>
                          <a:cubicBezTo>
                            <a:pt x="6495" y="8427"/>
                            <a:pt x="6608" y="8487"/>
                            <a:pt x="6572" y="8352"/>
                          </a:cubicBezTo>
                          <a:cubicBezTo>
                            <a:pt x="6582" y="8288"/>
                            <a:pt x="6592" y="8226"/>
                            <a:pt x="6602" y="8162"/>
                          </a:cubicBezTo>
                          <a:lnTo>
                            <a:pt x="6855" y="7916"/>
                          </a:lnTo>
                          <a:cubicBezTo>
                            <a:pt x="6892" y="8049"/>
                            <a:pt x="6846" y="8691"/>
                            <a:pt x="6893" y="8869"/>
                          </a:cubicBezTo>
                          <a:cubicBezTo>
                            <a:pt x="6988" y="9092"/>
                            <a:pt x="7208" y="9208"/>
                            <a:pt x="7308" y="9201"/>
                          </a:cubicBezTo>
                          <a:cubicBezTo>
                            <a:pt x="7321" y="8774"/>
                            <a:pt x="7417" y="9343"/>
                            <a:pt x="7430" y="8917"/>
                          </a:cubicBezTo>
                          <a:cubicBezTo>
                            <a:pt x="7443" y="8935"/>
                            <a:pt x="7457" y="8947"/>
                            <a:pt x="7470" y="8960"/>
                          </a:cubicBezTo>
                          <a:lnTo>
                            <a:pt x="7590" y="8698"/>
                          </a:lnTo>
                          <a:lnTo>
                            <a:pt x="7831" y="8567"/>
                          </a:lnTo>
                          <a:cubicBezTo>
                            <a:pt x="7871" y="8405"/>
                            <a:pt x="7912" y="8243"/>
                            <a:pt x="7952" y="8083"/>
                          </a:cubicBezTo>
                          <a:lnTo>
                            <a:pt x="8313" y="7513"/>
                          </a:lnTo>
                          <a:lnTo>
                            <a:pt x="8594" y="7248"/>
                          </a:lnTo>
                          <a:lnTo>
                            <a:pt x="8795" y="6504"/>
                          </a:lnTo>
                          <a:lnTo>
                            <a:pt x="8795" y="6328"/>
                          </a:lnTo>
                          <a:cubicBezTo>
                            <a:pt x="8782" y="6182"/>
                            <a:pt x="8768" y="6033"/>
                            <a:pt x="8755" y="5888"/>
                          </a:cubicBezTo>
                          <a:lnTo>
                            <a:pt x="9157" y="4305"/>
                          </a:lnTo>
                          <a:lnTo>
                            <a:pt x="9277" y="4305"/>
                          </a:lnTo>
                          <a:cubicBezTo>
                            <a:pt x="9331" y="4263"/>
                            <a:pt x="9384" y="4216"/>
                            <a:pt x="9438" y="4174"/>
                          </a:cubicBezTo>
                          <a:lnTo>
                            <a:pt x="9920" y="3954"/>
                          </a:lnTo>
                          <a:cubicBezTo>
                            <a:pt x="9947" y="3837"/>
                            <a:pt x="9973" y="3722"/>
                            <a:pt x="10000" y="3602"/>
                          </a:cubicBezTo>
                          <a:cubicBezTo>
                            <a:pt x="9987" y="3573"/>
                            <a:pt x="9973" y="3545"/>
                            <a:pt x="9960" y="3514"/>
                          </a:cubicBezTo>
                          <a:lnTo>
                            <a:pt x="9799" y="3514"/>
                          </a:lnTo>
                          <a:lnTo>
                            <a:pt x="9679" y="3295"/>
                          </a:lnTo>
                          <a:lnTo>
                            <a:pt x="9438" y="3209"/>
                          </a:lnTo>
                          <a:cubicBezTo>
                            <a:pt x="9398" y="3148"/>
                            <a:pt x="9357" y="3091"/>
                            <a:pt x="9317" y="3033"/>
                          </a:cubicBezTo>
                          <a:cubicBezTo>
                            <a:pt x="9290" y="2813"/>
                            <a:pt x="9264" y="2592"/>
                            <a:pt x="9237" y="2374"/>
                          </a:cubicBezTo>
                          <a:lnTo>
                            <a:pt x="9237" y="1449"/>
                          </a:lnTo>
                          <a:lnTo>
                            <a:pt x="9036" y="1144"/>
                          </a:lnTo>
                          <a:cubicBezTo>
                            <a:pt x="9023" y="1040"/>
                            <a:pt x="9009" y="936"/>
                            <a:pt x="8996" y="835"/>
                          </a:cubicBezTo>
                          <a:lnTo>
                            <a:pt x="8675" y="396"/>
                          </a:lnTo>
                          <a:lnTo>
                            <a:pt x="8394" y="222"/>
                          </a:lnTo>
                          <a:lnTo>
                            <a:pt x="8233" y="0"/>
                          </a:lnTo>
                          <a:lnTo>
                            <a:pt x="7992" y="222"/>
                          </a:lnTo>
                          <a:lnTo>
                            <a:pt x="7831" y="176"/>
                          </a:lnTo>
                          <a:lnTo>
                            <a:pt x="7711" y="569"/>
                          </a:lnTo>
                          <a:lnTo>
                            <a:pt x="7390" y="660"/>
                          </a:lnTo>
                          <a:cubicBezTo>
                            <a:pt x="7363" y="762"/>
                            <a:pt x="7336" y="863"/>
                            <a:pt x="7309" y="965"/>
                          </a:cubicBezTo>
                          <a:lnTo>
                            <a:pt x="7028" y="965"/>
                          </a:lnTo>
                          <a:lnTo>
                            <a:pt x="6787" y="835"/>
                          </a:lnTo>
                          <a:lnTo>
                            <a:pt x="6265" y="835"/>
                          </a:lnTo>
                          <a:lnTo>
                            <a:pt x="5743" y="835"/>
                          </a:lnTo>
                          <a:cubicBezTo>
                            <a:pt x="5756" y="777"/>
                            <a:pt x="5770" y="718"/>
                            <a:pt x="5783" y="660"/>
                          </a:cubicBezTo>
                          <a:lnTo>
                            <a:pt x="5703" y="660"/>
                          </a:lnTo>
                          <a:cubicBezTo>
                            <a:pt x="5690" y="718"/>
                            <a:pt x="5676" y="777"/>
                            <a:pt x="5663" y="835"/>
                          </a:cubicBezTo>
                          <a:lnTo>
                            <a:pt x="5181" y="835"/>
                          </a:lnTo>
                          <a:lnTo>
                            <a:pt x="4699" y="835"/>
                          </a:lnTo>
                          <a:lnTo>
                            <a:pt x="4217" y="835"/>
                          </a:lnTo>
                          <a:lnTo>
                            <a:pt x="3735" y="835"/>
                          </a:lnTo>
                          <a:lnTo>
                            <a:pt x="3293" y="835"/>
                          </a:lnTo>
                          <a:lnTo>
                            <a:pt x="2811" y="835"/>
                          </a:lnTo>
                          <a:lnTo>
                            <a:pt x="2369" y="835"/>
                          </a:lnTo>
                          <a:lnTo>
                            <a:pt x="1888" y="835"/>
                          </a:lnTo>
                          <a:lnTo>
                            <a:pt x="1888" y="1449"/>
                          </a:lnTo>
                          <a:lnTo>
                            <a:pt x="1888" y="2241"/>
                          </a:lnTo>
                          <a:lnTo>
                            <a:pt x="1285" y="2241"/>
                          </a:lnTo>
                          <a:lnTo>
                            <a:pt x="1285" y="2592"/>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23" name="Freeform 30"/>
                    <p:cNvSpPr>
                      <a:spLocks/>
                    </p:cNvSpPr>
                    <p:nvPr/>
                  </p:nvSpPr>
                  <p:spPr bwMode="gray">
                    <a:xfrm>
                      <a:off x="2656566" y="987637"/>
                      <a:ext cx="1414894" cy="1479840"/>
                    </a:xfrm>
                    <a:custGeom>
                      <a:avLst/>
                      <a:gdLst/>
                      <a:ahLst/>
                      <a:cxnLst>
                        <a:cxn ang="0">
                          <a:pos x="14" y="190"/>
                        </a:cxn>
                        <a:cxn ang="0">
                          <a:pos x="42" y="209"/>
                        </a:cxn>
                        <a:cxn ang="0">
                          <a:pos x="67" y="227"/>
                        </a:cxn>
                        <a:cxn ang="0">
                          <a:pos x="89" y="243"/>
                        </a:cxn>
                        <a:cxn ang="0">
                          <a:pos x="112" y="259"/>
                        </a:cxn>
                        <a:cxn ang="0">
                          <a:pos x="133" y="275"/>
                        </a:cxn>
                        <a:cxn ang="0">
                          <a:pos x="146" y="288"/>
                        </a:cxn>
                        <a:cxn ang="0">
                          <a:pos x="156" y="297"/>
                        </a:cxn>
                        <a:cxn ang="0">
                          <a:pos x="165" y="300"/>
                        </a:cxn>
                        <a:cxn ang="0">
                          <a:pos x="177" y="310"/>
                        </a:cxn>
                        <a:cxn ang="0">
                          <a:pos x="179" y="319"/>
                        </a:cxn>
                        <a:cxn ang="0">
                          <a:pos x="202" y="313"/>
                        </a:cxn>
                        <a:cxn ang="0">
                          <a:pos x="223" y="303"/>
                        </a:cxn>
                        <a:cxn ang="0">
                          <a:pos x="239" y="291"/>
                        </a:cxn>
                        <a:cxn ang="0">
                          <a:pos x="255" y="278"/>
                        </a:cxn>
                        <a:cxn ang="0">
                          <a:pos x="269" y="268"/>
                        </a:cxn>
                        <a:cxn ang="0">
                          <a:pos x="283" y="259"/>
                        </a:cxn>
                        <a:cxn ang="0">
                          <a:pos x="298" y="249"/>
                        </a:cxn>
                        <a:cxn ang="0">
                          <a:pos x="299" y="230"/>
                        </a:cxn>
                        <a:cxn ang="0">
                          <a:pos x="282" y="227"/>
                        </a:cxn>
                        <a:cxn ang="0">
                          <a:pos x="277" y="213"/>
                        </a:cxn>
                        <a:cxn ang="0">
                          <a:pos x="269" y="196"/>
                        </a:cxn>
                        <a:cxn ang="0">
                          <a:pos x="275" y="171"/>
                        </a:cxn>
                        <a:cxn ang="0">
                          <a:pos x="267" y="133"/>
                        </a:cxn>
                        <a:cxn ang="0">
                          <a:pos x="269" y="126"/>
                        </a:cxn>
                        <a:cxn ang="0">
                          <a:pos x="252" y="88"/>
                        </a:cxn>
                        <a:cxn ang="0">
                          <a:pos x="250" y="77"/>
                        </a:cxn>
                        <a:cxn ang="0">
                          <a:pos x="239" y="60"/>
                        </a:cxn>
                        <a:cxn ang="0">
                          <a:pos x="256" y="38"/>
                        </a:cxn>
                        <a:cxn ang="0">
                          <a:pos x="256" y="13"/>
                        </a:cxn>
                        <a:cxn ang="0">
                          <a:pos x="259" y="3"/>
                        </a:cxn>
                        <a:cxn ang="0">
                          <a:pos x="239" y="1"/>
                        </a:cxn>
                        <a:cxn ang="0">
                          <a:pos x="225" y="0"/>
                        </a:cxn>
                        <a:cxn ang="0">
                          <a:pos x="209" y="8"/>
                        </a:cxn>
                        <a:cxn ang="0">
                          <a:pos x="189" y="4"/>
                        </a:cxn>
                        <a:cxn ang="0">
                          <a:pos x="175" y="6"/>
                        </a:cxn>
                        <a:cxn ang="0">
                          <a:pos x="149" y="12"/>
                        </a:cxn>
                        <a:cxn ang="0">
                          <a:pos x="133" y="20"/>
                        </a:cxn>
                        <a:cxn ang="0">
                          <a:pos x="118" y="27"/>
                        </a:cxn>
                        <a:cxn ang="0">
                          <a:pos x="100" y="39"/>
                        </a:cxn>
                        <a:cxn ang="0">
                          <a:pos x="99" y="41"/>
                        </a:cxn>
                        <a:cxn ang="0">
                          <a:pos x="102" y="46"/>
                        </a:cxn>
                        <a:cxn ang="0">
                          <a:pos x="102" y="51"/>
                        </a:cxn>
                        <a:cxn ang="0">
                          <a:pos x="104" y="63"/>
                        </a:cxn>
                        <a:cxn ang="0">
                          <a:pos x="105" y="71"/>
                        </a:cxn>
                        <a:cxn ang="0">
                          <a:pos x="108" y="82"/>
                        </a:cxn>
                        <a:cxn ang="0">
                          <a:pos x="111" y="89"/>
                        </a:cxn>
                        <a:cxn ang="0">
                          <a:pos x="86" y="93"/>
                        </a:cxn>
                        <a:cxn ang="0">
                          <a:pos x="73" y="101"/>
                        </a:cxn>
                        <a:cxn ang="0">
                          <a:pos x="74" y="106"/>
                        </a:cxn>
                        <a:cxn ang="0">
                          <a:pos x="75" y="113"/>
                        </a:cxn>
                        <a:cxn ang="0">
                          <a:pos x="57" y="121"/>
                        </a:cxn>
                        <a:cxn ang="0">
                          <a:pos x="45" y="132"/>
                        </a:cxn>
                        <a:cxn ang="0">
                          <a:pos x="31" y="138"/>
                        </a:cxn>
                        <a:cxn ang="0">
                          <a:pos x="17" y="143"/>
                        </a:cxn>
                        <a:cxn ang="0">
                          <a:pos x="7" y="147"/>
                        </a:cxn>
                        <a:cxn ang="0">
                          <a:pos x="0" y="171"/>
                        </a:cxn>
                      </a:cxnLst>
                      <a:rect l="0" t="0" r="r" b="b"/>
                      <a:pathLst>
                        <a:path w="305" h="319">
                          <a:moveTo>
                            <a:pt x="0" y="180"/>
                          </a:moveTo>
                          <a:lnTo>
                            <a:pt x="14" y="190"/>
                          </a:lnTo>
                          <a:lnTo>
                            <a:pt x="29" y="200"/>
                          </a:lnTo>
                          <a:lnTo>
                            <a:pt x="42" y="209"/>
                          </a:lnTo>
                          <a:lnTo>
                            <a:pt x="56" y="219"/>
                          </a:lnTo>
                          <a:lnTo>
                            <a:pt x="67" y="227"/>
                          </a:lnTo>
                          <a:lnTo>
                            <a:pt x="79" y="235"/>
                          </a:lnTo>
                          <a:lnTo>
                            <a:pt x="89" y="243"/>
                          </a:lnTo>
                          <a:lnTo>
                            <a:pt x="100" y="251"/>
                          </a:lnTo>
                          <a:lnTo>
                            <a:pt x="112" y="259"/>
                          </a:lnTo>
                          <a:lnTo>
                            <a:pt x="123" y="267"/>
                          </a:lnTo>
                          <a:lnTo>
                            <a:pt x="133" y="275"/>
                          </a:lnTo>
                          <a:lnTo>
                            <a:pt x="145" y="282"/>
                          </a:lnTo>
                          <a:lnTo>
                            <a:pt x="146" y="288"/>
                          </a:lnTo>
                          <a:lnTo>
                            <a:pt x="152" y="292"/>
                          </a:lnTo>
                          <a:lnTo>
                            <a:pt x="156" y="297"/>
                          </a:lnTo>
                          <a:lnTo>
                            <a:pt x="163" y="298"/>
                          </a:lnTo>
                          <a:lnTo>
                            <a:pt x="165" y="300"/>
                          </a:lnTo>
                          <a:lnTo>
                            <a:pt x="176" y="304"/>
                          </a:lnTo>
                          <a:lnTo>
                            <a:pt x="177" y="310"/>
                          </a:lnTo>
                          <a:lnTo>
                            <a:pt x="176" y="316"/>
                          </a:lnTo>
                          <a:lnTo>
                            <a:pt x="179" y="319"/>
                          </a:lnTo>
                          <a:lnTo>
                            <a:pt x="190" y="316"/>
                          </a:lnTo>
                          <a:lnTo>
                            <a:pt x="202" y="313"/>
                          </a:lnTo>
                          <a:lnTo>
                            <a:pt x="214" y="310"/>
                          </a:lnTo>
                          <a:lnTo>
                            <a:pt x="223" y="303"/>
                          </a:lnTo>
                          <a:lnTo>
                            <a:pt x="231" y="297"/>
                          </a:lnTo>
                          <a:lnTo>
                            <a:pt x="239" y="291"/>
                          </a:lnTo>
                          <a:lnTo>
                            <a:pt x="248" y="283"/>
                          </a:lnTo>
                          <a:lnTo>
                            <a:pt x="255" y="278"/>
                          </a:lnTo>
                          <a:lnTo>
                            <a:pt x="262" y="273"/>
                          </a:lnTo>
                          <a:lnTo>
                            <a:pt x="269" y="268"/>
                          </a:lnTo>
                          <a:lnTo>
                            <a:pt x="276" y="264"/>
                          </a:lnTo>
                          <a:lnTo>
                            <a:pt x="283" y="259"/>
                          </a:lnTo>
                          <a:lnTo>
                            <a:pt x="290" y="254"/>
                          </a:lnTo>
                          <a:lnTo>
                            <a:pt x="298" y="249"/>
                          </a:lnTo>
                          <a:lnTo>
                            <a:pt x="305" y="244"/>
                          </a:lnTo>
                          <a:lnTo>
                            <a:pt x="299" y="230"/>
                          </a:lnTo>
                          <a:lnTo>
                            <a:pt x="290" y="227"/>
                          </a:lnTo>
                          <a:lnTo>
                            <a:pt x="282" y="227"/>
                          </a:lnTo>
                          <a:lnTo>
                            <a:pt x="279" y="222"/>
                          </a:lnTo>
                          <a:lnTo>
                            <a:pt x="277" y="213"/>
                          </a:lnTo>
                          <a:lnTo>
                            <a:pt x="268" y="198"/>
                          </a:lnTo>
                          <a:lnTo>
                            <a:pt x="269" y="196"/>
                          </a:lnTo>
                          <a:lnTo>
                            <a:pt x="274" y="194"/>
                          </a:lnTo>
                          <a:lnTo>
                            <a:pt x="275" y="171"/>
                          </a:lnTo>
                          <a:lnTo>
                            <a:pt x="273" y="143"/>
                          </a:lnTo>
                          <a:lnTo>
                            <a:pt x="267" y="133"/>
                          </a:lnTo>
                          <a:lnTo>
                            <a:pt x="267" y="130"/>
                          </a:lnTo>
                          <a:lnTo>
                            <a:pt x="269" y="126"/>
                          </a:lnTo>
                          <a:lnTo>
                            <a:pt x="264" y="94"/>
                          </a:lnTo>
                          <a:lnTo>
                            <a:pt x="252" y="88"/>
                          </a:lnTo>
                          <a:lnTo>
                            <a:pt x="252" y="82"/>
                          </a:lnTo>
                          <a:lnTo>
                            <a:pt x="250" y="77"/>
                          </a:lnTo>
                          <a:lnTo>
                            <a:pt x="243" y="73"/>
                          </a:lnTo>
                          <a:lnTo>
                            <a:pt x="239" y="60"/>
                          </a:lnTo>
                          <a:lnTo>
                            <a:pt x="252" y="47"/>
                          </a:lnTo>
                          <a:lnTo>
                            <a:pt x="256" y="38"/>
                          </a:lnTo>
                          <a:lnTo>
                            <a:pt x="254" y="24"/>
                          </a:lnTo>
                          <a:lnTo>
                            <a:pt x="256" y="13"/>
                          </a:lnTo>
                          <a:lnTo>
                            <a:pt x="254" y="11"/>
                          </a:lnTo>
                          <a:lnTo>
                            <a:pt x="259" y="3"/>
                          </a:lnTo>
                          <a:lnTo>
                            <a:pt x="246" y="4"/>
                          </a:lnTo>
                          <a:lnTo>
                            <a:pt x="239" y="1"/>
                          </a:lnTo>
                          <a:lnTo>
                            <a:pt x="234" y="3"/>
                          </a:lnTo>
                          <a:lnTo>
                            <a:pt x="225" y="0"/>
                          </a:lnTo>
                          <a:lnTo>
                            <a:pt x="223" y="3"/>
                          </a:lnTo>
                          <a:lnTo>
                            <a:pt x="209" y="8"/>
                          </a:lnTo>
                          <a:lnTo>
                            <a:pt x="204" y="4"/>
                          </a:lnTo>
                          <a:lnTo>
                            <a:pt x="189" y="4"/>
                          </a:lnTo>
                          <a:lnTo>
                            <a:pt x="182" y="7"/>
                          </a:lnTo>
                          <a:lnTo>
                            <a:pt x="175" y="6"/>
                          </a:lnTo>
                          <a:lnTo>
                            <a:pt x="170" y="9"/>
                          </a:lnTo>
                          <a:lnTo>
                            <a:pt x="149" y="12"/>
                          </a:lnTo>
                          <a:lnTo>
                            <a:pt x="134" y="18"/>
                          </a:lnTo>
                          <a:lnTo>
                            <a:pt x="133" y="20"/>
                          </a:lnTo>
                          <a:lnTo>
                            <a:pt x="131" y="23"/>
                          </a:lnTo>
                          <a:lnTo>
                            <a:pt x="118" y="27"/>
                          </a:lnTo>
                          <a:lnTo>
                            <a:pt x="110" y="35"/>
                          </a:lnTo>
                          <a:lnTo>
                            <a:pt x="100" y="39"/>
                          </a:lnTo>
                          <a:lnTo>
                            <a:pt x="99" y="40"/>
                          </a:lnTo>
                          <a:lnTo>
                            <a:pt x="99" y="41"/>
                          </a:lnTo>
                          <a:lnTo>
                            <a:pt x="102" y="45"/>
                          </a:lnTo>
                          <a:lnTo>
                            <a:pt x="102" y="46"/>
                          </a:lnTo>
                          <a:lnTo>
                            <a:pt x="104" y="49"/>
                          </a:lnTo>
                          <a:lnTo>
                            <a:pt x="102" y="51"/>
                          </a:lnTo>
                          <a:lnTo>
                            <a:pt x="105" y="56"/>
                          </a:lnTo>
                          <a:lnTo>
                            <a:pt x="104" y="63"/>
                          </a:lnTo>
                          <a:lnTo>
                            <a:pt x="106" y="66"/>
                          </a:lnTo>
                          <a:lnTo>
                            <a:pt x="105" y="71"/>
                          </a:lnTo>
                          <a:lnTo>
                            <a:pt x="106" y="77"/>
                          </a:lnTo>
                          <a:lnTo>
                            <a:pt x="108" y="82"/>
                          </a:lnTo>
                          <a:lnTo>
                            <a:pt x="114" y="86"/>
                          </a:lnTo>
                          <a:lnTo>
                            <a:pt x="111" y="89"/>
                          </a:lnTo>
                          <a:lnTo>
                            <a:pt x="112" y="93"/>
                          </a:lnTo>
                          <a:lnTo>
                            <a:pt x="86" y="93"/>
                          </a:lnTo>
                          <a:lnTo>
                            <a:pt x="85" y="98"/>
                          </a:lnTo>
                          <a:lnTo>
                            <a:pt x="73" y="101"/>
                          </a:lnTo>
                          <a:lnTo>
                            <a:pt x="71" y="105"/>
                          </a:lnTo>
                          <a:lnTo>
                            <a:pt x="74" y="106"/>
                          </a:lnTo>
                          <a:lnTo>
                            <a:pt x="71" y="110"/>
                          </a:lnTo>
                          <a:lnTo>
                            <a:pt x="75" y="113"/>
                          </a:lnTo>
                          <a:lnTo>
                            <a:pt x="75" y="114"/>
                          </a:lnTo>
                          <a:lnTo>
                            <a:pt x="57" y="121"/>
                          </a:lnTo>
                          <a:lnTo>
                            <a:pt x="51" y="130"/>
                          </a:lnTo>
                          <a:lnTo>
                            <a:pt x="45" y="132"/>
                          </a:lnTo>
                          <a:lnTo>
                            <a:pt x="31" y="135"/>
                          </a:lnTo>
                          <a:lnTo>
                            <a:pt x="31" y="138"/>
                          </a:lnTo>
                          <a:lnTo>
                            <a:pt x="23" y="137"/>
                          </a:lnTo>
                          <a:lnTo>
                            <a:pt x="17" y="143"/>
                          </a:lnTo>
                          <a:lnTo>
                            <a:pt x="13" y="143"/>
                          </a:lnTo>
                          <a:lnTo>
                            <a:pt x="7" y="147"/>
                          </a:lnTo>
                          <a:lnTo>
                            <a:pt x="0" y="153"/>
                          </a:lnTo>
                          <a:lnTo>
                            <a:pt x="0" y="171"/>
                          </a:lnTo>
                          <a:lnTo>
                            <a:pt x="0" y="180"/>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24" name="Freeform 314"/>
                    <p:cNvSpPr>
                      <a:spLocks/>
                    </p:cNvSpPr>
                    <p:nvPr/>
                  </p:nvSpPr>
                  <p:spPr bwMode="gray">
                    <a:xfrm>
                      <a:off x="4962147" y="1465452"/>
                      <a:ext cx="779350" cy="788628"/>
                    </a:xfrm>
                    <a:custGeom>
                      <a:avLst/>
                      <a:gdLst/>
                      <a:ahLst/>
                      <a:cxnLst>
                        <a:cxn ang="0">
                          <a:pos x="143" y="6"/>
                        </a:cxn>
                        <a:cxn ang="0">
                          <a:pos x="129" y="11"/>
                        </a:cxn>
                        <a:cxn ang="0">
                          <a:pos x="120" y="11"/>
                        </a:cxn>
                        <a:cxn ang="0">
                          <a:pos x="115" y="7"/>
                        </a:cxn>
                        <a:cxn ang="0">
                          <a:pos x="110" y="1"/>
                        </a:cxn>
                        <a:cxn ang="0">
                          <a:pos x="100" y="2"/>
                        </a:cxn>
                        <a:cxn ang="0">
                          <a:pos x="90" y="6"/>
                        </a:cxn>
                        <a:cxn ang="0">
                          <a:pos x="86" y="3"/>
                        </a:cxn>
                        <a:cxn ang="0">
                          <a:pos x="35" y="3"/>
                        </a:cxn>
                        <a:cxn ang="0">
                          <a:pos x="10" y="2"/>
                        </a:cxn>
                        <a:cxn ang="0">
                          <a:pos x="6" y="0"/>
                        </a:cxn>
                        <a:cxn ang="0">
                          <a:pos x="4" y="23"/>
                        </a:cxn>
                        <a:cxn ang="0">
                          <a:pos x="2" y="34"/>
                        </a:cxn>
                        <a:cxn ang="0">
                          <a:pos x="3" y="41"/>
                        </a:cxn>
                        <a:cxn ang="0">
                          <a:pos x="8" y="61"/>
                        </a:cxn>
                        <a:cxn ang="0">
                          <a:pos x="8" y="92"/>
                        </a:cxn>
                        <a:cxn ang="0">
                          <a:pos x="8" y="122"/>
                        </a:cxn>
                        <a:cxn ang="0">
                          <a:pos x="8" y="152"/>
                        </a:cxn>
                        <a:cxn ang="0">
                          <a:pos x="20" y="167"/>
                        </a:cxn>
                        <a:cxn ang="0">
                          <a:pos x="43" y="167"/>
                        </a:cxn>
                        <a:cxn ang="0">
                          <a:pos x="66" y="167"/>
                        </a:cxn>
                        <a:cxn ang="0">
                          <a:pos x="90" y="167"/>
                        </a:cxn>
                        <a:cxn ang="0">
                          <a:pos x="103" y="163"/>
                        </a:cxn>
                        <a:cxn ang="0">
                          <a:pos x="104" y="167"/>
                        </a:cxn>
                        <a:cxn ang="0">
                          <a:pos x="130" y="167"/>
                        </a:cxn>
                        <a:cxn ang="0">
                          <a:pos x="143" y="170"/>
                        </a:cxn>
                        <a:cxn ang="0">
                          <a:pos x="153" y="161"/>
                        </a:cxn>
                        <a:cxn ang="0">
                          <a:pos x="160" y="153"/>
                        </a:cxn>
                        <a:cxn ang="0">
                          <a:pos x="164" y="135"/>
                        </a:cxn>
                        <a:cxn ang="0">
                          <a:pos x="160" y="125"/>
                        </a:cxn>
                        <a:cxn ang="0">
                          <a:pos x="140" y="78"/>
                        </a:cxn>
                        <a:cxn ang="0">
                          <a:pos x="135" y="65"/>
                        </a:cxn>
                        <a:cxn ang="0">
                          <a:pos x="123" y="49"/>
                        </a:cxn>
                        <a:cxn ang="0">
                          <a:pos x="118" y="37"/>
                        </a:cxn>
                        <a:cxn ang="0">
                          <a:pos x="121" y="29"/>
                        </a:cxn>
                        <a:cxn ang="0">
                          <a:pos x="130" y="49"/>
                        </a:cxn>
                        <a:cxn ang="0">
                          <a:pos x="143" y="68"/>
                        </a:cxn>
                        <a:cxn ang="0">
                          <a:pos x="149" y="60"/>
                        </a:cxn>
                        <a:cxn ang="0">
                          <a:pos x="152" y="32"/>
                        </a:cxn>
                        <a:cxn ang="0">
                          <a:pos x="147" y="14"/>
                        </a:cxn>
                      </a:cxnLst>
                      <a:rect l="0" t="0" r="r" b="b"/>
                      <a:pathLst>
                        <a:path w="168" h="170">
                          <a:moveTo>
                            <a:pt x="145" y="8"/>
                          </a:moveTo>
                          <a:lnTo>
                            <a:pt x="143" y="6"/>
                          </a:lnTo>
                          <a:lnTo>
                            <a:pt x="135" y="11"/>
                          </a:lnTo>
                          <a:lnTo>
                            <a:pt x="129" y="11"/>
                          </a:lnTo>
                          <a:lnTo>
                            <a:pt x="128" y="10"/>
                          </a:lnTo>
                          <a:lnTo>
                            <a:pt x="120" y="11"/>
                          </a:lnTo>
                          <a:lnTo>
                            <a:pt x="118" y="8"/>
                          </a:lnTo>
                          <a:lnTo>
                            <a:pt x="115" y="7"/>
                          </a:lnTo>
                          <a:lnTo>
                            <a:pt x="115" y="7"/>
                          </a:lnTo>
                          <a:lnTo>
                            <a:pt x="110" y="1"/>
                          </a:lnTo>
                          <a:lnTo>
                            <a:pt x="108" y="3"/>
                          </a:lnTo>
                          <a:lnTo>
                            <a:pt x="100" y="2"/>
                          </a:lnTo>
                          <a:lnTo>
                            <a:pt x="98" y="2"/>
                          </a:lnTo>
                          <a:lnTo>
                            <a:pt x="90" y="6"/>
                          </a:lnTo>
                          <a:lnTo>
                            <a:pt x="92" y="2"/>
                          </a:lnTo>
                          <a:lnTo>
                            <a:pt x="86" y="3"/>
                          </a:lnTo>
                          <a:lnTo>
                            <a:pt x="66" y="14"/>
                          </a:lnTo>
                          <a:lnTo>
                            <a:pt x="35" y="3"/>
                          </a:lnTo>
                          <a:lnTo>
                            <a:pt x="20" y="1"/>
                          </a:lnTo>
                          <a:lnTo>
                            <a:pt x="10" y="2"/>
                          </a:lnTo>
                          <a:lnTo>
                            <a:pt x="8" y="0"/>
                          </a:lnTo>
                          <a:lnTo>
                            <a:pt x="6" y="0"/>
                          </a:lnTo>
                          <a:lnTo>
                            <a:pt x="3" y="6"/>
                          </a:lnTo>
                          <a:lnTo>
                            <a:pt x="4" y="23"/>
                          </a:lnTo>
                          <a:lnTo>
                            <a:pt x="0" y="28"/>
                          </a:lnTo>
                          <a:lnTo>
                            <a:pt x="2" y="34"/>
                          </a:lnTo>
                          <a:lnTo>
                            <a:pt x="4" y="38"/>
                          </a:lnTo>
                          <a:lnTo>
                            <a:pt x="3" y="41"/>
                          </a:lnTo>
                          <a:lnTo>
                            <a:pt x="8" y="46"/>
                          </a:lnTo>
                          <a:lnTo>
                            <a:pt x="8" y="61"/>
                          </a:lnTo>
                          <a:lnTo>
                            <a:pt x="8" y="77"/>
                          </a:lnTo>
                          <a:lnTo>
                            <a:pt x="8" y="92"/>
                          </a:lnTo>
                          <a:lnTo>
                            <a:pt x="8" y="106"/>
                          </a:lnTo>
                          <a:lnTo>
                            <a:pt x="8" y="122"/>
                          </a:lnTo>
                          <a:lnTo>
                            <a:pt x="8" y="137"/>
                          </a:lnTo>
                          <a:lnTo>
                            <a:pt x="8" y="152"/>
                          </a:lnTo>
                          <a:lnTo>
                            <a:pt x="8" y="167"/>
                          </a:lnTo>
                          <a:lnTo>
                            <a:pt x="20" y="167"/>
                          </a:lnTo>
                          <a:lnTo>
                            <a:pt x="31" y="167"/>
                          </a:lnTo>
                          <a:lnTo>
                            <a:pt x="43" y="167"/>
                          </a:lnTo>
                          <a:lnTo>
                            <a:pt x="54" y="167"/>
                          </a:lnTo>
                          <a:lnTo>
                            <a:pt x="66" y="167"/>
                          </a:lnTo>
                          <a:lnTo>
                            <a:pt x="78" y="167"/>
                          </a:lnTo>
                          <a:lnTo>
                            <a:pt x="90" y="167"/>
                          </a:lnTo>
                          <a:lnTo>
                            <a:pt x="102" y="167"/>
                          </a:lnTo>
                          <a:lnTo>
                            <a:pt x="103" y="163"/>
                          </a:lnTo>
                          <a:lnTo>
                            <a:pt x="105" y="163"/>
                          </a:lnTo>
                          <a:lnTo>
                            <a:pt x="104" y="167"/>
                          </a:lnTo>
                          <a:lnTo>
                            <a:pt x="117" y="167"/>
                          </a:lnTo>
                          <a:lnTo>
                            <a:pt x="130" y="167"/>
                          </a:lnTo>
                          <a:lnTo>
                            <a:pt x="136" y="170"/>
                          </a:lnTo>
                          <a:lnTo>
                            <a:pt x="143" y="170"/>
                          </a:lnTo>
                          <a:lnTo>
                            <a:pt x="145" y="163"/>
                          </a:lnTo>
                          <a:lnTo>
                            <a:pt x="153" y="161"/>
                          </a:lnTo>
                          <a:lnTo>
                            <a:pt x="156" y="152"/>
                          </a:lnTo>
                          <a:lnTo>
                            <a:pt x="160" y="153"/>
                          </a:lnTo>
                          <a:lnTo>
                            <a:pt x="166" y="148"/>
                          </a:lnTo>
                          <a:lnTo>
                            <a:pt x="164" y="135"/>
                          </a:lnTo>
                          <a:lnTo>
                            <a:pt x="168" y="135"/>
                          </a:lnTo>
                          <a:lnTo>
                            <a:pt x="160" y="125"/>
                          </a:lnTo>
                          <a:lnTo>
                            <a:pt x="142" y="91"/>
                          </a:lnTo>
                          <a:lnTo>
                            <a:pt x="140" y="78"/>
                          </a:lnTo>
                          <a:lnTo>
                            <a:pt x="135" y="72"/>
                          </a:lnTo>
                          <a:lnTo>
                            <a:pt x="135" y="65"/>
                          </a:lnTo>
                          <a:lnTo>
                            <a:pt x="127" y="57"/>
                          </a:lnTo>
                          <a:lnTo>
                            <a:pt x="123" y="49"/>
                          </a:lnTo>
                          <a:lnTo>
                            <a:pt x="122" y="41"/>
                          </a:lnTo>
                          <a:lnTo>
                            <a:pt x="118" y="37"/>
                          </a:lnTo>
                          <a:lnTo>
                            <a:pt x="121" y="29"/>
                          </a:lnTo>
                          <a:lnTo>
                            <a:pt x="121" y="29"/>
                          </a:lnTo>
                          <a:lnTo>
                            <a:pt x="123" y="38"/>
                          </a:lnTo>
                          <a:lnTo>
                            <a:pt x="130" y="49"/>
                          </a:lnTo>
                          <a:lnTo>
                            <a:pt x="131" y="54"/>
                          </a:lnTo>
                          <a:lnTo>
                            <a:pt x="143" y="68"/>
                          </a:lnTo>
                          <a:lnTo>
                            <a:pt x="148" y="66"/>
                          </a:lnTo>
                          <a:lnTo>
                            <a:pt x="149" y="60"/>
                          </a:lnTo>
                          <a:lnTo>
                            <a:pt x="155" y="40"/>
                          </a:lnTo>
                          <a:lnTo>
                            <a:pt x="152" y="32"/>
                          </a:lnTo>
                          <a:lnTo>
                            <a:pt x="149" y="23"/>
                          </a:lnTo>
                          <a:lnTo>
                            <a:pt x="147" y="14"/>
                          </a:lnTo>
                          <a:lnTo>
                            <a:pt x="145" y="8"/>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25" name="Freeform 320"/>
                    <p:cNvSpPr>
                      <a:spLocks/>
                    </p:cNvSpPr>
                    <p:nvPr/>
                  </p:nvSpPr>
                  <p:spPr bwMode="gray">
                    <a:xfrm>
                      <a:off x="4108572" y="3474137"/>
                      <a:ext cx="1331392" cy="1331392"/>
                    </a:xfrm>
                    <a:custGeom>
                      <a:avLst/>
                      <a:gdLst/>
                      <a:ahLst/>
                      <a:cxnLst>
                        <a:cxn ang="0">
                          <a:pos x="275" y="58"/>
                        </a:cxn>
                        <a:cxn ang="0">
                          <a:pos x="281" y="43"/>
                        </a:cxn>
                        <a:cxn ang="0">
                          <a:pos x="281" y="25"/>
                        </a:cxn>
                        <a:cxn ang="0">
                          <a:pos x="262" y="10"/>
                        </a:cxn>
                        <a:cxn ang="0">
                          <a:pos x="248" y="11"/>
                        </a:cxn>
                        <a:cxn ang="0">
                          <a:pos x="238" y="11"/>
                        </a:cxn>
                        <a:cxn ang="0">
                          <a:pos x="223" y="1"/>
                        </a:cxn>
                        <a:cxn ang="0">
                          <a:pos x="217" y="1"/>
                        </a:cxn>
                        <a:cxn ang="0">
                          <a:pos x="211" y="0"/>
                        </a:cxn>
                        <a:cxn ang="0">
                          <a:pos x="195" y="0"/>
                        </a:cxn>
                        <a:cxn ang="0">
                          <a:pos x="189" y="5"/>
                        </a:cxn>
                        <a:cxn ang="0">
                          <a:pos x="167" y="9"/>
                        </a:cxn>
                        <a:cxn ang="0">
                          <a:pos x="156" y="9"/>
                        </a:cxn>
                        <a:cxn ang="0">
                          <a:pos x="154" y="15"/>
                        </a:cxn>
                        <a:cxn ang="0">
                          <a:pos x="130" y="10"/>
                        </a:cxn>
                        <a:cxn ang="0">
                          <a:pos x="125" y="11"/>
                        </a:cxn>
                        <a:cxn ang="0">
                          <a:pos x="108" y="1"/>
                        </a:cxn>
                        <a:cxn ang="0">
                          <a:pos x="99" y="23"/>
                        </a:cxn>
                        <a:cxn ang="0">
                          <a:pos x="95" y="34"/>
                        </a:cxn>
                        <a:cxn ang="0">
                          <a:pos x="82" y="91"/>
                        </a:cxn>
                        <a:cxn ang="0">
                          <a:pos x="61" y="113"/>
                        </a:cxn>
                        <a:cxn ang="0">
                          <a:pos x="58" y="130"/>
                        </a:cxn>
                        <a:cxn ang="0">
                          <a:pos x="39" y="153"/>
                        </a:cxn>
                        <a:cxn ang="0">
                          <a:pos x="31" y="155"/>
                        </a:cxn>
                        <a:cxn ang="0">
                          <a:pos x="23" y="150"/>
                        </a:cxn>
                        <a:cxn ang="0">
                          <a:pos x="15" y="156"/>
                        </a:cxn>
                        <a:cxn ang="0">
                          <a:pos x="5" y="157"/>
                        </a:cxn>
                        <a:cxn ang="0">
                          <a:pos x="0" y="171"/>
                        </a:cxn>
                        <a:cxn ang="0">
                          <a:pos x="15" y="171"/>
                        </a:cxn>
                        <a:cxn ang="0">
                          <a:pos x="37" y="171"/>
                        </a:cxn>
                        <a:cxn ang="0">
                          <a:pos x="60" y="171"/>
                        </a:cxn>
                        <a:cxn ang="0">
                          <a:pos x="70" y="194"/>
                        </a:cxn>
                        <a:cxn ang="0">
                          <a:pos x="82" y="206"/>
                        </a:cxn>
                        <a:cxn ang="0">
                          <a:pos x="106" y="204"/>
                        </a:cxn>
                        <a:cxn ang="0">
                          <a:pos x="129" y="187"/>
                        </a:cxn>
                        <a:cxn ang="0">
                          <a:pos x="140" y="193"/>
                        </a:cxn>
                        <a:cxn ang="0">
                          <a:pos x="144" y="219"/>
                        </a:cxn>
                        <a:cxn ang="0">
                          <a:pos x="148" y="244"/>
                        </a:cxn>
                        <a:cxn ang="0">
                          <a:pos x="150" y="255"/>
                        </a:cxn>
                        <a:cxn ang="0">
                          <a:pos x="163" y="250"/>
                        </a:cxn>
                        <a:cxn ang="0">
                          <a:pos x="177" y="249"/>
                        </a:cxn>
                        <a:cxn ang="0">
                          <a:pos x="184" y="255"/>
                        </a:cxn>
                        <a:cxn ang="0">
                          <a:pos x="198" y="259"/>
                        </a:cxn>
                        <a:cxn ang="0">
                          <a:pos x="223" y="263"/>
                        </a:cxn>
                        <a:cxn ang="0">
                          <a:pos x="238" y="271"/>
                        </a:cxn>
                        <a:cxn ang="0">
                          <a:pos x="250" y="284"/>
                        </a:cxn>
                        <a:cxn ang="0">
                          <a:pos x="258" y="285"/>
                        </a:cxn>
                        <a:cxn ang="0">
                          <a:pos x="262" y="270"/>
                        </a:cxn>
                        <a:cxn ang="0">
                          <a:pos x="245" y="263"/>
                        </a:cxn>
                        <a:cxn ang="0">
                          <a:pos x="250" y="234"/>
                        </a:cxn>
                        <a:cxn ang="0">
                          <a:pos x="250" y="220"/>
                        </a:cxn>
                        <a:cxn ang="0">
                          <a:pos x="252" y="214"/>
                        </a:cxn>
                        <a:cxn ang="0">
                          <a:pos x="275" y="207"/>
                        </a:cxn>
                        <a:cxn ang="0">
                          <a:pos x="263" y="189"/>
                        </a:cxn>
                        <a:cxn ang="0">
                          <a:pos x="257" y="168"/>
                        </a:cxn>
                        <a:cxn ang="0">
                          <a:pos x="254" y="160"/>
                        </a:cxn>
                        <a:cxn ang="0">
                          <a:pos x="256" y="146"/>
                        </a:cxn>
                        <a:cxn ang="0">
                          <a:pos x="255" y="141"/>
                        </a:cxn>
                        <a:cxn ang="0">
                          <a:pos x="256" y="125"/>
                        </a:cxn>
                        <a:cxn ang="0">
                          <a:pos x="252" y="117"/>
                        </a:cxn>
                        <a:cxn ang="0">
                          <a:pos x="263" y="101"/>
                        </a:cxn>
                        <a:cxn ang="0">
                          <a:pos x="264" y="82"/>
                        </a:cxn>
                        <a:cxn ang="0">
                          <a:pos x="275" y="61"/>
                        </a:cxn>
                      </a:cxnLst>
                      <a:rect l="0" t="0" r="r" b="b"/>
                      <a:pathLst>
                        <a:path w="287" h="287">
                          <a:moveTo>
                            <a:pt x="275" y="61"/>
                          </a:moveTo>
                          <a:lnTo>
                            <a:pt x="275" y="58"/>
                          </a:lnTo>
                          <a:lnTo>
                            <a:pt x="287" y="47"/>
                          </a:lnTo>
                          <a:lnTo>
                            <a:pt x="281" y="43"/>
                          </a:lnTo>
                          <a:lnTo>
                            <a:pt x="280" y="39"/>
                          </a:lnTo>
                          <a:lnTo>
                            <a:pt x="281" y="25"/>
                          </a:lnTo>
                          <a:lnTo>
                            <a:pt x="280" y="25"/>
                          </a:lnTo>
                          <a:lnTo>
                            <a:pt x="262" y="10"/>
                          </a:lnTo>
                          <a:lnTo>
                            <a:pt x="258" y="12"/>
                          </a:lnTo>
                          <a:lnTo>
                            <a:pt x="248" y="11"/>
                          </a:lnTo>
                          <a:lnTo>
                            <a:pt x="244" y="14"/>
                          </a:lnTo>
                          <a:lnTo>
                            <a:pt x="238" y="11"/>
                          </a:lnTo>
                          <a:lnTo>
                            <a:pt x="230" y="1"/>
                          </a:lnTo>
                          <a:lnTo>
                            <a:pt x="223" y="1"/>
                          </a:lnTo>
                          <a:lnTo>
                            <a:pt x="220" y="4"/>
                          </a:lnTo>
                          <a:lnTo>
                            <a:pt x="217" y="1"/>
                          </a:lnTo>
                          <a:lnTo>
                            <a:pt x="215" y="4"/>
                          </a:lnTo>
                          <a:lnTo>
                            <a:pt x="211" y="0"/>
                          </a:lnTo>
                          <a:lnTo>
                            <a:pt x="201" y="1"/>
                          </a:lnTo>
                          <a:lnTo>
                            <a:pt x="195" y="0"/>
                          </a:lnTo>
                          <a:lnTo>
                            <a:pt x="194" y="4"/>
                          </a:lnTo>
                          <a:lnTo>
                            <a:pt x="189" y="5"/>
                          </a:lnTo>
                          <a:lnTo>
                            <a:pt x="186" y="2"/>
                          </a:lnTo>
                          <a:lnTo>
                            <a:pt x="167" y="9"/>
                          </a:lnTo>
                          <a:lnTo>
                            <a:pt x="160" y="6"/>
                          </a:lnTo>
                          <a:lnTo>
                            <a:pt x="156" y="9"/>
                          </a:lnTo>
                          <a:lnTo>
                            <a:pt x="156" y="14"/>
                          </a:lnTo>
                          <a:lnTo>
                            <a:pt x="154" y="15"/>
                          </a:lnTo>
                          <a:lnTo>
                            <a:pt x="139" y="15"/>
                          </a:lnTo>
                          <a:lnTo>
                            <a:pt x="130" y="10"/>
                          </a:lnTo>
                          <a:lnTo>
                            <a:pt x="127" y="12"/>
                          </a:lnTo>
                          <a:lnTo>
                            <a:pt x="125" y="11"/>
                          </a:lnTo>
                          <a:lnTo>
                            <a:pt x="117" y="1"/>
                          </a:lnTo>
                          <a:lnTo>
                            <a:pt x="108" y="1"/>
                          </a:lnTo>
                          <a:lnTo>
                            <a:pt x="100" y="11"/>
                          </a:lnTo>
                          <a:lnTo>
                            <a:pt x="99" y="23"/>
                          </a:lnTo>
                          <a:lnTo>
                            <a:pt x="95" y="23"/>
                          </a:lnTo>
                          <a:lnTo>
                            <a:pt x="95" y="34"/>
                          </a:lnTo>
                          <a:lnTo>
                            <a:pt x="87" y="50"/>
                          </a:lnTo>
                          <a:lnTo>
                            <a:pt x="82" y="91"/>
                          </a:lnTo>
                          <a:lnTo>
                            <a:pt x="68" y="103"/>
                          </a:lnTo>
                          <a:lnTo>
                            <a:pt x="61" y="113"/>
                          </a:lnTo>
                          <a:lnTo>
                            <a:pt x="60" y="119"/>
                          </a:lnTo>
                          <a:lnTo>
                            <a:pt x="58" y="130"/>
                          </a:lnTo>
                          <a:lnTo>
                            <a:pt x="54" y="141"/>
                          </a:lnTo>
                          <a:lnTo>
                            <a:pt x="39" y="153"/>
                          </a:lnTo>
                          <a:lnTo>
                            <a:pt x="33" y="155"/>
                          </a:lnTo>
                          <a:lnTo>
                            <a:pt x="31" y="155"/>
                          </a:lnTo>
                          <a:lnTo>
                            <a:pt x="30" y="149"/>
                          </a:lnTo>
                          <a:lnTo>
                            <a:pt x="23" y="150"/>
                          </a:lnTo>
                          <a:lnTo>
                            <a:pt x="19" y="155"/>
                          </a:lnTo>
                          <a:lnTo>
                            <a:pt x="15" y="156"/>
                          </a:lnTo>
                          <a:lnTo>
                            <a:pt x="11" y="153"/>
                          </a:lnTo>
                          <a:lnTo>
                            <a:pt x="5" y="157"/>
                          </a:lnTo>
                          <a:lnTo>
                            <a:pt x="2" y="169"/>
                          </a:lnTo>
                          <a:lnTo>
                            <a:pt x="0" y="171"/>
                          </a:lnTo>
                          <a:lnTo>
                            <a:pt x="0" y="177"/>
                          </a:lnTo>
                          <a:lnTo>
                            <a:pt x="15" y="171"/>
                          </a:lnTo>
                          <a:lnTo>
                            <a:pt x="26" y="171"/>
                          </a:lnTo>
                          <a:lnTo>
                            <a:pt x="37" y="171"/>
                          </a:lnTo>
                          <a:lnTo>
                            <a:pt x="49" y="171"/>
                          </a:lnTo>
                          <a:lnTo>
                            <a:pt x="60" y="171"/>
                          </a:lnTo>
                          <a:lnTo>
                            <a:pt x="65" y="174"/>
                          </a:lnTo>
                          <a:lnTo>
                            <a:pt x="70" y="194"/>
                          </a:lnTo>
                          <a:lnTo>
                            <a:pt x="79" y="205"/>
                          </a:lnTo>
                          <a:lnTo>
                            <a:pt x="82" y="206"/>
                          </a:lnTo>
                          <a:lnTo>
                            <a:pt x="95" y="204"/>
                          </a:lnTo>
                          <a:lnTo>
                            <a:pt x="106" y="204"/>
                          </a:lnTo>
                          <a:lnTo>
                            <a:pt x="110" y="189"/>
                          </a:lnTo>
                          <a:lnTo>
                            <a:pt x="129" y="187"/>
                          </a:lnTo>
                          <a:lnTo>
                            <a:pt x="127" y="193"/>
                          </a:lnTo>
                          <a:lnTo>
                            <a:pt x="140" y="193"/>
                          </a:lnTo>
                          <a:lnTo>
                            <a:pt x="143" y="196"/>
                          </a:lnTo>
                          <a:lnTo>
                            <a:pt x="144" y="219"/>
                          </a:lnTo>
                          <a:lnTo>
                            <a:pt x="144" y="227"/>
                          </a:lnTo>
                          <a:lnTo>
                            <a:pt x="148" y="244"/>
                          </a:lnTo>
                          <a:lnTo>
                            <a:pt x="145" y="253"/>
                          </a:lnTo>
                          <a:lnTo>
                            <a:pt x="150" y="255"/>
                          </a:lnTo>
                          <a:lnTo>
                            <a:pt x="154" y="250"/>
                          </a:lnTo>
                          <a:lnTo>
                            <a:pt x="163" y="250"/>
                          </a:lnTo>
                          <a:lnTo>
                            <a:pt x="174" y="250"/>
                          </a:lnTo>
                          <a:lnTo>
                            <a:pt x="177" y="249"/>
                          </a:lnTo>
                          <a:lnTo>
                            <a:pt x="181" y="248"/>
                          </a:lnTo>
                          <a:lnTo>
                            <a:pt x="184" y="255"/>
                          </a:lnTo>
                          <a:lnTo>
                            <a:pt x="194" y="253"/>
                          </a:lnTo>
                          <a:lnTo>
                            <a:pt x="198" y="259"/>
                          </a:lnTo>
                          <a:lnTo>
                            <a:pt x="209" y="265"/>
                          </a:lnTo>
                          <a:lnTo>
                            <a:pt x="223" y="263"/>
                          </a:lnTo>
                          <a:lnTo>
                            <a:pt x="229" y="268"/>
                          </a:lnTo>
                          <a:lnTo>
                            <a:pt x="238" y="271"/>
                          </a:lnTo>
                          <a:lnTo>
                            <a:pt x="243" y="279"/>
                          </a:lnTo>
                          <a:lnTo>
                            <a:pt x="250" y="284"/>
                          </a:lnTo>
                          <a:lnTo>
                            <a:pt x="255" y="285"/>
                          </a:lnTo>
                          <a:lnTo>
                            <a:pt x="258" y="285"/>
                          </a:lnTo>
                          <a:lnTo>
                            <a:pt x="263" y="287"/>
                          </a:lnTo>
                          <a:lnTo>
                            <a:pt x="262" y="270"/>
                          </a:lnTo>
                          <a:lnTo>
                            <a:pt x="251" y="270"/>
                          </a:lnTo>
                          <a:lnTo>
                            <a:pt x="245" y="263"/>
                          </a:lnTo>
                          <a:lnTo>
                            <a:pt x="250" y="242"/>
                          </a:lnTo>
                          <a:lnTo>
                            <a:pt x="250" y="234"/>
                          </a:lnTo>
                          <a:lnTo>
                            <a:pt x="250" y="225"/>
                          </a:lnTo>
                          <a:lnTo>
                            <a:pt x="250" y="220"/>
                          </a:lnTo>
                          <a:lnTo>
                            <a:pt x="252" y="217"/>
                          </a:lnTo>
                          <a:lnTo>
                            <a:pt x="252" y="214"/>
                          </a:lnTo>
                          <a:lnTo>
                            <a:pt x="255" y="211"/>
                          </a:lnTo>
                          <a:lnTo>
                            <a:pt x="275" y="207"/>
                          </a:lnTo>
                          <a:lnTo>
                            <a:pt x="273" y="198"/>
                          </a:lnTo>
                          <a:lnTo>
                            <a:pt x="263" y="189"/>
                          </a:lnTo>
                          <a:lnTo>
                            <a:pt x="257" y="179"/>
                          </a:lnTo>
                          <a:lnTo>
                            <a:pt x="257" y="168"/>
                          </a:lnTo>
                          <a:lnTo>
                            <a:pt x="256" y="163"/>
                          </a:lnTo>
                          <a:lnTo>
                            <a:pt x="254" y="160"/>
                          </a:lnTo>
                          <a:lnTo>
                            <a:pt x="256" y="149"/>
                          </a:lnTo>
                          <a:lnTo>
                            <a:pt x="256" y="146"/>
                          </a:lnTo>
                          <a:lnTo>
                            <a:pt x="255" y="146"/>
                          </a:lnTo>
                          <a:lnTo>
                            <a:pt x="255" y="141"/>
                          </a:lnTo>
                          <a:lnTo>
                            <a:pt x="257" y="133"/>
                          </a:lnTo>
                          <a:lnTo>
                            <a:pt x="256" y="125"/>
                          </a:lnTo>
                          <a:lnTo>
                            <a:pt x="254" y="122"/>
                          </a:lnTo>
                          <a:lnTo>
                            <a:pt x="252" y="117"/>
                          </a:lnTo>
                          <a:lnTo>
                            <a:pt x="256" y="110"/>
                          </a:lnTo>
                          <a:lnTo>
                            <a:pt x="263" y="101"/>
                          </a:lnTo>
                          <a:lnTo>
                            <a:pt x="263" y="86"/>
                          </a:lnTo>
                          <a:lnTo>
                            <a:pt x="264" y="82"/>
                          </a:lnTo>
                          <a:lnTo>
                            <a:pt x="265" y="74"/>
                          </a:lnTo>
                          <a:lnTo>
                            <a:pt x="275" y="61"/>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26" name="Freeform 321"/>
                    <p:cNvSpPr>
                      <a:spLocks/>
                    </p:cNvSpPr>
                    <p:nvPr/>
                  </p:nvSpPr>
                  <p:spPr bwMode="gray">
                    <a:xfrm>
                      <a:off x="4400827" y="5459626"/>
                      <a:ext cx="1141192" cy="1039134"/>
                    </a:xfrm>
                    <a:custGeom>
                      <a:avLst/>
                      <a:gdLst/>
                      <a:ahLst/>
                      <a:cxnLst>
                        <a:cxn ang="0">
                          <a:pos x="19" y="119"/>
                        </a:cxn>
                        <a:cxn ang="0">
                          <a:pos x="16" y="112"/>
                        </a:cxn>
                        <a:cxn ang="0">
                          <a:pos x="5" y="107"/>
                        </a:cxn>
                        <a:cxn ang="0">
                          <a:pos x="0" y="113"/>
                        </a:cxn>
                        <a:cxn ang="0">
                          <a:pos x="26" y="172"/>
                        </a:cxn>
                        <a:cxn ang="0">
                          <a:pos x="24" y="188"/>
                        </a:cxn>
                        <a:cxn ang="0">
                          <a:pos x="20" y="192"/>
                        </a:cxn>
                        <a:cxn ang="0">
                          <a:pos x="23" y="196"/>
                        </a:cxn>
                        <a:cxn ang="0">
                          <a:pos x="27" y="213"/>
                        </a:cxn>
                        <a:cxn ang="0">
                          <a:pos x="30" y="213"/>
                        </a:cxn>
                        <a:cxn ang="0">
                          <a:pos x="35" y="218"/>
                        </a:cxn>
                        <a:cxn ang="0">
                          <a:pos x="42" y="221"/>
                        </a:cxn>
                        <a:cxn ang="0">
                          <a:pos x="54" y="224"/>
                        </a:cxn>
                        <a:cxn ang="0">
                          <a:pos x="80" y="218"/>
                        </a:cxn>
                        <a:cxn ang="0">
                          <a:pos x="86" y="212"/>
                        </a:cxn>
                        <a:cxn ang="0">
                          <a:pos x="100" y="213"/>
                        </a:cxn>
                        <a:cxn ang="0">
                          <a:pos x="125" y="214"/>
                        </a:cxn>
                        <a:cxn ang="0">
                          <a:pos x="138" y="213"/>
                        </a:cxn>
                        <a:cxn ang="0">
                          <a:pos x="139" y="207"/>
                        </a:cxn>
                        <a:cxn ang="0">
                          <a:pos x="161" y="203"/>
                        </a:cxn>
                        <a:cxn ang="0">
                          <a:pos x="195" y="167"/>
                        </a:cxn>
                        <a:cxn ang="0">
                          <a:pos x="224" y="124"/>
                        </a:cxn>
                        <a:cxn ang="0">
                          <a:pos x="246" y="80"/>
                        </a:cxn>
                        <a:cxn ang="0">
                          <a:pos x="233" y="64"/>
                        </a:cxn>
                        <a:cxn ang="0">
                          <a:pos x="226" y="10"/>
                        </a:cxn>
                        <a:cxn ang="0">
                          <a:pos x="216" y="4"/>
                        </a:cxn>
                        <a:cxn ang="0">
                          <a:pos x="196" y="0"/>
                        </a:cxn>
                        <a:cxn ang="0">
                          <a:pos x="175" y="13"/>
                        </a:cxn>
                        <a:cxn ang="0">
                          <a:pos x="157" y="30"/>
                        </a:cxn>
                        <a:cxn ang="0">
                          <a:pos x="141" y="48"/>
                        </a:cxn>
                        <a:cxn ang="0">
                          <a:pos x="124" y="62"/>
                        </a:cxn>
                        <a:cxn ang="0">
                          <a:pos x="102" y="58"/>
                        </a:cxn>
                        <a:cxn ang="0">
                          <a:pos x="76" y="81"/>
                        </a:cxn>
                        <a:cxn ang="0">
                          <a:pos x="63" y="78"/>
                        </a:cxn>
                        <a:cxn ang="0">
                          <a:pos x="64" y="61"/>
                        </a:cxn>
                        <a:cxn ang="0">
                          <a:pos x="51" y="64"/>
                        </a:cxn>
                        <a:cxn ang="0">
                          <a:pos x="51" y="111"/>
                        </a:cxn>
                      </a:cxnLst>
                      <a:rect l="0" t="0" r="r" b="b"/>
                      <a:pathLst>
                        <a:path w="246" h="224">
                          <a:moveTo>
                            <a:pt x="38" y="119"/>
                          </a:moveTo>
                          <a:lnTo>
                            <a:pt x="19" y="119"/>
                          </a:lnTo>
                          <a:lnTo>
                            <a:pt x="16" y="116"/>
                          </a:lnTo>
                          <a:lnTo>
                            <a:pt x="16" y="112"/>
                          </a:lnTo>
                          <a:lnTo>
                            <a:pt x="8" y="107"/>
                          </a:lnTo>
                          <a:lnTo>
                            <a:pt x="5" y="107"/>
                          </a:lnTo>
                          <a:lnTo>
                            <a:pt x="2" y="113"/>
                          </a:lnTo>
                          <a:lnTo>
                            <a:pt x="0" y="113"/>
                          </a:lnTo>
                          <a:lnTo>
                            <a:pt x="14" y="149"/>
                          </a:lnTo>
                          <a:lnTo>
                            <a:pt x="26" y="172"/>
                          </a:lnTo>
                          <a:lnTo>
                            <a:pt x="27" y="183"/>
                          </a:lnTo>
                          <a:lnTo>
                            <a:pt x="24" y="188"/>
                          </a:lnTo>
                          <a:lnTo>
                            <a:pt x="22" y="187"/>
                          </a:lnTo>
                          <a:lnTo>
                            <a:pt x="20" y="192"/>
                          </a:lnTo>
                          <a:lnTo>
                            <a:pt x="23" y="193"/>
                          </a:lnTo>
                          <a:lnTo>
                            <a:pt x="23" y="196"/>
                          </a:lnTo>
                          <a:lnTo>
                            <a:pt x="29" y="205"/>
                          </a:lnTo>
                          <a:lnTo>
                            <a:pt x="27" y="213"/>
                          </a:lnTo>
                          <a:lnTo>
                            <a:pt x="30" y="218"/>
                          </a:lnTo>
                          <a:lnTo>
                            <a:pt x="30" y="213"/>
                          </a:lnTo>
                          <a:lnTo>
                            <a:pt x="35" y="213"/>
                          </a:lnTo>
                          <a:lnTo>
                            <a:pt x="35" y="218"/>
                          </a:lnTo>
                          <a:lnTo>
                            <a:pt x="41" y="218"/>
                          </a:lnTo>
                          <a:lnTo>
                            <a:pt x="42" y="221"/>
                          </a:lnTo>
                          <a:lnTo>
                            <a:pt x="45" y="224"/>
                          </a:lnTo>
                          <a:lnTo>
                            <a:pt x="54" y="224"/>
                          </a:lnTo>
                          <a:lnTo>
                            <a:pt x="58" y="220"/>
                          </a:lnTo>
                          <a:lnTo>
                            <a:pt x="80" y="218"/>
                          </a:lnTo>
                          <a:lnTo>
                            <a:pt x="81" y="215"/>
                          </a:lnTo>
                          <a:lnTo>
                            <a:pt x="86" y="212"/>
                          </a:lnTo>
                          <a:lnTo>
                            <a:pt x="91" y="212"/>
                          </a:lnTo>
                          <a:lnTo>
                            <a:pt x="100" y="213"/>
                          </a:lnTo>
                          <a:lnTo>
                            <a:pt x="107" y="210"/>
                          </a:lnTo>
                          <a:lnTo>
                            <a:pt x="125" y="214"/>
                          </a:lnTo>
                          <a:lnTo>
                            <a:pt x="127" y="212"/>
                          </a:lnTo>
                          <a:lnTo>
                            <a:pt x="138" y="213"/>
                          </a:lnTo>
                          <a:lnTo>
                            <a:pt x="138" y="208"/>
                          </a:lnTo>
                          <a:lnTo>
                            <a:pt x="139" y="207"/>
                          </a:lnTo>
                          <a:lnTo>
                            <a:pt x="155" y="205"/>
                          </a:lnTo>
                          <a:lnTo>
                            <a:pt x="161" y="203"/>
                          </a:lnTo>
                          <a:lnTo>
                            <a:pt x="181" y="185"/>
                          </a:lnTo>
                          <a:lnTo>
                            <a:pt x="195" y="167"/>
                          </a:lnTo>
                          <a:lnTo>
                            <a:pt x="205" y="159"/>
                          </a:lnTo>
                          <a:lnTo>
                            <a:pt x="224" y="124"/>
                          </a:lnTo>
                          <a:lnTo>
                            <a:pt x="239" y="110"/>
                          </a:lnTo>
                          <a:lnTo>
                            <a:pt x="246" y="80"/>
                          </a:lnTo>
                          <a:lnTo>
                            <a:pt x="235" y="80"/>
                          </a:lnTo>
                          <a:lnTo>
                            <a:pt x="233" y="64"/>
                          </a:lnTo>
                          <a:lnTo>
                            <a:pt x="232" y="37"/>
                          </a:lnTo>
                          <a:lnTo>
                            <a:pt x="226" y="10"/>
                          </a:lnTo>
                          <a:lnTo>
                            <a:pt x="220" y="5"/>
                          </a:lnTo>
                          <a:lnTo>
                            <a:pt x="216" y="4"/>
                          </a:lnTo>
                          <a:lnTo>
                            <a:pt x="205" y="3"/>
                          </a:lnTo>
                          <a:lnTo>
                            <a:pt x="196" y="0"/>
                          </a:lnTo>
                          <a:lnTo>
                            <a:pt x="193" y="2"/>
                          </a:lnTo>
                          <a:lnTo>
                            <a:pt x="175" y="13"/>
                          </a:lnTo>
                          <a:lnTo>
                            <a:pt x="166" y="20"/>
                          </a:lnTo>
                          <a:lnTo>
                            <a:pt x="157" y="30"/>
                          </a:lnTo>
                          <a:lnTo>
                            <a:pt x="152" y="37"/>
                          </a:lnTo>
                          <a:lnTo>
                            <a:pt x="141" y="48"/>
                          </a:lnTo>
                          <a:lnTo>
                            <a:pt x="136" y="59"/>
                          </a:lnTo>
                          <a:lnTo>
                            <a:pt x="124" y="62"/>
                          </a:lnTo>
                          <a:lnTo>
                            <a:pt x="110" y="57"/>
                          </a:lnTo>
                          <a:lnTo>
                            <a:pt x="102" y="58"/>
                          </a:lnTo>
                          <a:lnTo>
                            <a:pt x="86" y="79"/>
                          </a:lnTo>
                          <a:lnTo>
                            <a:pt x="76" y="81"/>
                          </a:lnTo>
                          <a:lnTo>
                            <a:pt x="63" y="79"/>
                          </a:lnTo>
                          <a:lnTo>
                            <a:pt x="63" y="78"/>
                          </a:lnTo>
                          <a:lnTo>
                            <a:pt x="66" y="68"/>
                          </a:lnTo>
                          <a:lnTo>
                            <a:pt x="64" y="61"/>
                          </a:lnTo>
                          <a:lnTo>
                            <a:pt x="51" y="46"/>
                          </a:lnTo>
                          <a:lnTo>
                            <a:pt x="51" y="64"/>
                          </a:lnTo>
                          <a:lnTo>
                            <a:pt x="51" y="84"/>
                          </a:lnTo>
                          <a:lnTo>
                            <a:pt x="51" y="111"/>
                          </a:lnTo>
                          <a:lnTo>
                            <a:pt x="38" y="119"/>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27" name="Freeform 323"/>
                    <p:cNvSpPr>
                      <a:spLocks/>
                    </p:cNvSpPr>
                    <p:nvPr/>
                  </p:nvSpPr>
                  <p:spPr bwMode="gray">
                    <a:xfrm>
                      <a:off x="4785865" y="4434407"/>
                      <a:ext cx="821103" cy="723683"/>
                    </a:xfrm>
                    <a:custGeom>
                      <a:avLst/>
                      <a:gdLst/>
                      <a:ahLst/>
                      <a:cxnLst>
                        <a:cxn ang="0">
                          <a:pos x="86" y="137"/>
                        </a:cxn>
                        <a:cxn ang="0">
                          <a:pos x="94" y="132"/>
                        </a:cxn>
                        <a:cxn ang="0">
                          <a:pos x="100" y="129"/>
                        </a:cxn>
                        <a:cxn ang="0">
                          <a:pos x="116" y="117"/>
                        </a:cxn>
                        <a:cxn ang="0">
                          <a:pos x="124" y="117"/>
                        </a:cxn>
                        <a:cxn ang="0">
                          <a:pos x="133" y="105"/>
                        </a:cxn>
                        <a:cxn ang="0">
                          <a:pos x="158" y="96"/>
                        </a:cxn>
                        <a:cxn ang="0">
                          <a:pos x="165" y="91"/>
                        </a:cxn>
                        <a:cxn ang="0">
                          <a:pos x="166" y="79"/>
                        </a:cxn>
                        <a:cxn ang="0">
                          <a:pos x="173" y="68"/>
                        </a:cxn>
                        <a:cxn ang="0">
                          <a:pos x="171" y="52"/>
                        </a:cxn>
                        <a:cxn ang="0">
                          <a:pos x="177" y="39"/>
                        </a:cxn>
                        <a:cxn ang="0">
                          <a:pos x="169" y="23"/>
                        </a:cxn>
                        <a:cxn ang="0">
                          <a:pos x="166" y="19"/>
                        </a:cxn>
                        <a:cxn ang="0">
                          <a:pos x="142" y="7"/>
                        </a:cxn>
                        <a:cxn ang="0">
                          <a:pos x="136" y="9"/>
                        </a:cxn>
                        <a:cxn ang="0">
                          <a:pos x="129" y="0"/>
                        </a:cxn>
                        <a:cxn ang="0">
                          <a:pos x="106" y="7"/>
                        </a:cxn>
                        <a:cxn ang="0">
                          <a:pos x="104" y="13"/>
                        </a:cxn>
                        <a:cxn ang="0">
                          <a:pos x="104" y="27"/>
                        </a:cxn>
                        <a:cxn ang="0">
                          <a:pos x="99" y="56"/>
                        </a:cxn>
                        <a:cxn ang="0">
                          <a:pos x="116" y="63"/>
                        </a:cxn>
                        <a:cxn ang="0">
                          <a:pos x="112" y="78"/>
                        </a:cxn>
                        <a:cxn ang="0">
                          <a:pos x="104" y="77"/>
                        </a:cxn>
                        <a:cxn ang="0">
                          <a:pos x="92" y="64"/>
                        </a:cxn>
                        <a:cxn ang="0">
                          <a:pos x="77" y="56"/>
                        </a:cxn>
                        <a:cxn ang="0">
                          <a:pos x="52" y="52"/>
                        </a:cxn>
                        <a:cxn ang="0">
                          <a:pos x="38" y="48"/>
                        </a:cxn>
                        <a:cxn ang="0">
                          <a:pos x="31" y="42"/>
                        </a:cxn>
                        <a:cxn ang="0">
                          <a:pos x="29" y="72"/>
                        </a:cxn>
                        <a:cxn ang="0">
                          <a:pos x="22" y="75"/>
                        </a:cxn>
                        <a:cxn ang="0">
                          <a:pos x="0" y="75"/>
                        </a:cxn>
                        <a:cxn ang="0">
                          <a:pos x="0" y="99"/>
                        </a:cxn>
                        <a:cxn ang="0">
                          <a:pos x="0" y="132"/>
                        </a:cxn>
                        <a:cxn ang="0">
                          <a:pos x="33" y="145"/>
                        </a:cxn>
                        <a:cxn ang="0">
                          <a:pos x="48" y="153"/>
                        </a:cxn>
                        <a:cxn ang="0">
                          <a:pos x="67" y="154"/>
                        </a:cxn>
                        <a:cxn ang="0">
                          <a:pos x="73" y="155"/>
                        </a:cxn>
                      </a:cxnLst>
                      <a:rect l="0" t="0" r="r" b="b"/>
                      <a:pathLst>
                        <a:path w="177" h="156">
                          <a:moveTo>
                            <a:pt x="74" y="153"/>
                          </a:moveTo>
                          <a:lnTo>
                            <a:pt x="86" y="137"/>
                          </a:lnTo>
                          <a:lnTo>
                            <a:pt x="90" y="137"/>
                          </a:lnTo>
                          <a:lnTo>
                            <a:pt x="94" y="132"/>
                          </a:lnTo>
                          <a:lnTo>
                            <a:pt x="100" y="132"/>
                          </a:lnTo>
                          <a:lnTo>
                            <a:pt x="100" y="129"/>
                          </a:lnTo>
                          <a:lnTo>
                            <a:pt x="102" y="123"/>
                          </a:lnTo>
                          <a:lnTo>
                            <a:pt x="116" y="117"/>
                          </a:lnTo>
                          <a:lnTo>
                            <a:pt x="121" y="118"/>
                          </a:lnTo>
                          <a:lnTo>
                            <a:pt x="124" y="117"/>
                          </a:lnTo>
                          <a:lnTo>
                            <a:pt x="121" y="108"/>
                          </a:lnTo>
                          <a:lnTo>
                            <a:pt x="133" y="105"/>
                          </a:lnTo>
                          <a:lnTo>
                            <a:pt x="144" y="100"/>
                          </a:lnTo>
                          <a:lnTo>
                            <a:pt x="158" y="96"/>
                          </a:lnTo>
                          <a:lnTo>
                            <a:pt x="168" y="91"/>
                          </a:lnTo>
                          <a:lnTo>
                            <a:pt x="165" y="91"/>
                          </a:lnTo>
                          <a:lnTo>
                            <a:pt x="162" y="86"/>
                          </a:lnTo>
                          <a:lnTo>
                            <a:pt x="166" y="79"/>
                          </a:lnTo>
                          <a:lnTo>
                            <a:pt x="167" y="70"/>
                          </a:lnTo>
                          <a:lnTo>
                            <a:pt x="173" y="68"/>
                          </a:lnTo>
                          <a:lnTo>
                            <a:pt x="171" y="63"/>
                          </a:lnTo>
                          <a:lnTo>
                            <a:pt x="171" y="52"/>
                          </a:lnTo>
                          <a:lnTo>
                            <a:pt x="172" y="42"/>
                          </a:lnTo>
                          <a:lnTo>
                            <a:pt x="177" y="39"/>
                          </a:lnTo>
                          <a:lnTo>
                            <a:pt x="171" y="25"/>
                          </a:lnTo>
                          <a:lnTo>
                            <a:pt x="169" y="23"/>
                          </a:lnTo>
                          <a:lnTo>
                            <a:pt x="166" y="23"/>
                          </a:lnTo>
                          <a:lnTo>
                            <a:pt x="166" y="19"/>
                          </a:lnTo>
                          <a:lnTo>
                            <a:pt x="148" y="12"/>
                          </a:lnTo>
                          <a:lnTo>
                            <a:pt x="142" y="7"/>
                          </a:lnTo>
                          <a:lnTo>
                            <a:pt x="138" y="7"/>
                          </a:lnTo>
                          <a:lnTo>
                            <a:pt x="136" y="9"/>
                          </a:lnTo>
                          <a:lnTo>
                            <a:pt x="130" y="7"/>
                          </a:lnTo>
                          <a:lnTo>
                            <a:pt x="129" y="0"/>
                          </a:lnTo>
                          <a:lnTo>
                            <a:pt x="109" y="4"/>
                          </a:lnTo>
                          <a:lnTo>
                            <a:pt x="106" y="7"/>
                          </a:lnTo>
                          <a:lnTo>
                            <a:pt x="106" y="10"/>
                          </a:lnTo>
                          <a:lnTo>
                            <a:pt x="104" y="13"/>
                          </a:lnTo>
                          <a:lnTo>
                            <a:pt x="104" y="18"/>
                          </a:lnTo>
                          <a:lnTo>
                            <a:pt x="104" y="27"/>
                          </a:lnTo>
                          <a:lnTo>
                            <a:pt x="104" y="35"/>
                          </a:lnTo>
                          <a:lnTo>
                            <a:pt x="99" y="56"/>
                          </a:lnTo>
                          <a:lnTo>
                            <a:pt x="105" y="63"/>
                          </a:lnTo>
                          <a:lnTo>
                            <a:pt x="116" y="63"/>
                          </a:lnTo>
                          <a:lnTo>
                            <a:pt x="117" y="80"/>
                          </a:lnTo>
                          <a:lnTo>
                            <a:pt x="112" y="78"/>
                          </a:lnTo>
                          <a:lnTo>
                            <a:pt x="109" y="78"/>
                          </a:lnTo>
                          <a:lnTo>
                            <a:pt x="104" y="77"/>
                          </a:lnTo>
                          <a:lnTo>
                            <a:pt x="97" y="72"/>
                          </a:lnTo>
                          <a:lnTo>
                            <a:pt x="92" y="64"/>
                          </a:lnTo>
                          <a:lnTo>
                            <a:pt x="83" y="61"/>
                          </a:lnTo>
                          <a:lnTo>
                            <a:pt x="77" y="56"/>
                          </a:lnTo>
                          <a:lnTo>
                            <a:pt x="63" y="58"/>
                          </a:lnTo>
                          <a:lnTo>
                            <a:pt x="52" y="52"/>
                          </a:lnTo>
                          <a:lnTo>
                            <a:pt x="48" y="46"/>
                          </a:lnTo>
                          <a:lnTo>
                            <a:pt x="38" y="48"/>
                          </a:lnTo>
                          <a:lnTo>
                            <a:pt x="35" y="41"/>
                          </a:lnTo>
                          <a:lnTo>
                            <a:pt x="31" y="42"/>
                          </a:lnTo>
                          <a:lnTo>
                            <a:pt x="33" y="43"/>
                          </a:lnTo>
                          <a:lnTo>
                            <a:pt x="29" y="72"/>
                          </a:lnTo>
                          <a:lnTo>
                            <a:pt x="34" y="75"/>
                          </a:lnTo>
                          <a:lnTo>
                            <a:pt x="22" y="75"/>
                          </a:lnTo>
                          <a:lnTo>
                            <a:pt x="11" y="75"/>
                          </a:lnTo>
                          <a:lnTo>
                            <a:pt x="0" y="75"/>
                          </a:lnTo>
                          <a:lnTo>
                            <a:pt x="0" y="86"/>
                          </a:lnTo>
                          <a:lnTo>
                            <a:pt x="0" y="99"/>
                          </a:lnTo>
                          <a:lnTo>
                            <a:pt x="0" y="115"/>
                          </a:lnTo>
                          <a:lnTo>
                            <a:pt x="0" y="132"/>
                          </a:lnTo>
                          <a:lnTo>
                            <a:pt x="18" y="149"/>
                          </a:lnTo>
                          <a:lnTo>
                            <a:pt x="33" y="145"/>
                          </a:lnTo>
                          <a:lnTo>
                            <a:pt x="42" y="148"/>
                          </a:lnTo>
                          <a:lnTo>
                            <a:pt x="48" y="153"/>
                          </a:lnTo>
                          <a:lnTo>
                            <a:pt x="59" y="154"/>
                          </a:lnTo>
                          <a:lnTo>
                            <a:pt x="67" y="154"/>
                          </a:lnTo>
                          <a:lnTo>
                            <a:pt x="69" y="156"/>
                          </a:lnTo>
                          <a:lnTo>
                            <a:pt x="73" y="155"/>
                          </a:lnTo>
                          <a:lnTo>
                            <a:pt x="74" y="153"/>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28" name="Freeform 331"/>
                    <p:cNvSpPr>
                      <a:spLocks/>
                    </p:cNvSpPr>
                    <p:nvPr/>
                  </p:nvSpPr>
                  <p:spPr bwMode="gray">
                    <a:xfrm>
                      <a:off x="5347182" y="4596773"/>
                      <a:ext cx="742238" cy="1233972"/>
                    </a:xfrm>
                    <a:custGeom>
                      <a:avLst/>
                      <a:gdLst/>
                      <a:ahLst/>
                      <a:cxnLst>
                        <a:cxn ang="0">
                          <a:pos x="70" y="32"/>
                        </a:cxn>
                        <a:cxn ang="0">
                          <a:pos x="85" y="18"/>
                        </a:cxn>
                        <a:cxn ang="0">
                          <a:pos x="96" y="21"/>
                        </a:cxn>
                        <a:cxn ang="0">
                          <a:pos x="115" y="18"/>
                        </a:cxn>
                        <a:cxn ang="0">
                          <a:pos x="126" y="12"/>
                        </a:cxn>
                        <a:cxn ang="0">
                          <a:pos x="134" y="15"/>
                        </a:cxn>
                        <a:cxn ang="0">
                          <a:pos x="157" y="2"/>
                        </a:cxn>
                        <a:cxn ang="0">
                          <a:pos x="158" y="2"/>
                        </a:cxn>
                        <a:cxn ang="0">
                          <a:pos x="160" y="10"/>
                        </a:cxn>
                        <a:cxn ang="0">
                          <a:pos x="157" y="38"/>
                        </a:cxn>
                        <a:cxn ang="0">
                          <a:pos x="156" y="42"/>
                        </a:cxn>
                        <a:cxn ang="0">
                          <a:pos x="158" y="60"/>
                        </a:cxn>
                        <a:cxn ang="0">
                          <a:pos x="158" y="64"/>
                        </a:cxn>
                        <a:cxn ang="0">
                          <a:pos x="160" y="67"/>
                        </a:cxn>
                        <a:cxn ang="0">
                          <a:pos x="157" y="76"/>
                        </a:cxn>
                        <a:cxn ang="0">
                          <a:pos x="148" y="91"/>
                        </a:cxn>
                        <a:cxn ang="0">
                          <a:pos x="145" y="94"/>
                        </a:cxn>
                        <a:cxn ang="0">
                          <a:pos x="135" y="102"/>
                        </a:cxn>
                        <a:cxn ang="0">
                          <a:pos x="122" y="108"/>
                        </a:cxn>
                        <a:cxn ang="0">
                          <a:pos x="102" y="120"/>
                        </a:cxn>
                        <a:cxn ang="0">
                          <a:pos x="97" y="125"/>
                        </a:cxn>
                        <a:cxn ang="0">
                          <a:pos x="92" y="135"/>
                        </a:cxn>
                        <a:cxn ang="0">
                          <a:pos x="90" y="131"/>
                        </a:cxn>
                        <a:cxn ang="0">
                          <a:pos x="72" y="151"/>
                        </a:cxn>
                        <a:cxn ang="0">
                          <a:pos x="69" y="163"/>
                        </a:cxn>
                        <a:cxn ang="0">
                          <a:pos x="75" y="169"/>
                        </a:cxn>
                        <a:cxn ang="0">
                          <a:pos x="81" y="189"/>
                        </a:cxn>
                        <a:cxn ang="0">
                          <a:pos x="81" y="206"/>
                        </a:cxn>
                        <a:cxn ang="0">
                          <a:pos x="78" y="222"/>
                        </a:cxn>
                        <a:cxn ang="0">
                          <a:pos x="79" y="222"/>
                        </a:cxn>
                        <a:cxn ang="0">
                          <a:pos x="70" y="234"/>
                        </a:cxn>
                        <a:cxn ang="0">
                          <a:pos x="41" y="247"/>
                        </a:cxn>
                        <a:cxn ang="0">
                          <a:pos x="40" y="259"/>
                        </a:cxn>
                        <a:cxn ang="0">
                          <a:pos x="42" y="266"/>
                        </a:cxn>
                        <a:cxn ang="0">
                          <a:pos x="29" y="250"/>
                        </a:cxn>
                        <a:cxn ang="0">
                          <a:pos x="22" y="196"/>
                        </a:cxn>
                        <a:cxn ang="0">
                          <a:pos x="31" y="182"/>
                        </a:cxn>
                        <a:cxn ang="0">
                          <a:pos x="40" y="136"/>
                        </a:cxn>
                        <a:cxn ang="0">
                          <a:pos x="44" y="112"/>
                        </a:cxn>
                        <a:cxn ang="0">
                          <a:pos x="39" y="96"/>
                        </a:cxn>
                        <a:cxn ang="0">
                          <a:pos x="3" y="87"/>
                        </a:cxn>
                        <a:cxn ang="0">
                          <a:pos x="0" y="73"/>
                        </a:cxn>
                        <a:cxn ang="0">
                          <a:pos x="23" y="65"/>
                        </a:cxn>
                        <a:cxn ang="0">
                          <a:pos x="47" y="56"/>
                        </a:cxn>
                        <a:cxn ang="0">
                          <a:pos x="65" y="64"/>
                        </a:cxn>
                        <a:cxn ang="0">
                          <a:pos x="69" y="77"/>
                        </a:cxn>
                        <a:cxn ang="0">
                          <a:pos x="66" y="92"/>
                        </a:cxn>
                        <a:cxn ang="0">
                          <a:pos x="76" y="105"/>
                        </a:cxn>
                        <a:cxn ang="0">
                          <a:pos x="79" y="100"/>
                        </a:cxn>
                        <a:cxn ang="0">
                          <a:pos x="79" y="92"/>
                        </a:cxn>
                        <a:cxn ang="0">
                          <a:pos x="89" y="80"/>
                        </a:cxn>
                        <a:cxn ang="0">
                          <a:pos x="89" y="71"/>
                        </a:cxn>
                        <a:cxn ang="0">
                          <a:pos x="73" y="49"/>
                        </a:cxn>
                      </a:cxnLst>
                      <a:rect l="0" t="0" r="r" b="b"/>
                      <a:pathLst>
                        <a:path w="160" h="266">
                          <a:moveTo>
                            <a:pt x="73" y="49"/>
                          </a:moveTo>
                          <a:lnTo>
                            <a:pt x="70" y="32"/>
                          </a:lnTo>
                          <a:lnTo>
                            <a:pt x="75" y="18"/>
                          </a:lnTo>
                          <a:lnTo>
                            <a:pt x="85" y="18"/>
                          </a:lnTo>
                          <a:lnTo>
                            <a:pt x="90" y="17"/>
                          </a:lnTo>
                          <a:lnTo>
                            <a:pt x="96" y="21"/>
                          </a:lnTo>
                          <a:lnTo>
                            <a:pt x="104" y="18"/>
                          </a:lnTo>
                          <a:lnTo>
                            <a:pt x="115" y="18"/>
                          </a:lnTo>
                          <a:lnTo>
                            <a:pt x="119" y="13"/>
                          </a:lnTo>
                          <a:lnTo>
                            <a:pt x="126" y="12"/>
                          </a:lnTo>
                          <a:lnTo>
                            <a:pt x="129" y="15"/>
                          </a:lnTo>
                          <a:lnTo>
                            <a:pt x="134" y="15"/>
                          </a:lnTo>
                          <a:lnTo>
                            <a:pt x="150" y="8"/>
                          </a:lnTo>
                          <a:lnTo>
                            <a:pt x="157" y="2"/>
                          </a:lnTo>
                          <a:lnTo>
                            <a:pt x="157" y="0"/>
                          </a:lnTo>
                          <a:lnTo>
                            <a:pt x="158" y="2"/>
                          </a:lnTo>
                          <a:lnTo>
                            <a:pt x="160" y="4"/>
                          </a:lnTo>
                          <a:lnTo>
                            <a:pt x="160" y="10"/>
                          </a:lnTo>
                          <a:lnTo>
                            <a:pt x="154" y="22"/>
                          </a:lnTo>
                          <a:lnTo>
                            <a:pt x="157" y="38"/>
                          </a:lnTo>
                          <a:lnTo>
                            <a:pt x="154" y="39"/>
                          </a:lnTo>
                          <a:lnTo>
                            <a:pt x="156" y="42"/>
                          </a:lnTo>
                          <a:lnTo>
                            <a:pt x="156" y="60"/>
                          </a:lnTo>
                          <a:lnTo>
                            <a:pt x="158" y="60"/>
                          </a:lnTo>
                          <a:lnTo>
                            <a:pt x="159" y="61"/>
                          </a:lnTo>
                          <a:lnTo>
                            <a:pt x="158" y="64"/>
                          </a:lnTo>
                          <a:lnTo>
                            <a:pt x="160" y="65"/>
                          </a:lnTo>
                          <a:lnTo>
                            <a:pt x="160" y="67"/>
                          </a:lnTo>
                          <a:lnTo>
                            <a:pt x="156" y="76"/>
                          </a:lnTo>
                          <a:lnTo>
                            <a:pt x="157" y="76"/>
                          </a:lnTo>
                          <a:lnTo>
                            <a:pt x="157" y="81"/>
                          </a:lnTo>
                          <a:lnTo>
                            <a:pt x="148" y="91"/>
                          </a:lnTo>
                          <a:lnTo>
                            <a:pt x="144" y="93"/>
                          </a:lnTo>
                          <a:lnTo>
                            <a:pt x="145" y="94"/>
                          </a:lnTo>
                          <a:lnTo>
                            <a:pt x="145" y="97"/>
                          </a:lnTo>
                          <a:lnTo>
                            <a:pt x="135" y="102"/>
                          </a:lnTo>
                          <a:lnTo>
                            <a:pt x="134" y="105"/>
                          </a:lnTo>
                          <a:lnTo>
                            <a:pt x="122" y="108"/>
                          </a:lnTo>
                          <a:lnTo>
                            <a:pt x="110" y="114"/>
                          </a:lnTo>
                          <a:lnTo>
                            <a:pt x="102" y="120"/>
                          </a:lnTo>
                          <a:lnTo>
                            <a:pt x="102" y="123"/>
                          </a:lnTo>
                          <a:lnTo>
                            <a:pt x="97" y="125"/>
                          </a:lnTo>
                          <a:lnTo>
                            <a:pt x="98" y="126"/>
                          </a:lnTo>
                          <a:lnTo>
                            <a:pt x="92" y="135"/>
                          </a:lnTo>
                          <a:lnTo>
                            <a:pt x="91" y="135"/>
                          </a:lnTo>
                          <a:lnTo>
                            <a:pt x="90" y="131"/>
                          </a:lnTo>
                          <a:lnTo>
                            <a:pt x="88" y="136"/>
                          </a:lnTo>
                          <a:lnTo>
                            <a:pt x="72" y="151"/>
                          </a:lnTo>
                          <a:lnTo>
                            <a:pt x="70" y="152"/>
                          </a:lnTo>
                          <a:lnTo>
                            <a:pt x="69" y="163"/>
                          </a:lnTo>
                          <a:lnTo>
                            <a:pt x="73" y="168"/>
                          </a:lnTo>
                          <a:lnTo>
                            <a:pt x="75" y="169"/>
                          </a:lnTo>
                          <a:lnTo>
                            <a:pt x="79" y="190"/>
                          </a:lnTo>
                          <a:lnTo>
                            <a:pt x="81" y="189"/>
                          </a:lnTo>
                          <a:lnTo>
                            <a:pt x="82" y="190"/>
                          </a:lnTo>
                          <a:lnTo>
                            <a:pt x="81" y="206"/>
                          </a:lnTo>
                          <a:lnTo>
                            <a:pt x="77" y="220"/>
                          </a:lnTo>
                          <a:lnTo>
                            <a:pt x="78" y="222"/>
                          </a:lnTo>
                          <a:lnTo>
                            <a:pt x="81" y="217"/>
                          </a:lnTo>
                          <a:lnTo>
                            <a:pt x="79" y="222"/>
                          </a:lnTo>
                          <a:lnTo>
                            <a:pt x="75" y="231"/>
                          </a:lnTo>
                          <a:lnTo>
                            <a:pt x="70" y="234"/>
                          </a:lnTo>
                          <a:lnTo>
                            <a:pt x="53" y="240"/>
                          </a:lnTo>
                          <a:lnTo>
                            <a:pt x="41" y="247"/>
                          </a:lnTo>
                          <a:lnTo>
                            <a:pt x="37" y="254"/>
                          </a:lnTo>
                          <a:lnTo>
                            <a:pt x="40" y="259"/>
                          </a:lnTo>
                          <a:lnTo>
                            <a:pt x="42" y="255"/>
                          </a:lnTo>
                          <a:lnTo>
                            <a:pt x="42" y="266"/>
                          </a:lnTo>
                          <a:lnTo>
                            <a:pt x="31" y="266"/>
                          </a:lnTo>
                          <a:lnTo>
                            <a:pt x="29" y="250"/>
                          </a:lnTo>
                          <a:lnTo>
                            <a:pt x="28" y="223"/>
                          </a:lnTo>
                          <a:lnTo>
                            <a:pt x="22" y="196"/>
                          </a:lnTo>
                          <a:lnTo>
                            <a:pt x="23" y="189"/>
                          </a:lnTo>
                          <a:lnTo>
                            <a:pt x="31" y="182"/>
                          </a:lnTo>
                          <a:lnTo>
                            <a:pt x="42" y="153"/>
                          </a:lnTo>
                          <a:lnTo>
                            <a:pt x="40" y="136"/>
                          </a:lnTo>
                          <a:lnTo>
                            <a:pt x="44" y="125"/>
                          </a:lnTo>
                          <a:lnTo>
                            <a:pt x="44" y="112"/>
                          </a:lnTo>
                          <a:lnTo>
                            <a:pt x="41" y="98"/>
                          </a:lnTo>
                          <a:lnTo>
                            <a:pt x="39" y="96"/>
                          </a:lnTo>
                          <a:lnTo>
                            <a:pt x="19" y="88"/>
                          </a:lnTo>
                          <a:lnTo>
                            <a:pt x="3" y="87"/>
                          </a:lnTo>
                          <a:lnTo>
                            <a:pt x="3" y="82"/>
                          </a:lnTo>
                          <a:lnTo>
                            <a:pt x="0" y="73"/>
                          </a:lnTo>
                          <a:lnTo>
                            <a:pt x="12" y="70"/>
                          </a:lnTo>
                          <a:lnTo>
                            <a:pt x="23" y="65"/>
                          </a:lnTo>
                          <a:lnTo>
                            <a:pt x="37" y="61"/>
                          </a:lnTo>
                          <a:lnTo>
                            <a:pt x="47" y="56"/>
                          </a:lnTo>
                          <a:lnTo>
                            <a:pt x="54" y="65"/>
                          </a:lnTo>
                          <a:lnTo>
                            <a:pt x="65" y="64"/>
                          </a:lnTo>
                          <a:lnTo>
                            <a:pt x="67" y="66"/>
                          </a:lnTo>
                          <a:lnTo>
                            <a:pt x="69" y="77"/>
                          </a:lnTo>
                          <a:lnTo>
                            <a:pt x="65" y="87"/>
                          </a:lnTo>
                          <a:lnTo>
                            <a:pt x="66" y="92"/>
                          </a:lnTo>
                          <a:lnTo>
                            <a:pt x="77" y="102"/>
                          </a:lnTo>
                          <a:lnTo>
                            <a:pt x="76" y="105"/>
                          </a:lnTo>
                          <a:lnTo>
                            <a:pt x="79" y="105"/>
                          </a:lnTo>
                          <a:lnTo>
                            <a:pt x="79" y="100"/>
                          </a:lnTo>
                          <a:lnTo>
                            <a:pt x="78" y="97"/>
                          </a:lnTo>
                          <a:lnTo>
                            <a:pt x="79" y="92"/>
                          </a:lnTo>
                          <a:lnTo>
                            <a:pt x="88" y="88"/>
                          </a:lnTo>
                          <a:lnTo>
                            <a:pt x="89" y="80"/>
                          </a:lnTo>
                          <a:lnTo>
                            <a:pt x="88" y="76"/>
                          </a:lnTo>
                          <a:lnTo>
                            <a:pt x="89" y="71"/>
                          </a:lnTo>
                          <a:lnTo>
                            <a:pt x="87" y="65"/>
                          </a:lnTo>
                          <a:lnTo>
                            <a:pt x="73" y="49"/>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29" name="Freeform 332"/>
                    <p:cNvSpPr>
                      <a:spLocks/>
                    </p:cNvSpPr>
                    <p:nvPr/>
                  </p:nvSpPr>
                  <p:spPr bwMode="gray">
                    <a:xfrm>
                      <a:off x="5537382" y="4522549"/>
                      <a:ext cx="222672" cy="561319"/>
                    </a:xfrm>
                    <a:custGeom>
                      <a:avLst/>
                      <a:gdLst/>
                      <a:ahLst/>
                      <a:cxnLst>
                        <a:cxn ang="0">
                          <a:pos x="32" y="65"/>
                        </a:cxn>
                        <a:cxn ang="0">
                          <a:pos x="32" y="69"/>
                        </a:cxn>
                        <a:cxn ang="0">
                          <a:pos x="35" y="70"/>
                        </a:cxn>
                        <a:cxn ang="0">
                          <a:pos x="37" y="78"/>
                        </a:cxn>
                        <a:cxn ang="0">
                          <a:pos x="32" y="74"/>
                        </a:cxn>
                        <a:cxn ang="0">
                          <a:pos x="30" y="76"/>
                        </a:cxn>
                        <a:cxn ang="0">
                          <a:pos x="28" y="75"/>
                        </a:cxn>
                        <a:cxn ang="0">
                          <a:pos x="28" y="69"/>
                        </a:cxn>
                        <a:cxn ang="0">
                          <a:pos x="24" y="65"/>
                        </a:cxn>
                        <a:cxn ang="0">
                          <a:pos x="22" y="53"/>
                        </a:cxn>
                        <a:cxn ang="0">
                          <a:pos x="18" y="47"/>
                        </a:cxn>
                        <a:cxn ang="0">
                          <a:pos x="23" y="37"/>
                        </a:cxn>
                        <a:cxn ang="0">
                          <a:pos x="23" y="16"/>
                        </a:cxn>
                        <a:cxn ang="0">
                          <a:pos x="17" y="8"/>
                        </a:cxn>
                        <a:cxn ang="0">
                          <a:pos x="18" y="5"/>
                        </a:cxn>
                        <a:cxn ang="0">
                          <a:pos x="16" y="2"/>
                        </a:cxn>
                        <a:cxn ang="0">
                          <a:pos x="11" y="4"/>
                        </a:cxn>
                        <a:cxn ang="0">
                          <a:pos x="4" y="0"/>
                        </a:cxn>
                        <a:cxn ang="0">
                          <a:pos x="4" y="4"/>
                        </a:cxn>
                        <a:cxn ang="0">
                          <a:pos x="7" y="4"/>
                        </a:cxn>
                        <a:cxn ang="0">
                          <a:pos x="9" y="6"/>
                        </a:cxn>
                        <a:cxn ang="0">
                          <a:pos x="15" y="20"/>
                        </a:cxn>
                        <a:cxn ang="0">
                          <a:pos x="10" y="23"/>
                        </a:cxn>
                        <a:cxn ang="0">
                          <a:pos x="9" y="33"/>
                        </a:cxn>
                        <a:cxn ang="0">
                          <a:pos x="9" y="44"/>
                        </a:cxn>
                        <a:cxn ang="0">
                          <a:pos x="11" y="49"/>
                        </a:cxn>
                        <a:cxn ang="0">
                          <a:pos x="5" y="51"/>
                        </a:cxn>
                        <a:cxn ang="0">
                          <a:pos x="4" y="60"/>
                        </a:cxn>
                        <a:cxn ang="0">
                          <a:pos x="0" y="67"/>
                        </a:cxn>
                        <a:cxn ang="0">
                          <a:pos x="3" y="72"/>
                        </a:cxn>
                        <a:cxn ang="0">
                          <a:pos x="6" y="72"/>
                        </a:cxn>
                        <a:cxn ang="0">
                          <a:pos x="13" y="81"/>
                        </a:cxn>
                        <a:cxn ang="0">
                          <a:pos x="24" y="80"/>
                        </a:cxn>
                        <a:cxn ang="0">
                          <a:pos x="26" y="82"/>
                        </a:cxn>
                        <a:cxn ang="0">
                          <a:pos x="28" y="93"/>
                        </a:cxn>
                        <a:cxn ang="0">
                          <a:pos x="24" y="103"/>
                        </a:cxn>
                        <a:cxn ang="0">
                          <a:pos x="25" y="108"/>
                        </a:cxn>
                        <a:cxn ang="0">
                          <a:pos x="36" y="118"/>
                        </a:cxn>
                        <a:cxn ang="0">
                          <a:pos x="35" y="121"/>
                        </a:cxn>
                        <a:cxn ang="0">
                          <a:pos x="38" y="121"/>
                        </a:cxn>
                        <a:cxn ang="0">
                          <a:pos x="38" y="116"/>
                        </a:cxn>
                        <a:cxn ang="0">
                          <a:pos x="37" y="113"/>
                        </a:cxn>
                        <a:cxn ang="0">
                          <a:pos x="38" y="108"/>
                        </a:cxn>
                        <a:cxn ang="0">
                          <a:pos x="47" y="104"/>
                        </a:cxn>
                        <a:cxn ang="0">
                          <a:pos x="48" y="96"/>
                        </a:cxn>
                        <a:cxn ang="0">
                          <a:pos x="47" y="92"/>
                        </a:cxn>
                        <a:cxn ang="0">
                          <a:pos x="48" y="87"/>
                        </a:cxn>
                        <a:cxn ang="0">
                          <a:pos x="46" y="81"/>
                        </a:cxn>
                        <a:cxn ang="0">
                          <a:pos x="32" y="65"/>
                        </a:cxn>
                      </a:cxnLst>
                      <a:rect l="0" t="0" r="r" b="b"/>
                      <a:pathLst>
                        <a:path w="48" h="121">
                          <a:moveTo>
                            <a:pt x="32" y="65"/>
                          </a:moveTo>
                          <a:lnTo>
                            <a:pt x="32" y="69"/>
                          </a:lnTo>
                          <a:lnTo>
                            <a:pt x="35" y="70"/>
                          </a:lnTo>
                          <a:lnTo>
                            <a:pt x="37" y="78"/>
                          </a:lnTo>
                          <a:lnTo>
                            <a:pt x="32" y="74"/>
                          </a:lnTo>
                          <a:lnTo>
                            <a:pt x="30" y="76"/>
                          </a:lnTo>
                          <a:lnTo>
                            <a:pt x="28" y="75"/>
                          </a:lnTo>
                          <a:lnTo>
                            <a:pt x="28" y="69"/>
                          </a:lnTo>
                          <a:lnTo>
                            <a:pt x="24" y="65"/>
                          </a:lnTo>
                          <a:lnTo>
                            <a:pt x="22" y="53"/>
                          </a:lnTo>
                          <a:lnTo>
                            <a:pt x="18" y="47"/>
                          </a:lnTo>
                          <a:lnTo>
                            <a:pt x="23" y="37"/>
                          </a:lnTo>
                          <a:lnTo>
                            <a:pt x="23" y="16"/>
                          </a:lnTo>
                          <a:lnTo>
                            <a:pt x="17" y="8"/>
                          </a:lnTo>
                          <a:lnTo>
                            <a:pt x="18" y="5"/>
                          </a:lnTo>
                          <a:lnTo>
                            <a:pt x="16" y="2"/>
                          </a:lnTo>
                          <a:lnTo>
                            <a:pt x="11" y="4"/>
                          </a:lnTo>
                          <a:lnTo>
                            <a:pt x="4" y="0"/>
                          </a:lnTo>
                          <a:lnTo>
                            <a:pt x="4" y="4"/>
                          </a:lnTo>
                          <a:lnTo>
                            <a:pt x="7" y="4"/>
                          </a:lnTo>
                          <a:lnTo>
                            <a:pt x="9" y="6"/>
                          </a:lnTo>
                          <a:lnTo>
                            <a:pt x="15" y="20"/>
                          </a:lnTo>
                          <a:lnTo>
                            <a:pt x="10" y="23"/>
                          </a:lnTo>
                          <a:lnTo>
                            <a:pt x="9" y="33"/>
                          </a:lnTo>
                          <a:lnTo>
                            <a:pt x="9" y="44"/>
                          </a:lnTo>
                          <a:lnTo>
                            <a:pt x="11" y="49"/>
                          </a:lnTo>
                          <a:lnTo>
                            <a:pt x="5" y="51"/>
                          </a:lnTo>
                          <a:lnTo>
                            <a:pt x="4" y="60"/>
                          </a:lnTo>
                          <a:lnTo>
                            <a:pt x="0" y="67"/>
                          </a:lnTo>
                          <a:lnTo>
                            <a:pt x="3" y="72"/>
                          </a:lnTo>
                          <a:lnTo>
                            <a:pt x="6" y="72"/>
                          </a:lnTo>
                          <a:lnTo>
                            <a:pt x="13" y="81"/>
                          </a:lnTo>
                          <a:lnTo>
                            <a:pt x="24" y="80"/>
                          </a:lnTo>
                          <a:lnTo>
                            <a:pt x="26" y="82"/>
                          </a:lnTo>
                          <a:lnTo>
                            <a:pt x="28" y="93"/>
                          </a:lnTo>
                          <a:lnTo>
                            <a:pt x="24" y="103"/>
                          </a:lnTo>
                          <a:lnTo>
                            <a:pt x="25" y="108"/>
                          </a:lnTo>
                          <a:lnTo>
                            <a:pt x="36" y="118"/>
                          </a:lnTo>
                          <a:lnTo>
                            <a:pt x="35" y="121"/>
                          </a:lnTo>
                          <a:lnTo>
                            <a:pt x="38" y="121"/>
                          </a:lnTo>
                          <a:lnTo>
                            <a:pt x="38" y="116"/>
                          </a:lnTo>
                          <a:lnTo>
                            <a:pt x="37" y="113"/>
                          </a:lnTo>
                          <a:lnTo>
                            <a:pt x="38" y="108"/>
                          </a:lnTo>
                          <a:lnTo>
                            <a:pt x="47" y="104"/>
                          </a:lnTo>
                          <a:lnTo>
                            <a:pt x="48" y="96"/>
                          </a:lnTo>
                          <a:lnTo>
                            <a:pt x="47" y="92"/>
                          </a:lnTo>
                          <a:lnTo>
                            <a:pt x="48" y="87"/>
                          </a:lnTo>
                          <a:lnTo>
                            <a:pt x="46" y="81"/>
                          </a:lnTo>
                          <a:lnTo>
                            <a:pt x="32" y="65"/>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30" name="Freeform 333"/>
                    <p:cNvSpPr>
                      <a:spLocks/>
                    </p:cNvSpPr>
                    <p:nvPr/>
                  </p:nvSpPr>
                  <p:spPr bwMode="gray">
                    <a:xfrm>
                      <a:off x="5620883" y="3520527"/>
                      <a:ext cx="552042" cy="658736"/>
                    </a:xfrm>
                    <a:custGeom>
                      <a:avLst/>
                      <a:gdLst/>
                      <a:ahLst/>
                      <a:cxnLst>
                        <a:cxn ang="0">
                          <a:pos x="5" y="86"/>
                        </a:cxn>
                        <a:cxn ang="0">
                          <a:pos x="3" y="83"/>
                        </a:cxn>
                        <a:cxn ang="0">
                          <a:pos x="5" y="80"/>
                        </a:cxn>
                        <a:cxn ang="0">
                          <a:pos x="7" y="80"/>
                        </a:cxn>
                        <a:cxn ang="0">
                          <a:pos x="10" y="77"/>
                        </a:cxn>
                        <a:cxn ang="0">
                          <a:pos x="13" y="76"/>
                        </a:cxn>
                        <a:cxn ang="0">
                          <a:pos x="13" y="75"/>
                        </a:cxn>
                        <a:cxn ang="0">
                          <a:pos x="10" y="75"/>
                        </a:cxn>
                        <a:cxn ang="0">
                          <a:pos x="7" y="75"/>
                        </a:cxn>
                        <a:cxn ang="0">
                          <a:pos x="5" y="76"/>
                        </a:cxn>
                        <a:cxn ang="0">
                          <a:pos x="4" y="76"/>
                        </a:cxn>
                        <a:cxn ang="0">
                          <a:pos x="3" y="73"/>
                        </a:cxn>
                        <a:cxn ang="0">
                          <a:pos x="1" y="71"/>
                        </a:cxn>
                        <a:cxn ang="0">
                          <a:pos x="1" y="67"/>
                        </a:cxn>
                        <a:cxn ang="0">
                          <a:pos x="1" y="67"/>
                        </a:cxn>
                        <a:cxn ang="0">
                          <a:pos x="16" y="48"/>
                        </a:cxn>
                        <a:cxn ang="0">
                          <a:pos x="16" y="38"/>
                        </a:cxn>
                        <a:cxn ang="0">
                          <a:pos x="16" y="28"/>
                        </a:cxn>
                        <a:cxn ang="0">
                          <a:pos x="8" y="23"/>
                        </a:cxn>
                        <a:cxn ang="0">
                          <a:pos x="6" y="10"/>
                        </a:cxn>
                        <a:cxn ang="0">
                          <a:pos x="0" y="8"/>
                        </a:cxn>
                        <a:cxn ang="0">
                          <a:pos x="8" y="0"/>
                        </a:cxn>
                        <a:cxn ang="0">
                          <a:pos x="29" y="0"/>
                        </a:cxn>
                        <a:cxn ang="0">
                          <a:pos x="41" y="1"/>
                        </a:cxn>
                        <a:cxn ang="0">
                          <a:pos x="58" y="13"/>
                        </a:cxn>
                        <a:cxn ang="0">
                          <a:pos x="75" y="17"/>
                        </a:cxn>
                        <a:cxn ang="0">
                          <a:pos x="81" y="17"/>
                        </a:cxn>
                        <a:cxn ang="0">
                          <a:pos x="88" y="13"/>
                        </a:cxn>
                        <a:cxn ang="0">
                          <a:pos x="92" y="8"/>
                        </a:cxn>
                        <a:cxn ang="0">
                          <a:pos x="102" y="6"/>
                        </a:cxn>
                        <a:cxn ang="0">
                          <a:pos x="112" y="11"/>
                        </a:cxn>
                        <a:cxn ang="0">
                          <a:pos x="119" y="11"/>
                        </a:cxn>
                        <a:cxn ang="0">
                          <a:pos x="113" y="21"/>
                        </a:cxn>
                        <a:cxn ang="0">
                          <a:pos x="106" y="28"/>
                        </a:cxn>
                        <a:cxn ang="0">
                          <a:pos x="106" y="42"/>
                        </a:cxn>
                        <a:cxn ang="0">
                          <a:pos x="106" y="56"/>
                        </a:cxn>
                        <a:cxn ang="0">
                          <a:pos x="106" y="70"/>
                        </a:cxn>
                        <a:cxn ang="0">
                          <a:pos x="106" y="85"/>
                        </a:cxn>
                        <a:cxn ang="0">
                          <a:pos x="114" y="96"/>
                        </a:cxn>
                        <a:cxn ang="0">
                          <a:pos x="111" y="100"/>
                        </a:cxn>
                        <a:cxn ang="0">
                          <a:pos x="107" y="102"/>
                        </a:cxn>
                        <a:cxn ang="0">
                          <a:pos x="104" y="108"/>
                        </a:cxn>
                        <a:cxn ang="0">
                          <a:pos x="99" y="110"/>
                        </a:cxn>
                        <a:cxn ang="0">
                          <a:pos x="97" y="113"/>
                        </a:cxn>
                        <a:cxn ang="0">
                          <a:pos x="86" y="137"/>
                        </a:cxn>
                        <a:cxn ang="0">
                          <a:pos x="81" y="142"/>
                        </a:cxn>
                        <a:cxn ang="0">
                          <a:pos x="61" y="129"/>
                        </a:cxn>
                        <a:cxn ang="0">
                          <a:pos x="57" y="116"/>
                        </a:cxn>
                        <a:cxn ang="0">
                          <a:pos x="5" y="86"/>
                        </a:cxn>
                        <a:cxn ang="0">
                          <a:pos x="5" y="86"/>
                        </a:cxn>
                      </a:cxnLst>
                      <a:rect l="0" t="0" r="r" b="b"/>
                      <a:pathLst>
                        <a:path w="119" h="142">
                          <a:moveTo>
                            <a:pt x="5" y="86"/>
                          </a:moveTo>
                          <a:lnTo>
                            <a:pt x="3" y="83"/>
                          </a:lnTo>
                          <a:lnTo>
                            <a:pt x="5" y="80"/>
                          </a:lnTo>
                          <a:lnTo>
                            <a:pt x="7" y="80"/>
                          </a:lnTo>
                          <a:lnTo>
                            <a:pt x="10" y="77"/>
                          </a:lnTo>
                          <a:lnTo>
                            <a:pt x="13" y="76"/>
                          </a:lnTo>
                          <a:lnTo>
                            <a:pt x="13" y="75"/>
                          </a:lnTo>
                          <a:lnTo>
                            <a:pt x="10" y="75"/>
                          </a:lnTo>
                          <a:lnTo>
                            <a:pt x="7" y="75"/>
                          </a:lnTo>
                          <a:lnTo>
                            <a:pt x="5" y="76"/>
                          </a:lnTo>
                          <a:lnTo>
                            <a:pt x="4" y="76"/>
                          </a:lnTo>
                          <a:lnTo>
                            <a:pt x="3" y="73"/>
                          </a:lnTo>
                          <a:lnTo>
                            <a:pt x="1" y="71"/>
                          </a:lnTo>
                          <a:lnTo>
                            <a:pt x="1" y="67"/>
                          </a:lnTo>
                          <a:lnTo>
                            <a:pt x="1" y="67"/>
                          </a:lnTo>
                          <a:lnTo>
                            <a:pt x="16" y="48"/>
                          </a:lnTo>
                          <a:lnTo>
                            <a:pt x="16" y="38"/>
                          </a:lnTo>
                          <a:lnTo>
                            <a:pt x="16" y="28"/>
                          </a:lnTo>
                          <a:lnTo>
                            <a:pt x="8" y="23"/>
                          </a:lnTo>
                          <a:lnTo>
                            <a:pt x="6" y="10"/>
                          </a:lnTo>
                          <a:lnTo>
                            <a:pt x="0" y="8"/>
                          </a:lnTo>
                          <a:lnTo>
                            <a:pt x="8" y="0"/>
                          </a:lnTo>
                          <a:lnTo>
                            <a:pt x="29" y="0"/>
                          </a:lnTo>
                          <a:lnTo>
                            <a:pt x="41" y="1"/>
                          </a:lnTo>
                          <a:lnTo>
                            <a:pt x="58" y="13"/>
                          </a:lnTo>
                          <a:lnTo>
                            <a:pt x="75" y="17"/>
                          </a:lnTo>
                          <a:lnTo>
                            <a:pt x="81" y="17"/>
                          </a:lnTo>
                          <a:lnTo>
                            <a:pt x="88" y="13"/>
                          </a:lnTo>
                          <a:lnTo>
                            <a:pt x="92" y="8"/>
                          </a:lnTo>
                          <a:lnTo>
                            <a:pt x="102" y="6"/>
                          </a:lnTo>
                          <a:lnTo>
                            <a:pt x="112" y="11"/>
                          </a:lnTo>
                          <a:lnTo>
                            <a:pt x="119" y="11"/>
                          </a:lnTo>
                          <a:lnTo>
                            <a:pt x="113" y="21"/>
                          </a:lnTo>
                          <a:lnTo>
                            <a:pt x="106" y="28"/>
                          </a:lnTo>
                          <a:lnTo>
                            <a:pt x="106" y="42"/>
                          </a:lnTo>
                          <a:lnTo>
                            <a:pt x="106" y="56"/>
                          </a:lnTo>
                          <a:lnTo>
                            <a:pt x="106" y="70"/>
                          </a:lnTo>
                          <a:lnTo>
                            <a:pt x="106" y="85"/>
                          </a:lnTo>
                          <a:lnTo>
                            <a:pt x="114" y="96"/>
                          </a:lnTo>
                          <a:lnTo>
                            <a:pt x="111" y="100"/>
                          </a:lnTo>
                          <a:lnTo>
                            <a:pt x="107" y="102"/>
                          </a:lnTo>
                          <a:lnTo>
                            <a:pt x="104" y="108"/>
                          </a:lnTo>
                          <a:lnTo>
                            <a:pt x="99" y="110"/>
                          </a:lnTo>
                          <a:lnTo>
                            <a:pt x="97" y="113"/>
                          </a:lnTo>
                          <a:lnTo>
                            <a:pt x="86" y="137"/>
                          </a:lnTo>
                          <a:lnTo>
                            <a:pt x="81" y="142"/>
                          </a:lnTo>
                          <a:lnTo>
                            <a:pt x="61" y="129"/>
                          </a:lnTo>
                          <a:lnTo>
                            <a:pt x="57" y="116"/>
                          </a:lnTo>
                          <a:lnTo>
                            <a:pt x="5" y="86"/>
                          </a:lnTo>
                          <a:lnTo>
                            <a:pt x="5" y="86"/>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31" name="Freeform 334"/>
                    <p:cNvSpPr>
                      <a:spLocks/>
                    </p:cNvSpPr>
                    <p:nvPr/>
                  </p:nvSpPr>
                  <p:spPr bwMode="gray">
                    <a:xfrm>
                      <a:off x="5323988" y="3919480"/>
                      <a:ext cx="751517" cy="774713"/>
                    </a:xfrm>
                    <a:custGeom>
                      <a:avLst/>
                      <a:gdLst/>
                      <a:ahLst/>
                      <a:cxnLst>
                        <a:cxn ang="0">
                          <a:pos x="14" y="98"/>
                        </a:cxn>
                        <a:cxn ang="0">
                          <a:pos x="8" y="87"/>
                        </a:cxn>
                        <a:cxn ang="0">
                          <a:pos x="1" y="80"/>
                        </a:cxn>
                        <a:cxn ang="0">
                          <a:pos x="2" y="65"/>
                        </a:cxn>
                        <a:cxn ang="0">
                          <a:pos x="0" y="53"/>
                        </a:cxn>
                        <a:cxn ang="0">
                          <a:pos x="18" y="34"/>
                        </a:cxn>
                        <a:cxn ang="0">
                          <a:pos x="13" y="27"/>
                        </a:cxn>
                        <a:cxn ang="0">
                          <a:pos x="19" y="14"/>
                        </a:cxn>
                        <a:cxn ang="0">
                          <a:pos x="32" y="0"/>
                        </a:cxn>
                        <a:cxn ang="0">
                          <a:pos x="32" y="7"/>
                        </a:cxn>
                        <a:cxn ang="0">
                          <a:pos x="31" y="16"/>
                        </a:cxn>
                        <a:cxn ang="0">
                          <a:pos x="32" y="24"/>
                        </a:cxn>
                        <a:cxn ang="0">
                          <a:pos x="36" y="26"/>
                        </a:cxn>
                        <a:cxn ang="0">
                          <a:pos x="38" y="24"/>
                        </a:cxn>
                        <a:cxn ang="0">
                          <a:pos x="39" y="19"/>
                        </a:cxn>
                        <a:cxn ang="0">
                          <a:pos x="43" y="23"/>
                        </a:cxn>
                        <a:cxn ang="0">
                          <a:pos x="46" y="23"/>
                        </a:cxn>
                        <a:cxn ang="0">
                          <a:pos x="49" y="29"/>
                        </a:cxn>
                        <a:cxn ang="0">
                          <a:pos x="50" y="26"/>
                        </a:cxn>
                        <a:cxn ang="0">
                          <a:pos x="52" y="23"/>
                        </a:cxn>
                        <a:cxn ang="0">
                          <a:pos x="56" y="23"/>
                        </a:cxn>
                        <a:cxn ang="0">
                          <a:pos x="62" y="19"/>
                        </a:cxn>
                        <a:cxn ang="0">
                          <a:pos x="61" y="17"/>
                        </a:cxn>
                        <a:cxn ang="0">
                          <a:pos x="55" y="17"/>
                        </a:cxn>
                        <a:cxn ang="0">
                          <a:pos x="58" y="14"/>
                        </a:cxn>
                        <a:cxn ang="0">
                          <a:pos x="58" y="12"/>
                        </a:cxn>
                        <a:cxn ang="0">
                          <a:pos x="61" y="11"/>
                        </a:cxn>
                        <a:cxn ang="0">
                          <a:pos x="62" y="8"/>
                        </a:cxn>
                        <a:cxn ang="0">
                          <a:pos x="64" y="5"/>
                        </a:cxn>
                        <a:cxn ang="0">
                          <a:pos x="65" y="5"/>
                        </a:cxn>
                        <a:cxn ang="0">
                          <a:pos x="65" y="1"/>
                        </a:cxn>
                        <a:cxn ang="0">
                          <a:pos x="69" y="0"/>
                        </a:cxn>
                        <a:cxn ang="0">
                          <a:pos x="125" y="43"/>
                        </a:cxn>
                        <a:cxn ang="0">
                          <a:pos x="138" y="78"/>
                        </a:cxn>
                        <a:cxn ang="0">
                          <a:pos x="149" y="94"/>
                        </a:cxn>
                        <a:cxn ang="0">
                          <a:pos x="147" y="107"/>
                        </a:cxn>
                        <a:cxn ang="0">
                          <a:pos x="145" y="111"/>
                        </a:cxn>
                        <a:cxn ang="0">
                          <a:pos x="149" y="120"/>
                        </a:cxn>
                        <a:cxn ang="0">
                          <a:pos x="151" y="127"/>
                        </a:cxn>
                        <a:cxn ang="0">
                          <a:pos x="162" y="146"/>
                        </a:cxn>
                        <a:cxn ang="0">
                          <a:pos x="155" y="154"/>
                        </a:cxn>
                        <a:cxn ang="0">
                          <a:pos x="134" y="161"/>
                        </a:cxn>
                        <a:cxn ang="0">
                          <a:pos x="124" y="159"/>
                        </a:cxn>
                        <a:cxn ang="0">
                          <a:pos x="109" y="164"/>
                        </a:cxn>
                        <a:cxn ang="0">
                          <a:pos x="95" y="163"/>
                        </a:cxn>
                        <a:cxn ang="0">
                          <a:pos x="80" y="164"/>
                        </a:cxn>
                        <a:cxn ang="0">
                          <a:pos x="72" y="140"/>
                        </a:cxn>
                        <a:cxn ang="0">
                          <a:pos x="65" y="132"/>
                        </a:cxn>
                        <a:cxn ang="0">
                          <a:pos x="62" y="132"/>
                        </a:cxn>
                        <a:cxn ang="0">
                          <a:pos x="50" y="130"/>
                        </a:cxn>
                        <a:cxn ang="0">
                          <a:pos x="26" y="118"/>
                        </a:cxn>
                      </a:cxnLst>
                      <a:rect l="0" t="0" r="r" b="b"/>
                      <a:pathLst>
                        <a:path w="162" h="167">
                          <a:moveTo>
                            <a:pt x="22" y="118"/>
                          </a:moveTo>
                          <a:lnTo>
                            <a:pt x="14" y="98"/>
                          </a:lnTo>
                          <a:lnTo>
                            <a:pt x="13" y="92"/>
                          </a:lnTo>
                          <a:lnTo>
                            <a:pt x="8" y="87"/>
                          </a:lnTo>
                          <a:lnTo>
                            <a:pt x="2" y="83"/>
                          </a:lnTo>
                          <a:lnTo>
                            <a:pt x="1" y="80"/>
                          </a:lnTo>
                          <a:lnTo>
                            <a:pt x="3" y="76"/>
                          </a:lnTo>
                          <a:lnTo>
                            <a:pt x="2" y="65"/>
                          </a:lnTo>
                          <a:lnTo>
                            <a:pt x="0" y="62"/>
                          </a:lnTo>
                          <a:lnTo>
                            <a:pt x="0" y="53"/>
                          </a:lnTo>
                          <a:lnTo>
                            <a:pt x="8" y="50"/>
                          </a:lnTo>
                          <a:lnTo>
                            <a:pt x="18" y="34"/>
                          </a:lnTo>
                          <a:lnTo>
                            <a:pt x="17" y="29"/>
                          </a:lnTo>
                          <a:lnTo>
                            <a:pt x="13" y="27"/>
                          </a:lnTo>
                          <a:lnTo>
                            <a:pt x="15" y="21"/>
                          </a:lnTo>
                          <a:lnTo>
                            <a:pt x="19" y="14"/>
                          </a:lnTo>
                          <a:lnTo>
                            <a:pt x="12" y="0"/>
                          </a:lnTo>
                          <a:lnTo>
                            <a:pt x="32" y="0"/>
                          </a:lnTo>
                          <a:lnTo>
                            <a:pt x="32" y="1"/>
                          </a:lnTo>
                          <a:lnTo>
                            <a:pt x="32" y="7"/>
                          </a:lnTo>
                          <a:lnTo>
                            <a:pt x="31" y="11"/>
                          </a:lnTo>
                          <a:lnTo>
                            <a:pt x="31" y="16"/>
                          </a:lnTo>
                          <a:lnTo>
                            <a:pt x="32" y="23"/>
                          </a:lnTo>
                          <a:lnTo>
                            <a:pt x="32" y="24"/>
                          </a:lnTo>
                          <a:lnTo>
                            <a:pt x="33" y="27"/>
                          </a:lnTo>
                          <a:lnTo>
                            <a:pt x="36" y="26"/>
                          </a:lnTo>
                          <a:lnTo>
                            <a:pt x="37" y="24"/>
                          </a:lnTo>
                          <a:lnTo>
                            <a:pt x="38" y="24"/>
                          </a:lnTo>
                          <a:lnTo>
                            <a:pt x="38" y="22"/>
                          </a:lnTo>
                          <a:lnTo>
                            <a:pt x="39" y="19"/>
                          </a:lnTo>
                          <a:lnTo>
                            <a:pt x="40" y="21"/>
                          </a:lnTo>
                          <a:lnTo>
                            <a:pt x="43" y="23"/>
                          </a:lnTo>
                          <a:lnTo>
                            <a:pt x="45" y="24"/>
                          </a:lnTo>
                          <a:lnTo>
                            <a:pt x="46" y="23"/>
                          </a:lnTo>
                          <a:lnTo>
                            <a:pt x="47" y="24"/>
                          </a:lnTo>
                          <a:lnTo>
                            <a:pt x="49" y="29"/>
                          </a:lnTo>
                          <a:lnTo>
                            <a:pt x="50" y="28"/>
                          </a:lnTo>
                          <a:lnTo>
                            <a:pt x="50" y="26"/>
                          </a:lnTo>
                          <a:lnTo>
                            <a:pt x="51" y="23"/>
                          </a:lnTo>
                          <a:lnTo>
                            <a:pt x="52" y="23"/>
                          </a:lnTo>
                          <a:lnTo>
                            <a:pt x="55" y="23"/>
                          </a:lnTo>
                          <a:lnTo>
                            <a:pt x="56" y="23"/>
                          </a:lnTo>
                          <a:lnTo>
                            <a:pt x="58" y="22"/>
                          </a:lnTo>
                          <a:lnTo>
                            <a:pt x="62" y="19"/>
                          </a:lnTo>
                          <a:lnTo>
                            <a:pt x="62" y="18"/>
                          </a:lnTo>
                          <a:lnTo>
                            <a:pt x="61" y="17"/>
                          </a:lnTo>
                          <a:lnTo>
                            <a:pt x="57" y="18"/>
                          </a:lnTo>
                          <a:lnTo>
                            <a:pt x="55" y="17"/>
                          </a:lnTo>
                          <a:lnTo>
                            <a:pt x="56" y="16"/>
                          </a:lnTo>
                          <a:lnTo>
                            <a:pt x="58" y="14"/>
                          </a:lnTo>
                          <a:lnTo>
                            <a:pt x="57" y="13"/>
                          </a:lnTo>
                          <a:lnTo>
                            <a:pt x="58" y="12"/>
                          </a:lnTo>
                          <a:lnTo>
                            <a:pt x="59" y="12"/>
                          </a:lnTo>
                          <a:lnTo>
                            <a:pt x="61" y="11"/>
                          </a:lnTo>
                          <a:lnTo>
                            <a:pt x="62" y="10"/>
                          </a:lnTo>
                          <a:lnTo>
                            <a:pt x="62" y="8"/>
                          </a:lnTo>
                          <a:lnTo>
                            <a:pt x="63" y="7"/>
                          </a:lnTo>
                          <a:lnTo>
                            <a:pt x="64" y="5"/>
                          </a:lnTo>
                          <a:lnTo>
                            <a:pt x="65" y="5"/>
                          </a:lnTo>
                          <a:lnTo>
                            <a:pt x="65" y="5"/>
                          </a:lnTo>
                          <a:lnTo>
                            <a:pt x="65" y="2"/>
                          </a:lnTo>
                          <a:lnTo>
                            <a:pt x="65" y="1"/>
                          </a:lnTo>
                          <a:lnTo>
                            <a:pt x="69" y="0"/>
                          </a:lnTo>
                          <a:lnTo>
                            <a:pt x="69" y="0"/>
                          </a:lnTo>
                          <a:lnTo>
                            <a:pt x="121" y="30"/>
                          </a:lnTo>
                          <a:lnTo>
                            <a:pt x="125" y="43"/>
                          </a:lnTo>
                          <a:lnTo>
                            <a:pt x="145" y="56"/>
                          </a:lnTo>
                          <a:lnTo>
                            <a:pt x="138" y="78"/>
                          </a:lnTo>
                          <a:lnTo>
                            <a:pt x="138" y="82"/>
                          </a:lnTo>
                          <a:lnTo>
                            <a:pt x="149" y="94"/>
                          </a:lnTo>
                          <a:lnTo>
                            <a:pt x="146" y="103"/>
                          </a:lnTo>
                          <a:lnTo>
                            <a:pt x="147" y="107"/>
                          </a:lnTo>
                          <a:lnTo>
                            <a:pt x="147" y="110"/>
                          </a:lnTo>
                          <a:lnTo>
                            <a:pt x="145" y="111"/>
                          </a:lnTo>
                          <a:lnTo>
                            <a:pt x="145" y="113"/>
                          </a:lnTo>
                          <a:lnTo>
                            <a:pt x="149" y="120"/>
                          </a:lnTo>
                          <a:lnTo>
                            <a:pt x="147" y="123"/>
                          </a:lnTo>
                          <a:lnTo>
                            <a:pt x="151" y="127"/>
                          </a:lnTo>
                          <a:lnTo>
                            <a:pt x="153" y="140"/>
                          </a:lnTo>
                          <a:lnTo>
                            <a:pt x="162" y="146"/>
                          </a:lnTo>
                          <a:lnTo>
                            <a:pt x="162" y="148"/>
                          </a:lnTo>
                          <a:lnTo>
                            <a:pt x="155" y="154"/>
                          </a:lnTo>
                          <a:lnTo>
                            <a:pt x="139" y="161"/>
                          </a:lnTo>
                          <a:lnTo>
                            <a:pt x="134" y="161"/>
                          </a:lnTo>
                          <a:lnTo>
                            <a:pt x="131" y="158"/>
                          </a:lnTo>
                          <a:lnTo>
                            <a:pt x="124" y="159"/>
                          </a:lnTo>
                          <a:lnTo>
                            <a:pt x="120" y="164"/>
                          </a:lnTo>
                          <a:lnTo>
                            <a:pt x="109" y="164"/>
                          </a:lnTo>
                          <a:lnTo>
                            <a:pt x="101" y="167"/>
                          </a:lnTo>
                          <a:lnTo>
                            <a:pt x="95" y="163"/>
                          </a:lnTo>
                          <a:lnTo>
                            <a:pt x="90" y="164"/>
                          </a:lnTo>
                          <a:lnTo>
                            <a:pt x="80" y="164"/>
                          </a:lnTo>
                          <a:lnTo>
                            <a:pt x="75" y="157"/>
                          </a:lnTo>
                          <a:lnTo>
                            <a:pt x="72" y="140"/>
                          </a:lnTo>
                          <a:lnTo>
                            <a:pt x="68" y="134"/>
                          </a:lnTo>
                          <a:lnTo>
                            <a:pt x="65" y="132"/>
                          </a:lnTo>
                          <a:lnTo>
                            <a:pt x="64" y="135"/>
                          </a:lnTo>
                          <a:lnTo>
                            <a:pt x="62" y="132"/>
                          </a:lnTo>
                          <a:lnTo>
                            <a:pt x="57" y="134"/>
                          </a:lnTo>
                          <a:lnTo>
                            <a:pt x="50" y="130"/>
                          </a:lnTo>
                          <a:lnTo>
                            <a:pt x="32" y="123"/>
                          </a:lnTo>
                          <a:lnTo>
                            <a:pt x="26" y="118"/>
                          </a:lnTo>
                          <a:lnTo>
                            <a:pt x="22" y="118"/>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32" name="Freeform 335"/>
                    <p:cNvSpPr>
                      <a:spLocks/>
                    </p:cNvSpPr>
                    <p:nvPr/>
                  </p:nvSpPr>
                  <p:spPr bwMode="gray">
                    <a:xfrm>
                      <a:off x="4057542" y="4267403"/>
                      <a:ext cx="886049" cy="890687"/>
                    </a:xfrm>
                    <a:custGeom>
                      <a:avLst/>
                      <a:gdLst/>
                      <a:ahLst/>
                      <a:cxnLst>
                        <a:cxn ang="0">
                          <a:pos x="85" y="180"/>
                        </a:cxn>
                        <a:cxn ang="0">
                          <a:pos x="51" y="180"/>
                        </a:cxn>
                        <a:cxn ang="0">
                          <a:pos x="26" y="174"/>
                        </a:cxn>
                        <a:cxn ang="0">
                          <a:pos x="17" y="174"/>
                        </a:cxn>
                        <a:cxn ang="0">
                          <a:pos x="7" y="176"/>
                        </a:cxn>
                        <a:cxn ang="0">
                          <a:pos x="0" y="169"/>
                        </a:cxn>
                        <a:cxn ang="0">
                          <a:pos x="3" y="158"/>
                        </a:cxn>
                        <a:cxn ang="0">
                          <a:pos x="7" y="146"/>
                        </a:cxn>
                        <a:cxn ang="0">
                          <a:pos x="16" y="116"/>
                        </a:cxn>
                        <a:cxn ang="0">
                          <a:pos x="19" y="109"/>
                        </a:cxn>
                        <a:cxn ang="0">
                          <a:pos x="30" y="99"/>
                        </a:cxn>
                        <a:cxn ang="0">
                          <a:pos x="32" y="81"/>
                        </a:cxn>
                        <a:cxn ang="0">
                          <a:pos x="32" y="73"/>
                        </a:cxn>
                        <a:cxn ang="0">
                          <a:pos x="23" y="52"/>
                        </a:cxn>
                        <a:cxn ang="0">
                          <a:pos x="25" y="38"/>
                        </a:cxn>
                        <a:cxn ang="0">
                          <a:pos x="11" y="6"/>
                        </a:cxn>
                        <a:cxn ang="0">
                          <a:pos x="37" y="0"/>
                        </a:cxn>
                        <a:cxn ang="0">
                          <a:pos x="60" y="0"/>
                        </a:cxn>
                        <a:cxn ang="0">
                          <a:pos x="76" y="3"/>
                        </a:cxn>
                        <a:cxn ang="0">
                          <a:pos x="90" y="34"/>
                        </a:cxn>
                        <a:cxn ang="0">
                          <a:pos x="106" y="33"/>
                        </a:cxn>
                        <a:cxn ang="0">
                          <a:pos x="121" y="18"/>
                        </a:cxn>
                        <a:cxn ang="0">
                          <a:pos x="138" y="22"/>
                        </a:cxn>
                        <a:cxn ang="0">
                          <a:pos x="154" y="25"/>
                        </a:cxn>
                        <a:cxn ang="0">
                          <a:pos x="155" y="56"/>
                        </a:cxn>
                        <a:cxn ang="0">
                          <a:pos x="156" y="82"/>
                        </a:cxn>
                        <a:cxn ang="0">
                          <a:pos x="165" y="79"/>
                        </a:cxn>
                        <a:cxn ang="0">
                          <a:pos x="185" y="79"/>
                        </a:cxn>
                        <a:cxn ang="0">
                          <a:pos x="190" y="79"/>
                        </a:cxn>
                        <a:cxn ang="0">
                          <a:pos x="191" y="111"/>
                        </a:cxn>
                        <a:cxn ang="0">
                          <a:pos x="168" y="111"/>
                        </a:cxn>
                        <a:cxn ang="0">
                          <a:pos x="157" y="124"/>
                        </a:cxn>
                        <a:cxn ang="0">
                          <a:pos x="157" y="151"/>
                        </a:cxn>
                        <a:cxn ang="0">
                          <a:pos x="175" y="185"/>
                        </a:cxn>
                        <a:cxn ang="0">
                          <a:pos x="128" y="187"/>
                        </a:cxn>
                        <a:cxn ang="0">
                          <a:pos x="107" y="186"/>
                        </a:cxn>
                      </a:cxnLst>
                      <a:rect l="0" t="0" r="r" b="b"/>
                      <a:pathLst>
                        <a:path w="191" h="192">
                          <a:moveTo>
                            <a:pt x="101" y="180"/>
                          </a:moveTo>
                          <a:lnTo>
                            <a:pt x="85" y="180"/>
                          </a:lnTo>
                          <a:lnTo>
                            <a:pt x="68" y="180"/>
                          </a:lnTo>
                          <a:lnTo>
                            <a:pt x="51" y="180"/>
                          </a:lnTo>
                          <a:lnTo>
                            <a:pt x="35" y="180"/>
                          </a:lnTo>
                          <a:lnTo>
                            <a:pt x="26" y="174"/>
                          </a:lnTo>
                          <a:lnTo>
                            <a:pt x="24" y="173"/>
                          </a:lnTo>
                          <a:lnTo>
                            <a:pt x="17" y="174"/>
                          </a:lnTo>
                          <a:lnTo>
                            <a:pt x="10" y="178"/>
                          </a:lnTo>
                          <a:lnTo>
                            <a:pt x="7" y="176"/>
                          </a:lnTo>
                          <a:lnTo>
                            <a:pt x="2" y="180"/>
                          </a:lnTo>
                          <a:lnTo>
                            <a:pt x="0" y="169"/>
                          </a:lnTo>
                          <a:lnTo>
                            <a:pt x="3" y="173"/>
                          </a:lnTo>
                          <a:lnTo>
                            <a:pt x="3" y="158"/>
                          </a:lnTo>
                          <a:lnTo>
                            <a:pt x="5" y="156"/>
                          </a:lnTo>
                          <a:lnTo>
                            <a:pt x="7" y="146"/>
                          </a:lnTo>
                          <a:lnTo>
                            <a:pt x="12" y="124"/>
                          </a:lnTo>
                          <a:lnTo>
                            <a:pt x="16" y="116"/>
                          </a:lnTo>
                          <a:lnTo>
                            <a:pt x="19" y="113"/>
                          </a:lnTo>
                          <a:lnTo>
                            <a:pt x="19" y="109"/>
                          </a:lnTo>
                          <a:lnTo>
                            <a:pt x="25" y="106"/>
                          </a:lnTo>
                          <a:lnTo>
                            <a:pt x="30" y="99"/>
                          </a:lnTo>
                          <a:lnTo>
                            <a:pt x="32" y="92"/>
                          </a:lnTo>
                          <a:lnTo>
                            <a:pt x="32" y="81"/>
                          </a:lnTo>
                          <a:lnTo>
                            <a:pt x="34" y="78"/>
                          </a:lnTo>
                          <a:lnTo>
                            <a:pt x="32" y="73"/>
                          </a:lnTo>
                          <a:lnTo>
                            <a:pt x="26" y="65"/>
                          </a:lnTo>
                          <a:lnTo>
                            <a:pt x="23" y="52"/>
                          </a:lnTo>
                          <a:lnTo>
                            <a:pt x="26" y="46"/>
                          </a:lnTo>
                          <a:lnTo>
                            <a:pt x="25" y="38"/>
                          </a:lnTo>
                          <a:lnTo>
                            <a:pt x="19" y="18"/>
                          </a:lnTo>
                          <a:lnTo>
                            <a:pt x="11" y="6"/>
                          </a:lnTo>
                          <a:lnTo>
                            <a:pt x="26" y="0"/>
                          </a:lnTo>
                          <a:lnTo>
                            <a:pt x="37" y="0"/>
                          </a:lnTo>
                          <a:lnTo>
                            <a:pt x="48" y="0"/>
                          </a:lnTo>
                          <a:lnTo>
                            <a:pt x="60" y="0"/>
                          </a:lnTo>
                          <a:lnTo>
                            <a:pt x="71" y="0"/>
                          </a:lnTo>
                          <a:lnTo>
                            <a:pt x="76" y="3"/>
                          </a:lnTo>
                          <a:lnTo>
                            <a:pt x="81" y="23"/>
                          </a:lnTo>
                          <a:lnTo>
                            <a:pt x="90" y="34"/>
                          </a:lnTo>
                          <a:lnTo>
                            <a:pt x="93" y="35"/>
                          </a:lnTo>
                          <a:lnTo>
                            <a:pt x="106" y="33"/>
                          </a:lnTo>
                          <a:lnTo>
                            <a:pt x="117" y="33"/>
                          </a:lnTo>
                          <a:lnTo>
                            <a:pt x="121" y="18"/>
                          </a:lnTo>
                          <a:lnTo>
                            <a:pt x="140" y="16"/>
                          </a:lnTo>
                          <a:lnTo>
                            <a:pt x="138" y="22"/>
                          </a:lnTo>
                          <a:lnTo>
                            <a:pt x="151" y="22"/>
                          </a:lnTo>
                          <a:lnTo>
                            <a:pt x="154" y="25"/>
                          </a:lnTo>
                          <a:lnTo>
                            <a:pt x="155" y="48"/>
                          </a:lnTo>
                          <a:lnTo>
                            <a:pt x="155" y="56"/>
                          </a:lnTo>
                          <a:lnTo>
                            <a:pt x="159" y="73"/>
                          </a:lnTo>
                          <a:lnTo>
                            <a:pt x="156" y="82"/>
                          </a:lnTo>
                          <a:lnTo>
                            <a:pt x="161" y="84"/>
                          </a:lnTo>
                          <a:lnTo>
                            <a:pt x="165" y="79"/>
                          </a:lnTo>
                          <a:lnTo>
                            <a:pt x="174" y="79"/>
                          </a:lnTo>
                          <a:lnTo>
                            <a:pt x="185" y="79"/>
                          </a:lnTo>
                          <a:lnTo>
                            <a:pt x="188" y="78"/>
                          </a:lnTo>
                          <a:lnTo>
                            <a:pt x="190" y="79"/>
                          </a:lnTo>
                          <a:lnTo>
                            <a:pt x="186" y="108"/>
                          </a:lnTo>
                          <a:lnTo>
                            <a:pt x="191" y="111"/>
                          </a:lnTo>
                          <a:lnTo>
                            <a:pt x="179" y="111"/>
                          </a:lnTo>
                          <a:lnTo>
                            <a:pt x="168" y="111"/>
                          </a:lnTo>
                          <a:lnTo>
                            <a:pt x="157" y="111"/>
                          </a:lnTo>
                          <a:lnTo>
                            <a:pt x="157" y="124"/>
                          </a:lnTo>
                          <a:lnTo>
                            <a:pt x="157" y="135"/>
                          </a:lnTo>
                          <a:lnTo>
                            <a:pt x="157" y="151"/>
                          </a:lnTo>
                          <a:lnTo>
                            <a:pt x="157" y="168"/>
                          </a:lnTo>
                          <a:lnTo>
                            <a:pt x="175" y="185"/>
                          </a:lnTo>
                          <a:lnTo>
                            <a:pt x="149" y="192"/>
                          </a:lnTo>
                          <a:lnTo>
                            <a:pt x="128" y="187"/>
                          </a:lnTo>
                          <a:lnTo>
                            <a:pt x="112" y="189"/>
                          </a:lnTo>
                          <a:lnTo>
                            <a:pt x="107" y="186"/>
                          </a:lnTo>
                          <a:lnTo>
                            <a:pt x="101" y="180"/>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33" name="Freeform 336"/>
                    <p:cNvSpPr>
                      <a:spLocks/>
                    </p:cNvSpPr>
                    <p:nvPr/>
                  </p:nvSpPr>
                  <p:spPr bwMode="gray">
                    <a:xfrm>
                      <a:off x="5008537" y="4977170"/>
                      <a:ext cx="542764" cy="528845"/>
                    </a:xfrm>
                    <a:custGeom>
                      <a:avLst/>
                      <a:gdLst/>
                      <a:ahLst/>
                      <a:cxnLst>
                        <a:cxn ang="0">
                          <a:pos x="26" y="36"/>
                        </a:cxn>
                        <a:cxn ang="0">
                          <a:pos x="30" y="34"/>
                        </a:cxn>
                        <a:cxn ang="0">
                          <a:pos x="37" y="27"/>
                        </a:cxn>
                        <a:cxn ang="0">
                          <a:pos x="43" y="23"/>
                        </a:cxn>
                        <a:cxn ang="0">
                          <a:pos x="43" y="21"/>
                        </a:cxn>
                        <a:cxn ang="0">
                          <a:pos x="49" y="18"/>
                        </a:cxn>
                        <a:cxn ang="0">
                          <a:pos x="54" y="20"/>
                        </a:cxn>
                        <a:cxn ang="0">
                          <a:pos x="55" y="17"/>
                        </a:cxn>
                        <a:cxn ang="0">
                          <a:pos x="52" y="15"/>
                        </a:cxn>
                        <a:cxn ang="0">
                          <a:pos x="52" y="12"/>
                        </a:cxn>
                        <a:cxn ang="0">
                          <a:pos x="54" y="6"/>
                        </a:cxn>
                        <a:cxn ang="0">
                          <a:pos x="68" y="0"/>
                        </a:cxn>
                        <a:cxn ang="0">
                          <a:pos x="73" y="1"/>
                        </a:cxn>
                        <a:cxn ang="0">
                          <a:pos x="76" y="0"/>
                        </a:cxn>
                        <a:cxn ang="0">
                          <a:pos x="76" y="5"/>
                        </a:cxn>
                        <a:cxn ang="0">
                          <a:pos x="92" y="6"/>
                        </a:cxn>
                        <a:cxn ang="0">
                          <a:pos x="112" y="14"/>
                        </a:cxn>
                        <a:cxn ang="0">
                          <a:pos x="114" y="16"/>
                        </a:cxn>
                        <a:cxn ang="0">
                          <a:pos x="117" y="30"/>
                        </a:cxn>
                        <a:cxn ang="0">
                          <a:pos x="117" y="43"/>
                        </a:cxn>
                        <a:cxn ang="0">
                          <a:pos x="113" y="54"/>
                        </a:cxn>
                        <a:cxn ang="0">
                          <a:pos x="115" y="71"/>
                        </a:cxn>
                        <a:cxn ang="0">
                          <a:pos x="104" y="100"/>
                        </a:cxn>
                        <a:cxn ang="0">
                          <a:pos x="96" y="107"/>
                        </a:cxn>
                        <a:cxn ang="0">
                          <a:pos x="95" y="114"/>
                        </a:cxn>
                        <a:cxn ang="0">
                          <a:pos x="89" y="109"/>
                        </a:cxn>
                        <a:cxn ang="0">
                          <a:pos x="85" y="108"/>
                        </a:cxn>
                        <a:cxn ang="0">
                          <a:pos x="74" y="107"/>
                        </a:cxn>
                        <a:cxn ang="0">
                          <a:pos x="65" y="104"/>
                        </a:cxn>
                        <a:cxn ang="0">
                          <a:pos x="62" y="106"/>
                        </a:cxn>
                        <a:cxn ang="0">
                          <a:pos x="52" y="101"/>
                        </a:cxn>
                        <a:cxn ang="0">
                          <a:pos x="45" y="101"/>
                        </a:cxn>
                        <a:cxn ang="0">
                          <a:pos x="40" y="96"/>
                        </a:cxn>
                        <a:cxn ang="0">
                          <a:pos x="38" y="81"/>
                        </a:cxn>
                        <a:cxn ang="0">
                          <a:pos x="25" y="71"/>
                        </a:cxn>
                        <a:cxn ang="0">
                          <a:pos x="21" y="70"/>
                        </a:cxn>
                        <a:cxn ang="0">
                          <a:pos x="13" y="60"/>
                        </a:cxn>
                        <a:cxn ang="0">
                          <a:pos x="7" y="48"/>
                        </a:cxn>
                        <a:cxn ang="0">
                          <a:pos x="0" y="39"/>
                        </a:cxn>
                        <a:cxn ang="0">
                          <a:pos x="0" y="36"/>
                        </a:cxn>
                        <a:cxn ang="0">
                          <a:pos x="11" y="37"/>
                        </a:cxn>
                        <a:cxn ang="0">
                          <a:pos x="19" y="37"/>
                        </a:cxn>
                        <a:cxn ang="0">
                          <a:pos x="21" y="39"/>
                        </a:cxn>
                        <a:cxn ang="0">
                          <a:pos x="25" y="38"/>
                        </a:cxn>
                        <a:cxn ang="0">
                          <a:pos x="26" y="36"/>
                        </a:cxn>
                      </a:cxnLst>
                      <a:rect l="0" t="0" r="r" b="b"/>
                      <a:pathLst>
                        <a:path w="117" h="114">
                          <a:moveTo>
                            <a:pt x="26" y="36"/>
                          </a:moveTo>
                          <a:lnTo>
                            <a:pt x="30" y="34"/>
                          </a:lnTo>
                          <a:lnTo>
                            <a:pt x="37" y="27"/>
                          </a:lnTo>
                          <a:lnTo>
                            <a:pt x="43" y="23"/>
                          </a:lnTo>
                          <a:lnTo>
                            <a:pt x="43" y="21"/>
                          </a:lnTo>
                          <a:lnTo>
                            <a:pt x="49" y="18"/>
                          </a:lnTo>
                          <a:lnTo>
                            <a:pt x="54" y="20"/>
                          </a:lnTo>
                          <a:lnTo>
                            <a:pt x="55" y="17"/>
                          </a:lnTo>
                          <a:lnTo>
                            <a:pt x="52" y="15"/>
                          </a:lnTo>
                          <a:lnTo>
                            <a:pt x="52" y="12"/>
                          </a:lnTo>
                          <a:lnTo>
                            <a:pt x="54" y="6"/>
                          </a:lnTo>
                          <a:lnTo>
                            <a:pt x="68" y="0"/>
                          </a:lnTo>
                          <a:lnTo>
                            <a:pt x="73" y="1"/>
                          </a:lnTo>
                          <a:lnTo>
                            <a:pt x="76" y="0"/>
                          </a:lnTo>
                          <a:lnTo>
                            <a:pt x="76" y="5"/>
                          </a:lnTo>
                          <a:lnTo>
                            <a:pt x="92" y="6"/>
                          </a:lnTo>
                          <a:lnTo>
                            <a:pt x="112" y="14"/>
                          </a:lnTo>
                          <a:lnTo>
                            <a:pt x="114" y="16"/>
                          </a:lnTo>
                          <a:lnTo>
                            <a:pt x="117" y="30"/>
                          </a:lnTo>
                          <a:lnTo>
                            <a:pt x="117" y="43"/>
                          </a:lnTo>
                          <a:lnTo>
                            <a:pt x="113" y="54"/>
                          </a:lnTo>
                          <a:lnTo>
                            <a:pt x="115" y="71"/>
                          </a:lnTo>
                          <a:lnTo>
                            <a:pt x="104" y="100"/>
                          </a:lnTo>
                          <a:lnTo>
                            <a:pt x="96" y="107"/>
                          </a:lnTo>
                          <a:lnTo>
                            <a:pt x="95" y="114"/>
                          </a:lnTo>
                          <a:lnTo>
                            <a:pt x="89" y="109"/>
                          </a:lnTo>
                          <a:lnTo>
                            <a:pt x="85" y="108"/>
                          </a:lnTo>
                          <a:lnTo>
                            <a:pt x="74" y="107"/>
                          </a:lnTo>
                          <a:lnTo>
                            <a:pt x="65" y="104"/>
                          </a:lnTo>
                          <a:lnTo>
                            <a:pt x="62" y="106"/>
                          </a:lnTo>
                          <a:lnTo>
                            <a:pt x="52" y="101"/>
                          </a:lnTo>
                          <a:lnTo>
                            <a:pt x="45" y="101"/>
                          </a:lnTo>
                          <a:lnTo>
                            <a:pt x="40" y="96"/>
                          </a:lnTo>
                          <a:lnTo>
                            <a:pt x="38" y="81"/>
                          </a:lnTo>
                          <a:lnTo>
                            <a:pt x="25" y="71"/>
                          </a:lnTo>
                          <a:lnTo>
                            <a:pt x="21" y="70"/>
                          </a:lnTo>
                          <a:lnTo>
                            <a:pt x="13" y="60"/>
                          </a:lnTo>
                          <a:lnTo>
                            <a:pt x="7" y="48"/>
                          </a:lnTo>
                          <a:lnTo>
                            <a:pt x="0" y="39"/>
                          </a:lnTo>
                          <a:lnTo>
                            <a:pt x="0" y="36"/>
                          </a:lnTo>
                          <a:lnTo>
                            <a:pt x="11" y="37"/>
                          </a:lnTo>
                          <a:lnTo>
                            <a:pt x="19" y="37"/>
                          </a:lnTo>
                          <a:lnTo>
                            <a:pt x="21" y="39"/>
                          </a:lnTo>
                          <a:lnTo>
                            <a:pt x="25" y="38"/>
                          </a:lnTo>
                          <a:lnTo>
                            <a:pt x="26" y="36"/>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34" name="Freeform 337"/>
                    <p:cNvSpPr>
                      <a:spLocks/>
                    </p:cNvSpPr>
                    <p:nvPr/>
                  </p:nvSpPr>
                  <p:spPr bwMode="gray">
                    <a:xfrm>
                      <a:off x="4637417" y="5134896"/>
                      <a:ext cx="658736" cy="700489"/>
                    </a:xfrm>
                    <a:custGeom>
                      <a:avLst/>
                      <a:gdLst/>
                      <a:ahLst/>
                      <a:cxnLst>
                        <a:cxn ang="0">
                          <a:pos x="142" y="72"/>
                        </a:cxn>
                        <a:cxn ang="0">
                          <a:pos x="132" y="67"/>
                        </a:cxn>
                        <a:cxn ang="0">
                          <a:pos x="125" y="67"/>
                        </a:cxn>
                        <a:cxn ang="0">
                          <a:pos x="120" y="62"/>
                        </a:cxn>
                        <a:cxn ang="0">
                          <a:pos x="118" y="47"/>
                        </a:cxn>
                        <a:cxn ang="0">
                          <a:pos x="105" y="37"/>
                        </a:cxn>
                        <a:cxn ang="0">
                          <a:pos x="101" y="36"/>
                        </a:cxn>
                        <a:cxn ang="0">
                          <a:pos x="93" y="26"/>
                        </a:cxn>
                        <a:cxn ang="0">
                          <a:pos x="87" y="14"/>
                        </a:cxn>
                        <a:cxn ang="0">
                          <a:pos x="80" y="5"/>
                        </a:cxn>
                        <a:cxn ang="0">
                          <a:pos x="80" y="2"/>
                        </a:cxn>
                        <a:cxn ang="0">
                          <a:pos x="74" y="0"/>
                        </a:cxn>
                        <a:cxn ang="0">
                          <a:pos x="72" y="4"/>
                        </a:cxn>
                        <a:cxn ang="0">
                          <a:pos x="63" y="5"/>
                        </a:cxn>
                        <a:cxn ang="0">
                          <a:pos x="55" y="14"/>
                        </a:cxn>
                        <a:cxn ang="0">
                          <a:pos x="53" y="7"/>
                        </a:cxn>
                        <a:cxn ang="0">
                          <a:pos x="46" y="5"/>
                        </a:cxn>
                        <a:cxn ang="0">
                          <a:pos x="16" y="11"/>
                        </a:cxn>
                        <a:cxn ang="0">
                          <a:pos x="16" y="27"/>
                        </a:cxn>
                        <a:cxn ang="0">
                          <a:pos x="16" y="38"/>
                        </a:cxn>
                        <a:cxn ang="0">
                          <a:pos x="16" y="52"/>
                        </a:cxn>
                        <a:cxn ang="0">
                          <a:pos x="16" y="69"/>
                        </a:cxn>
                        <a:cxn ang="0">
                          <a:pos x="1" y="68"/>
                        </a:cxn>
                        <a:cxn ang="0">
                          <a:pos x="0" y="69"/>
                        </a:cxn>
                        <a:cxn ang="0">
                          <a:pos x="0" y="94"/>
                        </a:cxn>
                        <a:cxn ang="0">
                          <a:pos x="0" y="116"/>
                        </a:cxn>
                        <a:cxn ang="0">
                          <a:pos x="13" y="131"/>
                        </a:cxn>
                        <a:cxn ang="0">
                          <a:pos x="15" y="138"/>
                        </a:cxn>
                        <a:cxn ang="0">
                          <a:pos x="12" y="148"/>
                        </a:cxn>
                        <a:cxn ang="0">
                          <a:pos x="12" y="149"/>
                        </a:cxn>
                        <a:cxn ang="0">
                          <a:pos x="25" y="151"/>
                        </a:cxn>
                        <a:cxn ang="0">
                          <a:pos x="35" y="149"/>
                        </a:cxn>
                        <a:cxn ang="0">
                          <a:pos x="51" y="128"/>
                        </a:cxn>
                        <a:cxn ang="0">
                          <a:pos x="59" y="127"/>
                        </a:cxn>
                        <a:cxn ang="0">
                          <a:pos x="73" y="132"/>
                        </a:cxn>
                        <a:cxn ang="0">
                          <a:pos x="85" y="129"/>
                        </a:cxn>
                        <a:cxn ang="0">
                          <a:pos x="90" y="118"/>
                        </a:cxn>
                        <a:cxn ang="0">
                          <a:pos x="101" y="107"/>
                        </a:cxn>
                        <a:cxn ang="0">
                          <a:pos x="106" y="100"/>
                        </a:cxn>
                        <a:cxn ang="0">
                          <a:pos x="115" y="90"/>
                        </a:cxn>
                        <a:cxn ang="0">
                          <a:pos x="124" y="83"/>
                        </a:cxn>
                        <a:cxn ang="0">
                          <a:pos x="142" y="72"/>
                        </a:cxn>
                      </a:cxnLst>
                      <a:rect l="0" t="0" r="r" b="b"/>
                      <a:pathLst>
                        <a:path w="142" h="151">
                          <a:moveTo>
                            <a:pt x="142" y="72"/>
                          </a:moveTo>
                          <a:lnTo>
                            <a:pt x="132" y="67"/>
                          </a:lnTo>
                          <a:lnTo>
                            <a:pt x="125" y="67"/>
                          </a:lnTo>
                          <a:lnTo>
                            <a:pt x="120" y="62"/>
                          </a:lnTo>
                          <a:lnTo>
                            <a:pt x="118" y="47"/>
                          </a:lnTo>
                          <a:lnTo>
                            <a:pt x="105" y="37"/>
                          </a:lnTo>
                          <a:lnTo>
                            <a:pt x="101" y="36"/>
                          </a:lnTo>
                          <a:lnTo>
                            <a:pt x="93" y="26"/>
                          </a:lnTo>
                          <a:lnTo>
                            <a:pt x="87" y="14"/>
                          </a:lnTo>
                          <a:lnTo>
                            <a:pt x="80" y="5"/>
                          </a:lnTo>
                          <a:lnTo>
                            <a:pt x="80" y="2"/>
                          </a:lnTo>
                          <a:lnTo>
                            <a:pt x="74" y="0"/>
                          </a:lnTo>
                          <a:lnTo>
                            <a:pt x="72" y="4"/>
                          </a:lnTo>
                          <a:lnTo>
                            <a:pt x="63" y="5"/>
                          </a:lnTo>
                          <a:lnTo>
                            <a:pt x="55" y="14"/>
                          </a:lnTo>
                          <a:lnTo>
                            <a:pt x="53" y="7"/>
                          </a:lnTo>
                          <a:lnTo>
                            <a:pt x="46" y="5"/>
                          </a:lnTo>
                          <a:lnTo>
                            <a:pt x="16" y="11"/>
                          </a:lnTo>
                          <a:lnTo>
                            <a:pt x="16" y="27"/>
                          </a:lnTo>
                          <a:lnTo>
                            <a:pt x="16" y="38"/>
                          </a:lnTo>
                          <a:lnTo>
                            <a:pt x="16" y="52"/>
                          </a:lnTo>
                          <a:lnTo>
                            <a:pt x="16" y="69"/>
                          </a:lnTo>
                          <a:lnTo>
                            <a:pt x="1" y="68"/>
                          </a:lnTo>
                          <a:lnTo>
                            <a:pt x="0" y="69"/>
                          </a:lnTo>
                          <a:lnTo>
                            <a:pt x="0" y="94"/>
                          </a:lnTo>
                          <a:lnTo>
                            <a:pt x="0" y="116"/>
                          </a:lnTo>
                          <a:lnTo>
                            <a:pt x="13" y="131"/>
                          </a:lnTo>
                          <a:lnTo>
                            <a:pt x="15" y="138"/>
                          </a:lnTo>
                          <a:lnTo>
                            <a:pt x="12" y="148"/>
                          </a:lnTo>
                          <a:lnTo>
                            <a:pt x="12" y="149"/>
                          </a:lnTo>
                          <a:lnTo>
                            <a:pt x="25" y="151"/>
                          </a:lnTo>
                          <a:lnTo>
                            <a:pt x="35" y="149"/>
                          </a:lnTo>
                          <a:lnTo>
                            <a:pt x="51" y="128"/>
                          </a:lnTo>
                          <a:lnTo>
                            <a:pt x="59" y="127"/>
                          </a:lnTo>
                          <a:lnTo>
                            <a:pt x="73" y="132"/>
                          </a:lnTo>
                          <a:lnTo>
                            <a:pt x="85" y="129"/>
                          </a:lnTo>
                          <a:lnTo>
                            <a:pt x="90" y="118"/>
                          </a:lnTo>
                          <a:lnTo>
                            <a:pt x="101" y="107"/>
                          </a:lnTo>
                          <a:lnTo>
                            <a:pt x="106" y="100"/>
                          </a:lnTo>
                          <a:lnTo>
                            <a:pt x="115" y="90"/>
                          </a:lnTo>
                          <a:lnTo>
                            <a:pt x="124" y="83"/>
                          </a:lnTo>
                          <a:lnTo>
                            <a:pt x="142" y="72"/>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35" name="Freeform 338"/>
                    <p:cNvSpPr>
                      <a:spLocks/>
                    </p:cNvSpPr>
                    <p:nvPr/>
                  </p:nvSpPr>
                  <p:spPr bwMode="gray">
                    <a:xfrm>
                      <a:off x="4066819" y="5069951"/>
                      <a:ext cx="941716" cy="941716"/>
                    </a:xfrm>
                    <a:custGeom>
                      <a:avLst/>
                      <a:gdLst/>
                      <a:ahLst/>
                      <a:cxnLst>
                        <a:cxn ang="0">
                          <a:pos x="99" y="7"/>
                        </a:cxn>
                        <a:cxn ang="0">
                          <a:pos x="83" y="7"/>
                        </a:cxn>
                        <a:cxn ang="0">
                          <a:pos x="66" y="7"/>
                        </a:cxn>
                        <a:cxn ang="0">
                          <a:pos x="49" y="7"/>
                        </a:cxn>
                        <a:cxn ang="0">
                          <a:pos x="33" y="7"/>
                        </a:cxn>
                        <a:cxn ang="0">
                          <a:pos x="24" y="1"/>
                        </a:cxn>
                        <a:cxn ang="0">
                          <a:pos x="22" y="0"/>
                        </a:cxn>
                        <a:cxn ang="0">
                          <a:pos x="15" y="1"/>
                        </a:cxn>
                        <a:cxn ang="0">
                          <a:pos x="8" y="5"/>
                        </a:cxn>
                        <a:cxn ang="0">
                          <a:pos x="5" y="3"/>
                        </a:cxn>
                        <a:cxn ang="0">
                          <a:pos x="0" y="7"/>
                        </a:cxn>
                        <a:cxn ang="0">
                          <a:pos x="1" y="21"/>
                        </a:cxn>
                        <a:cxn ang="0">
                          <a:pos x="15" y="43"/>
                        </a:cxn>
                        <a:cxn ang="0">
                          <a:pos x="26" y="67"/>
                        </a:cxn>
                        <a:cxn ang="0">
                          <a:pos x="40" y="93"/>
                        </a:cxn>
                        <a:cxn ang="0">
                          <a:pos x="41" y="120"/>
                        </a:cxn>
                        <a:cxn ang="0">
                          <a:pos x="46" y="135"/>
                        </a:cxn>
                        <a:cxn ang="0">
                          <a:pos x="47" y="147"/>
                        </a:cxn>
                        <a:cxn ang="0">
                          <a:pos x="53" y="176"/>
                        </a:cxn>
                        <a:cxn ang="0">
                          <a:pos x="60" y="188"/>
                        </a:cxn>
                        <a:cxn ang="0">
                          <a:pos x="72" y="197"/>
                        </a:cxn>
                        <a:cxn ang="0">
                          <a:pos x="74" y="197"/>
                        </a:cxn>
                        <a:cxn ang="0">
                          <a:pos x="77" y="191"/>
                        </a:cxn>
                        <a:cxn ang="0">
                          <a:pos x="80" y="191"/>
                        </a:cxn>
                        <a:cxn ang="0">
                          <a:pos x="88" y="196"/>
                        </a:cxn>
                        <a:cxn ang="0">
                          <a:pos x="88" y="200"/>
                        </a:cxn>
                        <a:cxn ang="0">
                          <a:pos x="91" y="203"/>
                        </a:cxn>
                        <a:cxn ang="0">
                          <a:pos x="110" y="203"/>
                        </a:cxn>
                        <a:cxn ang="0">
                          <a:pos x="123" y="195"/>
                        </a:cxn>
                        <a:cxn ang="0">
                          <a:pos x="123" y="168"/>
                        </a:cxn>
                        <a:cxn ang="0">
                          <a:pos x="123" y="148"/>
                        </a:cxn>
                        <a:cxn ang="0">
                          <a:pos x="123" y="130"/>
                        </a:cxn>
                        <a:cxn ang="0">
                          <a:pos x="123" y="108"/>
                        </a:cxn>
                        <a:cxn ang="0">
                          <a:pos x="123" y="83"/>
                        </a:cxn>
                        <a:cxn ang="0">
                          <a:pos x="124" y="82"/>
                        </a:cxn>
                        <a:cxn ang="0">
                          <a:pos x="139" y="83"/>
                        </a:cxn>
                        <a:cxn ang="0">
                          <a:pos x="139" y="66"/>
                        </a:cxn>
                        <a:cxn ang="0">
                          <a:pos x="139" y="52"/>
                        </a:cxn>
                        <a:cxn ang="0">
                          <a:pos x="139" y="41"/>
                        </a:cxn>
                        <a:cxn ang="0">
                          <a:pos x="139" y="25"/>
                        </a:cxn>
                        <a:cxn ang="0">
                          <a:pos x="169" y="19"/>
                        </a:cxn>
                        <a:cxn ang="0">
                          <a:pos x="176" y="21"/>
                        </a:cxn>
                        <a:cxn ang="0">
                          <a:pos x="178" y="28"/>
                        </a:cxn>
                        <a:cxn ang="0">
                          <a:pos x="186" y="19"/>
                        </a:cxn>
                        <a:cxn ang="0">
                          <a:pos x="195" y="18"/>
                        </a:cxn>
                        <a:cxn ang="0">
                          <a:pos x="197" y="14"/>
                        </a:cxn>
                        <a:cxn ang="0">
                          <a:pos x="203" y="16"/>
                        </a:cxn>
                        <a:cxn ang="0">
                          <a:pos x="197" y="11"/>
                        </a:cxn>
                        <a:cxn ang="0">
                          <a:pos x="188" y="8"/>
                        </a:cxn>
                        <a:cxn ang="0">
                          <a:pos x="173" y="12"/>
                        </a:cxn>
                        <a:cxn ang="0">
                          <a:pos x="147" y="19"/>
                        </a:cxn>
                        <a:cxn ang="0">
                          <a:pos x="126" y="14"/>
                        </a:cxn>
                        <a:cxn ang="0">
                          <a:pos x="110" y="16"/>
                        </a:cxn>
                        <a:cxn ang="0">
                          <a:pos x="105" y="13"/>
                        </a:cxn>
                        <a:cxn ang="0">
                          <a:pos x="99" y="7"/>
                        </a:cxn>
                      </a:cxnLst>
                      <a:rect l="0" t="0" r="r" b="b"/>
                      <a:pathLst>
                        <a:path w="203" h="203">
                          <a:moveTo>
                            <a:pt x="99" y="7"/>
                          </a:moveTo>
                          <a:lnTo>
                            <a:pt x="83" y="7"/>
                          </a:lnTo>
                          <a:lnTo>
                            <a:pt x="66" y="7"/>
                          </a:lnTo>
                          <a:lnTo>
                            <a:pt x="49" y="7"/>
                          </a:lnTo>
                          <a:lnTo>
                            <a:pt x="33" y="7"/>
                          </a:lnTo>
                          <a:lnTo>
                            <a:pt x="24" y="1"/>
                          </a:lnTo>
                          <a:lnTo>
                            <a:pt x="22" y="0"/>
                          </a:lnTo>
                          <a:lnTo>
                            <a:pt x="15" y="1"/>
                          </a:lnTo>
                          <a:lnTo>
                            <a:pt x="8" y="5"/>
                          </a:lnTo>
                          <a:lnTo>
                            <a:pt x="5" y="3"/>
                          </a:lnTo>
                          <a:lnTo>
                            <a:pt x="0" y="7"/>
                          </a:lnTo>
                          <a:lnTo>
                            <a:pt x="1" y="21"/>
                          </a:lnTo>
                          <a:lnTo>
                            <a:pt x="15" y="43"/>
                          </a:lnTo>
                          <a:lnTo>
                            <a:pt x="26" y="67"/>
                          </a:lnTo>
                          <a:lnTo>
                            <a:pt x="40" y="93"/>
                          </a:lnTo>
                          <a:lnTo>
                            <a:pt x="41" y="120"/>
                          </a:lnTo>
                          <a:lnTo>
                            <a:pt x="46" y="135"/>
                          </a:lnTo>
                          <a:lnTo>
                            <a:pt x="47" y="147"/>
                          </a:lnTo>
                          <a:lnTo>
                            <a:pt x="53" y="176"/>
                          </a:lnTo>
                          <a:lnTo>
                            <a:pt x="60" y="188"/>
                          </a:lnTo>
                          <a:lnTo>
                            <a:pt x="72" y="197"/>
                          </a:lnTo>
                          <a:lnTo>
                            <a:pt x="74" y="197"/>
                          </a:lnTo>
                          <a:lnTo>
                            <a:pt x="77" y="191"/>
                          </a:lnTo>
                          <a:lnTo>
                            <a:pt x="80" y="191"/>
                          </a:lnTo>
                          <a:lnTo>
                            <a:pt x="88" y="196"/>
                          </a:lnTo>
                          <a:lnTo>
                            <a:pt x="88" y="200"/>
                          </a:lnTo>
                          <a:lnTo>
                            <a:pt x="91" y="203"/>
                          </a:lnTo>
                          <a:lnTo>
                            <a:pt x="110" y="203"/>
                          </a:lnTo>
                          <a:lnTo>
                            <a:pt x="123" y="195"/>
                          </a:lnTo>
                          <a:lnTo>
                            <a:pt x="123" y="168"/>
                          </a:lnTo>
                          <a:lnTo>
                            <a:pt x="123" y="148"/>
                          </a:lnTo>
                          <a:lnTo>
                            <a:pt x="123" y="130"/>
                          </a:lnTo>
                          <a:lnTo>
                            <a:pt x="123" y="108"/>
                          </a:lnTo>
                          <a:lnTo>
                            <a:pt x="123" y="83"/>
                          </a:lnTo>
                          <a:lnTo>
                            <a:pt x="124" y="82"/>
                          </a:lnTo>
                          <a:lnTo>
                            <a:pt x="139" y="83"/>
                          </a:lnTo>
                          <a:lnTo>
                            <a:pt x="139" y="66"/>
                          </a:lnTo>
                          <a:lnTo>
                            <a:pt x="139" y="52"/>
                          </a:lnTo>
                          <a:lnTo>
                            <a:pt x="139" y="41"/>
                          </a:lnTo>
                          <a:lnTo>
                            <a:pt x="139" y="25"/>
                          </a:lnTo>
                          <a:lnTo>
                            <a:pt x="169" y="19"/>
                          </a:lnTo>
                          <a:lnTo>
                            <a:pt x="176" y="21"/>
                          </a:lnTo>
                          <a:lnTo>
                            <a:pt x="178" y="28"/>
                          </a:lnTo>
                          <a:lnTo>
                            <a:pt x="186" y="19"/>
                          </a:lnTo>
                          <a:lnTo>
                            <a:pt x="195" y="18"/>
                          </a:lnTo>
                          <a:lnTo>
                            <a:pt x="197" y="14"/>
                          </a:lnTo>
                          <a:lnTo>
                            <a:pt x="203" y="16"/>
                          </a:lnTo>
                          <a:lnTo>
                            <a:pt x="197" y="11"/>
                          </a:lnTo>
                          <a:lnTo>
                            <a:pt x="188" y="8"/>
                          </a:lnTo>
                          <a:lnTo>
                            <a:pt x="173" y="12"/>
                          </a:lnTo>
                          <a:lnTo>
                            <a:pt x="147" y="19"/>
                          </a:lnTo>
                          <a:lnTo>
                            <a:pt x="126" y="14"/>
                          </a:lnTo>
                          <a:lnTo>
                            <a:pt x="110" y="16"/>
                          </a:lnTo>
                          <a:lnTo>
                            <a:pt x="105" y="13"/>
                          </a:lnTo>
                          <a:lnTo>
                            <a:pt x="99" y="7"/>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36" name="Freeform 339"/>
                    <p:cNvSpPr>
                      <a:spLocks/>
                    </p:cNvSpPr>
                    <p:nvPr/>
                  </p:nvSpPr>
                  <p:spPr bwMode="gray">
                    <a:xfrm>
                      <a:off x="3259635" y="2119551"/>
                      <a:ext cx="1108720" cy="881408"/>
                    </a:xfrm>
                    <a:custGeom>
                      <a:avLst/>
                      <a:gdLst/>
                      <a:ahLst/>
                      <a:cxnLst>
                        <a:cxn ang="0">
                          <a:pos x="60" y="85"/>
                        </a:cxn>
                        <a:cxn ang="0">
                          <a:pos x="62" y="110"/>
                        </a:cxn>
                        <a:cxn ang="0">
                          <a:pos x="57" y="124"/>
                        </a:cxn>
                        <a:cxn ang="0">
                          <a:pos x="35" y="134"/>
                        </a:cxn>
                        <a:cxn ang="0">
                          <a:pos x="12" y="139"/>
                        </a:cxn>
                        <a:cxn ang="0">
                          <a:pos x="0" y="146"/>
                        </a:cxn>
                        <a:cxn ang="0">
                          <a:pos x="4" y="155"/>
                        </a:cxn>
                        <a:cxn ang="0">
                          <a:pos x="19" y="175"/>
                        </a:cxn>
                        <a:cxn ang="0">
                          <a:pos x="28" y="175"/>
                        </a:cxn>
                        <a:cxn ang="0">
                          <a:pos x="33" y="179"/>
                        </a:cxn>
                        <a:cxn ang="0">
                          <a:pos x="29" y="183"/>
                        </a:cxn>
                        <a:cxn ang="0">
                          <a:pos x="37" y="186"/>
                        </a:cxn>
                        <a:cxn ang="0">
                          <a:pos x="41" y="180"/>
                        </a:cxn>
                        <a:cxn ang="0">
                          <a:pos x="52" y="179"/>
                        </a:cxn>
                        <a:cxn ang="0">
                          <a:pos x="62" y="163"/>
                        </a:cxn>
                        <a:cxn ang="0">
                          <a:pos x="83" y="158"/>
                        </a:cxn>
                        <a:cxn ang="0">
                          <a:pos x="103" y="172"/>
                        </a:cxn>
                        <a:cxn ang="0">
                          <a:pos x="112" y="166"/>
                        </a:cxn>
                        <a:cxn ang="0">
                          <a:pos x="129" y="172"/>
                        </a:cxn>
                        <a:cxn ang="0">
                          <a:pos x="143" y="173"/>
                        </a:cxn>
                        <a:cxn ang="0">
                          <a:pos x="174" y="164"/>
                        </a:cxn>
                        <a:cxn ang="0">
                          <a:pos x="190" y="162"/>
                        </a:cxn>
                        <a:cxn ang="0">
                          <a:pos x="196" y="157"/>
                        </a:cxn>
                        <a:cxn ang="0">
                          <a:pos x="200" y="148"/>
                        </a:cxn>
                        <a:cxn ang="0">
                          <a:pos x="203" y="145"/>
                        </a:cxn>
                        <a:cxn ang="0">
                          <a:pos x="229" y="108"/>
                        </a:cxn>
                        <a:cxn ang="0">
                          <a:pos x="235" y="58"/>
                        </a:cxn>
                        <a:cxn ang="0">
                          <a:pos x="229" y="44"/>
                        </a:cxn>
                        <a:cxn ang="0">
                          <a:pos x="225" y="7"/>
                        </a:cxn>
                        <a:cxn ang="0">
                          <a:pos x="216" y="6"/>
                        </a:cxn>
                        <a:cxn ang="0">
                          <a:pos x="175" y="0"/>
                        </a:cxn>
                        <a:cxn ang="0">
                          <a:pos x="160" y="10"/>
                        </a:cxn>
                        <a:cxn ang="0">
                          <a:pos x="146" y="20"/>
                        </a:cxn>
                        <a:cxn ang="0">
                          <a:pos x="132" y="29"/>
                        </a:cxn>
                        <a:cxn ang="0">
                          <a:pos x="118" y="39"/>
                        </a:cxn>
                        <a:cxn ang="0">
                          <a:pos x="101" y="53"/>
                        </a:cxn>
                        <a:cxn ang="0">
                          <a:pos x="84" y="66"/>
                        </a:cxn>
                        <a:cxn ang="0">
                          <a:pos x="60" y="72"/>
                        </a:cxn>
                      </a:cxnLst>
                      <a:rect l="0" t="0" r="r" b="b"/>
                      <a:pathLst>
                        <a:path w="239" h="190">
                          <a:moveTo>
                            <a:pt x="60" y="72"/>
                          </a:moveTo>
                          <a:lnTo>
                            <a:pt x="60" y="85"/>
                          </a:lnTo>
                          <a:lnTo>
                            <a:pt x="62" y="97"/>
                          </a:lnTo>
                          <a:lnTo>
                            <a:pt x="62" y="110"/>
                          </a:lnTo>
                          <a:lnTo>
                            <a:pt x="62" y="123"/>
                          </a:lnTo>
                          <a:lnTo>
                            <a:pt x="57" y="124"/>
                          </a:lnTo>
                          <a:lnTo>
                            <a:pt x="51" y="134"/>
                          </a:lnTo>
                          <a:lnTo>
                            <a:pt x="35" y="134"/>
                          </a:lnTo>
                          <a:lnTo>
                            <a:pt x="19" y="134"/>
                          </a:lnTo>
                          <a:lnTo>
                            <a:pt x="12" y="139"/>
                          </a:lnTo>
                          <a:lnTo>
                            <a:pt x="1" y="139"/>
                          </a:lnTo>
                          <a:lnTo>
                            <a:pt x="0" y="146"/>
                          </a:lnTo>
                          <a:lnTo>
                            <a:pt x="3" y="150"/>
                          </a:lnTo>
                          <a:lnTo>
                            <a:pt x="4" y="155"/>
                          </a:lnTo>
                          <a:lnTo>
                            <a:pt x="12" y="163"/>
                          </a:lnTo>
                          <a:lnTo>
                            <a:pt x="19" y="175"/>
                          </a:lnTo>
                          <a:lnTo>
                            <a:pt x="24" y="177"/>
                          </a:lnTo>
                          <a:lnTo>
                            <a:pt x="28" y="175"/>
                          </a:lnTo>
                          <a:lnTo>
                            <a:pt x="31" y="175"/>
                          </a:lnTo>
                          <a:lnTo>
                            <a:pt x="33" y="179"/>
                          </a:lnTo>
                          <a:lnTo>
                            <a:pt x="31" y="180"/>
                          </a:lnTo>
                          <a:lnTo>
                            <a:pt x="29" y="183"/>
                          </a:lnTo>
                          <a:lnTo>
                            <a:pt x="34" y="188"/>
                          </a:lnTo>
                          <a:lnTo>
                            <a:pt x="37" y="186"/>
                          </a:lnTo>
                          <a:lnTo>
                            <a:pt x="34" y="183"/>
                          </a:lnTo>
                          <a:lnTo>
                            <a:pt x="41" y="180"/>
                          </a:lnTo>
                          <a:lnTo>
                            <a:pt x="53" y="190"/>
                          </a:lnTo>
                          <a:lnTo>
                            <a:pt x="52" y="179"/>
                          </a:lnTo>
                          <a:lnTo>
                            <a:pt x="58" y="174"/>
                          </a:lnTo>
                          <a:lnTo>
                            <a:pt x="62" y="163"/>
                          </a:lnTo>
                          <a:lnTo>
                            <a:pt x="71" y="158"/>
                          </a:lnTo>
                          <a:lnTo>
                            <a:pt x="83" y="158"/>
                          </a:lnTo>
                          <a:lnTo>
                            <a:pt x="94" y="163"/>
                          </a:lnTo>
                          <a:lnTo>
                            <a:pt x="103" y="172"/>
                          </a:lnTo>
                          <a:lnTo>
                            <a:pt x="106" y="172"/>
                          </a:lnTo>
                          <a:lnTo>
                            <a:pt x="112" y="166"/>
                          </a:lnTo>
                          <a:lnTo>
                            <a:pt x="118" y="166"/>
                          </a:lnTo>
                          <a:lnTo>
                            <a:pt x="129" y="172"/>
                          </a:lnTo>
                          <a:lnTo>
                            <a:pt x="139" y="174"/>
                          </a:lnTo>
                          <a:lnTo>
                            <a:pt x="143" y="173"/>
                          </a:lnTo>
                          <a:lnTo>
                            <a:pt x="153" y="166"/>
                          </a:lnTo>
                          <a:lnTo>
                            <a:pt x="174" y="164"/>
                          </a:lnTo>
                          <a:lnTo>
                            <a:pt x="184" y="168"/>
                          </a:lnTo>
                          <a:lnTo>
                            <a:pt x="190" y="162"/>
                          </a:lnTo>
                          <a:lnTo>
                            <a:pt x="194" y="162"/>
                          </a:lnTo>
                          <a:lnTo>
                            <a:pt x="196" y="157"/>
                          </a:lnTo>
                          <a:lnTo>
                            <a:pt x="202" y="157"/>
                          </a:lnTo>
                          <a:lnTo>
                            <a:pt x="200" y="148"/>
                          </a:lnTo>
                          <a:lnTo>
                            <a:pt x="200" y="146"/>
                          </a:lnTo>
                          <a:lnTo>
                            <a:pt x="203" y="145"/>
                          </a:lnTo>
                          <a:lnTo>
                            <a:pt x="204" y="137"/>
                          </a:lnTo>
                          <a:lnTo>
                            <a:pt x="229" y="108"/>
                          </a:lnTo>
                          <a:lnTo>
                            <a:pt x="231" y="81"/>
                          </a:lnTo>
                          <a:lnTo>
                            <a:pt x="235" y="58"/>
                          </a:lnTo>
                          <a:lnTo>
                            <a:pt x="239" y="51"/>
                          </a:lnTo>
                          <a:lnTo>
                            <a:pt x="229" y="44"/>
                          </a:lnTo>
                          <a:lnTo>
                            <a:pt x="225" y="34"/>
                          </a:lnTo>
                          <a:lnTo>
                            <a:pt x="225" y="7"/>
                          </a:lnTo>
                          <a:lnTo>
                            <a:pt x="220" y="10"/>
                          </a:lnTo>
                          <a:lnTo>
                            <a:pt x="216" y="6"/>
                          </a:lnTo>
                          <a:lnTo>
                            <a:pt x="208" y="1"/>
                          </a:lnTo>
                          <a:lnTo>
                            <a:pt x="175" y="0"/>
                          </a:lnTo>
                          <a:lnTo>
                            <a:pt x="168" y="5"/>
                          </a:lnTo>
                          <a:lnTo>
                            <a:pt x="160" y="10"/>
                          </a:lnTo>
                          <a:lnTo>
                            <a:pt x="153" y="15"/>
                          </a:lnTo>
                          <a:lnTo>
                            <a:pt x="146" y="20"/>
                          </a:lnTo>
                          <a:lnTo>
                            <a:pt x="139" y="24"/>
                          </a:lnTo>
                          <a:lnTo>
                            <a:pt x="132" y="29"/>
                          </a:lnTo>
                          <a:lnTo>
                            <a:pt x="125" y="34"/>
                          </a:lnTo>
                          <a:lnTo>
                            <a:pt x="118" y="39"/>
                          </a:lnTo>
                          <a:lnTo>
                            <a:pt x="109" y="47"/>
                          </a:lnTo>
                          <a:lnTo>
                            <a:pt x="101" y="53"/>
                          </a:lnTo>
                          <a:lnTo>
                            <a:pt x="93" y="59"/>
                          </a:lnTo>
                          <a:lnTo>
                            <a:pt x="84" y="66"/>
                          </a:lnTo>
                          <a:lnTo>
                            <a:pt x="72" y="69"/>
                          </a:lnTo>
                          <a:lnTo>
                            <a:pt x="60" y="72"/>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37" name="Freeform 390"/>
                    <p:cNvSpPr>
                      <a:spLocks/>
                    </p:cNvSpPr>
                    <p:nvPr/>
                  </p:nvSpPr>
                  <p:spPr bwMode="gray">
                    <a:xfrm>
                      <a:off x="3765287" y="969081"/>
                      <a:ext cx="278339" cy="603069"/>
                    </a:xfrm>
                    <a:custGeom>
                      <a:avLst/>
                      <a:gdLst/>
                      <a:ahLst/>
                      <a:cxnLst>
                        <a:cxn ang="0">
                          <a:pos x="20" y="7"/>
                        </a:cxn>
                        <a:cxn ang="0">
                          <a:pos x="15" y="15"/>
                        </a:cxn>
                        <a:cxn ang="0">
                          <a:pos x="17" y="17"/>
                        </a:cxn>
                        <a:cxn ang="0">
                          <a:pos x="15" y="28"/>
                        </a:cxn>
                        <a:cxn ang="0">
                          <a:pos x="17" y="42"/>
                        </a:cxn>
                        <a:cxn ang="0">
                          <a:pos x="13" y="51"/>
                        </a:cxn>
                        <a:cxn ang="0">
                          <a:pos x="0" y="64"/>
                        </a:cxn>
                        <a:cxn ang="0">
                          <a:pos x="4" y="77"/>
                        </a:cxn>
                        <a:cxn ang="0">
                          <a:pos x="11" y="81"/>
                        </a:cxn>
                        <a:cxn ang="0">
                          <a:pos x="13" y="86"/>
                        </a:cxn>
                        <a:cxn ang="0">
                          <a:pos x="13" y="92"/>
                        </a:cxn>
                        <a:cxn ang="0">
                          <a:pos x="25" y="98"/>
                        </a:cxn>
                        <a:cxn ang="0">
                          <a:pos x="30" y="130"/>
                        </a:cxn>
                        <a:cxn ang="0">
                          <a:pos x="37" y="128"/>
                        </a:cxn>
                        <a:cxn ang="0">
                          <a:pos x="42" y="123"/>
                        </a:cxn>
                        <a:cxn ang="0">
                          <a:pos x="41" y="112"/>
                        </a:cxn>
                        <a:cxn ang="0">
                          <a:pos x="42" y="107"/>
                        </a:cxn>
                        <a:cxn ang="0">
                          <a:pos x="59" y="93"/>
                        </a:cxn>
                        <a:cxn ang="0">
                          <a:pos x="60" y="91"/>
                        </a:cxn>
                        <a:cxn ang="0">
                          <a:pos x="60" y="78"/>
                        </a:cxn>
                        <a:cxn ang="0">
                          <a:pos x="56" y="78"/>
                        </a:cxn>
                        <a:cxn ang="0">
                          <a:pos x="53" y="71"/>
                        </a:cxn>
                        <a:cxn ang="0">
                          <a:pos x="49" y="72"/>
                        </a:cxn>
                        <a:cxn ang="0">
                          <a:pos x="47" y="70"/>
                        </a:cxn>
                        <a:cxn ang="0">
                          <a:pos x="42" y="70"/>
                        </a:cxn>
                        <a:cxn ang="0">
                          <a:pos x="40" y="67"/>
                        </a:cxn>
                        <a:cxn ang="0">
                          <a:pos x="38" y="64"/>
                        </a:cxn>
                        <a:cxn ang="0">
                          <a:pos x="38" y="61"/>
                        </a:cxn>
                        <a:cxn ang="0">
                          <a:pos x="42" y="61"/>
                        </a:cxn>
                        <a:cxn ang="0">
                          <a:pos x="42" y="58"/>
                        </a:cxn>
                        <a:cxn ang="0">
                          <a:pos x="53" y="49"/>
                        </a:cxn>
                        <a:cxn ang="0">
                          <a:pos x="57" y="39"/>
                        </a:cxn>
                        <a:cxn ang="0">
                          <a:pos x="56" y="33"/>
                        </a:cxn>
                        <a:cxn ang="0">
                          <a:pos x="50" y="28"/>
                        </a:cxn>
                        <a:cxn ang="0">
                          <a:pos x="48" y="22"/>
                        </a:cxn>
                        <a:cxn ang="0">
                          <a:pos x="48" y="18"/>
                        </a:cxn>
                        <a:cxn ang="0">
                          <a:pos x="54" y="15"/>
                        </a:cxn>
                        <a:cxn ang="0">
                          <a:pos x="57" y="8"/>
                        </a:cxn>
                        <a:cxn ang="0">
                          <a:pos x="55" y="5"/>
                        </a:cxn>
                        <a:cxn ang="0">
                          <a:pos x="47" y="11"/>
                        </a:cxn>
                        <a:cxn ang="0">
                          <a:pos x="44" y="10"/>
                        </a:cxn>
                        <a:cxn ang="0">
                          <a:pos x="43" y="5"/>
                        </a:cxn>
                        <a:cxn ang="0">
                          <a:pos x="43" y="2"/>
                        </a:cxn>
                        <a:cxn ang="0">
                          <a:pos x="35" y="0"/>
                        </a:cxn>
                        <a:cxn ang="0">
                          <a:pos x="29" y="1"/>
                        </a:cxn>
                        <a:cxn ang="0">
                          <a:pos x="20" y="7"/>
                        </a:cxn>
                      </a:cxnLst>
                      <a:rect l="0" t="0" r="r" b="b"/>
                      <a:pathLst>
                        <a:path w="60" h="130">
                          <a:moveTo>
                            <a:pt x="20" y="7"/>
                          </a:moveTo>
                          <a:lnTo>
                            <a:pt x="15" y="15"/>
                          </a:lnTo>
                          <a:lnTo>
                            <a:pt x="17" y="17"/>
                          </a:lnTo>
                          <a:lnTo>
                            <a:pt x="15" y="28"/>
                          </a:lnTo>
                          <a:lnTo>
                            <a:pt x="17" y="42"/>
                          </a:lnTo>
                          <a:lnTo>
                            <a:pt x="13" y="51"/>
                          </a:lnTo>
                          <a:lnTo>
                            <a:pt x="0" y="64"/>
                          </a:lnTo>
                          <a:lnTo>
                            <a:pt x="4" y="77"/>
                          </a:lnTo>
                          <a:lnTo>
                            <a:pt x="11" y="81"/>
                          </a:lnTo>
                          <a:lnTo>
                            <a:pt x="13" y="86"/>
                          </a:lnTo>
                          <a:lnTo>
                            <a:pt x="13" y="92"/>
                          </a:lnTo>
                          <a:lnTo>
                            <a:pt x="25" y="98"/>
                          </a:lnTo>
                          <a:lnTo>
                            <a:pt x="30" y="130"/>
                          </a:lnTo>
                          <a:lnTo>
                            <a:pt x="37" y="128"/>
                          </a:lnTo>
                          <a:lnTo>
                            <a:pt x="42" y="123"/>
                          </a:lnTo>
                          <a:lnTo>
                            <a:pt x="41" y="112"/>
                          </a:lnTo>
                          <a:lnTo>
                            <a:pt x="42" y="107"/>
                          </a:lnTo>
                          <a:lnTo>
                            <a:pt x="59" y="93"/>
                          </a:lnTo>
                          <a:lnTo>
                            <a:pt x="60" y="91"/>
                          </a:lnTo>
                          <a:lnTo>
                            <a:pt x="60" y="78"/>
                          </a:lnTo>
                          <a:lnTo>
                            <a:pt x="56" y="78"/>
                          </a:lnTo>
                          <a:lnTo>
                            <a:pt x="53" y="71"/>
                          </a:lnTo>
                          <a:lnTo>
                            <a:pt x="49" y="72"/>
                          </a:lnTo>
                          <a:lnTo>
                            <a:pt x="47" y="70"/>
                          </a:lnTo>
                          <a:lnTo>
                            <a:pt x="42" y="70"/>
                          </a:lnTo>
                          <a:lnTo>
                            <a:pt x="40" y="67"/>
                          </a:lnTo>
                          <a:lnTo>
                            <a:pt x="38" y="64"/>
                          </a:lnTo>
                          <a:lnTo>
                            <a:pt x="38" y="61"/>
                          </a:lnTo>
                          <a:lnTo>
                            <a:pt x="42" y="61"/>
                          </a:lnTo>
                          <a:lnTo>
                            <a:pt x="42" y="58"/>
                          </a:lnTo>
                          <a:lnTo>
                            <a:pt x="53" y="49"/>
                          </a:lnTo>
                          <a:lnTo>
                            <a:pt x="57" y="39"/>
                          </a:lnTo>
                          <a:lnTo>
                            <a:pt x="56" y="33"/>
                          </a:lnTo>
                          <a:lnTo>
                            <a:pt x="50" y="28"/>
                          </a:lnTo>
                          <a:lnTo>
                            <a:pt x="48" y="22"/>
                          </a:lnTo>
                          <a:lnTo>
                            <a:pt x="48" y="18"/>
                          </a:lnTo>
                          <a:lnTo>
                            <a:pt x="54" y="15"/>
                          </a:lnTo>
                          <a:lnTo>
                            <a:pt x="57" y="8"/>
                          </a:lnTo>
                          <a:lnTo>
                            <a:pt x="55" y="5"/>
                          </a:lnTo>
                          <a:lnTo>
                            <a:pt x="47" y="11"/>
                          </a:lnTo>
                          <a:lnTo>
                            <a:pt x="44" y="10"/>
                          </a:lnTo>
                          <a:lnTo>
                            <a:pt x="43" y="5"/>
                          </a:lnTo>
                          <a:lnTo>
                            <a:pt x="43" y="2"/>
                          </a:lnTo>
                          <a:lnTo>
                            <a:pt x="35" y="0"/>
                          </a:lnTo>
                          <a:lnTo>
                            <a:pt x="29" y="1"/>
                          </a:lnTo>
                          <a:lnTo>
                            <a:pt x="20" y="7"/>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38" name="Freeform 391"/>
                    <p:cNvSpPr>
                      <a:spLocks/>
                    </p:cNvSpPr>
                    <p:nvPr/>
                  </p:nvSpPr>
                  <p:spPr bwMode="gray">
                    <a:xfrm>
                      <a:off x="5792524" y="2532420"/>
                      <a:ext cx="459262" cy="431427"/>
                    </a:xfrm>
                    <a:custGeom>
                      <a:avLst/>
                      <a:gdLst/>
                      <a:ahLst/>
                      <a:cxnLst>
                        <a:cxn ang="0">
                          <a:pos x="31" y="0"/>
                        </a:cxn>
                        <a:cxn ang="0">
                          <a:pos x="29" y="8"/>
                        </a:cxn>
                        <a:cxn ang="0">
                          <a:pos x="17" y="13"/>
                        </a:cxn>
                        <a:cxn ang="0">
                          <a:pos x="13" y="16"/>
                        </a:cxn>
                        <a:cxn ang="0">
                          <a:pos x="10" y="16"/>
                        </a:cxn>
                        <a:cxn ang="0">
                          <a:pos x="0" y="52"/>
                        </a:cxn>
                        <a:cxn ang="0">
                          <a:pos x="1" y="62"/>
                        </a:cxn>
                        <a:cxn ang="0">
                          <a:pos x="8" y="63"/>
                        </a:cxn>
                        <a:cxn ang="0">
                          <a:pos x="10" y="59"/>
                        </a:cxn>
                        <a:cxn ang="0">
                          <a:pos x="12" y="59"/>
                        </a:cxn>
                        <a:cxn ang="0">
                          <a:pos x="15" y="66"/>
                        </a:cxn>
                        <a:cxn ang="0">
                          <a:pos x="21" y="53"/>
                        </a:cxn>
                        <a:cxn ang="0">
                          <a:pos x="26" y="56"/>
                        </a:cxn>
                        <a:cxn ang="0">
                          <a:pos x="29" y="59"/>
                        </a:cxn>
                        <a:cxn ang="0">
                          <a:pos x="36" y="59"/>
                        </a:cxn>
                        <a:cxn ang="0">
                          <a:pos x="37" y="57"/>
                        </a:cxn>
                        <a:cxn ang="0">
                          <a:pos x="40" y="59"/>
                        </a:cxn>
                        <a:cxn ang="0">
                          <a:pos x="45" y="58"/>
                        </a:cxn>
                        <a:cxn ang="0">
                          <a:pos x="51" y="59"/>
                        </a:cxn>
                        <a:cxn ang="0">
                          <a:pos x="56" y="59"/>
                        </a:cxn>
                        <a:cxn ang="0">
                          <a:pos x="64" y="64"/>
                        </a:cxn>
                        <a:cxn ang="0">
                          <a:pos x="70" y="73"/>
                        </a:cxn>
                        <a:cxn ang="0">
                          <a:pos x="79" y="79"/>
                        </a:cxn>
                        <a:cxn ang="0">
                          <a:pos x="82" y="85"/>
                        </a:cxn>
                        <a:cxn ang="0">
                          <a:pos x="89" y="93"/>
                        </a:cxn>
                        <a:cxn ang="0">
                          <a:pos x="99" y="85"/>
                        </a:cxn>
                        <a:cxn ang="0">
                          <a:pos x="90" y="79"/>
                        </a:cxn>
                        <a:cxn ang="0">
                          <a:pos x="87" y="73"/>
                        </a:cxn>
                        <a:cxn ang="0">
                          <a:pos x="85" y="72"/>
                        </a:cxn>
                        <a:cxn ang="0">
                          <a:pos x="83" y="69"/>
                        </a:cxn>
                        <a:cxn ang="0">
                          <a:pos x="79" y="68"/>
                        </a:cxn>
                        <a:cxn ang="0">
                          <a:pos x="73" y="57"/>
                        </a:cxn>
                        <a:cxn ang="0">
                          <a:pos x="65" y="54"/>
                        </a:cxn>
                        <a:cxn ang="0">
                          <a:pos x="61" y="51"/>
                        </a:cxn>
                        <a:cxn ang="0">
                          <a:pos x="57" y="52"/>
                        </a:cxn>
                        <a:cxn ang="0">
                          <a:pos x="54" y="47"/>
                        </a:cxn>
                        <a:cxn ang="0">
                          <a:pos x="55" y="45"/>
                        </a:cxn>
                        <a:cxn ang="0">
                          <a:pos x="52" y="43"/>
                        </a:cxn>
                        <a:cxn ang="0">
                          <a:pos x="50" y="45"/>
                        </a:cxn>
                        <a:cxn ang="0">
                          <a:pos x="51" y="48"/>
                        </a:cxn>
                        <a:cxn ang="0">
                          <a:pos x="49" y="47"/>
                        </a:cxn>
                        <a:cxn ang="0">
                          <a:pos x="48" y="42"/>
                        </a:cxn>
                        <a:cxn ang="0">
                          <a:pos x="45" y="41"/>
                        </a:cxn>
                        <a:cxn ang="0">
                          <a:pos x="42" y="35"/>
                        </a:cxn>
                        <a:cxn ang="0">
                          <a:pos x="36" y="9"/>
                        </a:cxn>
                        <a:cxn ang="0">
                          <a:pos x="31" y="0"/>
                        </a:cxn>
                      </a:cxnLst>
                      <a:rect l="0" t="0" r="r" b="b"/>
                      <a:pathLst>
                        <a:path w="99" h="93">
                          <a:moveTo>
                            <a:pt x="31" y="0"/>
                          </a:moveTo>
                          <a:lnTo>
                            <a:pt x="29" y="8"/>
                          </a:lnTo>
                          <a:lnTo>
                            <a:pt x="17" y="13"/>
                          </a:lnTo>
                          <a:lnTo>
                            <a:pt x="13" y="16"/>
                          </a:lnTo>
                          <a:lnTo>
                            <a:pt x="10" y="16"/>
                          </a:lnTo>
                          <a:lnTo>
                            <a:pt x="0" y="52"/>
                          </a:lnTo>
                          <a:lnTo>
                            <a:pt x="1" y="62"/>
                          </a:lnTo>
                          <a:lnTo>
                            <a:pt x="8" y="63"/>
                          </a:lnTo>
                          <a:lnTo>
                            <a:pt x="10" y="59"/>
                          </a:lnTo>
                          <a:lnTo>
                            <a:pt x="12" y="59"/>
                          </a:lnTo>
                          <a:lnTo>
                            <a:pt x="15" y="66"/>
                          </a:lnTo>
                          <a:lnTo>
                            <a:pt x="21" y="53"/>
                          </a:lnTo>
                          <a:lnTo>
                            <a:pt x="26" y="56"/>
                          </a:lnTo>
                          <a:lnTo>
                            <a:pt x="29" y="59"/>
                          </a:lnTo>
                          <a:lnTo>
                            <a:pt x="36" y="59"/>
                          </a:lnTo>
                          <a:lnTo>
                            <a:pt x="37" y="57"/>
                          </a:lnTo>
                          <a:lnTo>
                            <a:pt x="40" y="59"/>
                          </a:lnTo>
                          <a:lnTo>
                            <a:pt x="45" y="58"/>
                          </a:lnTo>
                          <a:lnTo>
                            <a:pt x="51" y="59"/>
                          </a:lnTo>
                          <a:lnTo>
                            <a:pt x="56" y="59"/>
                          </a:lnTo>
                          <a:lnTo>
                            <a:pt x="64" y="64"/>
                          </a:lnTo>
                          <a:lnTo>
                            <a:pt x="70" y="73"/>
                          </a:lnTo>
                          <a:lnTo>
                            <a:pt x="79" y="79"/>
                          </a:lnTo>
                          <a:lnTo>
                            <a:pt x="82" y="85"/>
                          </a:lnTo>
                          <a:lnTo>
                            <a:pt x="89" y="93"/>
                          </a:lnTo>
                          <a:lnTo>
                            <a:pt x="99" y="85"/>
                          </a:lnTo>
                          <a:lnTo>
                            <a:pt x="90" y="79"/>
                          </a:lnTo>
                          <a:lnTo>
                            <a:pt x="87" y="73"/>
                          </a:lnTo>
                          <a:lnTo>
                            <a:pt x="85" y="72"/>
                          </a:lnTo>
                          <a:lnTo>
                            <a:pt x="83" y="69"/>
                          </a:lnTo>
                          <a:lnTo>
                            <a:pt x="79" y="68"/>
                          </a:lnTo>
                          <a:lnTo>
                            <a:pt x="73" y="57"/>
                          </a:lnTo>
                          <a:lnTo>
                            <a:pt x="65" y="54"/>
                          </a:lnTo>
                          <a:lnTo>
                            <a:pt x="61" y="51"/>
                          </a:lnTo>
                          <a:lnTo>
                            <a:pt x="57" y="52"/>
                          </a:lnTo>
                          <a:lnTo>
                            <a:pt x="54" y="47"/>
                          </a:lnTo>
                          <a:lnTo>
                            <a:pt x="55" y="45"/>
                          </a:lnTo>
                          <a:lnTo>
                            <a:pt x="52" y="43"/>
                          </a:lnTo>
                          <a:lnTo>
                            <a:pt x="50" y="45"/>
                          </a:lnTo>
                          <a:lnTo>
                            <a:pt x="51" y="48"/>
                          </a:lnTo>
                          <a:lnTo>
                            <a:pt x="49" y="47"/>
                          </a:lnTo>
                          <a:lnTo>
                            <a:pt x="48" y="42"/>
                          </a:lnTo>
                          <a:lnTo>
                            <a:pt x="45" y="41"/>
                          </a:lnTo>
                          <a:lnTo>
                            <a:pt x="42" y="35"/>
                          </a:lnTo>
                          <a:lnTo>
                            <a:pt x="36" y="9"/>
                          </a:lnTo>
                          <a:lnTo>
                            <a:pt x="31" y="0"/>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39" name="Freeform 392"/>
                    <p:cNvSpPr>
                      <a:spLocks/>
                    </p:cNvSpPr>
                    <p:nvPr/>
                  </p:nvSpPr>
                  <p:spPr bwMode="gray">
                    <a:xfrm>
                      <a:off x="6168284" y="2926736"/>
                      <a:ext cx="106698" cy="139170"/>
                    </a:xfrm>
                    <a:custGeom>
                      <a:avLst/>
                      <a:gdLst/>
                      <a:ahLst/>
                      <a:cxnLst>
                        <a:cxn ang="0">
                          <a:pos x="18" y="0"/>
                        </a:cxn>
                        <a:cxn ang="0">
                          <a:pos x="8" y="8"/>
                        </a:cxn>
                        <a:cxn ang="0">
                          <a:pos x="7" y="9"/>
                        </a:cxn>
                        <a:cxn ang="0">
                          <a:pos x="5" y="17"/>
                        </a:cxn>
                        <a:cxn ang="0">
                          <a:pos x="0" y="25"/>
                        </a:cxn>
                        <a:cxn ang="0">
                          <a:pos x="2" y="30"/>
                        </a:cxn>
                        <a:cxn ang="0">
                          <a:pos x="8" y="30"/>
                        </a:cxn>
                        <a:cxn ang="0">
                          <a:pos x="13" y="27"/>
                        </a:cxn>
                        <a:cxn ang="0">
                          <a:pos x="17" y="30"/>
                        </a:cxn>
                        <a:cxn ang="0">
                          <a:pos x="21" y="21"/>
                        </a:cxn>
                        <a:cxn ang="0">
                          <a:pos x="20" y="20"/>
                        </a:cxn>
                        <a:cxn ang="0">
                          <a:pos x="13" y="21"/>
                        </a:cxn>
                        <a:cxn ang="0">
                          <a:pos x="11" y="20"/>
                        </a:cxn>
                        <a:cxn ang="0">
                          <a:pos x="13" y="20"/>
                        </a:cxn>
                        <a:cxn ang="0">
                          <a:pos x="15" y="17"/>
                        </a:cxn>
                        <a:cxn ang="0">
                          <a:pos x="23" y="12"/>
                        </a:cxn>
                        <a:cxn ang="0">
                          <a:pos x="23" y="6"/>
                        </a:cxn>
                        <a:cxn ang="0">
                          <a:pos x="18" y="0"/>
                        </a:cxn>
                      </a:cxnLst>
                      <a:rect l="0" t="0" r="r" b="b"/>
                      <a:pathLst>
                        <a:path w="23" h="30">
                          <a:moveTo>
                            <a:pt x="18" y="0"/>
                          </a:moveTo>
                          <a:lnTo>
                            <a:pt x="8" y="8"/>
                          </a:lnTo>
                          <a:lnTo>
                            <a:pt x="7" y="9"/>
                          </a:lnTo>
                          <a:lnTo>
                            <a:pt x="5" y="17"/>
                          </a:lnTo>
                          <a:lnTo>
                            <a:pt x="0" y="25"/>
                          </a:lnTo>
                          <a:lnTo>
                            <a:pt x="2" y="30"/>
                          </a:lnTo>
                          <a:lnTo>
                            <a:pt x="8" y="30"/>
                          </a:lnTo>
                          <a:lnTo>
                            <a:pt x="13" y="27"/>
                          </a:lnTo>
                          <a:lnTo>
                            <a:pt x="17" y="30"/>
                          </a:lnTo>
                          <a:lnTo>
                            <a:pt x="21" y="21"/>
                          </a:lnTo>
                          <a:lnTo>
                            <a:pt x="20" y="20"/>
                          </a:lnTo>
                          <a:lnTo>
                            <a:pt x="13" y="21"/>
                          </a:lnTo>
                          <a:lnTo>
                            <a:pt x="11" y="20"/>
                          </a:lnTo>
                          <a:lnTo>
                            <a:pt x="13" y="20"/>
                          </a:lnTo>
                          <a:lnTo>
                            <a:pt x="15" y="17"/>
                          </a:lnTo>
                          <a:lnTo>
                            <a:pt x="23" y="12"/>
                          </a:lnTo>
                          <a:lnTo>
                            <a:pt x="23" y="6"/>
                          </a:lnTo>
                          <a:lnTo>
                            <a:pt x="18" y="0"/>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40" name="Freeform 393"/>
                    <p:cNvSpPr>
                      <a:spLocks/>
                    </p:cNvSpPr>
                    <p:nvPr/>
                  </p:nvSpPr>
                  <p:spPr bwMode="gray">
                    <a:xfrm>
                      <a:off x="3440557" y="2847872"/>
                      <a:ext cx="816463" cy="700489"/>
                    </a:xfrm>
                    <a:custGeom>
                      <a:avLst/>
                      <a:gdLst/>
                      <a:ahLst/>
                      <a:cxnLst>
                        <a:cxn ang="0">
                          <a:pos x="24" y="118"/>
                        </a:cxn>
                        <a:cxn ang="0">
                          <a:pos x="35" y="126"/>
                        </a:cxn>
                        <a:cxn ang="0">
                          <a:pos x="42" y="133"/>
                        </a:cxn>
                        <a:cxn ang="0">
                          <a:pos x="42" y="142"/>
                        </a:cxn>
                        <a:cxn ang="0">
                          <a:pos x="51" y="149"/>
                        </a:cxn>
                        <a:cxn ang="0">
                          <a:pos x="54" y="151"/>
                        </a:cxn>
                        <a:cxn ang="0">
                          <a:pos x="62" y="149"/>
                        </a:cxn>
                        <a:cxn ang="0">
                          <a:pos x="73" y="147"/>
                        </a:cxn>
                        <a:cxn ang="0">
                          <a:pos x="83" y="141"/>
                        </a:cxn>
                        <a:cxn ang="0">
                          <a:pos x="90" y="134"/>
                        </a:cxn>
                        <a:cxn ang="0">
                          <a:pos x="98" y="118"/>
                        </a:cxn>
                        <a:cxn ang="0">
                          <a:pos x="104" y="110"/>
                        </a:cxn>
                        <a:cxn ang="0">
                          <a:pos x="125" y="117"/>
                        </a:cxn>
                        <a:cxn ang="0">
                          <a:pos x="140" y="96"/>
                        </a:cxn>
                        <a:cxn ang="0">
                          <a:pos x="151" y="79"/>
                        </a:cxn>
                        <a:cxn ang="0">
                          <a:pos x="162" y="45"/>
                        </a:cxn>
                        <a:cxn ang="0">
                          <a:pos x="176" y="34"/>
                        </a:cxn>
                        <a:cxn ang="0">
                          <a:pos x="171" y="21"/>
                        </a:cxn>
                        <a:cxn ang="0">
                          <a:pos x="163" y="0"/>
                        </a:cxn>
                        <a:cxn ang="0">
                          <a:pos x="155" y="5"/>
                        </a:cxn>
                        <a:cxn ang="0">
                          <a:pos x="145" y="11"/>
                        </a:cxn>
                        <a:cxn ang="0">
                          <a:pos x="114" y="9"/>
                        </a:cxn>
                        <a:cxn ang="0">
                          <a:pos x="100" y="17"/>
                        </a:cxn>
                        <a:cxn ang="0">
                          <a:pos x="79" y="9"/>
                        </a:cxn>
                        <a:cxn ang="0">
                          <a:pos x="67" y="15"/>
                        </a:cxn>
                        <a:cxn ang="0">
                          <a:pos x="55" y="6"/>
                        </a:cxn>
                        <a:cxn ang="0">
                          <a:pos x="32" y="1"/>
                        </a:cxn>
                        <a:cxn ang="0">
                          <a:pos x="19" y="17"/>
                        </a:cxn>
                        <a:cxn ang="0">
                          <a:pos x="14" y="33"/>
                        </a:cxn>
                        <a:cxn ang="0">
                          <a:pos x="15" y="44"/>
                        </a:cxn>
                        <a:cxn ang="0">
                          <a:pos x="13" y="56"/>
                        </a:cxn>
                        <a:cxn ang="0">
                          <a:pos x="13" y="63"/>
                        </a:cxn>
                        <a:cxn ang="0">
                          <a:pos x="6" y="75"/>
                        </a:cxn>
                        <a:cxn ang="0">
                          <a:pos x="0" y="107"/>
                        </a:cxn>
                      </a:cxnLst>
                      <a:rect l="0" t="0" r="r" b="b"/>
                      <a:pathLst>
                        <a:path w="176" h="151">
                          <a:moveTo>
                            <a:pt x="2" y="118"/>
                          </a:moveTo>
                          <a:lnTo>
                            <a:pt x="24" y="118"/>
                          </a:lnTo>
                          <a:lnTo>
                            <a:pt x="32" y="122"/>
                          </a:lnTo>
                          <a:lnTo>
                            <a:pt x="35" y="126"/>
                          </a:lnTo>
                          <a:lnTo>
                            <a:pt x="39" y="131"/>
                          </a:lnTo>
                          <a:lnTo>
                            <a:pt x="42" y="133"/>
                          </a:lnTo>
                          <a:lnTo>
                            <a:pt x="40" y="134"/>
                          </a:lnTo>
                          <a:lnTo>
                            <a:pt x="42" y="142"/>
                          </a:lnTo>
                          <a:lnTo>
                            <a:pt x="46" y="147"/>
                          </a:lnTo>
                          <a:lnTo>
                            <a:pt x="51" y="149"/>
                          </a:lnTo>
                          <a:lnTo>
                            <a:pt x="52" y="149"/>
                          </a:lnTo>
                          <a:lnTo>
                            <a:pt x="54" y="151"/>
                          </a:lnTo>
                          <a:lnTo>
                            <a:pt x="58" y="149"/>
                          </a:lnTo>
                          <a:lnTo>
                            <a:pt x="62" y="149"/>
                          </a:lnTo>
                          <a:lnTo>
                            <a:pt x="67" y="144"/>
                          </a:lnTo>
                          <a:lnTo>
                            <a:pt x="73" y="147"/>
                          </a:lnTo>
                          <a:lnTo>
                            <a:pt x="82" y="147"/>
                          </a:lnTo>
                          <a:lnTo>
                            <a:pt x="83" y="141"/>
                          </a:lnTo>
                          <a:lnTo>
                            <a:pt x="86" y="144"/>
                          </a:lnTo>
                          <a:lnTo>
                            <a:pt x="90" y="134"/>
                          </a:lnTo>
                          <a:lnTo>
                            <a:pt x="93" y="125"/>
                          </a:lnTo>
                          <a:lnTo>
                            <a:pt x="98" y="118"/>
                          </a:lnTo>
                          <a:lnTo>
                            <a:pt x="102" y="114"/>
                          </a:lnTo>
                          <a:lnTo>
                            <a:pt x="104" y="110"/>
                          </a:lnTo>
                          <a:lnTo>
                            <a:pt x="118" y="109"/>
                          </a:lnTo>
                          <a:lnTo>
                            <a:pt x="125" y="117"/>
                          </a:lnTo>
                          <a:lnTo>
                            <a:pt x="131" y="115"/>
                          </a:lnTo>
                          <a:lnTo>
                            <a:pt x="140" y="96"/>
                          </a:lnTo>
                          <a:lnTo>
                            <a:pt x="144" y="85"/>
                          </a:lnTo>
                          <a:lnTo>
                            <a:pt x="151" y="79"/>
                          </a:lnTo>
                          <a:lnTo>
                            <a:pt x="155" y="63"/>
                          </a:lnTo>
                          <a:lnTo>
                            <a:pt x="162" y="45"/>
                          </a:lnTo>
                          <a:lnTo>
                            <a:pt x="165" y="42"/>
                          </a:lnTo>
                          <a:lnTo>
                            <a:pt x="176" y="34"/>
                          </a:lnTo>
                          <a:lnTo>
                            <a:pt x="176" y="26"/>
                          </a:lnTo>
                          <a:lnTo>
                            <a:pt x="171" y="21"/>
                          </a:lnTo>
                          <a:lnTo>
                            <a:pt x="171" y="11"/>
                          </a:lnTo>
                          <a:lnTo>
                            <a:pt x="163" y="0"/>
                          </a:lnTo>
                          <a:lnTo>
                            <a:pt x="157" y="0"/>
                          </a:lnTo>
                          <a:lnTo>
                            <a:pt x="155" y="5"/>
                          </a:lnTo>
                          <a:lnTo>
                            <a:pt x="151" y="5"/>
                          </a:lnTo>
                          <a:lnTo>
                            <a:pt x="145" y="11"/>
                          </a:lnTo>
                          <a:lnTo>
                            <a:pt x="135" y="7"/>
                          </a:lnTo>
                          <a:lnTo>
                            <a:pt x="114" y="9"/>
                          </a:lnTo>
                          <a:lnTo>
                            <a:pt x="104" y="16"/>
                          </a:lnTo>
                          <a:lnTo>
                            <a:pt x="100" y="17"/>
                          </a:lnTo>
                          <a:lnTo>
                            <a:pt x="90" y="15"/>
                          </a:lnTo>
                          <a:lnTo>
                            <a:pt x="79" y="9"/>
                          </a:lnTo>
                          <a:lnTo>
                            <a:pt x="73" y="9"/>
                          </a:lnTo>
                          <a:lnTo>
                            <a:pt x="67" y="15"/>
                          </a:lnTo>
                          <a:lnTo>
                            <a:pt x="64" y="15"/>
                          </a:lnTo>
                          <a:lnTo>
                            <a:pt x="55" y="6"/>
                          </a:lnTo>
                          <a:lnTo>
                            <a:pt x="44" y="1"/>
                          </a:lnTo>
                          <a:lnTo>
                            <a:pt x="32" y="1"/>
                          </a:lnTo>
                          <a:lnTo>
                            <a:pt x="23" y="6"/>
                          </a:lnTo>
                          <a:lnTo>
                            <a:pt x="19" y="17"/>
                          </a:lnTo>
                          <a:lnTo>
                            <a:pt x="13" y="22"/>
                          </a:lnTo>
                          <a:lnTo>
                            <a:pt x="14" y="33"/>
                          </a:lnTo>
                          <a:lnTo>
                            <a:pt x="12" y="38"/>
                          </a:lnTo>
                          <a:lnTo>
                            <a:pt x="15" y="44"/>
                          </a:lnTo>
                          <a:lnTo>
                            <a:pt x="17" y="54"/>
                          </a:lnTo>
                          <a:lnTo>
                            <a:pt x="13" y="56"/>
                          </a:lnTo>
                          <a:lnTo>
                            <a:pt x="14" y="59"/>
                          </a:lnTo>
                          <a:lnTo>
                            <a:pt x="13" y="63"/>
                          </a:lnTo>
                          <a:lnTo>
                            <a:pt x="7" y="67"/>
                          </a:lnTo>
                          <a:lnTo>
                            <a:pt x="6" y="75"/>
                          </a:lnTo>
                          <a:lnTo>
                            <a:pt x="2" y="85"/>
                          </a:lnTo>
                          <a:lnTo>
                            <a:pt x="0" y="107"/>
                          </a:lnTo>
                          <a:lnTo>
                            <a:pt x="2" y="118"/>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41" name="Freeform 394"/>
                    <p:cNvSpPr>
                      <a:spLocks/>
                    </p:cNvSpPr>
                    <p:nvPr/>
                  </p:nvSpPr>
                  <p:spPr bwMode="gray">
                    <a:xfrm>
                      <a:off x="3839510" y="2898902"/>
                      <a:ext cx="533485" cy="830381"/>
                    </a:xfrm>
                    <a:custGeom>
                      <a:avLst/>
                      <a:gdLst/>
                      <a:ahLst/>
                      <a:cxnLst>
                        <a:cxn ang="0">
                          <a:pos x="43" y="171"/>
                        </a:cxn>
                        <a:cxn ang="0">
                          <a:pos x="56" y="169"/>
                        </a:cxn>
                        <a:cxn ang="0">
                          <a:pos x="72" y="171"/>
                        </a:cxn>
                        <a:cxn ang="0">
                          <a:pos x="94" y="171"/>
                        </a:cxn>
                        <a:cxn ang="0">
                          <a:pos x="107" y="174"/>
                        </a:cxn>
                        <a:cxn ang="0">
                          <a:pos x="114" y="179"/>
                        </a:cxn>
                        <a:cxn ang="0">
                          <a:pos x="115" y="176"/>
                        </a:cxn>
                        <a:cxn ang="0">
                          <a:pos x="115" y="161"/>
                        </a:cxn>
                        <a:cxn ang="0">
                          <a:pos x="114" y="161"/>
                        </a:cxn>
                        <a:cxn ang="0">
                          <a:pos x="104" y="152"/>
                        </a:cxn>
                        <a:cxn ang="0">
                          <a:pos x="93" y="130"/>
                        </a:cxn>
                        <a:cxn ang="0">
                          <a:pos x="91" y="113"/>
                        </a:cxn>
                        <a:cxn ang="0">
                          <a:pos x="97" y="106"/>
                        </a:cxn>
                        <a:cxn ang="0">
                          <a:pos x="104" y="90"/>
                        </a:cxn>
                        <a:cxn ang="0">
                          <a:pos x="98" y="71"/>
                        </a:cxn>
                        <a:cxn ang="0">
                          <a:pos x="96" y="68"/>
                        </a:cxn>
                        <a:cxn ang="0">
                          <a:pos x="89" y="64"/>
                        </a:cxn>
                        <a:cxn ang="0">
                          <a:pos x="85" y="56"/>
                        </a:cxn>
                        <a:cxn ang="0">
                          <a:pos x="85" y="53"/>
                        </a:cxn>
                        <a:cxn ang="0">
                          <a:pos x="88" y="50"/>
                        </a:cxn>
                        <a:cxn ang="0">
                          <a:pos x="102" y="52"/>
                        </a:cxn>
                        <a:cxn ang="0">
                          <a:pos x="103" y="49"/>
                        </a:cxn>
                        <a:cxn ang="0">
                          <a:pos x="103" y="45"/>
                        </a:cxn>
                        <a:cxn ang="0">
                          <a:pos x="96" y="34"/>
                        </a:cxn>
                        <a:cxn ang="0">
                          <a:pos x="97" y="20"/>
                        </a:cxn>
                        <a:cxn ang="0">
                          <a:pos x="93" y="6"/>
                        </a:cxn>
                        <a:cxn ang="0">
                          <a:pos x="90" y="4"/>
                        </a:cxn>
                        <a:cxn ang="0">
                          <a:pos x="89" y="0"/>
                        </a:cxn>
                        <a:cxn ang="0">
                          <a:pos x="85" y="0"/>
                        </a:cxn>
                        <a:cxn ang="0">
                          <a:pos x="85" y="10"/>
                        </a:cxn>
                        <a:cxn ang="0">
                          <a:pos x="90" y="15"/>
                        </a:cxn>
                        <a:cxn ang="0">
                          <a:pos x="90" y="23"/>
                        </a:cxn>
                        <a:cxn ang="0">
                          <a:pos x="79" y="31"/>
                        </a:cxn>
                        <a:cxn ang="0">
                          <a:pos x="76" y="34"/>
                        </a:cxn>
                        <a:cxn ang="0">
                          <a:pos x="69" y="52"/>
                        </a:cxn>
                        <a:cxn ang="0">
                          <a:pos x="65" y="68"/>
                        </a:cxn>
                        <a:cxn ang="0">
                          <a:pos x="58" y="74"/>
                        </a:cxn>
                        <a:cxn ang="0">
                          <a:pos x="54" y="85"/>
                        </a:cxn>
                        <a:cxn ang="0">
                          <a:pos x="45" y="104"/>
                        </a:cxn>
                        <a:cxn ang="0">
                          <a:pos x="39" y="106"/>
                        </a:cxn>
                        <a:cxn ang="0">
                          <a:pos x="32" y="98"/>
                        </a:cxn>
                        <a:cxn ang="0">
                          <a:pos x="18" y="99"/>
                        </a:cxn>
                        <a:cxn ang="0">
                          <a:pos x="16" y="103"/>
                        </a:cxn>
                        <a:cxn ang="0">
                          <a:pos x="12" y="107"/>
                        </a:cxn>
                        <a:cxn ang="0">
                          <a:pos x="7" y="114"/>
                        </a:cxn>
                        <a:cxn ang="0">
                          <a:pos x="4" y="123"/>
                        </a:cxn>
                        <a:cxn ang="0">
                          <a:pos x="0" y="133"/>
                        </a:cxn>
                        <a:cxn ang="0">
                          <a:pos x="2" y="135"/>
                        </a:cxn>
                        <a:cxn ang="0">
                          <a:pos x="6" y="135"/>
                        </a:cxn>
                        <a:cxn ang="0">
                          <a:pos x="9" y="141"/>
                        </a:cxn>
                        <a:cxn ang="0">
                          <a:pos x="14" y="144"/>
                        </a:cxn>
                        <a:cxn ang="0">
                          <a:pos x="19" y="144"/>
                        </a:cxn>
                        <a:cxn ang="0">
                          <a:pos x="18" y="149"/>
                        </a:cxn>
                        <a:cxn ang="0">
                          <a:pos x="19" y="150"/>
                        </a:cxn>
                        <a:cxn ang="0">
                          <a:pos x="22" y="155"/>
                        </a:cxn>
                        <a:cxn ang="0">
                          <a:pos x="19" y="172"/>
                        </a:cxn>
                        <a:cxn ang="0">
                          <a:pos x="43" y="171"/>
                        </a:cxn>
                      </a:cxnLst>
                      <a:rect l="0" t="0" r="r" b="b"/>
                      <a:pathLst>
                        <a:path w="115" h="179">
                          <a:moveTo>
                            <a:pt x="43" y="171"/>
                          </a:moveTo>
                          <a:lnTo>
                            <a:pt x="56" y="169"/>
                          </a:lnTo>
                          <a:lnTo>
                            <a:pt x="72" y="171"/>
                          </a:lnTo>
                          <a:lnTo>
                            <a:pt x="94" y="171"/>
                          </a:lnTo>
                          <a:lnTo>
                            <a:pt x="107" y="174"/>
                          </a:lnTo>
                          <a:lnTo>
                            <a:pt x="114" y="179"/>
                          </a:lnTo>
                          <a:lnTo>
                            <a:pt x="115" y="176"/>
                          </a:lnTo>
                          <a:lnTo>
                            <a:pt x="115" y="161"/>
                          </a:lnTo>
                          <a:lnTo>
                            <a:pt x="114" y="161"/>
                          </a:lnTo>
                          <a:lnTo>
                            <a:pt x="104" y="152"/>
                          </a:lnTo>
                          <a:lnTo>
                            <a:pt x="93" y="130"/>
                          </a:lnTo>
                          <a:lnTo>
                            <a:pt x="91" y="113"/>
                          </a:lnTo>
                          <a:lnTo>
                            <a:pt x="97" y="106"/>
                          </a:lnTo>
                          <a:lnTo>
                            <a:pt x="104" y="90"/>
                          </a:lnTo>
                          <a:lnTo>
                            <a:pt x="98" y="71"/>
                          </a:lnTo>
                          <a:lnTo>
                            <a:pt x="96" y="68"/>
                          </a:lnTo>
                          <a:lnTo>
                            <a:pt x="89" y="64"/>
                          </a:lnTo>
                          <a:lnTo>
                            <a:pt x="85" y="56"/>
                          </a:lnTo>
                          <a:lnTo>
                            <a:pt x="85" y="53"/>
                          </a:lnTo>
                          <a:lnTo>
                            <a:pt x="88" y="50"/>
                          </a:lnTo>
                          <a:lnTo>
                            <a:pt x="102" y="52"/>
                          </a:lnTo>
                          <a:lnTo>
                            <a:pt x="103" y="49"/>
                          </a:lnTo>
                          <a:lnTo>
                            <a:pt x="103" y="45"/>
                          </a:lnTo>
                          <a:lnTo>
                            <a:pt x="96" y="34"/>
                          </a:lnTo>
                          <a:lnTo>
                            <a:pt x="97" y="20"/>
                          </a:lnTo>
                          <a:lnTo>
                            <a:pt x="93" y="6"/>
                          </a:lnTo>
                          <a:lnTo>
                            <a:pt x="90" y="4"/>
                          </a:lnTo>
                          <a:lnTo>
                            <a:pt x="89" y="0"/>
                          </a:lnTo>
                          <a:lnTo>
                            <a:pt x="85" y="0"/>
                          </a:lnTo>
                          <a:lnTo>
                            <a:pt x="85" y="10"/>
                          </a:lnTo>
                          <a:lnTo>
                            <a:pt x="90" y="15"/>
                          </a:lnTo>
                          <a:lnTo>
                            <a:pt x="90" y="23"/>
                          </a:lnTo>
                          <a:lnTo>
                            <a:pt x="79" y="31"/>
                          </a:lnTo>
                          <a:lnTo>
                            <a:pt x="76" y="34"/>
                          </a:lnTo>
                          <a:lnTo>
                            <a:pt x="69" y="52"/>
                          </a:lnTo>
                          <a:lnTo>
                            <a:pt x="65" y="68"/>
                          </a:lnTo>
                          <a:lnTo>
                            <a:pt x="58" y="74"/>
                          </a:lnTo>
                          <a:lnTo>
                            <a:pt x="54" y="85"/>
                          </a:lnTo>
                          <a:lnTo>
                            <a:pt x="45" y="104"/>
                          </a:lnTo>
                          <a:lnTo>
                            <a:pt x="39" y="106"/>
                          </a:lnTo>
                          <a:lnTo>
                            <a:pt x="32" y="98"/>
                          </a:lnTo>
                          <a:lnTo>
                            <a:pt x="18" y="99"/>
                          </a:lnTo>
                          <a:lnTo>
                            <a:pt x="16" y="103"/>
                          </a:lnTo>
                          <a:lnTo>
                            <a:pt x="12" y="107"/>
                          </a:lnTo>
                          <a:lnTo>
                            <a:pt x="7" y="114"/>
                          </a:lnTo>
                          <a:lnTo>
                            <a:pt x="4" y="123"/>
                          </a:lnTo>
                          <a:lnTo>
                            <a:pt x="0" y="133"/>
                          </a:lnTo>
                          <a:lnTo>
                            <a:pt x="2" y="135"/>
                          </a:lnTo>
                          <a:lnTo>
                            <a:pt x="6" y="135"/>
                          </a:lnTo>
                          <a:lnTo>
                            <a:pt x="9" y="141"/>
                          </a:lnTo>
                          <a:lnTo>
                            <a:pt x="14" y="144"/>
                          </a:lnTo>
                          <a:lnTo>
                            <a:pt x="19" y="144"/>
                          </a:lnTo>
                          <a:lnTo>
                            <a:pt x="18" y="149"/>
                          </a:lnTo>
                          <a:lnTo>
                            <a:pt x="19" y="150"/>
                          </a:lnTo>
                          <a:lnTo>
                            <a:pt x="22" y="155"/>
                          </a:lnTo>
                          <a:lnTo>
                            <a:pt x="19" y="172"/>
                          </a:lnTo>
                          <a:lnTo>
                            <a:pt x="43" y="171"/>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42" name="Freeform 395"/>
                    <p:cNvSpPr>
                      <a:spLocks/>
                    </p:cNvSpPr>
                    <p:nvPr/>
                  </p:nvSpPr>
                  <p:spPr bwMode="gray">
                    <a:xfrm>
                      <a:off x="5277598" y="3919480"/>
                      <a:ext cx="134533" cy="125255"/>
                    </a:xfrm>
                    <a:custGeom>
                      <a:avLst/>
                      <a:gdLst/>
                      <a:ahLst/>
                      <a:cxnLst>
                        <a:cxn ang="0">
                          <a:pos x="22" y="0"/>
                        </a:cxn>
                        <a:cxn ang="0">
                          <a:pos x="18" y="1"/>
                        </a:cxn>
                        <a:cxn ang="0">
                          <a:pos x="16" y="6"/>
                        </a:cxn>
                        <a:cxn ang="0">
                          <a:pos x="11" y="5"/>
                        </a:cxn>
                        <a:cxn ang="0">
                          <a:pos x="4" y="14"/>
                        </a:cxn>
                        <a:cxn ang="0">
                          <a:pos x="0" y="21"/>
                        </a:cxn>
                        <a:cxn ang="0">
                          <a:pos x="2" y="26"/>
                        </a:cxn>
                        <a:cxn ang="0">
                          <a:pos x="4" y="23"/>
                        </a:cxn>
                        <a:cxn ang="0">
                          <a:pos x="5" y="23"/>
                        </a:cxn>
                        <a:cxn ang="0">
                          <a:pos x="9" y="27"/>
                        </a:cxn>
                        <a:cxn ang="0">
                          <a:pos x="13" y="26"/>
                        </a:cxn>
                        <a:cxn ang="0">
                          <a:pos x="16" y="21"/>
                        </a:cxn>
                        <a:cxn ang="0">
                          <a:pos x="23" y="19"/>
                        </a:cxn>
                        <a:cxn ang="0">
                          <a:pos x="25" y="21"/>
                        </a:cxn>
                        <a:cxn ang="0">
                          <a:pos x="29" y="14"/>
                        </a:cxn>
                        <a:cxn ang="0">
                          <a:pos x="22" y="0"/>
                        </a:cxn>
                      </a:cxnLst>
                      <a:rect l="0" t="0" r="r" b="b"/>
                      <a:pathLst>
                        <a:path w="29" h="27">
                          <a:moveTo>
                            <a:pt x="22" y="0"/>
                          </a:moveTo>
                          <a:lnTo>
                            <a:pt x="18" y="1"/>
                          </a:lnTo>
                          <a:lnTo>
                            <a:pt x="16" y="6"/>
                          </a:lnTo>
                          <a:lnTo>
                            <a:pt x="11" y="5"/>
                          </a:lnTo>
                          <a:lnTo>
                            <a:pt x="4" y="14"/>
                          </a:lnTo>
                          <a:lnTo>
                            <a:pt x="0" y="21"/>
                          </a:lnTo>
                          <a:lnTo>
                            <a:pt x="2" y="26"/>
                          </a:lnTo>
                          <a:lnTo>
                            <a:pt x="4" y="23"/>
                          </a:lnTo>
                          <a:lnTo>
                            <a:pt x="5" y="23"/>
                          </a:lnTo>
                          <a:lnTo>
                            <a:pt x="9" y="27"/>
                          </a:lnTo>
                          <a:lnTo>
                            <a:pt x="13" y="26"/>
                          </a:lnTo>
                          <a:lnTo>
                            <a:pt x="16" y="21"/>
                          </a:lnTo>
                          <a:lnTo>
                            <a:pt x="23" y="19"/>
                          </a:lnTo>
                          <a:lnTo>
                            <a:pt x="25" y="21"/>
                          </a:lnTo>
                          <a:lnTo>
                            <a:pt x="29" y="14"/>
                          </a:lnTo>
                          <a:lnTo>
                            <a:pt x="22" y="0"/>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43" name="Freeform 396"/>
                    <p:cNvSpPr>
                      <a:spLocks/>
                    </p:cNvSpPr>
                    <p:nvPr/>
                  </p:nvSpPr>
                  <p:spPr bwMode="gray">
                    <a:xfrm>
                      <a:off x="4261658" y="3051987"/>
                      <a:ext cx="913883" cy="593791"/>
                    </a:xfrm>
                    <a:custGeom>
                      <a:avLst/>
                      <a:gdLst/>
                      <a:ahLst/>
                      <a:cxnLst>
                        <a:cxn ang="0">
                          <a:pos x="190" y="92"/>
                        </a:cxn>
                        <a:cxn ang="0">
                          <a:pos x="184" y="92"/>
                        </a:cxn>
                        <a:cxn ang="0">
                          <a:pos x="178" y="91"/>
                        </a:cxn>
                        <a:cxn ang="0">
                          <a:pos x="162" y="91"/>
                        </a:cxn>
                        <a:cxn ang="0">
                          <a:pos x="156" y="96"/>
                        </a:cxn>
                        <a:cxn ang="0">
                          <a:pos x="134" y="100"/>
                        </a:cxn>
                        <a:cxn ang="0">
                          <a:pos x="123" y="100"/>
                        </a:cxn>
                        <a:cxn ang="0">
                          <a:pos x="121" y="106"/>
                        </a:cxn>
                        <a:cxn ang="0">
                          <a:pos x="97" y="101"/>
                        </a:cxn>
                        <a:cxn ang="0">
                          <a:pos x="92" y="102"/>
                        </a:cxn>
                        <a:cxn ang="0">
                          <a:pos x="75" y="92"/>
                        </a:cxn>
                        <a:cxn ang="0">
                          <a:pos x="66" y="114"/>
                        </a:cxn>
                        <a:cxn ang="0">
                          <a:pos x="53" y="119"/>
                        </a:cxn>
                        <a:cxn ang="0">
                          <a:pos x="38" y="116"/>
                        </a:cxn>
                        <a:cxn ang="0">
                          <a:pos x="24" y="128"/>
                        </a:cxn>
                        <a:cxn ang="0">
                          <a:pos x="13" y="119"/>
                        </a:cxn>
                        <a:cxn ang="0">
                          <a:pos x="0" y="80"/>
                        </a:cxn>
                        <a:cxn ang="0">
                          <a:pos x="13" y="57"/>
                        </a:cxn>
                        <a:cxn ang="0">
                          <a:pos x="29" y="53"/>
                        </a:cxn>
                        <a:cxn ang="0">
                          <a:pos x="36" y="55"/>
                        </a:cxn>
                        <a:cxn ang="0">
                          <a:pos x="63" y="47"/>
                        </a:cxn>
                        <a:cxn ang="0">
                          <a:pos x="67" y="36"/>
                        </a:cxn>
                        <a:cxn ang="0">
                          <a:pos x="91" y="30"/>
                        </a:cxn>
                        <a:cxn ang="0">
                          <a:pos x="98" y="25"/>
                        </a:cxn>
                        <a:cxn ang="0">
                          <a:pos x="110" y="12"/>
                        </a:cxn>
                        <a:cxn ang="0">
                          <a:pos x="112" y="3"/>
                        </a:cxn>
                        <a:cxn ang="0">
                          <a:pos x="136" y="16"/>
                        </a:cxn>
                        <a:cxn ang="0">
                          <a:pos x="136" y="35"/>
                        </a:cxn>
                        <a:cxn ang="0">
                          <a:pos x="146" y="38"/>
                        </a:cxn>
                        <a:cxn ang="0">
                          <a:pos x="156" y="43"/>
                        </a:cxn>
                        <a:cxn ang="0">
                          <a:pos x="162" y="54"/>
                        </a:cxn>
                        <a:cxn ang="0">
                          <a:pos x="182" y="78"/>
                        </a:cxn>
                        <a:cxn ang="0">
                          <a:pos x="197" y="92"/>
                        </a:cxn>
                      </a:cxnLst>
                      <a:rect l="0" t="0" r="r" b="b"/>
                      <a:pathLst>
                        <a:path w="197" h="128">
                          <a:moveTo>
                            <a:pt x="197" y="92"/>
                          </a:moveTo>
                          <a:lnTo>
                            <a:pt x="190" y="92"/>
                          </a:lnTo>
                          <a:lnTo>
                            <a:pt x="187" y="95"/>
                          </a:lnTo>
                          <a:lnTo>
                            <a:pt x="184" y="92"/>
                          </a:lnTo>
                          <a:lnTo>
                            <a:pt x="182" y="95"/>
                          </a:lnTo>
                          <a:lnTo>
                            <a:pt x="178" y="91"/>
                          </a:lnTo>
                          <a:lnTo>
                            <a:pt x="168" y="92"/>
                          </a:lnTo>
                          <a:lnTo>
                            <a:pt x="162" y="91"/>
                          </a:lnTo>
                          <a:lnTo>
                            <a:pt x="161" y="95"/>
                          </a:lnTo>
                          <a:lnTo>
                            <a:pt x="156" y="96"/>
                          </a:lnTo>
                          <a:lnTo>
                            <a:pt x="153" y="93"/>
                          </a:lnTo>
                          <a:lnTo>
                            <a:pt x="134" y="100"/>
                          </a:lnTo>
                          <a:lnTo>
                            <a:pt x="127" y="97"/>
                          </a:lnTo>
                          <a:lnTo>
                            <a:pt x="123" y="100"/>
                          </a:lnTo>
                          <a:lnTo>
                            <a:pt x="123" y="105"/>
                          </a:lnTo>
                          <a:lnTo>
                            <a:pt x="121" y="106"/>
                          </a:lnTo>
                          <a:lnTo>
                            <a:pt x="106" y="106"/>
                          </a:lnTo>
                          <a:lnTo>
                            <a:pt x="97" y="101"/>
                          </a:lnTo>
                          <a:lnTo>
                            <a:pt x="94" y="103"/>
                          </a:lnTo>
                          <a:lnTo>
                            <a:pt x="92" y="102"/>
                          </a:lnTo>
                          <a:lnTo>
                            <a:pt x="84" y="92"/>
                          </a:lnTo>
                          <a:lnTo>
                            <a:pt x="75" y="92"/>
                          </a:lnTo>
                          <a:lnTo>
                            <a:pt x="67" y="102"/>
                          </a:lnTo>
                          <a:lnTo>
                            <a:pt x="66" y="114"/>
                          </a:lnTo>
                          <a:lnTo>
                            <a:pt x="62" y="114"/>
                          </a:lnTo>
                          <a:lnTo>
                            <a:pt x="53" y="119"/>
                          </a:lnTo>
                          <a:lnTo>
                            <a:pt x="43" y="114"/>
                          </a:lnTo>
                          <a:lnTo>
                            <a:pt x="38" y="116"/>
                          </a:lnTo>
                          <a:lnTo>
                            <a:pt x="31" y="119"/>
                          </a:lnTo>
                          <a:lnTo>
                            <a:pt x="24" y="128"/>
                          </a:lnTo>
                          <a:lnTo>
                            <a:pt x="23" y="128"/>
                          </a:lnTo>
                          <a:lnTo>
                            <a:pt x="13" y="119"/>
                          </a:lnTo>
                          <a:lnTo>
                            <a:pt x="2" y="97"/>
                          </a:lnTo>
                          <a:lnTo>
                            <a:pt x="0" y="80"/>
                          </a:lnTo>
                          <a:lnTo>
                            <a:pt x="6" y="73"/>
                          </a:lnTo>
                          <a:lnTo>
                            <a:pt x="13" y="57"/>
                          </a:lnTo>
                          <a:lnTo>
                            <a:pt x="23" y="57"/>
                          </a:lnTo>
                          <a:lnTo>
                            <a:pt x="29" y="53"/>
                          </a:lnTo>
                          <a:lnTo>
                            <a:pt x="31" y="51"/>
                          </a:lnTo>
                          <a:lnTo>
                            <a:pt x="36" y="55"/>
                          </a:lnTo>
                          <a:lnTo>
                            <a:pt x="50" y="48"/>
                          </a:lnTo>
                          <a:lnTo>
                            <a:pt x="63" y="47"/>
                          </a:lnTo>
                          <a:lnTo>
                            <a:pt x="69" y="39"/>
                          </a:lnTo>
                          <a:lnTo>
                            <a:pt x="67" y="36"/>
                          </a:lnTo>
                          <a:lnTo>
                            <a:pt x="68" y="33"/>
                          </a:lnTo>
                          <a:lnTo>
                            <a:pt x="91" y="30"/>
                          </a:lnTo>
                          <a:lnTo>
                            <a:pt x="92" y="27"/>
                          </a:lnTo>
                          <a:lnTo>
                            <a:pt x="98" y="25"/>
                          </a:lnTo>
                          <a:lnTo>
                            <a:pt x="99" y="21"/>
                          </a:lnTo>
                          <a:lnTo>
                            <a:pt x="110" y="12"/>
                          </a:lnTo>
                          <a:lnTo>
                            <a:pt x="110" y="8"/>
                          </a:lnTo>
                          <a:lnTo>
                            <a:pt x="112" y="3"/>
                          </a:lnTo>
                          <a:lnTo>
                            <a:pt x="124" y="0"/>
                          </a:lnTo>
                          <a:lnTo>
                            <a:pt x="136" y="16"/>
                          </a:lnTo>
                          <a:lnTo>
                            <a:pt x="137" y="21"/>
                          </a:lnTo>
                          <a:lnTo>
                            <a:pt x="136" y="35"/>
                          </a:lnTo>
                          <a:lnTo>
                            <a:pt x="138" y="37"/>
                          </a:lnTo>
                          <a:lnTo>
                            <a:pt x="146" y="38"/>
                          </a:lnTo>
                          <a:lnTo>
                            <a:pt x="147" y="42"/>
                          </a:lnTo>
                          <a:lnTo>
                            <a:pt x="156" y="43"/>
                          </a:lnTo>
                          <a:lnTo>
                            <a:pt x="161" y="47"/>
                          </a:lnTo>
                          <a:lnTo>
                            <a:pt x="162" y="54"/>
                          </a:lnTo>
                          <a:lnTo>
                            <a:pt x="178" y="66"/>
                          </a:lnTo>
                          <a:lnTo>
                            <a:pt x="182" y="78"/>
                          </a:lnTo>
                          <a:lnTo>
                            <a:pt x="193" y="84"/>
                          </a:lnTo>
                          <a:lnTo>
                            <a:pt x="197" y="92"/>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44" name="Freeform 397"/>
                    <p:cNvSpPr>
                      <a:spLocks/>
                    </p:cNvSpPr>
                    <p:nvPr/>
                  </p:nvSpPr>
                  <p:spPr bwMode="gray">
                    <a:xfrm>
                      <a:off x="4085376" y="4165346"/>
                      <a:ext cx="74224" cy="102058"/>
                    </a:xfrm>
                    <a:custGeom>
                      <a:avLst/>
                      <a:gdLst/>
                      <a:ahLst/>
                      <a:cxnLst>
                        <a:cxn ang="0">
                          <a:pos x="5" y="22"/>
                        </a:cxn>
                        <a:cxn ang="0">
                          <a:pos x="3" y="20"/>
                        </a:cxn>
                        <a:cxn ang="0">
                          <a:pos x="3" y="12"/>
                        </a:cxn>
                        <a:cxn ang="0">
                          <a:pos x="0" y="9"/>
                        </a:cxn>
                        <a:cxn ang="0">
                          <a:pos x="7" y="6"/>
                        </a:cxn>
                        <a:cxn ang="0">
                          <a:pos x="9" y="1"/>
                        </a:cxn>
                        <a:cxn ang="0">
                          <a:pos x="12" y="0"/>
                        </a:cxn>
                        <a:cxn ang="0">
                          <a:pos x="15" y="1"/>
                        </a:cxn>
                        <a:cxn ang="0">
                          <a:pos x="16" y="4"/>
                        </a:cxn>
                        <a:cxn ang="0">
                          <a:pos x="10" y="8"/>
                        </a:cxn>
                        <a:cxn ang="0">
                          <a:pos x="7" y="20"/>
                        </a:cxn>
                        <a:cxn ang="0">
                          <a:pos x="5" y="22"/>
                        </a:cxn>
                      </a:cxnLst>
                      <a:rect l="0" t="0" r="r" b="b"/>
                      <a:pathLst>
                        <a:path w="16" h="22">
                          <a:moveTo>
                            <a:pt x="5" y="22"/>
                          </a:moveTo>
                          <a:lnTo>
                            <a:pt x="3" y="20"/>
                          </a:lnTo>
                          <a:lnTo>
                            <a:pt x="3" y="12"/>
                          </a:lnTo>
                          <a:lnTo>
                            <a:pt x="0" y="9"/>
                          </a:lnTo>
                          <a:lnTo>
                            <a:pt x="7" y="6"/>
                          </a:lnTo>
                          <a:lnTo>
                            <a:pt x="9" y="1"/>
                          </a:lnTo>
                          <a:lnTo>
                            <a:pt x="12" y="0"/>
                          </a:lnTo>
                          <a:lnTo>
                            <a:pt x="15" y="1"/>
                          </a:lnTo>
                          <a:lnTo>
                            <a:pt x="16" y="4"/>
                          </a:lnTo>
                          <a:lnTo>
                            <a:pt x="10" y="8"/>
                          </a:lnTo>
                          <a:lnTo>
                            <a:pt x="7" y="20"/>
                          </a:lnTo>
                          <a:lnTo>
                            <a:pt x="5" y="22"/>
                          </a:lnTo>
                          <a:close/>
                        </a:path>
                      </a:pathLst>
                    </a:custGeom>
                    <a:grpFill/>
                    <a:ln w="6350" cap="rnd">
                      <a:solidFill>
                        <a:schemeClr val="bg1"/>
                      </a:solidFill>
                      <a:prstDash val="solid"/>
                      <a:round/>
                      <a:headEnd/>
                      <a:tailEnd/>
                    </a:ln>
                  </p:spPr>
                  <p:txBody>
                    <a:bodyPr/>
                    <a:lstStyle/>
                    <a:p>
                      <a:endParaRPr lang="en-US" sz="3200" dirty="0">
                        <a:solidFill>
                          <a:srgbClr val="000000"/>
                        </a:solidFill>
                        <a:latin typeface="+mj-lt"/>
                      </a:endParaRPr>
                    </a:p>
                  </p:txBody>
                </p:sp>
                <p:sp>
                  <p:nvSpPr>
                    <p:cNvPr id="445" name="Freeform 398"/>
                    <p:cNvSpPr>
                      <a:spLocks/>
                    </p:cNvSpPr>
                    <p:nvPr/>
                  </p:nvSpPr>
                  <p:spPr bwMode="gray">
                    <a:xfrm>
                      <a:off x="3867345" y="3682890"/>
                      <a:ext cx="385038" cy="449984"/>
                    </a:xfrm>
                    <a:custGeom>
                      <a:avLst/>
                      <a:gdLst/>
                      <a:ahLst/>
                      <a:cxnLst>
                        <a:cxn ang="0">
                          <a:pos x="37" y="2"/>
                        </a:cxn>
                        <a:cxn ang="0">
                          <a:pos x="35" y="5"/>
                        </a:cxn>
                        <a:cxn ang="0">
                          <a:pos x="37" y="19"/>
                        </a:cxn>
                        <a:cxn ang="0">
                          <a:pos x="18" y="19"/>
                        </a:cxn>
                        <a:cxn ang="0">
                          <a:pos x="10" y="21"/>
                        </a:cxn>
                        <a:cxn ang="0">
                          <a:pos x="12" y="25"/>
                        </a:cxn>
                        <a:cxn ang="0">
                          <a:pos x="8" y="27"/>
                        </a:cxn>
                        <a:cxn ang="0">
                          <a:pos x="15" y="34"/>
                        </a:cxn>
                        <a:cxn ang="0">
                          <a:pos x="12" y="35"/>
                        </a:cxn>
                        <a:cxn ang="0">
                          <a:pos x="7" y="32"/>
                        </a:cxn>
                        <a:cxn ang="0">
                          <a:pos x="6" y="42"/>
                        </a:cxn>
                        <a:cxn ang="0">
                          <a:pos x="2" y="47"/>
                        </a:cxn>
                        <a:cxn ang="0">
                          <a:pos x="0" y="47"/>
                        </a:cxn>
                        <a:cxn ang="0">
                          <a:pos x="1" y="51"/>
                        </a:cxn>
                        <a:cxn ang="0">
                          <a:pos x="7" y="65"/>
                        </a:cxn>
                        <a:cxn ang="0">
                          <a:pos x="16" y="78"/>
                        </a:cxn>
                        <a:cxn ang="0">
                          <a:pos x="33" y="92"/>
                        </a:cxn>
                        <a:cxn ang="0">
                          <a:pos x="34" y="97"/>
                        </a:cxn>
                        <a:cxn ang="0">
                          <a:pos x="37" y="90"/>
                        </a:cxn>
                        <a:cxn ang="0">
                          <a:pos x="43" y="90"/>
                        </a:cxn>
                        <a:cxn ang="0">
                          <a:pos x="44" y="89"/>
                        </a:cxn>
                        <a:cxn ang="0">
                          <a:pos x="41" y="80"/>
                        </a:cxn>
                        <a:cxn ang="0">
                          <a:pos x="43" y="75"/>
                        </a:cxn>
                        <a:cxn ang="0">
                          <a:pos x="52" y="70"/>
                        </a:cxn>
                        <a:cxn ang="0">
                          <a:pos x="58" y="64"/>
                        </a:cxn>
                        <a:cxn ang="0">
                          <a:pos x="62" y="69"/>
                        </a:cxn>
                        <a:cxn ang="0">
                          <a:pos x="69" y="68"/>
                        </a:cxn>
                        <a:cxn ang="0">
                          <a:pos x="75" y="73"/>
                        </a:cxn>
                        <a:cxn ang="0">
                          <a:pos x="78" y="72"/>
                        </a:cxn>
                        <a:cxn ang="0">
                          <a:pos x="82" y="48"/>
                        </a:cxn>
                        <a:cxn ang="0">
                          <a:pos x="77" y="36"/>
                        </a:cxn>
                        <a:cxn ang="0">
                          <a:pos x="78" y="31"/>
                        </a:cxn>
                        <a:cxn ang="0">
                          <a:pos x="83" y="23"/>
                        </a:cxn>
                        <a:cxn ang="0">
                          <a:pos x="83" y="18"/>
                        </a:cxn>
                        <a:cxn ang="0">
                          <a:pos x="79" y="14"/>
                        </a:cxn>
                        <a:cxn ang="0">
                          <a:pos x="71" y="11"/>
                        </a:cxn>
                        <a:cxn ang="0">
                          <a:pos x="67" y="18"/>
                        </a:cxn>
                        <a:cxn ang="0">
                          <a:pos x="65" y="16"/>
                        </a:cxn>
                        <a:cxn ang="0">
                          <a:pos x="65" y="7"/>
                        </a:cxn>
                        <a:cxn ang="0">
                          <a:pos x="66" y="2"/>
                        </a:cxn>
                        <a:cxn ang="0">
                          <a:pos x="50" y="0"/>
                        </a:cxn>
                        <a:cxn ang="0">
                          <a:pos x="37" y="2"/>
                        </a:cxn>
                      </a:cxnLst>
                      <a:rect l="0" t="0" r="r" b="b"/>
                      <a:pathLst>
                        <a:path w="83" h="97">
                          <a:moveTo>
                            <a:pt x="37" y="2"/>
                          </a:moveTo>
                          <a:lnTo>
                            <a:pt x="35" y="5"/>
                          </a:lnTo>
                          <a:lnTo>
                            <a:pt x="37" y="19"/>
                          </a:lnTo>
                          <a:lnTo>
                            <a:pt x="18" y="19"/>
                          </a:lnTo>
                          <a:lnTo>
                            <a:pt x="10" y="21"/>
                          </a:lnTo>
                          <a:lnTo>
                            <a:pt x="12" y="25"/>
                          </a:lnTo>
                          <a:lnTo>
                            <a:pt x="8" y="27"/>
                          </a:lnTo>
                          <a:lnTo>
                            <a:pt x="15" y="34"/>
                          </a:lnTo>
                          <a:lnTo>
                            <a:pt x="12" y="35"/>
                          </a:lnTo>
                          <a:lnTo>
                            <a:pt x="7" y="32"/>
                          </a:lnTo>
                          <a:lnTo>
                            <a:pt x="6" y="42"/>
                          </a:lnTo>
                          <a:lnTo>
                            <a:pt x="2" y="47"/>
                          </a:lnTo>
                          <a:lnTo>
                            <a:pt x="0" y="47"/>
                          </a:lnTo>
                          <a:lnTo>
                            <a:pt x="1" y="51"/>
                          </a:lnTo>
                          <a:lnTo>
                            <a:pt x="7" y="65"/>
                          </a:lnTo>
                          <a:lnTo>
                            <a:pt x="16" y="78"/>
                          </a:lnTo>
                          <a:lnTo>
                            <a:pt x="33" y="92"/>
                          </a:lnTo>
                          <a:lnTo>
                            <a:pt x="34" y="97"/>
                          </a:lnTo>
                          <a:lnTo>
                            <a:pt x="37" y="90"/>
                          </a:lnTo>
                          <a:lnTo>
                            <a:pt x="43" y="90"/>
                          </a:lnTo>
                          <a:lnTo>
                            <a:pt x="44" y="89"/>
                          </a:lnTo>
                          <a:lnTo>
                            <a:pt x="41" y="80"/>
                          </a:lnTo>
                          <a:lnTo>
                            <a:pt x="43" y="75"/>
                          </a:lnTo>
                          <a:lnTo>
                            <a:pt x="52" y="70"/>
                          </a:lnTo>
                          <a:lnTo>
                            <a:pt x="58" y="64"/>
                          </a:lnTo>
                          <a:lnTo>
                            <a:pt x="62" y="69"/>
                          </a:lnTo>
                          <a:lnTo>
                            <a:pt x="69" y="68"/>
                          </a:lnTo>
                          <a:lnTo>
                            <a:pt x="75" y="73"/>
                          </a:lnTo>
                          <a:lnTo>
                            <a:pt x="78" y="72"/>
                          </a:lnTo>
                          <a:lnTo>
                            <a:pt x="82" y="48"/>
                          </a:lnTo>
                          <a:lnTo>
                            <a:pt x="77" y="36"/>
                          </a:lnTo>
                          <a:lnTo>
                            <a:pt x="78" y="31"/>
                          </a:lnTo>
                          <a:lnTo>
                            <a:pt x="83" y="23"/>
                          </a:lnTo>
                          <a:lnTo>
                            <a:pt x="83" y="18"/>
                          </a:lnTo>
                          <a:lnTo>
                            <a:pt x="79" y="14"/>
                          </a:lnTo>
                          <a:lnTo>
                            <a:pt x="71" y="11"/>
                          </a:lnTo>
                          <a:lnTo>
                            <a:pt x="67" y="18"/>
                          </a:lnTo>
                          <a:lnTo>
                            <a:pt x="65" y="16"/>
                          </a:lnTo>
                          <a:lnTo>
                            <a:pt x="65" y="7"/>
                          </a:lnTo>
                          <a:lnTo>
                            <a:pt x="66" y="2"/>
                          </a:lnTo>
                          <a:lnTo>
                            <a:pt x="50" y="0"/>
                          </a:lnTo>
                          <a:lnTo>
                            <a:pt x="37" y="2"/>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46" name="Freeform 399"/>
                    <p:cNvSpPr>
                      <a:spLocks/>
                    </p:cNvSpPr>
                    <p:nvPr/>
                  </p:nvSpPr>
                  <p:spPr bwMode="gray">
                    <a:xfrm>
                      <a:off x="4025070" y="3580832"/>
                      <a:ext cx="524207" cy="626266"/>
                    </a:xfrm>
                    <a:custGeom>
                      <a:avLst/>
                      <a:gdLst/>
                      <a:ahLst/>
                      <a:cxnLst>
                        <a:cxn ang="0">
                          <a:pos x="113" y="0"/>
                        </a:cxn>
                        <a:cxn ang="0">
                          <a:pos x="104" y="5"/>
                        </a:cxn>
                        <a:cxn ang="0">
                          <a:pos x="94" y="0"/>
                        </a:cxn>
                        <a:cxn ang="0">
                          <a:pos x="89" y="2"/>
                        </a:cxn>
                        <a:cxn ang="0">
                          <a:pos x="82" y="5"/>
                        </a:cxn>
                        <a:cxn ang="0">
                          <a:pos x="75" y="14"/>
                        </a:cxn>
                        <a:cxn ang="0">
                          <a:pos x="75" y="29"/>
                        </a:cxn>
                        <a:cxn ang="0">
                          <a:pos x="74" y="32"/>
                        </a:cxn>
                        <a:cxn ang="0">
                          <a:pos x="67" y="27"/>
                        </a:cxn>
                        <a:cxn ang="0">
                          <a:pos x="54" y="24"/>
                        </a:cxn>
                        <a:cxn ang="0">
                          <a:pos x="32" y="24"/>
                        </a:cxn>
                        <a:cxn ang="0">
                          <a:pos x="31" y="29"/>
                        </a:cxn>
                        <a:cxn ang="0">
                          <a:pos x="31" y="38"/>
                        </a:cxn>
                        <a:cxn ang="0">
                          <a:pos x="33" y="40"/>
                        </a:cxn>
                        <a:cxn ang="0">
                          <a:pos x="37" y="33"/>
                        </a:cxn>
                        <a:cxn ang="0">
                          <a:pos x="45" y="36"/>
                        </a:cxn>
                        <a:cxn ang="0">
                          <a:pos x="49" y="40"/>
                        </a:cxn>
                        <a:cxn ang="0">
                          <a:pos x="49" y="45"/>
                        </a:cxn>
                        <a:cxn ang="0">
                          <a:pos x="44" y="53"/>
                        </a:cxn>
                        <a:cxn ang="0">
                          <a:pos x="43" y="58"/>
                        </a:cxn>
                        <a:cxn ang="0">
                          <a:pos x="48" y="70"/>
                        </a:cxn>
                        <a:cxn ang="0">
                          <a:pos x="44" y="94"/>
                        </a:cxn>
                        <a:cxn ang="0">
                          <a:pos x="41" y="95"/>
                        </a:cxn>
                        <a:cxn ang="0">
                          <a:pos x="35" y="90"/>
                        </a:cxn>
                        <a:cxn ang="0">
                          <a:pos x="28" y="91"/>
                        </a:cxn>
                        <a:cxn ang="0">
                          <a:pos x="24" y="86"/>
                        </a:cxn>
                        <a:cxn ang="0">
                          <a:pos x="18" y="92"/>
                        </a:cxn>
                        <a:cxn ang="0">
                          <a:pos x="9" y="97"/>
                        </a:cxn>
                        <a:cxn ang="0">
                          <a:pos x="7" y="102"/>
                        </a:cxn>
                        <a:cxn ang="0">
                          <a:pos x="10" y="111"/>
                        </a:cxn>
                        <a:cxn ang="0">
                          <a:pos x="9" y="112"/>
                        </a:cxn>
                        <a:cxn ang="0">
                          <a:pos x="3" y="112"/>
                        </a:cxn>
                        <a:cxn ang="0">
                          <a:pos x="0" y="119"/>
                        </a:cxn>
                        <a:cxn ang="0">
                          <a:pos x="4" y="121"/>
                        </a:cxn>
                        <a:cxn ang="0">
                          <a:pos x="10" y="127"/>
                        </a:cxn>
                        <a:cxn ang="0">
                          <a:pos x="13" y="135"/>
                        </a:cxn>
                        <a:cxn ang="0">
                          <a:pos x="20" y="132"/>
                        </a:cxn>
                        <a:cxn ang="0">
                          <a:pos x="22" y="127"/>
                        </a:cxn>
                        <a:cxn ang="0">
                          <a:pos x="25" y="126"/>
                        </a:cxn>
                        <a:cxn ang="0">
                          <a:pos x="28" y="127"/>
                        </a:cxn>
                        <a:cxn ang="0">
                          <a:pos x="29" y="130"/>
                        </a:cxn>
                        <a:cxn ang="0">
                          <a:pos x="33" y="133"/>
                        </a:cxn>
                        <a:cxn ang="0">
                          <a:pos x="37" y="132"/>
                        </a:cxn>
                        <a:cxn ang="0">
                          <a:pos x="41" y="127"/>
                        </a:cxn>
                        <a:cxn ang="0">
                          <a:pos x="48" y="126"/>
                        </a:cxn>
                        <a:cxn ang="0">
                          <a:pos x="49" y="132"/>
                        </a:cxn>
                        <a:cxn ang="0">
                          <a:pos x="51" y="132"/>
                        </a:cxn>
                        <a:cxn ang="0">
                          <a:pos x="57" y="130"/>
                        </a:cxn>
                        <a:cxn ang="0">
                          <a:pos x="72" y="118"/>
                        </a:cxn>
                        <a:cxn ang="0">
                          <a:pos x="76" y="107"/>
                        </a:cxn>
                        <a:cxn ang="0">
                          <a:pos x="78" y="96"/>
                        </a:cxn>
                        <a:cxn ang="0">
                          <a:pos x="79" y="90"/>
                        </a:cxn>
                        <a:cxn ang="0">
                          <a:pos x="86" y="80"/>
                        </a:cxn>
                        <a:cxn ang="0">
                          <a:pos x="100" y="68"/>
                        </a:cxn>
                        <a:cxn ang="0">
                          <a:pos x="105" y="27"/>
                        </a:cxn>
                        <a:cxn ang="0">
                          <a:pos x="113" y="11"/>
                        </a:cxn>
                        <a:cxn ang="0">
                          <a:pos x="113" y="0"/>
                        </a:cxn>
                      </a:cxnLst>
                      <a:rect l="0" t="0" r="r" b="b"/>
                      <a:pathLst>
                        <a:path w="113" h="135">
                          <a:moveTo>
                            <a:pt x="113" y="0"/>
                          </a:moveTo>
                          <a:lnTo>
                            <a:pt x="104" y="5"/>
                          </a:lnTo>
                          <a:lnTo>
                            <a:pt x="94" y="0"/>
                          </a:lnTo>
                          <a:lnTo>
                            <a:pt x="89" y="2"/>
                          </a:lnTo>
                          <a:lnTo>
                            <a:pt x="82" y="5"/>
                          </a:lnTo>
                          <a:lnTo>
                            <a:pt x="75" y="14"/>
                          </a:lnTo>
                          <a:lnTo>
                            <a:pt x="75" y="29"/>
                          </a:lnTo>
                          <a:lnTo>
                            <a:pt x="74" y="32"/>
                          </a:lnTo>
                          <a:lnTo>
                            <a:pt x="67" y="27"/>
                          </a:lnTo>
                          <a:lnTo>
                            <a:pt x="54" y="24"/>
                          </a:lnTo>
                          <a:lnTo>
                            <a:pt x="32" y="24"/>
                          </a:lnTo>
                          <a:lnTo>
                            <a:pt x="31" y="29"/>
                          </a:lnTo>
                          <a:lnTo>
                            <a:pt x="31" y="38"/>
                          </a:lnTo>
                          <a:lnTo>
                            <a:pt x="33" y="40"/>
                          </a:lnTo>
                          <a:lnTo>
                            <a:pt x="37" y="33"/>
                          </a:lnTo>
                          <a:lnTo>
                            <a:pt x="45" y="36"/>
                          </a:lnTo>
                          <a:lnTo>
                            <a:pt x="49" y="40"/>
                          </a:lnTo>
                          <a:lnTo>
                            <a:pt x="49" y="45"/>
                          </a:lnTo>
                          <a:lnTo>
                            <a:pt x="44" y="53"/>
                          </a:lnTo>
                          <a:lnTo>
                            <a:pt x="43" y="58"/>
                          </a:lnTo>
                          <a:lnTo>
                            <a:pt x="48" y="70"/>
                          </a:lnTo>
                          <a:lnTo>
                            <a:pt x="44" y="94"/>
                          </a:lnTo>
                          <a:lnTo>
                            <a:pt x="41" y="95"/>
                          </a:lnTo>
                          <a:lnTo>
                            <a:pt x="35" y="90"/>
                          </a:lnTo>
                          <a:lnTo>
                            <a:pt x="28" y="91"/>
                          </a:lnTo>
                          <a:lnTo>
                            <a:pt x="24" y="86"/>
                          </a:lnTo>
                          <a:lnTo>
                            <a:pt x="18" y="92"/>
                          </a:lnTo>
                          <a:lnTo>
                            <a:pt x="9" y="97"/>
                          </a:lnTo>
                          <a:lnTo>
                            <a:pt x="7" y="102"/>
                          </a:lnTo>
                          <a:lnTo>
                            <a:pt x="10" y="111"/>
                          </a:lnTo>
                          <a:lnTo>
                            <a:pt x="9" y="112"/>
                          </a:lnTo>
                          <a:lnTo>
                            <a:pt x="3" y="112"/>
                          </a:lnTo>
                          <a:lnTo>
                            <a:pt x="0" y="119"/>
                          </a:lnTo>
                          <a:lnTo>
                            <a:pt x="4" y="121"/>
                          </a:lnTo>
                          <a:lnTo>
                            <a:pt x="10" y="127"/>
                          </a:lnTo>
                          <a:lnTo>
                            <a:pt x="13" y="135"/>
                          </a:lnTo>
                          <a:lnTo>
                            <a:pt x="20" y="132"/>
                          </a:lnTo>
                          <a:lnTo>
                            <a:pt x="22" y="127"/>
                          </a:lnTo>
                          <a:lnTo>
                            <a:pt x="25" y="126"/>
                          </a:lnTo>
                          <a:lnTo>
                            <a:pt x="28" y="127"/>
                          </a:lnTo>
                          <a:lnTo>
                            <a:pt x="29" y="130"/>
                          </a:lnTo>
                          <a:lnTo>
                            <a:pt x="33" y="133"/>
                          </a:lnTo>
                          <a:lnTo>
                            <a:pt x="37" y="132"/>
                          </a:lnTo>
                          <a:lnTo>
                            <a:pt x="41" y="127"/>
                          </a:lnTo>
                          <a:lnTo>
                            <a:pt x="48" y="126"/>
                          </a:lnTo>
                          <a:lnTo>
                            <a:pt x="49" y="132"/>
                          </a:lnTo>
                          <a:lnTo>
                            <a:pt x="51" y="132"/>
                          </a:lnTo>
                          <a:lnTo>
                            <a:pt x="57" y="130"/>
                          </a:lnTo>
                          <a:lnTo>
                            <a:pt x="72" y="118"/>
                          </a:lnTo>
                          <a:lnTo>
                            <a:pt x="76" y="107"/>
                          </a:lnTo>
                          <a:lnTo>
                            <a:pt x="78" y="96"/>
                          </a:lnTo>
                          <a:lnTo>
                            <a:pt x="79" y="90"/>
                          </a:lnTo>
                          <a:lnTo>
                            <a:pt x="86" y="80"/>
                          </a:lnTo>
                          <a:lnTo>
                            <a:pt x="100" y="68"/>
                          </a:lnTo>
                          <a:lnTo>
                            <a:pt x="105" y="27"/>
                          </a:lnTo>
                          <a:lnTo>
                            <a:pt x="113" y="11"/>
                          </a:lnTo>
                          <a:lnTo>
                            <a:pt x="113" y="0"/>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47" name="Freeform 400"/>
                    <p:cNvSpPr>
                      <a:spLocks/>
                    </p:cNvSpPr>
                    <p:nvPr/>
                  </p:nvSpPr>
                  <p:spPr bwMode="gray">
                    <a:xfrm>
                      <a:off x="5286876" y="4007619"/>
                      <a:ext cx="120614" cy="157725"/>
                    </a:xfrm>
                    <a:custGeom>
                      <a:avLst/>
                      <a:gdLst/>
                      <a:ahLst/>
                      <a:cxnLst>
                        <a:cxn ang="0">
                          <a:pos x="5" y="32"/>
                        </a:cxn>
                        <a:cxn ang="0">
                          <a:pos x="3" y="25"/>
                        </a:cxn>
                        <a:cxn ang="0">
                          <a:pos x="3" y="18"/>
                        </a:cxn>
                        <a:cxn ang="0">
                          <a:pos x="2" y="10"/>
                        </a:cxn>
                        <a:cxn ang="0">
                          <a:pos x="0" y="7"/>
                        </a:cxn>
                        <a:cxn ang="0">
                          <a:pos x="2" y="4"/>
                        </a:cxn>
                        <a:cxn ang="0">
                          <a:pos x="3" y="4"/>
                        </a:cxn>
                        <a:cxn ang="0">
                          <a:pos x="7" y="8"/>
                        </a:cxn>
                        <a:cxn ang="0">
                          <a:pos x="11" y="7"/>
                        </a:cxn>
                        <a:cxn ang="0">
                          <a:pos x="14" y="2"/>
                        </a:cxn>
                        <a:cxn ang="0">
                          <a:pos x="21" y="0"/>
                        </a:cxn>
                        <a:cxn ang="0">
                          <a:pos x="23" y="2"/>
                        </a:cxn>
                        <a:cxn ang="0">
                          <a:pos x="21" y="8"/>
                        </a:cxn>
                        <a:cxn ang="0">
                          <a:pos x="25" y="10"/>
                        </a:cxn>
                        <a:cxn ang="0">
                          <a:pos x="26" y="15"/>
                        </a:cxn>
                        <a:cxn ang="0">
                          <a:pos x="16" y="31"/>
                        </a:cxn>
                        <a:cxn ang="0">
                          <a:pos x="8" y="34"/>
                        </a:cxn>
                        <a:cxn ang="0">
                          <a:pos x="5" y="32"/>
                        </a:cxn>
                      </a:cxnLst>
                      <a:rect l="0" t="0" r="r" b="b"/>
                      <a:pathLst>
                        <a:path w="26" h="34">
                          <a:moveTo>
                            <a:pt x="5" y="32"/>
                          </a:moveTo>
                          <a:lnTo>
                            <a:pt x="3" y="25"/>
                          </a:lnTo>
                          <a:lnTo>
                            <a:pt x="3" y="18"/>
                          </a:lnTo>
                          <a:lnTo>
                            <a:pt x="2" y="10"/>
                          </a:lnTo>
                          <a:lnTo>
                            <a:pt x="0" y="7"/>
                          </a:lnTo>
                          <a:lnTo>
                            <a:pt x="2" y="4"/>
                          </a:lnTo>
                          <a:lnTo>
                            <a:pt x="3" y="4"/>
                          </a:lnTo>
                          <a:lnTo>
                            <a:pt x="7" y="8"/>
                          </a:lnTo>
                          <a:lnTo>
                            <a:pt x="11" y="7"/>
                          </a:lnTo>
                          <a:lnTo>
                            <a:pt x="14" y="2"/>
                          </a:lnTo>
                          <a:lnTo>
                            <a:pt x="21" y="0"/>
                          </a:lnTo>
                          <a:lnTo>
                            <a:pt x="23" y="2"/>
                          </a:lnTo>
                          <a:lnTo>
                            <a:pt x="21" y="8"/>
                          </a:lnTo>
                          <a:lnTo>
                            <a:pt x="25" y="10"/>
                          </a:lnTo>
                          <a:lnTo>
                            <a:pt x="26" y="15"/>
                          </a:lnTo>
                          <a:lnTo>
                            <a:pt x="16" y="31"/>
                          </a:lnTo>
                          <a:lnTo>
                            <a:pt x="8" y="34"/>
                          </a:lnTo>
                          <a:lnTo>
                            <a:pt x="5" y="32"/>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48" name="Freeform 401"/>
                    <p:cNvSpPr>
                      <a:spLocks/>
                    </p:cNvSpPr>
                    <p:nvPr/>
                  </p:nvSpPr>
                  <p:spPr bwMode="gray">
                    <a:xfrm>
                      <a:off x="4085376" y="4165346"/>
                      <a:ext cx="74224" cy="102058"/>
                    </a:xfrm>
                    <a:custGeom>
                      <a:avLst/>
                      <a:gdLst/>
                      <a:ahLst/>
                      <a:cxnLst>
                        <a:cxn ang="0">
                          <a:pos x="5" y="22"/>
                        </a:cxn>
                        <a:cxn ang="0">
                          <a:pos x="3" y="20"/>
                        </a:cxn>
                        <a:cxn ang="0">
                          <a:pos x="3" y="12"/>
                        </a:cxn>
                        <a:cxn ang="0">
                          <a:pos x="0" y="9"/>
                        </a:cxn>
                        <a:cxn ang="0">
                          <a:pos x="7" y="6"/>
                        </a:cxn>
                        <a:cxn ang="0">
                          <a:pos x="9" y="1"/>
                        </a:cxn>
                        <a:cxn ang="0">
                          <a:pos x="12" y="0"/>
                        </a:cxn>
                        <a:cxn ang="0">
                          <a:pos x="15" y="1"/>
                        </a:cxn>
                        <a:cxn ang="0">
                          <a:pos x="16" y="4"/>
                        </a:cxn>
                        <a:cxn ang="0">
                          <a:pos x="10" y="8"/>
                        </a:cxn>
                        <a:cxn ang="0">
                          <a:pos x="7" y="20"/>
                        </a:cxn>
                        <a:cxn ang="0">
                          <a:pos x="5" y="22"/>
                        </a:cxn>
                      </a:cxnLst>
                      <a:rect l="0" t="0" r="r" b="b"/>
                      <a:pathLst>
                        <a:path w="16" h="22">
                          <a:moveTo>
                            <a:pt x="5" y="22"/>
                          </a:moveTo>
                          <a:lnTo>
                            <a:pt x="3" y="20"/>
                          </a:lnTo>
                          <a:lnTo>
                            <a:pt x="3" y="12"/>
                          </a:lnTo>
                          <a:lnTo>
                            <a:pt x="0" y="9"/>
                          </a:lnTo>
                          <a:lnTo>
                            <a:pt x="7" y="6"/>
                          </a:lnTo>
                          <a:lnTo>
                            <a:pt x="9" y="1"/>
                          </a:lnTo>
                          <a:lnTo>
                            <a:pt x="12" y="0"/>
                          </a:lnTo>
                          <a:lnTo>
                            <a:pt x="15" y="1"/>
                          </a:lnTo>
                          <a:lnTo>
                            <a:pt x="16" y="4"/>
                          </a:lnTo>
                          <a:lnTo>
                            <a:pt x="10" y="8"/>
                          </a:lnTo>
                          <a:lnTo>
                            <a:pt x="7" y="20"/>
                          </a:lnTo>
                          <a:lnTo>
                            <a:pt x="5" y="22"/>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49" name="Freeform 402"/>
                    <p:cNvSpPr>
                      <a:spLocks/>
                    </p:cNvSpPr>
                    <p:nvPr/>
                  </p:nvSpPr>
                  <p:spPr bwMode="gray">
                    <a:xfrm>
                      <a:off x="5143066" y="5974553"/>
                      <a:ext cx="157725" cy="171645"/>
                    </a:xfrm>
                    <a:custGeom>
                      <a:avLst/>
                      <a:gdLst/>
                      <a:ahLst/>
                      <a:cxnLst>
                        <a:cxn ang="0">
                          <a:pos x="34" y="13"/>
                        </a:cxn>
                        <a:cxn ang="0">
                          <a:pos x="34" y="16"/>
                        </a:cxn>
                        <a:cxn ang="0">
                          <a:pos x="28" y="27"/>
                        </a:cxn>
                        <a:cxn ang="0">
                          <a:pos x="20" y="31"/>
                        </a:cxn>
                        <a:cxn ang="0">
                          <a:pos x="15" y="35"/>
                        </a:cxn>
                        <a:cxn ang="0">
                          <a:pos x="11" y="37"/>
                        </a:cxn>
                        <a:cxn ang="0">
                          <a:pos x="7" y="32"/>
                        </a:cxn>
                        <a:cxn ang="0">
                          <a:pos x="0" y="21"/>
                        </a:cxn>
                        <a:cxn ang="0">
                          <a:pos x="8" y="7"/>
                        </a:cxn>
                        <a:cxn ang="0">
                          <a:pos x="19" y="0"/>
                        </a:cxn>
                        <a:cxn ang="0">
                          <a:pos x="23" y="0"/>
                        </a:cxn>
                        <a:cxn ang="0">
                          <a:pos x="26" y="1"/>
                        </a:cxn>
                        <a:cxn ang="0">
                          <a:pos x="34" y="13"/>
                        </a:cxn>
                      </a:cxnLst>
                      <a:rect l="0" t="0" r="r" b="b"/>
                      <a:pathLst>
                        <a:path w="34" h="37">
                          <a:moveTo>
                            <a:pt x="34" y="13"/>
                          </a:moveTo>
                          <a:lnTo>
                            <a:pt x="34" y="16"/>
                          </a:lnTo>
                          <a:lnTo>
                            <a:pt x="28" y="27"/>
                          </a:lnTo>
                          <a:lnTo>
                            <a:pt x="20" y="31"/>
                          </a:lnTo>
                          <a:lnTo>
                            <a:pt x="15" y="35"/>
                          </a:lnTo>
                          <a:lnTo>
                            <a:pt x="11" y="37"/>
                          </a:lnTo>
                          <a:lnTo>
                            <a:pt x="7" y="32"/>
                          </a:lnTo>
                          <a:lnTo>
                            <a:pt x="0" y="21"/>
                          </a:lnTo>
                          <a:lnTo>
                            <a:pt x="8" y="7"/>
                          </a:lnTo>
                          <a:lnTo>
                            <a:pt x="19" y="0"/>
                          </a:lnTo>
                          <a:lnTo>
                            <a:pt x="23" y="0"/>
                          </a:lnTo>
                          <a:lnTo>
                            <a:pt x="26" y="1"/>
                          </a:lnTo>
                          <a:lnTo>
                            <a:pt x="34" y="13"/>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50" name="Freeform 403"/>
                    <p:cNvSpPr>
                      <a:spLocks/>
                    </p:cNvSpPr>
                    <p:nvPr/>
                  </p:nvSpPr>
                  <p:spPr bwMode="gray">
                    <a:xfrm>
                      <a:off x="5402850" y="5747243"/>
                      <a:ext cx="88143" cy="120614"/>
                    </a:xfrm>
                    <a:custGeom>
                      <a:avLst/>
                      <a:gdLst/>
                      <a:ahLst/>
                      <a:cxnLst>
                        <a:cxn ang="0">
                          <a:pos x="19" y="18"/>
                        </a:cxn>
                        <a:cxn ang="0">
                          <a:pos x="17" y="2"/>
                        </a:cxn>
                        <a:cxn ang="0">
                          <a:pos x="15" y="5"/>
                        </a:cxn>
                        <a:cxn ang="0">
                          <a:pos x="9" y="0"/>
                        </a:cxn>
                        <a:cxn ang="0">
                          <a:pos x="5" y="2"/>
                        </a:cxn>
                        <a:cxn ang="0">
                          <a:pos x="0" y="16"/>
                        </a:cxn>
                        <a:cxn ang="0">
                          <a:pos x="3" y="24"/>
                        </a:cxn>
                        <a:cxn ang="0">
                          <a:pos x="9" y="26"/>
                        </a:cxn>
                        <a:cxn ang="0">
                          <a:pos x="13" y="26"/>
                        </a:cxn>
                        <a:cxn ang="0">
                          <a:pos x="19" y="18"/>
                        </a:cxn>
                      </a:cxnLst>
                      <a:rect l="0" t="0" r="r" b="b"/>
                      <a:pathLst>
                        <a:path w="19" h="26">
                          <a:moveTo>
                            <a:pt x="19" y="18"/>
                          </a:moveTo>
                          <a:lnTo>
                            <a:pt x="17" y="2"/>
                          </a:lnTo>
                          <a:lnTo>
                            <a:pt x="15" y="5"/>
                          </a:lnTo>
                          <a:lnTo>
                            <a:pt x="9" y="0"/>
                          </a:lnTo>
                          <a:lnTo>
                            <a:pt x="5" y="2"/>
                          </a:lnTo>
                          <a:lnTo>
                            <a:pt x="0" y="16"/>
                          </a:lnTo>
                          <a:lnTo>
                            <a:pt x="3" y="24"/>
                          </a:lnTo>
                          <a:lnTo>
                            <a:pt x="9" y="26"/>
                          </a:lnTo>
                          <a:lnTo>
                            <a:pt x="13" y="26"/>
                          </a:lnTo>
                          <a:lnTo>
                            <a:pt x="19" y="18"/>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51" name="Freeform 404"/>
                    <p:cNvSpPr>
                      <a:spLocks/>
                    </p:cNvSpPr>
                    <p:nvPr/>
                  </p:nvSpPr>
                  <p:spPr bwMode="gray">
                    <a:xfrm>
                      <a:off x="2656566" y="3075183"/>
                      <a:ext cx="431427" cy="463899"/>
                    </a:xfrm>
                    <a:custGeom>
                      <a:avLst/>
                      <a:gdLst/>
                      <a:ahLst/>
                      <a:cxnLst>
                        <a:cxn ang="0">
                          <a:pos x="7" y="12"/>
                        </a:cxn>
                        <a:cxn ang="0">
                          <a:pos x="11" y="21"/>
                        </a:cxn>
                        <a:cxn ang="0">
                          <a:pos x="13" y="27"/>
                        </a:cxn>
                        <a:cxn ang="0">
                          <a:pos x="12" y="31"/>
                        </a:cxn>
                        <a:cxn ang="0">
                          <a:pos x="10" y="36"/>
                        </a:cxn>
                        <a:cxn ang="0">
                          <a:pos x="5" y="39"/>
                        </a:cxn>
                        <a:cxn ang="0">
                          <a:pos x="10" y="42"/>
                        </a:cxn>
                        <a:cxn ang="0">
                          <a:pos x="1" y="50"/>
                        </a:cxn>
                        <a:cxn ang="0">
                          <a:pos x="5" y="57"/>
                        </a:cxn>
                        <a:cxn ang="0">
                          <a:pos x="0" y="66"/>
                        </a:cxn>
                        <a:cxn ang="0">
                          <a:pos x="13" y="75"/>
                        </a:cxn>
                        <a:cxn ang="0">
                          <a:pos x="19" y="85"/>
                        </a:cxn>
                        <a:cxn ang="0">
                          <a:pos x="15" y="98"/>
                        </a:cxn>
                        <a:cxn ang="0">
                          <a:pos x="37" y="92"/>
                        </a:cxn>
                        <a:cxn ang="0">
                          <a:pos x="71" y="86"/>
                        </a:cxn>
                        <a:cxn ang="0">
                          <a:pos x="85" y="87"/>
                        </a:cxn>
                        <a:cxn ang="0">
                          <a:pos x="88" y="80"/>
                        </a:cxn>
                        <a:cxn ang="0">
                          <a:pos x="81" y="65"/>
                        </a:cxn>
                        <a:cxn ang="0">
                          <a:pos x="86" y="54"/>
                        </a:cxn>
                        <a:cxn ang="0">
                          <a:pos x="93" y="39"/>
                        </a:cxn>
                        <a:cxn ang="0">
                          <a:pos x="88" y="26"/>
                        </a:cxn>
                        <a:cxn ang="0">
                          <a:pos x="89" y="20"/>
                        </a:cxn>
                        <a:cxn ang="0">
                          <a:pos x="82" y="12"/>
                        </a:cxn>
                        <a:cxn ang="0">
                          <a:pos x="75" y="12"/>
                        </a:cxn>
                        <a:cxn ang="0">
                          <a:pos x="63" y="17"/>
                        </a:cxn>
                        <a:cxn ang="0">
                          <a:pos x="58" y="16"/>
                        </a:cxn>
                        <a:cxn ang="0">
                          <a:pos x="51" y="6"/>
                        </a:cxn>
                        <a:cxn ang="0">
                          <a:pos x="45" y="5"/>
                        </a:cxn>
                        <a:cxn ang="0">
                          <a:pos x="38" y="7"/>
                        </a:cxn>
                        <a:cxn ang="0">
                          <a:pos x="36" y="0"/>
                        </a:cxn>
                        <a:cxn ang="0">
                          <a:pos x="32" y="3"/>
                        </a:cxn>
                        <a:cxn ang="0">
                          <a:pos x="29" y="6"/>
                        </a:cxn>
                        <a:cxn ang="0">
                          <a:pos x="24" y="9"/>
                        </a:cxn>
                        <a:cxn ang="0">
                          <a:pos x="18" y="7"/>
                        </a:cxn>
                        <a:cxn ang="0">
                          <a:pos x="10" y="9"/>
                        </a:cxn>
                      </a:cxnLst>
                      <a:rect l="0" t="0" r="r" b="b"/>
                      <a:pathLst>
                        <a:path w="93" h="100">
                          <a:moveTo>
                            <a:pt x="10" y="9"/>
                          </a:moveTo>
                          <a:lnTo>
                            <a:pt x="7" y="12"/>
                          </a:lnTo>
                          <a:lnTo>
                            <a:pt x="7" y="20"/>
                          </a:lnTo>
                          <a:lnTo>
                            <a:pt x="11" y="21"/>
                          </a:lnTo>
                          <a:lnTo>
                            <a:pt x="11" y="25"/>
                          </a:lnTo>
                          <a:lnTo>
                            <a:pt x="13" y="27"/>
                          </a:lnTo>
                          <a:lnTo>
                            <a:pt x="10" y="31"/>
                          </a:lnTo>
                          <a:lnTo>
                            <a:pt x="12" y="31"/>
                          </a:lnTo>
                          <a:lnTo>
                            <a:pt x="13" y="38"/>
                          </a:lnTo>
                          <a:lnTo>
                            <a:pt x="10" y="36"/>
                          </a:lnTo>
                          <a:lnTo>
                            <a:pt x="5" y="36"/>
                          </a:lnTo>
                          <a:lnTo>
                            <a:pt x="5" y="39"/>
                          </a:lnTo>
                          <a:lnTo>
                            <a:pt x="8" y="39"/>
                          </a:lnTo>
                          <a:lnTo>
                            <a:pt x="10" y="42"/>
                          </a:lnTo>
                          <a:lnTo>
                            <a:pt x="6" y="50"/>
                          </a:lnTo>
                          <a:lnTo>
                            <a:pt x="1" y="50"/>
                          </a:lnTo>
                          <a:lnTo>
                            <a:pt x="2" y="54"/>
                          </a:lnTo>
                          <a:lnTo>
                            <a:pt x="5" y="57"/>
                          </a:lnTo>
                          <a:lnTo>
                            <a:pt x="4" y="61"/>
                          </a:lnTo>
                          <a:lnTo>
                            <a:pt x="0" y="66"/>
                          </a:lnTo>
                          <a:lnTo>
                            <a:pt x="10" y="69"/>
                          </a:lnTo>
                          <a:lnTo>
                            <a:pt x="13" y="75"/>
                          </a:lnTo>
                          <a:lnTo>
                            <a:pt x="18" y="76"/>
                          </a:lnTo>
                          <a:lnTo>
                            <a:pt x="19" y="85"/>
                          </a:lnTo>
                          <a:lnTo>
                            <a:pt x="15" y="88"/>
                          </a:lnTo>
                          <a:lnTo>
                            <a:pt x="15" y="98"/>
                          </a:lnTo>
                          <a:lnTo>
                            <a:pt x="20" y="100"/>
                          </a:lnTo>
                          <a:lnTo>
                            <a:pt x="37" y="92"/>
                          </a:lnTo>
                          <a:lnTo>
                            <a:pt x="57" y="87"/>
                          </a:lnTo>
                          <a:lnTo>
                            <a:pt x="71" y="86"/>
                          </a:lnTo>
                          <a:lnTo>
                            <a:pt x="83" y="88"/>
                          </a:lnTo>
                          <a:lnTo>
                            <a:pt x="85" y="87"/>
                          </a:lnTo>
                          <a:lnTo>
                            <a:pt x="89" y="87"/>
                          </a:lnTo>
                          <a:lnTo>
                            <a:pt x="88" y="80"/>
                          </a:lnTo>
                          <a:lnTo>
                            <a:pt x="85" y="77"/>
                          </a:lnTo>
                          <a:lnTo>
                            <a:pt x="81" y="65"/>
                          </a:lnTo>
                          <a:lnTo>
                            <a:pt x="82" y="60"/>
                          </a:lnTo>
                          <a:lnTo>
                            <a:pt x="86" y="54"/>
                          </a:lnTo>
                          <a:lnTo>
                            <a:pt x="88" y="43"/>
                          </a:lnTo>
                          <a:lnTo>
                            <a:pt x="93" y="39"/>
                          </a:lnTo>
                          <a:lnTo>
                            <a:pt x="90" y="27"/>
                          </a:lnTo>
                          <a:lnTo>
                            <a:pt x="88" y="26"/>
                          </a:lnTo>
                          <a:lnTo>
                            <a:pt x="89" y="23"/>
                          </a:lnTo>
                          <a:lnTo>
                            <a:pt x="89" y="20"/>
                          </a:lnTo>
                          <a:lnTo>
                            <a:pt x="86" y="20"/>
                          </a:lnTo>
                          <a:lnTo>
                            <a:pt x="82" y="12"/>
                          </a:lnTo>
                          <a:lnTo>
                            <a:pt x="80" y="14"/>
                          </a:lnTo>
                          <a:lnTo>
                            <a:pt x="75" y="12"/>
                          </a:lnTo>
                          <a:lnTo>
                            <a:pt x="65" y="15"/>
                          </a:lnTo>
                          <a:lnTo>
                            <a:pt x="63" y="17"/>
                          </a:lnTo>
                          <a:lnTo>
                            <a:pt x="61" y="15"/>
                          </a:lnTo>
                          <a:lnTo>
                            <a:pt x="58" y="16"/>
                          </a:lnTo>
                          <a:lnTo>
                            <a:pt x="55" y="14"/>
                          </a:lnTo>
                          <a:lnTo>
                            <a:pt x="51" y="6"/>
                          </a:lnTo>
                          <a:lnTo>
                            <a:pt x="48" y="7"/>
                          </a:lnTo>
                          <a:lnTo>
                            <a:pt x="45" y="5"/>
                          </a:lnTo>
                          <a:lnTo>
                            <a:pt x="43" y="5"/>
                          </a:lnTo>
                          <a:lnTo>
                            <a:pt x="38" y="7"/>
                          </a:lnTo>
                          <a:lnTo>
                            <a:pt x="36" y="7"/>
                          </a:lnTo>
                          <a:lnTo>
                            <a:pt x="36" y="0"/>
                          </a:lnTo>
                          <a:lnTo>
                            <a:pt x="33" y="0"/>
                          </a:lnTo>
                          <a:lnTo>
                            <a:pt x="32" y="3"/>
                          </a:lnTo>
                          <a:lnTo>
                            <a:pt x="30" y="1"/>
                          </a:lnTo>
                          <a:lnTo>
                            <a:pt x="29" y="6"/>
                          </a:lnTo>
                          <a:lnTo>
                            <a:pt x="24" y="6"/>
                          </a:lnTo>
                          <a:lnTo>
                            <a:pt x="24" y="9"/>
                          </a:lnTo>
                          <a:lnTo>
                            <a:pt x="20" y="7"/>
                          </a:lnTo>
                          <a:lnTo>
                            <a:pt x="18" y="7"/>
                          </a:lnTo>
                          <a:lnTo>
                            <a:pt x="15" y="4"/>
                          </a:lnTo>
                          <a:lnTo>
                            <a:pt x="10" y="9"/>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52" name="Freeform 405"/>
                    <p:cNvSpPr>
                      <a:spLocks/>
                    </p:cNvSpPr>
                    <p:nvPr/>
                  </p:nvSpPr>
                  <p:spPr bwMode="gray">
                    <a:xfrm>
                      <a:off x="3306025" y="2954570"/>
                      <a:ext cx="213394" cy="445343"/>
                    </a:xfrm>
                    <a:custGeom>
                      <a:avLst/>
                      <a:gdLst/>
                      <a:ahLst/>
                      <a:cxnLst>
                        <a:cxn ang="0">
                          <a:pos x="18" y="96"/>
                        </a:cxn>
                        <a:cxn ang="0">
                          <a:pos x="17" y="96"/>
                        </a:cxn>
                        <a:cxn ang="0">
                          <a:pos x="15" y="90"/>
                        </a:cxn>
                        <a:cxn ang="0">
                          <a:pos x="16" y="81"/>
                        </a:cxn>
                        <a:cxn ang="0">
                          <a:pos x="15" y="58"/>
                        </a:cxn>
                        <a:cxn ang="0">
                          <a:pos x="9" y="40"/>
                        </a:cxn>
                        <a:cxn ang="0">
                          <a:pos x="5" y="35"/>
                        </a:cxn>
                        <a:cxn ang="0">
                          <a:pos x="0" y="32"/>
                        </a:cxn>
                        <a:cxn ang="0">
                          <a:pos x="3" y="22"/>
                        </a:cxn>
                        <a:cxn ang="0">
                          <a:pos x="10" y="14"/>
                        </a:cxn>
                        <a:cxn ang="0">
                          <a:pos x="19" y="15"/>
                        </a:cxn>
                        <a:cxn ang="0">
                          <a:pos x="24" y="8"/>
                        </a:cxn>
                        <a:cxn ang="0">
                          <a:pos x="27" y="6"/>
                        </a:cxn>
                        <a:cxn ang="0">
                          <a:pos x="24" y="3"/>
                        </a:cxn>
                        <a:cxn ang="0">
                          <a:pos x="31" y="0"/>
                        </a:cxn>
                        <a:cxn ang="0">
                          <a:pos x="43" y="10"/>
                        </a:cxn>
                        <a:cxn ang="0">
                          <a:pos x="41" y="15"/>
                        </a:cxn>
                        <a:cxn ang="0">
                          <a:pos x="44" y="21"/>
                        </a:cxn>
                        <a:cxn ang="0">
                          <a:pos x="46" y="31"/>
                        </a:cxn>
                        <a:cxn ang="0">
                          <a:pos x="42" y="33"/>
                        </a:cxn>
                        <a:cxn ang="0">
                          <a:pos x="43" y="36"/>
                        </a:cxn>
                        <a:cxn ang="0">
                          <a:pos x="42" y="40"/>
                        </a:cxn>
                        <a:cxn ang="0">
                          <a:pos x="36" y="44"/>
                        </a:cxn>
                        <a:cxn ang="0">
                          <a:pos x="35" y="52"/>
                        </a:cxn>
                        <a:cxn ang="0">
                          <a:pos x="31" y="62"/>
                        </a:cxn>
                        <a:cxn ang="0">
                          <a:pos x="29" y="84"/>
                        </a:cxn>
                        <a:cxn ang="0">
                          <a:pos x="31" y="95"/>
                        </a:cxn>
                        <a:cxn ang="0">
                          <a:pos x="18" y="96"/>
                        </a:cxn>
                      </a:cxnLst>
                      <a:rect l="0" t="0" r="r" b="b"/>
                      <a:pathLst>
                        <a:path w="46" h="96">
                          <a:moveTo>
                            <a:pt x="18" y="96"/>
                          </a:moveTo>
                          <a:lnTo>
                            <a:pt x="17" y="96"/>
                          </a:lnTo>
                          <a:lnTo>
                            <a:pt x="15" y="90"/>
                          </a:lnTo>
                          <a:lnTo>
                            <a:pt x="16" y="81"/>
                          </a:lnTo>
                          <a:lnTo>
                            <a:pt x="15" y="58"/>
                          </a:lnTo>
                          <a:lnTo>
                            <a:pt x="9" y="40"/>
                          </a:lnTo>
                          <a:lnTo>
                            <a:pt x="5" y="35"/>
                          </a:lnTo>
                          <a:lnTo>
                            <a:pt x="0" y="32"/>
                          </a:lnTo>
                          <a:lnTo>
                            <a:pt x="3" y="22"/>
                          </a:lnTo>
                          <a:lnTo>
                            <a:pt x="10" y="14"/>
                          </a:lnTo>
                          <a:lnTo>
                            <a:pt x="19" y="15"/>
                          </a:lnTo>
                          <a:lnTo>
                            <a:pt x="24" y="8"/>
                          </a:lnTo>
                          <a:lnTo>
                            <a:pt x="27" y="6"/>
                          </a:lnTo>
                          <a:lnTo>
                            <a:pt x="24" y="3"/>
                          </a:lnTo>
                          <a:lnTo>
                            <a:pt x="31" y="0"/>
                          </a:lnTo>
                          <a:lnTo>
                            <a:pt x="43" y="10"/>
                          </a:lnTo>
                          <a:lnTo>
                            <a:pt x="41" y="15"/>
                          </a:lnTo>
                          <a:lnTo>
                            <a:pt x="44" y="21"/>
                          </a:lnTo>
                          <a:lnTo>
                            <a:pt x="46" y="31"/>
                          </a:lnTo>
                          <a:lnTo>
                            <a:pt x="42" y="33"/>
                          </a:lnTo>
                          <a:lnTo>
                            <a:pt x="43" y="36"/>
                          </a:lnTo>
                          <a:lnTo>
                            <a:pt x="42" y="40"/>
                          </a:lnTo>
                          <a:lnTo>
                            <a:pt x="36" y="44"/>
                          </a:lnTo>
                          <a:lnTo>
                            <a:pt x="35" y="52"/>
                          </a:lnTo>
                          <a:lnTo>
                            <a:pt x="31" y="62"/>
                          </a:lnTo>
                          <a:lnTo>
                            <a:pt x="29" y="84"/>
                          </a:lnTo>
                          <a:lnTo>
                            <a:pt x="31" y="95"/>
                          </a:lnTo>
                          <a:lnTo>
                            <a:pt x="18" y="96"/>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53" name="Freeform 406"/>
                    <p:cNvSpPr>
                      <a:spLocks/>
                    </p:cNvSpPr>
                    <p:nvPr/>
                  </p:nvSpPr>
                  <p:spPr bwMode="gray">
                    <a:xfrm>
                      <a:off x="2457091" y="3232909"/>
                      <a:ext cx="287617" cy="296896"/>
                    </a:xfrm>
                    <a:custGeom>
                      <a:avLst/>
                      <a:gdLst/>
                      <a:ahLst/>
                      <a:cxnLst>
                        <a:cxn ang="0">
                          <a:pos x="0" y="25"/>
                        </a:cxn>
                        <a:cxn ang="0">
                          <a:pos x="3" y="20"/>
                        </a:cxn>
                        <a:cxn ang="0">
                          <a:pos x="13" y="13"/>
                        </a:cxn>
                        <a:cxn ang="0">
                          <a:pos x="13" y="8"/>
                        </a:cxn>
                        <a:cxn ang="0">
                          <a:pos x="18" y="5"/>
                        </a:cxn>
                        <a:cxn ang="0">
                          <a:pos x="17" y="3"/>
                        </a:cxn>
                        <a:cxn ang="0">
                          <a:pos x="20" y="0"/>
                        </a:cxn>
                        <a:cxn ang="0">
                          <a:pos x="23" y="2"/>
                        </a:cxn>
                        <a:cxn ang="0">
                          <a:pos x="26" y="0"/>
                        </a:cxn>
                        <a:cxn ang="0">
                          <a:pos x="30" y="4"/>
                        </a:cxn>
                        <a:cxn ang="0">
                          <a:pos x="31" y="13"/>
                        </a:cxn>
                        <a:cxn ang="0">
                          <a:pos x="30" y="19"/>
                        </a:cxn>
                        <a:cxn ang="0">
                          <a:pos x="32" y="19"/>
                        </a:cxn>
                        <a:cxn ang="0">
                          <a:pos x="37" y="21"/>
                        </a:cxn>
                        <a:cxn ang="0">
                          <a:pos x="39" y="20"/>
                        </a:cxn>
                        <a:cxn ang="0">
                          <a:pos x="42" y="14"/>
                        </a:cxn>
                        <a:cxn ang="0">
                          <a:pos x="44" y="16"/>
                        </a:cxn>
                        <a:cxn ang="0">
                          <a:pos x="45" y="20"/>
                        </a:cxn>
                        <a:cxn ang="0">
                          <a:pos x="48" y="23"/>
                        </a:cxn>
                        <a:cxn ang="0">
                          <a:pos x="47" y="27"/>
                        </a:cxn>
                        <a:cxn ang="0">
                          <a:pos x="43" y="32"/>
                        </a:cxn>
                        <a:cxn ang="0">
                          <a:pos x="53" y="35"/>
                        </a:cxn>
                        <a:cxn ang="0">
                          <a:pos x="56" y="41"/>
                        </a:cxn>
                        <a:cxn ang="0">
                          <a:pos x="61" y="42"/>
                        </a:cxn>
                        <a:cxn ang="0">
                          <a:pos x="62" y="51"/>
                        </a:cxn>
                        <a:cxn ang="0">
                          <a:pos x="58" y="54"/>
                        </a:cxn>
                        <a:cxn ang="0">
                          <a:pos x="58" y="64"/>
                        </a:cxn>
                        <a:cxn ang="0">
                          <a:pos x="45" y="61"/>
                        </a:cxn>
                        <a:cxn ang="0">
                          <a:pos x="32" y="53"/>
                        </a:cxn>
                        <a:cxn ang="0">
                          <a:pos x="17" y="39"/>
                        </a:cxn>
                        <a:cxn ang="0">
                          <a:pos x="10" y="35"/>
                        </a:cxn>
                        <a:cxn ang="0">
                          <a:pos x="0" y="25"/>
                        </a:cxn>
                      </a:cxnLst>
                      <a:rect l="0" t="0" r="r" b="b"/>
                      <a:pathLst>
                        <a:path w="62" h="64">
                          <a:moveTo>
                            <a:pt x="0" y="25"/>
                          </a:moveTo>
                          <a:lnTo>
                            <a:pt x="3" y="20"/>
                          </a:lnTo>
                          <a:lnTo>
                            <a:pt x="13" y="13"/>
                          </a:lnTo>
                          <a:lnTo>
                            <a:pt x="13" y="8"/>
                          </a:lnTo>
                          <a:lnTo>
                            <a:pt x="18" y="5"/>
                          </a:lnTo>
                          <a:lnTo>
                            <a:pt x="17" y="3"/>
                          </a:lnTo>
                          <a:lnTo>
                            <a:pt x="20" y="0"/>
                          </a:lnTo>
                          <a:lnTo>
                            <a:pt x="23" y="2"/>
                          </a:lnTo>
                          <a:lnTo>
                            <a:pt x="26" y="0"/>
                          </a:lnTo>
                          <a:lnTo>
                            <a:pt x="30" y="4"/>
                          </a:lnTo>
                          <a:lnTo>
                            <a:pt x="31" y="13"/>
                          </a:lnTo>
                          <a:lnTo>
                            <a:pt x="30" y="19"/>
                          </a:lnTo>
                          <a:lnTo>
                            <a:pt x="32" y="19"/>
                          </a:lnTo>
                          <a:lnTo>
                            <a:pt x="37" y="21"/>
                          </a:lnTo>
                          <a:lnTo>
                            <a:pt x="39" y="20"/>
                          </a:lnTo>
                          <a:lnTo>
                            <a:pt x="42" y="14"/>
                          </a:lnTo>
                          <a:lnTo>
                            <a:pt x="44" y="16"/>
                          </a:lnTo>
                          <a:lnTo>
                            <a:pt x="45" y="20"/>
                          </a:lnTo>
                          <a:lnTo>
                            <a:pt x="48" y="23"/>
                          </a:lnTo>
                          <a:lnTo>
                            <a:pt x="47" y="27"/>
                          </a:lnTo>
                          <a:lnTo>
                            <a:pt x="43" y="32"/>
                          </a:lnTo>
                          <a:lnTo>
                            <a:pt x="53" y="35"/>
                          </a:lnTo>
                          <a:lnTo>
                            <a:pt x="56" y="41"/>
                          </a:lnTo>
                          <a:lnTo>
                            <a:pt x="61" y="42"/>
                          </a:lnTo>
                          <a:lnTo>
                            <a:pt x="62" y="51"/>
                          </a:lnTo>
                          <a:lnTo>
                            <a:pt x="58" y="54"/>
                          </a:lnTo>
                          <a:lnTo>
                            <a:pt x="58" y="64"/>
                          </a:lnTo>
                          <a:lnTo>
                            <a:pt x="45" y="61"/>
                          </a:lnTo>
                          <a:lnTo>
                            <a:pt x="32" y="53"/>
                          </a:lnTo>
                          <a:lnTo>
                            <a:pt x="17" y="39"/>
                          </a:lnTo>
                          <a:lnTo>
                            <a:pt x="10" y="35"/>
                          </a:lnTo>
                          <a:lnTo>
                            <a:pt x="0" y="25"/>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54" name="Freeform 407"/>
                    <p:cNvSpPr>
                      <a:spLocks/>
                    </p:cNvSpPr>
                    <p:nvPr/>
                  </p:nvSpPr>
                  <p:spPr bwMode="gray">
                    <a:xfrm>
                      <a:off x="3245720" y="3056628"/>
                      <a:ext cx="143810" cy="361841"/>
                    </a:xfrm>
                    <a:custGeom>
                      <a:avLst/>
                      <a:gdLst/>
                      <a:ahLst/>
                      <a:cxnLst>
                        <a:cxn ang="0">
                          <a:pos x="31" y="74"/>
                        </a:cxn>
                        <a:cxn ang="0">
                          <a:pos x="21" y="78"/>
                        </a:cxn>
                        <a:cxn ang="0">
                          <a:pos x="16" y="72"/>
                        </a:cxn>
                        <a:cxn ang="0">
                          <a:pos x="12" y="65"/>
                        </a:cxn>
                        <a:cxn ang="0">
                          <a:pos x="10" y="26"/>
                        </a:cxn>
                        <a:cxn ang="0">
                          <a:pos x="6" y="13"/>
                        </a:cxn>
                        <a:cxn ang="0">
                          <a:pos x="0" y="5"/>
                        </a:cxn>
                        <a:cxn ang="0">
                          <a:pos x="3" y="2"/>
                        </a:cxn>
                        <a:cxn ang="0">
                          <a:pos x="0" y="2"/>
                        </a:cxn>
                        <a:cxn ang="0">
                          <a:pos x="0" y="0"/>
                        </a:cxn>
                        <a:cxn ang="0">
                          <a:pos x="5" y="0"/>
                        </a:cxn>
                        <a:cxn ang="0">
                          <a:pos x="10" y="2"/>
                        </a:cxn>
                        <a:cxn ang="0">
                          <a:pos x="16" y="0"/>
                        </a:cxn>
                        <a:cxn ang="0">
                          <a:pos x="13" y="10"/>
                        </a:cxn>
                        <a:cxn ang="0">
                          <a:pos x="18" y="13"/>
                        </a:cxn>
                        <a:cxn ang="0">
                          <a:pos x="22" y="18"/>
                        </a:cxn>
                        <a:cxn ang="0">
                          <a:pos x="28" y="36"/>
                        </a:cxn>
                        <a:cxn ang="0">
                          <a:pos x="29" y="59"/>
                        </a:cxn>
                        <a:cxn ang="0">
                          <a:pos x="28" y="68"/>
                        </a:cxn>
                        <a:cxn ang="0">
                          <a:pos x="30" y="74"/>
                        </a:cxn>
                        <a:cxn ang="0">
                          <a:pos x="31" y="74"/>
                        </a:cxn>
                      </a:cxnLst>
                      <a:rect l="0" t="0" r="r" b="b"/>
                      <a:pathLst>
                        <a:path w="31" h="78">
                          <a:moveTo>
                            <a:pt x="31" y="74"/>
                          </a:moveTo>
                          <a:lnTo>
                            <a:pt x="21" y="78"/>
                          </a:lnTo>
                          <a:lnTo>
                            <a:pt x="16" y="72"/>
                          </a:lnTo>
                          <a:lnTo>
                            <a:pt x="12" y="65"/>
                          </a:lnTo>
                          <a:lnTo>
                            <a:pt x="10" y="26"/>
                          </a:lnTo>
                          <a:lnTo>
                            <a:pt x="6" y="13"/>
                          </a:lnTo>
                          <a:lnTo>
                            <a:pt x="0" y="5"/>
                          </a:lnTo>
                          <a:lnTo>
                            <a:pt x="3" y="2"/>
                          </a:lnTo>
                          <a:lnTo>
                            <a:pt x="0" y="2"/>
                          </a:lnTo>
                          <a:lnTo>
                            <a:pt x="0" y="0"/>
                          </a:lnTo>
                          <a:lnTo>
                            <a:pt x="5" y="0"/>
                          </a:lnTo>
                          <a:lnTo>
                            <a:pt x="10" y="2"/>
                          </a:lnTo>
                          <a:lnTo>
                            <a:pt x="16" y="0"/>
                          </a:lnTo>
                          <a:lnTo>
                            <a:pt x="13" y="10"/>
                          </a:lnTo>
                          <a:lnTo>
                            <a:pt x="18" y="13"/>
                          </a:lnTo>
                          <a:lnTo>
                            <a:pt x="22" y="18"/>
                          </a:lnTo>
                          <a:lnTo>
                            <a:pt x="28" y="36"/>
                          </a:lnTo>
                          <a:lnTo>
                            <a:pt x="29" y="59"/>
                          </a:lnTo>
                          <a:lnTo>
                            <a:pt x="28" y="68"/>
                          </a:lnTo>
                          <a:lnTo>
                            <a:pt x="30" y="74"/>
                          </a:lnTo>
                          <a:lnTo>
                            <a:pt x="31" y="74"/>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55" name="Freeform 408"/>
                    <p:cNvSpPr>
                      <a:spLocks/>
                    </p:cNvSpPr>
                    <p:nvPr/>
                  </p:nvSpPr>
                  <p:spPr bwMode="gray">
                    <a:xfrm>
                      <a:off x="2201945" y="2931374"/>
                      <a:ext cx="514929" cy="398954"/>
                    </a:xfrm>
                    <a:custGeom>
                      <a:avLst/>
                      <a:gdLst/>
                      <a:ahLst/>
                      <a:cxnLst>
                        <a:cxn ang="0">
                          <a:pos x="30" y="0"/>
                        </a:cxn>
                        <a:cxn ang="0">
                          <a:pos x="34" y="3"/>
                        </a:cxn>
                        <a:cxn ang="0">
                          <a:pos x="58" y="4"/>
                        </a:cxn>
                        <a:cxn ang="0">
                          <a:pos x="56" y="10"/>
                        </a:cxn>
                        <a:cxn ang="0">
                          <a:pos x="63" y="8"/>
                        </a:cxn>
                        <a:cxn ang="0">
                          <a:pos x="73" y="8"/>
                        </a:cxn>
                        <a:cxn ang="0">
                          <a:pos x="83" y="8"/>
                        </a:cxn>
                        <a:cxn ang="0">
                          <a:pos x="87" y="3"/>
                        </a:cxn>
                        <a:cxn ang="0">
                          <a:pos x="92" y="8"/>
                        </a:cxn>
                        <a:cxn ang="0">
                          <a:pos x="94" y="11"/>
                        </a:cxn>
                        <a:cxn ang="0">
                          <a:pos x="97" y="16"/>
                        </a:cxn>
                        <a:cxn ang="0">
                          <a:pos x="102" y="21"/>
                        </a:cxn>
                        <a:cxn ang="0">
                          <a:pos x="97" y="26"/>
                        </a:cxn>
                        <a:cxn ang="0">
                          <a:pos x="99" y="26"/>
                        </a:cxn>
                        <a:cxn ang="0">
                          <a:pos x="103" y="34"/>
                        </a:cxn>
                        <a:cxn ang="0">
                          <a:pos x="105" y="43"/>
                        </a:cxn>
                        <a:cxn ang="0">
                          <a:pos x="109" y="52"/>
                        </a:cxn>
                        <a:cxn ang="0">
                          <a:pos x="111" y="58"/>
                        </a:cxn>
                        <a:cxn ang="0">
                          <a:pos x="110" y="62"/>
                        </a:cxn>
                        <a:cxn ang="0">
                          <a:pos x="108" y="67"/>
                        </a:cxn>
                        <a:cxn ang="0">
                          <a:pos x="103" y="70"/>
                        </a:cxn>
                        <a:cxn ang="0">
                          <a:pos x="108" y="73"/>
                        </a:cxn>
                        <a:cxn ang="0">
                          <a:pos x="99" y="81"/>
                        </a:cxn>
                        <a:cxn ang="0">
                          <a:pos x="94" y="85"/>
                        </a:cxn>
                        <a:cxn ang="0">
                          <a:pos x="87" y="84"/>
                        </a:cxn>
                        <a:cxn ang="0">
                          <a:pos x="86" y="78"/>
                        </a:cxn>
                        <a:cxn ang="0">
                          <a:pos x="81" y="65"/>
                        </a:cxn>
                        <a:cxn ang="0">
                          <a:pos x="75" y="65"/>
                        </a:cxn>
                        <a:cxn ang="0">
                          <a:pos x="72" y="67"/>
                        </a:cxn>
                        <a:cxn ang="0">
                          <a:pos x="68" y="63"/>
                        </a:cxn>
                        <a:cxn ang="0">
                          <a:pos x="69" y="59"/>
                        </a:cxn>
                        <a:cxn ang="0">
                          <a:pos x="67" y="53"/>
                        </a:cxn>
                        <a:cxn ang="0">
                          <a:pos x="63" y="48"/>
                        </a:cxn>
                        <a:cxn ang="0">
                          <a:pos x="41" y="45"/>
                        </a:cxn>
                        <a:cxn ang="0">
                          <a:pos x="33" y="57"/>
                        </a:cxn>
                        <a:cxn ang="0">
                          <a:pos x="22" y="51"/>
                        </a:cxn>
                        <a:cxn ang="0">
                          <a:pos x="11" y="41"/>
                        </a:cxn>
                        <a:cxn ang="0">
                          <a:pos x="6" y="32"/>
                        </a:cxn>
                        <a:cxn ang="0">
                          <a:pos x="2" y="31"/>
                        </a:cxn>
                        <a:cxn ang="0">
                          <a:pos x="4" y="26"/>
                        </a:cxn>
                        <a:cxn ang="0">
                          <a:pos x="22" y="16"/>
                        </a:cxn>
                        <a:cxn ang="0">
                          <a:pos x="18" y="9"/>
                        </a:cxn>
                        <a:cxn ang="0">
                          <a:pos x="22" y="0"/>
                        </a:cxn>
                      </a:cxnLst>
                      <a:rect l="0" t="0" r="r" b="b"/>
                      <a:pathLst>
                        <a:path w="111" h="86">
                          <a:moveTo>
                            <a:pt x="22" y="0"/>
                          </a:moveTo>
                          <a:lnTo>
                            <a:pt x="30" y="0"/>
                          </a:lnTo>
                          <a:lnTo>
                            <a:pt x="31" y="4"/>
                          </a:lnTo>
                          <a:lnTo>
                            <a:pt x="34" y="3"/>
                          </a:lnTo>
                          <a:lnTo>
                            <a:pt x="42" y="5"/>
                          </a:lnTo>
                          <a:lnTo>
                            <a:pt x="58" y="4"/>
                          </a:lnTo>
                          <a:lnTo>
                            <a:pt x="55" y="9"/>
                          </a:lnTo>
                          <a:lnTo>
                            <a:pt x="56" y="10"/>
                          </a:lnTo>
                          <a:lnTo>
                            <a:pt x="59" y="10"/>
                          </a:lnTo>
                          <a:lnTo>
                            <a:pt x="63" y="8"/>
                          </a:lnTo>
                          <a:lnTo>
                            <a:pt x="67" y="11"/>
                          </a:lnTo>
                          <a:lnTo>
                            <a:pt x="73" y="8"/>
                          </a:lnTo>
                          <a:lnTo>
                            <a:pt x="81" y="10"/>
                          </a:lnTo>
                          <a:lnTo>
                            <a:pt x="83" y="8"/>
                          </a:lnTo>
                          <a:lnTo>
                            <a:pt x="86" y="5"/>
                          </a:lnTo>
                          <a:lnTo>
                            <a:pt x="87" y="3"/>
                          </a:lnTo>
                          <a:lnTo>
                            <a:pt x="91" y="3"/>
                          </a:lnTo>
                          <a:lnTo>
                            <a:pt x="92" y="8"/>
                          </a:lnTo>
                          <a:lnTo>
                            <a:pt x="93" y="8"/>
                          </a:lnTo>
                          <a:lnTo>
                            <a:pt x="94" y="11"/>
                          </a:lnTo>
                          <a:lnTo>
                            <a:pt x="94" y="16"/>
                          </a:lnTo>
                          <a:lnTo>
                            <a:pt x="97" y="16"/>
                          </a:lnTo>
                          <a:lnTo>
                            <a:pt x="98" y="19"/>
                          </a:lnTo>
                          <a:lnTo>
                            <a:pt x="102" y="21"/>
                          </a:lnTo>
                          <a:lnTo>
                            <a:pt x="102" y="22"/>
                          </a:lnTo>
                          <a:lnTo>
                            <a:pt x="97" y="26"/>
                          </a:lnTo>
                          <a:lnTo>
                            <a:pt x="97" y="27"/>
                          </a:lnTo>
                          <a:lnTo>
                            <a:pt x="99" y="26"/>
                          </a:lnTo>
                          <a:lnTo>
                            <a:pt x="102" y="26"/>
                          </a:lnTo>
                          <a:lnTo>
                            <a:pt x="103" y="34"/>
                          </a:lnTo>
                          <a:lnTo>
                            <a:pt x="108" y="40"/>
                          </a:lnTo>
                          <a:lnTo>
                            <a:pt x="105" y="43"/>
                          </a:lnTo>
                          <a:lnTo>
                            <a:pt x="105" y="51"/>
                          </a:lnTo>
                          <a:lnTo>
                            <a:pt x="109" y="52"/>
                          </a:lnTo>
                          <a:lnTo>
                            <a:pt x="109" y="56"/>
                          </a:lnTo>
                          <a:lnTo>
                            <a:pt x="111" y="58"/>
                          </a:lnTo>
                          <a:lnTo>
                            <a:pt x="108" y="62"/>
                          </a:lnTo>
                          <a:lnTo>
                            <a:pt x="110" y="62"/>
                          </a:lnTo>
                          <a:lnTo>
                            <a:pt x="111" y="69"/>
                          </a:lnTo>
                          <a:lnTo>
                            <a:pt x="108" y="67"/>
                          </a:lnTo>
                          <a:lnTo>
                            <a:pt x="103" y="67"/>
                          </a:lnTo>
                          <a:lnTo>
                            <a:pt x="103" y="70"/>
                          </a:lnTo>
                          <a:lnTo>
                            <a:pt x="106" y="70"/>
                          </a:lnTo>
                          <a:lnTo>
                            <a:pt x="108" y="73"/>
                          </a:lnTo>
                          <a:lnTo>
                            <a:pt x="104" y="81"/>
                          </a:lnTo>
                          <a:lnTo>
                            <a:pt x="99" y="81"/>
                          </a:lnTo>
                          <a:lnTo>
                            <a:pt x="97" y="79"/>
                          </a:lnTo>
                          <a:lnTo>
                            <a:pt x="94" y="85"/>
                          </a:lnTo>
                          <a:lnTo>
                            <a:pt x="92" y="86"/>
                          </a:lnTo>
                          <a:lnTo>
                            <a:pt x="87" y="84"/>
                          </a:lnTo>
                          <a:lnTo>
                            <a:pt x="85" y="84"/>
                          </a:lnTo>
                          <a:lnTo>
                            <a:pt x="86" y="78"/>
                          </a:lnTo>
                          <a:lnTo>
                            <a:pt x="85" y="69"/>
                          </a:lnTo>
                          <a:lnTo>
                            <a:pt x="81" y="65"/>
                          </a:lnTo>
                          <a:lnTo>
                            <a:pt x="78" y="67"/>
                          </a:lnTo>
                          <a:lnTo>
                            <a:pt x="75" y="65"/>
                          </a:lnTo>
                          <a:lnTo>
                            <a:pt x="72" y="68"/>
                          </a:lnTo>
                          <a:lnTo>
                            <a:pt x="72" y="67"/>
                          </a:lnTo>
                          <a:lnTo>
                            <a:pt x="66" y="69"/>
                          </a:lnTo>
                          <a:lnTo>
                            <a:pt x="68" y="63"/>
                          </a:lnTo>
                          <a:lnTo>
                            <a:pt x="69" y="63"/>
                          </a:lnTo>
                          <a:lnTo>
                            <a:pt x="69" y="59"/>
                          </a:lnTo>
                          <a:lnTo>
                            <a:pt x="67" y="57"/>
                          </a:lnTo>
                          <a:lnTo>
                            <a:pt x="67" y="53"/>
                          </a:lnTo>
                          <a:lnTo>
                            <a:pt x="65" y="52"/>
                          </a:lnTo>
                          <a:lnTo>
                            <a:pt x="63" y="48"/>
                          </a:lnTo>
                          <a:lnTo>
                            <a:pt x="59" y="43"/>
                          </a:lnTo>
                          <a:lnTo>
                            <a:pt x="41" y="45"/>
                          </a:lnTo>
                          <a:lnTo>
                            <a:pt x="39" y="49"/>
                          </a:lnTo>
                          <a:lnTo>
                            <a:pt x="33" y="57"/>
                          </a:lnTo>
                          <a:lnTo>
                            <a:pt x="28" y="57"/>
                          </a:lnTo>
                          <a:lnTo>
                            <a:pt x="22" y="51"/>
                          </a:lnTo>
                          <a:lnTo>
                            <a:pt x="19" y="45"/>
                          </a:lnTo>
                          <a:lnTo>
                            <a:pt x="11" y="41"/>
                          </a:lnTo>
                          <a:lnTo>
                            <a:pt x="9" y="32"/>
                          </a:lnTo>
                          <a:lnTo>
                            <a:pt x="6" y="32"/>
                          </a:lnTo>
                          <a:lnTo>
                            <a:pt x="5" y="29"/>
                          </a:lnTo>
                          <a:lnTo>
                            <a:pt x="2" y="31"/>
                          </a:lnTo>
                          <a:lnTo>
                            <a:pt x="0" y="27"/>
                          </a:lnTo>
                          <a:lnTo>
                            <a:pt x="4" y="26"/>
                          </a:lnTo>
                          <a:lnTo>
                            <a:pt x="9" y="19"/>
                          </a:lnTo>
                          <a:lnTo>
                            <a:pt x="22" y="16"/>
                          </a:lnTo>
                          <a:lnTo>
                            <a:pt x="21" y="10"/>
                          </a:lnTo>
                          <a:lnTo>
                            <a:pt x="18" y="9"/>
                          </a:lnTo>
                          <a:lnTo>
                            <a:pt x="23" y="5"/>
                          </a:lnTo>
                          <a:lnTo>
                            <a:pt x="22" y="0"/>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56" name="Freeform 409"/>
                    <p:cNvSpPr>
                      <a:spLocks/>
                    </p:cNvSpPr>
                    <p:nvPr/>
                  </p:nvSpPr>
                  <p:spPr bwMode="gray">
                    <a:xfrm>
                      <a:off x="3032326" y="3056628"/>
                      <a:ext cx="310814" cy="459262"/>
                    </a:xfrm>
                    <a:custGeom>
                      <a:avLst/>
                      <a:gdLst/>
                      <a:ahLst/>
                      <a:cxnLst>
                        <a:cxn ang="0">
                          <a:pos x="67" y="78"/>
                        </a:cxn>
                        <a:cxn ang="0">
                          <a:pos x="62" y="72"/>
                        </a:cxn>
                        <a:cxn ang="0">
                          <a:pos x="58" y="65"/>
                        </a:cxn>
                        <a:cxn ang="0">
                          <a:pos x="56" y="26"/>
                        </a:cxn>
                        <a:cxn ang="0">
                          <a:pos x="52" y="13"/>
                        </a:cxn>
                        <a:cxn ang="0">
                          <a:pos x="46" y="5"/>
                        </a:cxn>
                        <a:cxn ang="0">
                          <a:pos x="49" y="2"/>
                        </a:cxn>
                        <a:cxn ang="0">
                          <a:pos x="46" y="2"/>
                        </a:cxn>
                        <a:cxn ang="0">
                          <a:pos x="46" y="0"/>
                        </a:cxn>
                        <a:cxn ang="0">
                          <a:pos x="36" y="2"/>
                        </a:cxn>
                        <a:cxn ang="0">
                          <a:pos x="6" y="0"/>
                        </a:cxn>
                        <a:cxn ang="0">
                          <a:pos x="5" y="4"/>
                        </a:cxn>
                        <a:cxn ang="0">
                          <a:pos x="7" y="10"/>
                        </a:cxn>
                        <a:cxn ang="0">
                          <a:pos x="8" y="24"/>
                        </a:cxn>
                        <a:cxn ang="0">
                          <a:pos x="8" y="27"/>
                        </a:cxn>
                        <a:cxn ang="0">
                          <a:pos x="7" y="30"/>
                        </a:cxn>
                        <a:cxn ang="0">
                          <a:pos x="9" y="31"/>
                        </a:cxn>
                        <a:cxn ang="0">
                          <a:pos x="12" y="43"/>
                        </a:cxn>
                        <a:cxn ang="0">
                          <a:pos x="7" y="47"/>
                        </a:cxn>
                        <a:cxn ang="0">
                          <a:pos x="5" y="58"/>
                        </a:cxn>
                        <a:cxn ang="0">
                          <a:pos x="1" y="64"/>
                        </a:cxn>
                        <a:cxn ang="0">
                          <a:pos x="0" y="69"/>
                        </a:cxn>
                        <a:cxn ang="0">
                          <a:pos x="4" y="81"/>
                        </a:cxn>
                        <a:cxn ang="0">
                          <a:pos x="7" y="84"/>
                        </a:cxn>
                        <a:cxn ang="0">
                          <a:pos x="8" y="91"/>
                        </a:cxn>
                        <a:cxn ang="0">
                          <a:pos x="4" y="91"/>
                        </a:cxn>
                        <a:cxn ang="0">
                          <a:pos x="2" y="92"/>
                        </a:cxn>
                        <a:cxn ang="0">
                          <a:pos x="19" y="99"/>
                        </a:cxn>
                        <a:cxn ang="0">
                          <a:pos x="26" y="94"/>
                        </a:cxn>
                        <a:cxn ang="0">
                          <a:pos x="38" y="91"/>
                        </a:cxn>
                        <a:cxn ang="0">
                          <a:pos x="51" y="84"/>
                        </a:cxn>
                        <a:cxn ang="0">
                          <a:pos x="52" y="83"/>
                        </a:cxn>
                        <a:cxn ang="0">
                          <a:pos x="63" y="83"/>
                        </a:cxn>
                        <a:cxn ang="0">
                          <a:pos x="67" y="78"/>
                        </a:cxn>
                      </a:cxnLst>
                      <a:rect l="0" t="0" r="r" b="b"/>
                      <a:pathLst>
                        <a:path w="67" h="99">
                          <a:moveTo>
                            <a:pt x="67" y="78"/>
                          </a:moveTo>
                          <a:lnTo>
                            <a:pt x="62" y="72"/>
                          </a:lnTo>
                          <a:lnTo>
                            <a:pt x="58" y="65"/>
                          </a:lnTo>
                          <a:lnTo>
                            <a:pt x="56" y="26"/>
                          </a:lnTo>
                          <a:lnTo>
                            <a:pt x="52" y="13"/>
                          </a:lnTo>
                          <a:lnTo>
                            <a:pt x="46" y="5"/>
                          </a:lnTo>
                          <a:lnTo>
                            <a:pt x="49" y="2"/>
                          </a:lnTo>
                          <a:lnTo>
                            <a:pt x="46" y="2"/>
                          </a:lnTo>
                          <a:lnTo>
                            <a:pt x="46" y="0"/>
                          </a:lnTo>
                          <a:lnTo>
                            <a:pt x="36" y="2"/>
                          </a:lnTo>
                          <a:lnTo>
                            <a:pt x="6" y="0"/>
                          </a:lnTo>
                          <a:lnTo>
                            <a:pt x="5" y="4"/>
                          </a:lnTo>
                          <a:lnTo>
                            <a:pt x="7" y="10"/>
                          </a:lnTo>
                          <a:lnTo>
                            <a:pt x="8" y="24"/>
                          </a:lnTo>
                          <a:lnTo>
                            <a:pt x="8" y="27"/>
                          </a:lnTo>
                          <a:lnTo>
                            <a:pt x="7" y="30"/>
                          </a:lnTo>
                          <a:lnTo>
                            <a:pt x="9" y="31"/>
                          </a:lnTo>
                          <a:lnTo>
                            <a:pt x="12" y="43"/>
                          </a:lnTo>
                          <a:lnTo>
                            <a:pt x="7" y="47"/>
                          </a:lnTo>
                          <a:lnTo>
                            <a:pt x="5" y="58"/>
                          </a:lnTo>
                          <a:lnTo>
                            <a:pt x="1" y="64"/>
                          </a:lnTo>
                          <a:lnTo>
                            <a:pt x="0" y="69"/>
                          </a:lnTo>
                          <a:lnTo>
                            <a:pt x="4" y="81"/>
                          </a:lnTo>
                          <a:lnTo>
                            <a:pt x="7" y="84"/>
                          </a:lnTo>
                          <a:lnTo>
                            <a:pt x="8" y="91"/>
                          </a:lnTo>
                          <a:lnTo>
                            <a:pt x="4" y="91"/>
                          </a:lnTo>
                          <a:lnTo>
                            <a:pt x="2" y="92"/>
                          </a:lnTo>
                          <a:lnTo>
                            <a:pt x="19" y="99"/>
                          </a:lnTo>
                          <a:lnTo>
                            <a:pt x="26" y="94"/>
                          </a:lnTo>
                          <a:lnTo>
                            <a:pt x="38" y="91"/>
                          </a:lnTo>
                          <a:lnTo>
                            <a:pt x="51" y="84"/>
                          </a:lnTo>
                          <a:lnTo>
                            <a:pt x="52" y="83"/>
                          </a:lnTo>
                          <a:lnTo>
                            <a:pt x="63" y="83"/>
                          </a:lnTo>
                          <a:lnTo>
                            <a:pt x="67" y="78"/>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57" name="Freeform 410"/>
                    <p:cNvSpPr>
                      <a:spLocks/>
                    </p:cNvSpPr>
                    <p:nvPr/>
                  </p:nvSpPr>
                  <p:spPr bwMode="gray">
                    <a:xfrm>
                      <a:off x="2081331" y="2847872"/>
                      <a:ext cx="218035" cy="55668"/>
                    </a:xfrm>
                    <a:custGeom>
                      <a:avLst/>
                      <a:gdLst/>
                      <a:ahLst/>
                      <a:cxnLst>
                        <a:cxn ang="0">
                          <a:pos x="5" y="4"/>
                        </a:cxn>
                        <a:cxn ang="0">
                          <a:pos x="20" y="4"/>
                        </a:cxn>
                        <a:cxn ang="0">
                          <a:pos x="23" y="1"/>
                        </a:cxn>
                        <a:cxn ang="0">
                          <a:pos x="28" y="0"/>
                        </a:cxn>
                        <a:cxn ang="0">
                          <a:pos x="37" y="6"/>
                        </a:cxn>
                        <a:cxn ang="0">
                          <a:pos x="45" y="5"/>
                        </a:cxn>
                        <a:cxn ang="0">
                          <a:pos x="47" y="7"/>
                        </a:cxn>
                        <a:cxn ang="0">
                          <a:pos x="41" y="10"/>
                        </a:cxn>
                        <a:cxn ang="0">
                          <a:pos x="26" y="5"/>
                        </a:cxn>
                        <a:cxn ang="0">
                          <a:pos x="22" y="7"/>
                        </a:cxn>
                        <a:cxn ang="0">
                          <a:pos x="17" y="7"/>
                        </a:cxn>
                        <a:cxn ang="0">
                          <a:pos x="16" y="10"/>
                        </a:cxn>
                        <a:cxn ang="0">
                          <a:pos x="3" y="11"/>
                        </a:cxn>
                        <a:cxn ang="0">
                          <a:pos x="1" y="12"/>
                        </a:cxn>
                        <a:cxn ang="0">
                          <a:pos x="0" y="7"/>
                        </a:cxn>
                        <a:cxn ang="0">
                          <a:pos x="4" y="6"/>
                        </a:cxn>
                        <a:cxn ang="0">
                          <a:pos x="5" y="4"/>
                        </a:cxn>
                      </a:cxnLst>
                      <a:rect l="0" t="0" r="r" b="b"/>
                      <a:pathLst>
                        <a:path w="47" h="12">
                          <a:moveTo>
                            <a:pt x="5" y="4"/>
                          </a:moveTo>
                          <a:lnTo>
                            <a:pt x="20" y="4"/>
                          </a:lnTo>
                          <a:lnTo>
                            <a:pt x="23" y="1"/>
                          </a:lnTo>
                          <a:lnTo>
                            <a:pt x="28" y="0"/>
                          </a:lnTo>
                          <a:lnTo>
                            <a:pt x="37" y="6"/>
                          </a:lnTo>
                          <a:lnTo>
                            <a:pt x="45" y="5"/>
                          </a:lnTo>
                          <a:lnTo>
                            <a:pt x="47" y="7"/>
                          </a:lnTo>
                          <a:lnTo>
                            <a:pt x="41" y="10"/>
                          </a:lnTo>
                          <a:lnTo>
                            <a:pt x="26" y="5"/>
                          </a:lnTo>
                          <a:lnTo>
                            <a:pt x="22" y="7"/>
                          </a:lnTo>
                          <a:lnTo>
                            <a:pt x="17" y="7"/>
                          </a:lnTo>
                          <a:lnTo>
                            <a:pt x="16" y="10"/>
                          </a:lnTo>
                          <a:lnTo>
                            <a:pt x="3" y="11"/>
                          </a:lnTo>
                          <a:lnTo>
                            <a:pt x="1" y="12"/>
                          </a:lnTo>
                          <a:lnTo>
                            <a:pt x="0" y="7"/>
                          </a:lnTo>
                          <a:lnTo>
                            <a:pt x="4" y="6"/>
                          </a:lnTo>
                          <a:lnTo>
                            <a:pt x="5" y="4"/>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58" name="Freeform 411"/>
                    <p:cNvSpPr>
                      <a:spLocks/>
                    </p:cNvSpPr>
                    <p:nvPr/>
                  </p:nvSpPr>
                  <p:spPr bwMode="gray">
                    <a:xfrm>
                      <a:off x="2085972" y="2931374"/>
                      <a:ext cx="222672" cy="125255"/>
                    </a:xfrm>
                    <a:custGeom>
                      <a:avLst/>
                      <a:gdLst/>
                      <a:ahLst/>
                      <a:cxnLst>
                        <a:cxn ang="0">
                          <a:pos x="25" y="27"/>
                        </a:cxn>
                        <a:cxn ang="0">
                          <a:pos x="29" y="26"/>
                        </a:cxn>
                        <a:cxn ang="0">
                          <a:pos x="34" y="19"/>
                        </a:cxn>
                        <a:cxn ang="0">
                          <a:pos x="47" y="16"/>
                        </a:cxn>
                        <a:cxn ang="0">
                          <a:pos x="46" y="10"/>
                        </a:cxn>
                        <a:cxn ang="0">
                          <a:pos x="43" y="9"/>
                        </a:cxn>
                        <a:cxn ang="0">
                          <a:pos x="48" y="5"/>
                        </a:cxn>
                        <a:cxn ang="0">
                          <a:pos x="47" y="0"/>
                        </a:cxn>
                        <a:cxn ang="0">
                          <a:pos x="25" y="0"/>
                        </a:cxn>
                        <a:cxn ang="0">
                          <a:pos x="16" y="4"/>
                        </a:cxn>
                        <a:cxn ang="0">
                          <a:pos x="9" y="4"/>
                        </a:cxn>
                        <a:cxn ang="0">
                          <a:pos x="4" y="5"/>
                        </a:cxn>
                        <a:cxn ang="0">
                          <a:pos x="0" y="4"/>
                        </a:cxn>
                        <a:cxn ang="0">
                          <a:pos x="2" y="8"/>
                        </a:cxn>
                        <a:cxn ang="0">
                          <a:pos x="8" y="9"/>
                        </a:cxn>
                        <a:cxn ang="0">
                          <a:pos x="9" y="14"/>
                        </a:cxn>
                        <a:cxn ang="0">
                          <a:pos x="14" y="14"/>
                        </a:cxn>
                        <a:cxn ang="0">
                          <a:pos x="15" y="16"/>
                        </a:cxn>
                        <a:cxn ang="0">
                          <a:pos x="29" y="13"/>
                        </a:cxn>
                        <a:cxn ang="0">
                          <a:pos x="29" y="14"/>
                        </a:cxn>
                        <a:cxn ang="0">
                          <a:pos x="21" y="16"/>
                        </a:cxn>
                        <a:cxn ang="0">
                          <a:pos x="22" y="24"/>
                        </a:cxn>
                        <a:cxn ang="0">
                          <a:pos x="22" y="26"/>
                        </a:cxn>
                        <a:cxn ang="0">
                          <a:pos x="27" y="26"/>
                        </a:cxn>
                        <a:cxn ang="0">
                          <a:pos x="25" y="27"/>
                        </a:cxn>
                      </a:cxnLst>
                      <a:rect l="0" t="0" r="r" b="b"/>
                      <a:pathLst>
                        <a:path w="48" h="27">
                          <a:moveTo>
                            <a:pt x="25" y="27"/>
                          </a:moveTo>
                          <a:lnTo>
                            <a:pt x="29" y="26"/>
                          </a:lnTo>
                          <a:lnTo>
                            <a:pt x="34" y="19"/>
                          </a:lnTo>
                          <a:lnTo>
                            <a:pt x="47" y="16"/>
                          </a:lnTo>
                          <a:lnTo>
                            <a:pt x="46" y="10"/>
                          </a:lnTo>
                          <a:lnTo>
                            <a:pt x="43" y="9"/>
                          </a:lnTo>
                          <a:lnTo>
                            <a:pt x="48" y="5"/>
                          </a:lnTo>
                          <a:lnTo>
                            <a:pt x="47" y="0"/>
                          </a:lnTo>
                          <a:lnTo>
                            <a:pt x="25" y="0"/>
                          </a:lnTo>
                          <a:lnTo>
                            <a:pt x="16" y="4"/>
                          </a:lnTo>
                          <a:lnTo>
                            <a:pt x="9" y="4"/>
                          </a:lnTo>
                          <a:lnTo>
                            <a:pt x="4" y="5"/>
                          </a:lnTo>
                          <a:lnTo>
                            <a:pt x="0" y="4"/>
                          </a:lnTo>
                          <a:lnTo>
                            <a:pt x="2" y="8"/>
                          </a:lnTo>
                          <a:lnTo>
                            <a:pt x="8" y="9"/>
                          </a:lnTo>
                          <a:lnTo>
                            <a:pt x="9" y="14"/>
                          </a:lnTo>
                          <a:lnTo>
                            <a:pt x="14" y="14"/>
                          </a:lnTo>
                          <a:lnTo>
                            <a:pt x="15" y="16"/>
                          </a:lnTo>
                          <a:lnTo>
                            <a:pt x="29" y="13"/>
                          </a:lnTo>
                          <a:lnTo>
                            <a:pt x="29" y="14"/>
                          </a:lnTo>
                          <a:lnTo>
                            <a:pt x="21" y="16"/>
                          </a:lnTo>
                          <a:lnTo>
                            <a:pt x="22" y="24"/>
                          </a:lnTo>
                          <a:lnTo>
                            <a:pt x="22" y="26"/>
                          </a:lnTo>
                          <a:lnTo>
                            <a:pt x="27" y="26"/>
                          </a:lnTo>
                          <a:lnTo>
                            <a:pt x="25" y="27"/>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59" name="Freeform 412"/>
                    <p:cNvSpPr>
                      <a:spLocks/>
                    </p:cNvSpPr>
                    <p:nvPr/>
                  </p:nvSpPr>
                  <p:spPr bwMode="gray">
                    <a:xfrm>
                      <a:off x="2331837" y="3130852"/>
                      <a:ext cx="208756" cy="218035"/>
                    </a:xfrm>
                    <a:custGeom>
                      <a:avLst/>
                      <a:gdLst/>
                      <a:ahLst/>
                      <a:cxnLst>
                        <a:cxn ang="0">
                          <a:pos x="27" y="47"/>
                        </a:cxn>
                        <a:cxn ang="0">
                          <a:pos x="30" y="42"/>
                        </a:cxn>
                        <a:cxn ang="0">
                          <a:pos x="40" y="35"/>
                        </a:cxn>
                        <a:cxn ang="0">
                          <a:pos x="40" y="30"/>
                        </a:cxn>
                        <a:cxn ang="0">
                          <a:pos x="45" y="27"/>
                        </a:cxn>
                        <a:cxn ang="0">
                          <a:pos x="44" y="25"/>
                        </a:cxn>
                        <a:cxn ang="0">
                          <a:pos x="44" y="24"/>
                        </a:cxn>
                        <a:cxn ang="0">
                          <a:pos x="38" y="26"/>
                        </a:cxn>
                        <a:cxn ang="0">
                          <a:pos x="40" y="20"/>
                        </a:cxn>
                        <a:cxn ang="0">
                          <a:pos x="41" y="20"/>
                        </a:cxn>
                        <a:cxn ang="0">
                          <a:pos x="41" y="16"/>
                        </a:cxn>
                        <a:cxn ang="0">
                          <a:pos x="39" y="14"/>
                        </a:cxn>
                        <a:cxn ang="0">
                          <a:pos x="39" y="10"/>
                        </a:cxn>
                        <a:cxn ang="0">
                          <a:pos x="37" y="9"/>
                        </a:cxn>
                        <a:cxn ang="0">
                          <a:pos x="35" y="5"/>
                        </a:cxn>
                        <a:cxn ang="0">
                          <a:pos x="31" y="0"/>
                        </a:cxn>
                        <a:cxn ang="0">
                          <a:pos x="13" y="2"/>
                        </a:cxn>
                        <a:cxn ang="0">
                          <a:pos x="11" y="6"/>
                        </a:cxn>
                        <a:cxn ang="0">
                          <a:pos x="5" y="14"/>
                        </a:cxn>
                        <a:cxn ang="0">
                          <a:pos x="0" y="14"/>
                        </a:cxn>
                        <a:cxn ang="0">
                          <a:pos x="1" y="22"/>
                        </a:cxn>
                        <a:cxn ang="0">
                          <a:pos x="2" y="24"/>
                        </a:cxn>
                        <a:cxn ang="0">
                          <a:pos x="1" y="24"/>
                        </a:cxn>
                        <a:cxn ang="0">
                          <a:pos x="1" y="26"/>
                        </a:cxn>
                        <a:cxn ang="0">
                          <a:pos x="5" y="30"/>
                        </a:cxn>
                        <a:cxn ang="0">
                          <a:pos x="6" y="34"/>
                        </a:cxn>
                        <a:cxn ang="0">
                          <a:pos x="12" y="38"/>
                        </a:cxn>
                        <a:cxn ang="0">
                          <a:pos x="13" y="41"/>
                        </a:cxn>
                        <a:cxn ang="0">
                          <a:pos x="27" y="47"/>
                        </a:cxn>
                      </a:cxnLst>
                      <a:rect l="0" t="0" r="r" b="b"/>
                      <a:pathLst>
                        <a:path w="45" h="47">
                          <a:moveTo>
                            <a:pt x="27" y="47"/>
                          </a:moveTo>
                          <a:lnTo>
                            <a:pt x="30" y="42"/>
                          </a:lnTo>
                          <a:lnTo>
                            <a:pt x="40" y="35"/>
                          </a:lnTo>
                          <a:lnTo>
                            <a:pt x="40" y="30"/>
                          </a:lnTo>
                          <a:lnTo>
                            <a:pt x="45" y="27"/>
                          </a:lnTo>
                          <a:lnTo>
                            <a:pt x="44" y="25"/>
                          </a:lnTo>
                          <a:lnTo>
                            <a:pt x="44" y="24"/>
                          </a:lnTo>
                          <a:lnTo>
                            <a:pt x="38" y="26"/>
                          </a:lnTo>
                          <a:lnTo>
                            <a:pt x="40" y="20"/>
                          </a:lnTo>
                          <a:lnTo>
                            <a:pt x="41" y="20"/>
                          </a:lnTo>
                          <a:lnTo>
                            <a:pt x="41" y="16"/>
                          </a:lnTo>
                          <a:lnTo>
                            <a:pt x="39" y="14"/>
                          </a:lnTo>
                          <a:lnTo>
                            <a:pt x="39" y="10"/>
                          </a:lnTo>
                          <a:lnTo>
                            <a:pt x="37" y="9"/>
                          </a:lnTo>
                          <a:lnTo>
                            <a:pt x="35" y="5"/>
                          </a:lnTo>
                          <a:lnTo>
                            <a:pt x="31" y="0"/>
                          </a:lnTo>
                          <a:lnTo>
                            <a:pt x="13" y="2"/>
                          </a:lnTo>
                          <a:lnTo>
                            <a:pt x="11" y="6"/>
                          </a:lnTo>
                          <a:lnTo>
                            <a:pt x="5" y="14"/>
                          </a:lnTo>
                          <a:lnTo>
                            <a:pt x="0" y="14"/>
                          </a:lnTo>
                          <a:lnTo>
                            <a:pt x="1" y="22"/>
                          </a:lnTo>
                          <a:lnTo>
                            <a:pt x="2" y="24"/>
                          </a:lnTo>
                          <a:lnTo>
                            <a:pt x="1" y="24"/>
                          </a:lnTo>
                          <a:lnTo>
                            <a:pt x="1" y="26"/>
                          </a:lnTo>
                          <a:lnTo>
                            <a:pt x="5" y="30"/>
                          </a:lnTo>
                          <a:lnTo>
                            <a:pt x="6" y="34"/>
                          </a:lnTo>
                          <a:lnTo>
                            <a:pt x="12" y="38"/>
                          </a:lnTo>
                          <a:lnTo>
                            <a:pt x="13" y="41"/>
                          </a:lnTo>
                          <a:lnTo>
                            <a:pt x="27" y="47"/>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60" name="Freeform 413"/>
                    <p:cNvSpPr>
                      <a:spLocks/>
                    </p:cNvSpPr>
                    <p:nvPr/>
                  </p:nvSpPr>
                  <p:spPr bwMode="gray">
                    <a:xfrm>
                      <a:off x="2034942" y="2639118"/>
                      <a:ext cx="436066" cy="315452"/>
                    </a:xfrm>
                    <a:custGeom>
                      <a:avLst/>
                      <a:gdLst/>
                      <a:ahLst/>
                      <a:cxnLst>
                        <a:cxn ang="0">
                          <a:pos x="11" y="67"/>
                        </a:cxn>
                        <a:cxn ang="0">
                          <a:pos x="11" y="57"/>
                        </a:cxn>
                        <a:cxn ang="0">
                          <a:pos x="13" y="56"/>
                        </a:cxn>
                        <a:cxn ang="0">
                          <a:pos x="26" y="55"/>
                        </a:cxn>
                        <a:cxn ang="0">
                          <a:pos x="27" y="52"/>
                        </a:cxn>
                        <a:cxn ang="0">
                          <a:pos x="32" y="52"/>
                        </a:cxn>
                        <a:cxn ang="0">
                          <a:pos x="36" y="50"/>
                        </a:cxn>
                        <a:cxn ang="0">
                          <a:pos x="51" y="55"/>
                        </a:cxn>
                        <a:cxn ang="0">
                          <a:pos x="57" y="52"/>
                        </a:cxn>
                        <a:cxn ang="0">
                          <a:pos x="55" y="50"/>
                        </a:cxn>
                        <a:cxn ang="0">
                          <a:pos x="47" y="51"/>
                        </a:cxn>
                        <a:cxn ang="0">
                          <a:pos x="38" y="45"/>
                        </a:cxn>
                        <a:cxn ang="0">
                          <a:pos x="33" y="46"/>
                        </a:cxn>
                        <a:cxn ang="0">
                          <a:pos x="30" y="49"/>
                        </a:cxn>
                        <a:cxn ang="0">
                          <a:pos x="15" y="49"/>
                        </a:cxn>
                        <a:cxn ang="0">
                          <a:pos x="3" y="31"/>
                        </a:cxn>
                        <a:cxn ang="0">
                          <a:pos x="1" y="33"/>
                        </a:cxn>
                        <a:cxn ang="0">
                          <a:pos x="0" y="30"/>
                        </a:cxn>
                        <a:cxn ang="0">
                          <a:pos x="4" y="29"/>
                        </a:cxn>
                        <a:cxn ang="0">
                          <a:pos x="9" y="24"/>
                        </a:cxn>
                        <a:cxn ang="0">
                          <a:pos x="15" y="16"/>
                        </a:cxn>
                        <a:cxn ang="0">
                          <a:pos x="15" y="9"/>
                        </a:cxn>
                        <a:cxn ang="0">
                          <a:pos x="19" y="2"/>
                        </a:cxn>
                        <a:cxn ang="0">
                          <a:pos x="27" y="3"/>
                        </a:cxn>
                        <a:cxn ang="0">
                          <a:pos x="36" y="0"/>
                        </a:cxn>
                        <a:cxn ang="0">
                          <a:pos x="47" y="0"/>
                        </a:cxn>
                        <a:cxn ang="0">
                          <a:pos x="55" y="8"/>
                        </a:cxn>
                        <a:cxn ang="0">
                          <a:pos x="61" y="8"/>
                        </a:cxn>
                        <a:cxn ang="0">
                          <a:pos x="65" y="16"/>
                        </a:cxn>
                        <a:cxn ang="0">
                          <a:pos x="69" y="18"/>
                        </a:cxn>
                        <a:cxn ang="0">
                          <a:pos x="71" y="22"/>
                        </a:cxn>
                        <a:cxn ang="0">
                          <a:pos x="70" y="23"/>
                        </a:cxn>
                        <a:cxn ang="0">
                          <a:pos x="80" y="30"/>
                        </a:cxn>
                        <a:cxn ang="0">
                          <a:pos x="80" y="36"/>
                        </a:cxn>
                        <a:cxn ang="0">
                          <a:pos x="83" y="38"/>
                        </a:cxn>
                        <a:cxn ang="0">
                          <a:pos x="84" y="44"/>
                        </a:cxn>
                        <a:cxn ang="0">
                          <a:pos x="83" y="47"/>
                        </a:cxn>
                        <a:cxn ang="0">
                          <a:pos x="86" y="52"/>
                        </a:cxn>
                        <a:cxn ang="0">
                          <a:pos x="89" y="52"/>
                        </a:cxn>
                        <a:cxn ang="0">
                          <a:pos x="94" y="58"/>
                        </a:cxn>
                        <a:cxn ang="0">
                          <a:pos x="94" y="67"/>
                        </a:cxn>
                        <a:cxn ang="0">
                          <a:pos x="78" y="68"/>
                        </a:cxn>
                        <a:cxn ang="0">
                          <a:pos x="70" y="66"/>
                        </a:cxn>
                        <a:cxn ang="0">
                          <a:pos x="67" y="67"/>
                        </a:cxn>
                        <a:cxn ang="0">
                          <a:pos x="66" y="63"/>
                        </a:cxn>
                        <a:cxn ang="0">
                          <a:pos x="58" y="63"/>
                        </a:cxn>
                        <a:cxn ang="0">
                          <a:pos x="36" y="63"/>
                        </a:cxn>
                        <a:cxn ang="0">
                          <a:pos x="27" y="67"/>
                        </a:cxn>
                        <a:cxn ang="0">
                          <a:pos x="20" y="67"/>
                        </a:cxn>
                        <a:cxn ang="0">
                          <a:pos x="15" y="68"/>
                        </a:cxn>
                        <a:cxn ang="0">
                          <a:pos x="11" y="67"/>
                        </a:cxn>
                      </a:cxnLst>
                      <a:rect l="0" t="0" r="r" b="b"/>
                      <a:pathLst>
                        <a:path w="94" h="68">
                          <a:moveTo>
                            <a:pt x="11" y="67"/>
                          </a:moveTo>
                          <a:lnTo>
                            <a:pt x="11" y="57"/>
                          </a:lnTo>
                          <a:lnTo>
                            <a:pt x="13" y="56"/>
                          </a:lnTo>
                          <a:lnTo>
                            <a:pt x="26" y="55"/>
                          </a:lnTo>
                          <a:lnTo>
                            <a:pt x="27" y="52"/>
                          </a:lnTo>
                          <a:lnTo>
                            <a:pt x="32" y="52"/>
                          </a:lnTo>
                          <a:lnTo>
                            <a:pt x="36" y="50"/>
                          </a:lnTo>
                          <a:lnTo>
                            <a:pt x="51" y="55"/>
                          </a:lnTo>
                          <a:lnTo>
                            <a:pt x="57" y="52"/>
                          </a:lnTo>
                          <a:lnTo>
                            <a:pt x="55" y="50"/>
                          </a:lnTo>
                          <a:lnTo>
                            <a:pt x="47" y="51"/>
                          </a:lnTo>
                          <a:lnTo>
                            <a:pt x="38" y="45"/>
                          </a:lnTo>
                          <a:lnTo>
                            <a:pt x="33" y="46"/>
                          </a:lnTo>
                          <a:lnTo>
                            <a:pt x="30" y="49"/>
                          </a:lnTo>
                          <a:lnTo>
                            <a:pt x="15" y="49"/>
                          </a:lnTo>
                          <a:lnTo>
                            <a:pt x="3" y="31"/>
                          </a:lnTo>
                          <a:lnTo>
                            <a:pt x="1" y="33"/>
                          </a:lnTo>
                          <a:lnTo>
                            <a:pt x="0" y="30"/>
                          </a:lnTo>
                          <a:lnTo>
                            <a:pt x="4" y="29"/>
                          </a:lnTo>
                          <a:lnTo>
                            <a:pt x="9" y="24"/>
                          </a:lnTo>
                          <a:lnTo>
                            <a:pt x="15" y="16"/>
                          </a:lnTo>
                          <a:lnTo>
                            <a:pt x="15" y="9"/>
                          </a:lnTo>
                          <a:lnTo>
                            <a:pt x="19" y="2"/>
                          </a:lnTo>
                          <a:lnTo>
                            <a:pt x="27" y="3"/>
                          </a:lnTo>
                          <a:lnTo>
                            <a:pt x="36" y="0"/>
                          </a:lnTo>
                          <a:lnTo>
                            <a:pt x="47" y="0"/>
                          </a:lnTo>
                          <a:lnTo>
                            <a:pt x="55" y="8"/>
                          </a:lnTo>
                          <a:lnTo>
                            <a:pt x="61" y="8"/>
                          </a:lnTo>
                          <a:lnTo>
                            <a:pt x="65" y="16"/>
                          </a:lnTo>
                          <a:lnTo>
                            <a:pt x="69" y="18"/>
                          </a:lnTo>
                          <a:lnTo>
                            <a:pt x="71" y="22"/>
                          </a:lnTo>
                          <a:lnTo>
                            <a:pt x="70" y="23"/>
                          </a:lnTo>
                          <a:lnTo>
                            <a:pt x="80" y="30"/>
                          </a:lnTo>
                          <a:lnTo>
                            <a:pt x="80" y="36"/>
                          </a:lnTo>
                          <a:lnTo>
                            <a:pt x="83" y="38"/>
                          </a:lnTo>
                          <a:lnTo>
                            <a:pt x="84" y="44"/>
                          </a:lnTo>
                          <a:lnTo>
                            <a:pt x="83" y="47"/>
                          </a:lnTo>
                          <a:lnTo>
                            <a:pt x="86" y="52"/>
                          </a:lnTo>
                          <a:lnTo>
                            <a:pt x="89" y="52"/>
                          </a:lnTo>
                          <a:lnTo>
                            <a:pt x="94" y="58"/>
                          </a:lnTo>
                          <a:lnTo>
                            <a:pt x="94" y="67"/>
                          </a:lnTo>
                          <a:lnTo>
                            <a:pt x="78" y="68"/>
                          </a:lnTo>
                          <a:lnTo>
                            <a:pt x="70" y="66"/>
                          </a:lnTo>
                          <a:lnTo>
                            <a:pt x="67" y="67"/>
                          </a:lnTo>
                          <a:lnTo>
                            <a:pt x="66" y="63"/>
                          </a:lnTo>
                          <a:lnTo>
                            <a:pt x="58" y="63"/>
                          </a:lnTo>
                          <a:lnTo>
                            <a:pt x="36" y="63"/>
                          </a:lnTo>
                          <a:lnTo>
                            <a:pt x="27" y="67"/>
                          </a:lnTo>
                          <a:lnTo>
                            <a:pt x="20" y="67"/>
                          </a:lnTo>
                          <a:lnTo>
                            <a:pt x="15" y="68"/>
                          </a:lnTo>
                          <a:lnTo>
                            <a:pt x="11" y="67"/>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61" name="Freeform 433"/>
                    <p:cNvSpPr>
                      <a:spLocks/>
                    </p:cNvSpPr>
                    <p:nvPr/>
                  </p:nvSpPr>
                  <p:spPr bwMode="gray">
                    <a:xfrm>
                      <a:off x="3895178" y="1330923"/>
                      <a:ext cx="1104080" cy="1094802"/>
                    </a:xfrm>
                    <a:custGeom>
                      <a:avLst/>
                      <a:gdLst/>
                      <a:ahLst/>
                      <a:cxnLst>
                        <a:cxn ang="0">
                          <a:pos x="208" y="229"/>
                        </a:cxn>
                        <a:cxn ang="0">
                          <a:pos x="178" y="213"/>
                        </a:cxn>
                        <a:cxn ang="0">
                          <a:pos x="148" y="197"/>
                        </a:cxn>
                        <a:cxn ang="0">
                          <a:pos x="117" y="181"/>
                        </a:cxn>
                        <a:cxn ang="0">
                          <a:pos x="88" y="177"/>
                        </a:cxn>
                        <a:cxn ang="0">
                          <a:pos x="79" y="176"/>
                        </a:cxn>
                        <a:cxn ang="0">
                          <a:pos x="38" y="170"/>
                        </a:cxn>
                        <a:cxn ang="0">
                          <a:pos x="23" y="153"/>
                        </a:cxn>
                        <a:cxn ang="0">
                          <a:pos x="12" y="148"/>
                        </a:cxn>
                        <a:cxn ang="0">
                          <a:pos x="1" y="124"/>
                        </a:cxn>
                        <a:cxn ang="0">
                          <a:pos x="7" y="120"/>
                        </a:cxn>
                        <a:cxn ang="0">
                          <a:pos x="6" y="69"/>
                        </a:cxn>
                        <a:cxn ang="0">
                          <a:pos x="0" y="56"/>
                        </a:cxn>
                        <a:cxn ang="0">
                          <a:pos x="9" y="50"/>
                        </a:cxn>
                        <a:cxn ang="0">
                          <a:pos x="13" y="34"/>
                        </a:cxn>
                        <a:cxn ang="0">
                          <a:pos x="31" y="15"/>
                        </a:cxn>
                        <a:cxn ang="0">
                          <a:pos x="32" y="0"/>
                        </a:cxn>
                        <a:cxn ang="0">
                          <a:pos x="57" y="5"/>
                        </a:cxn>
                        <a:cxn ang="0">
                          <a:pos x="88" y="16"/>
                        </a:cxn>
                        <a:cxn ang="0">
                          <a:pos x="91" y="25"/>
                        </a:cxn>
                        <a:cxn ang="0">
                          <a:pos x="101" y="36"/>
                        </a:cxn>
                        <a:cxn ang="0">
                          <a:pos x="134" y="45"/>
                        </a:cxn>
                        <a:cxn ang="0">
                          <a:pos x="145" y="53"/>
                        </a:cxn>
                        <a:cxn ang="0">
                          <a:pos x="159" y="46"/>
                        </a:cxn>
                        <a:cxn ang="0">
                          <a:pos x="159" y="29"/>
                        </a:cxn>
                        <a:cxn ang="0">
                          <a:pos x="176" y="8"/>
                        </a:cxn>
                        <a:cxn ang="0">
                          <a:pos x="203" y="10"/>
                        </a:cxn>
                        <a:cxn ang="0">
                          <a:pos x="206" y="16"/>
                        </a:cxn>
                        <a:cxn ang="0">
                          <a:pos x="217" y="20"/>
                        </a:cxn>
                        <a:cxn ang="0">
                          <a:pos x="238" y="29"/>
                        </a:cxn>
                        <a:cxn ang="0">
                          <a:pos x="233" y="35"/>
                        </a:cxn>
                        <a:cxn ang="0">
                          <a:pos x="230" y="57"/>
                        </a:cxn>
                        <a:cxn ang="0">
                          <a:pos x="234" y="67"/>
                        </a:cxn>
                        <a:cxn ang="0">
                          <a:pos x="238" y="75"/>
                        </a:cxn>
                        <a:cxn ang="0">
                          <a:pos x="238" y="106"/>
                        </a:cxn>
                        <a:cxn ang="0">
                          <a:pos x="238" y="135"/>
                        </a:cxn>
                        <a:cxn ang="0">
                          <a:pos x="238" y="166"/>
                        </a:cxn>
                        <a:cxn ang="0">
                          <a:pos x="238" y="196"/>
                        </a:cxn>
                        <a:cxn ang="0">
                          <a:pos x="238" y="228"/>
                        </a:cxn>
                        <a:cxn ang="0">
                          <a:pos x="223" y="236"/>
                        </a:cxn>
                      </a:cxnLst>
                      <a:rect l="0" t="0" r="r" b="b"/>
                      <a:pathLst>
                        <a:path w="238" h="236">
                          <a:moveTo>
                            <a:pt x="223" y="236"/>
                          </a:moveTo>
                          <a:lnTo>
                            <a:pt x="208" y="229"/>
                          </a:lnTo>
                          <a:lnTo>
                            <a:pt x="194" y="220"/>
                          </a:lnTo>
                          <a:lnTo>
                            <a:pt x="178" y="213"/>
                          </a:lnTo>
                          <a:lnTo>
                            <a:pt x="163" y="204"/>
                          </a:lnTo>
                          <a:lnTo>
                            <a:pt x="148" y="197"/>
                          </a:lnTo>
                          <a:lnTo>
                            <a:pt x="133" y="188"/>
                          </a:lnTo>
                          <a:lnTo>
                            <a:pt x="117" y="181"/>
                          </a:lnTo>
                          <a:lnTo>
                            <a:pt x="103" y="172"/>
                          </a:lnTo>
                          <a:lnTo>
                            <a:pt x="88" y="177"/>
                          </a:lnTo>
                          <a:lnTo>
                            <a:pt x="83" y="180"/>
                          </a:lnTo>
                          <a:lnTo>
                            <a:pt x="79" y="176"/>
                          </a:lnTo>
                          <a:lnTo>
                            <a:pt x="71" y="171"/>
                          </a:lnTo>
                          <a:lnTo>
                            <a:pt x="38" y="170"/>
                          </a:lnTo>
                          <a:lnTo>
                            <a:pt x="32" y="156"/>
                          </a:lnTo>
                          <a:lnTo>
                            <a:pt x="23" y="153"/>
                          </a:lnTo>
                          <a:lnTo>
                            <a:pt x="15" y="153"/>
                          </a:lnTo>
                          <a:lnTo>
                            <a:pt x="12" y="148"/>
                          </a:lnTo>
                          <a:lnTo>
                            <a:pt x="10" y="139"/>
                          </a:lnTo>
                          <a:lnTo>
                            <a:pt x="1" y="124"/>
                          </a:lnTo>
                          <a:lnTo>
                            <a:pt x="2" y="122"/>
                          </a:lnTo>
                          <a:lnTo>
                            <a:pt x="7" y="120"/>
                          </a:lnTo>
                          <a:lnTo>
                            <a:pt x="8" y="97"/>
                          </a:lnTo>
                          <a:lnTo>
                            <a:pt x="6" y="69"/>
                          </a:lnTo>
                          <a:lnTo>
                            <a:pt x="0" y="59"/>
                          </a:lnTo>
                          <a:lnTo>
                            <a:pt x="0" y="56"/>
                          </a:lnTo>
                          <a:lnTo>
                            <a:pt x="2" y="52"/>
                          </a:lnTo>
                          <a:lnTo>
                            <a:pt x="9" y="50"/>
                          </a:lnTo>
                          <a:lnTo>
                            <a:pt x="14" y="45"/>
                          </a:lnTo>
                          <a:lnTo>
                            <a:pt x="13" y="34"/>
                          </a:lnTo>
                          <a:lnTo>
                            <a:pt x="14" y="29"/>
                          </a:lnTo>
                          <a:lnTo>
                            <a:pt x="31" y="15"/>
                          </a:lnTo>
                          <a:lnTo>
                            <a:pt x="32" y="13"/>
                          </a:lnTo>
                          <a:lnTo>
                            <a:pt x="32" y="0"/>
                          </a:lnTo>
                          <a:lnTo>
                            <a:pt x="46" y="7"/>
                          </a:lnTo>
                          <a:lnTo>
                            <a:pt x="57" y="5"/>
                          </a:lnTo>
                          <a:lnTo>
                            <a:pt x="67" y="8"/>
                          </a:lnTo>
                          <a:lnTo>
                            <a:pt x="88" y="16"/>
                          </a:lnTo>
                          <a:lnTo>
                            <a:pt x="90" y="18"/>
                          </a:lnTo>
                          <a:lnTo>
                            <a:pt x="91" y="25"/>
                          </a:lnTo>
                          <a:lnTo>
                            <a:pt x="97" y="34"/>
                          </a:lnTo>
                          <a:lnTo>
                            <a:pt x="101" y="36"/>
                          </a:lnTo>
                          <a:lnTo>
                            <a:pt x="126" y="41"/>
                          </a:lnTo>
                          <a:lnTo>
                            <a:pt x="134" y="45"/>
                          </a:lnTo>
                          <a:lnTo>
                            <a:pt x="140" y="52"/>
                          </a:lnTo>
                          <a:lnTo>
                            <a:pt x="145" y="53"/>
                          </a:lnTo>
                          <a:lnTo>
                            <a:pt x="153" y="51"/>
                          </a:lnTo>
                          <a:lnTo>
                            <a:pt x="159" y="46"/>
                          </a:lnTo>
                          <a:lnTo>
                            <a:pt x="163" y="39"/>
                          </a:lnTo>
                          <a:lnTo>
                            <a:pt x="159" y="29"/>
                          </a:lnTo>
                          <a:lnTo>
                            <a:pt x="160" y="21"/>
                          </a:lnTo>
                          <a:lnTo>
                            <a:pt x="176" y="8"/>
                          </a:lnTo>
                          <a:lnTo>
                            <a:pt x="191" y="5"/>
                          </a:lnTo>
                          <a:lnTo>
                            <a:pt x="203" y="10"/>
                          </a:lnTo>
                          <a:lnTo>
                            <a:pt x="207" y="12"/>
                          </a:lnTo>
                          <a:lnTo>
                            <a:pt x="206" y="16"/>
                          </a:lnTo>
                          <a:lnTo>
                            <a:pt x="208" y="19"/>
                          </a:lnTo>
                          <a:lnTo>
                            <a:pt x="217" y="20"/>
                          </a:lnTo>
                          <a:lnTo>
                            <a:pt x="234" y="24"/>
                          </a:lnTo>
                          <a:lnTo>
                            <a:pt x="238" y="29"/>
                          </a:lnTo>
                          <a:lnTo>
                            <a:pt x="236" y="29"/>
                          </a:lnTo>
                          <a:lnTo>
                            <a:pt x="233" y="35"/>
                          </a:lnTo>
                          <a:lnTo>
                            <a:pt x="234" y="52"/>
                          </a:lnTo>
                          <a:lnTo>
                            <a:pt x="230" y="57"/>
                          </a:lnTo>
                          <a:lnTo>
                            <a:pt x="232" y="63"/>
                          </a:lnTo>
                          <a:lnTo>
                            <a:pt x="234" y="67"/>
                          </a:lnTo>
                          <a:lnTo>
                            <a:pt x="233" y="70"/>
                          </a:lnTo>
                          <a:lnTo>
                            <a:pt x="238" y="75"/>
                          </a:lnTo>
                          <a:lnTo>
                            <a:pt x="238" y="90"/>
                          </a:lnTo>
                          <a:lnTo>
                            <a:pt x="238" y="106"/>
                          </a:lnTo>
                          <a:lnTo>
                            <a:pt x="238" y="121"/>
                          </a:lnTo>
                          <a:lnTo>
                            <a:pt x="238" y="135"/>
                          </a:lnTo>
                          <a:lnTo>
                            <a:pt x="238" y="151"/>
                          </a:lnTo>
                          <a:lnTo>
                            <a:pt x="238" y="166"/>
                          </a:lnTo>
                          <a:lnTo>
                            <a:pt x="238" y="181"/>
                          </a:lnTo>
                          <a:lnTo>
                            <a:pt x="238" y="196"/>
                          </a:lnTo>
                          <a:lnTo>
                            <a:pt x="238" y="210"/>
                          </a:lnTo>
                          <a:lnTo>
                            <a:pt x="238" y="228"/>
                          </a:lnTo>
                          <a:lnTo>
                            <a:pt x="223" y="228"/>
                          </a:lnTo>
                          <a:lnTo>
                            <a:pt x="223" y="236"/>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62" name="Freeform 434"/>
                    <p:cNvSpPr>
                      <a:spLocks/>
                    </p:cNvSpPr>
                    <p:nvPr/>
                  </p:nvSpPr>
                  <p:spPr bwMode="gray">
                    <a:xfrm>
                      <a:off x="4187433" y="2128830"/>
                      <a:ext cx="742238" cy="1187582"/>
                    </a:xfrm>
                    <a:custGeom>
                      <a:avLst/>
                      <a:gdLst/>
                      <a:ahLst/>
                      <a:cxnLst>
                        <a:cxn ang="0">
                          <a:pos x="160" y="80"/>
                        </a:cxn>
                        <a:cxn ang="0">
                          <a:pos x="160" y="110"/>
                        </a:cxn>
                        <a:cxn ang="0">
                          <a:pos x="144" y="127"/>
                        </a:cxn>
                        <a:cxn ang="0">
                          <a:pos x="134" y="145"/>
                        </a:cxn>
                        <a:cxn ang="0">
                          <a:pos x="131" y="155"/>
                        </a:cxn>
                        <a:cxn ang="0">
                          <a:pos x="128" y="168"/>
                        </a:cxn>
                        <a:cxn ang="0">
                          <a:pos x="134" y="172"/>
                        </a:cxn>
                        <a:cxn ang="0">
                          <a:pos x="143" y="197"/>
                        </a:cxn>
                        <a:cxn ang="0">
                          <a:pos x="140" y="199"/>
                        </a:cxn>
                        <a:cxn ang="0">
                          <a:pos x="126" y="207"/>
                        </a:cxn>
                        <a:cxn ang="0">
                          <a:pos x="115" y="220"/>
                        </a:cxn>
                        <a:cxn ang="0">
                          <a:pos x="108" y="226"/>
                        </a:cxn>
                        <a:cxn ang="0">
                          <a:pos x="84" y="232"/>
                        </a:cxn>
                        <a:cxn ang="0">
                          <a:pos x="85" y="238"/>
                        </a:cxn>
                        <a:cxn ang="0">
                          <a:pos x="66" y="247"/>
                        </a:cxn>
                        <a:cxn ang="0">
                          <a:pos x="47" y="250"/>
                        </a:cxn>
                        <a:cxn ang="0">
                          <a:pos x="39" y="256"/>
                        </a:cxn>
                        <a:cxn ang="0">
                          <a:pos x="23" y="237"/>
                        </a:cxn>
                        <a:cxn ang="0">
                          <a:pos x="14" y="230"/>
                        </a:cxn>
                        <a:cxn ang="0">
                          <a:pos x="10" y="219"/>
                        </a:cxn>
                        <a:cxn ang="0">
                          <a:pos x="27" y="218"/>
                        </a:cxn>
                        <a:cxn ang="0">
                          <a:pos x="28" y="211"/>
                        </a:cxn>
                        <a:cxn ang="0">
                          <a:pos x="22" y="186"/>
                        </a:cxn>
                        <a:cxn ang="0">
                          <a:pos x="15" y="170"/>
                        </a:cxn>
                        <a:cxn ang="0">
                          <a:pos x="10" y="166"/>
                        </a:cxn>
                        <a:cxn ang="0">
                          <a:pos x="0" y="146"/>
                        </a:cxn>
                        <a:cxn ang="0">
                          <a:pos x="3" y="143"/>
                        </a:cxn>
                        <a:cxn ang="0">
                          <a:pos x="29" y="106"/>
                        </a:cxn>
                        <a:cxn ang="0">
                          <a:pos x="35" y="56"/>
                        </a:cxn>
                        <a:cxn ang="0">
                          <a:pos x="29" y="42"/>
                        </a:cxn>
                        <a:cxn ang="0">
                          <a:pos x="25" y="5"/>
                        </a:cxn>
                        <a:cxn ang="0">
                          <a:pos x="54" y="9"/>
                        </a:cxn>
                        <a:cxn ang="0">
                          <a:pos x="85" y="25"/>
                        </a:cxn>
                        <a:cxn ang="0">
                          <a:pos x="115" y="41"/>
                        </a:cxn>
                        <a:cxn ang="0">
                          <a:pos x="145" y="57"/>
                        </a:cxn>
                      </a:cxnLst>
                      <a:rect l="0" t="0" r="r" b="b"/>
                      <a:pathLst>
                        <a:path w="160" h="256">
                          <a:moveTo>
                            <a:pt x="160" y="64"/>
                          </a:moveTo>
                          <a:lnTo>
                            <a:pt x="160" y="80"/>
                          </a:lnTo>
                          <a:lnTo>
                            <a:pt x="160" y="95"/>
                          </a:lnTo>
                          <a:lnTo>
                            <a:pt x="160" y="110"/>
                          </a:lnTo>
                          <a:lnTo>
                            <a:pt x="160" y="124"/>
                          </a:lnTo>
                          <a:lnTo>
                            <a:pt x="144" y="127"/>
                          </a:lnTo>
                          <a:lnTo>
                            <a:pt x="141" y="135"/>
                          </a:lnTo>
                          <a:lnTo>
                            <a:pt x="134" y="145"/>
                          </a:lnTo>
                          <a:lnTo>
                            <a:pt x="134" y="153"/>
                          </a:lnTo>
                          <a:lnTo>
                            <a:pt x="131" y="155"/>
                          </a:lnTo>
                          <a:lnTo>
                            <a:pt x="131" y="162"/>
                          </a:lnTo>
                          <a:lnTo>
                            <a:pt x="128" y="168"/>
                          </a:lnTo>
                          <a:lnTo>
                            <a:pt x="128" y="173"/>
                          </a:lnTo>
                          <a:lnTo>
                            <a:pt x="134" y="172"/>
                          </a:lnTo>
                          <a:lnTo>
                            <a:pt x="135" y="181"/>
                          </a:lnTo>
                          <a:lnTo>
                            <a:pt x="143" y="197"/>
                          </a:lnTo>
                          <a:lnTo>
                            <a:pt x="143" y="198"/>
                          </a:lnTo>
                          <a:lnTo>
                            <a:pt x="140" y="199"/>
                          </a:lnTo>
                          <a:lnTo>
                            <a:pt x="128" y="202"/>
                          </a:lnTo>
                          <a:lnTo>
                            <a:pt x="126" y="207"/>
                          </a:lnTo>
                          <a:lnTo>
                            <a:pt x="126" y="211"/>
                          </a:lnTo>
                          <a:lnTo>
                            <a:pt x="115" y="220"/>
                          </a:lnTo>
                          <a:lnTo>
                            <a:pt x="114" y="224"/>
                          </a:lnTo>
                          <a:lnTo>
                            <a:pt x="108" y="226"/>
                          </a:lnTo>
                          <a:lnTo>
                            <a:pt x="107" y="229"/>
                          </a:lnTo>
                          <a:lnTo>
                            <a:pt x="84" y="232"/>
                          </a:lnTo>
                          <a:lnTo>
                            <a:pt x="83" y="235"/>
                          </a:lnTo>
                          <a:lnTo>
                            <a:pt x="85" y="238"/>
                          </a:lnTo>
                          <a:lnTo>
                            <a:pt x="79" y="246"/>
                          </a:lnTo>
                          <a:lnTo>
                            <a:pt x="66" y="247"/>
                          </a:lnTo>
                          <a:lnTo>
                            <a:pt x="52" y="254"/>
                          </a:lnTo>
                          <a:lnTo>
                            <a:pt x="47" y="250"/>
                          </a:lnTo>
                          <a:lnTo>
                            <a:pt x="45" y="252"/>
                          </a:lnTo>
                          <a:lnTo>
                            <a:pt x="39" y="256"/>
                          </a:lnTo>
                          <a:lnTo>
                            <a:pt x="29" y="256"/>
                          </a:lnTo>
                          <a:lnTo>
                            <a:pt x="23" y="237"/>
                          </a:lnTo>
                          <a:lnTo>
                            <a:pt x="21" y="234"/>
                          </a:lnTo>
                          <a:lnTo>
                            <a:pt x="14" y="230"/>
                          </a:lnTo>
                          <a:lnTo>
                            <a:pt x="10" y="222"/>
                          </a:lnTo>
                          <a:lnTo>
                            <a:pt x="10" y="219"/>
                          </a:lnTo>
                          <a:lnTo>
                            <a:pt x="13" y="216"/>
                          </a:lnTo>
                          <a:lnTo>
                            <a:pt x="27" y="218"/>
                          </a:lnTo>
                          <a:lnTo>
                            <a:pt x="28" y="215"/>
                          </a:lnTo>
                          <a:lnTo>
                            <a:pt x="28" y="211"/>
                          </a:lnTo>
                          <a:lnTo>
                            <a:pt x="21" y="200"/>
                          </a:lnTo>
                          <a:lnTo>
                            <a:pt x="22" y="186"/>
                          </a:lnTo>
                          <a:lnTo>
                            <a:pt x="18" y="172"/>
                          </a:lnTo>
                          <a:lnTo>
                            <a:pt x="15" y="170"/>
                          </a:lnTo>
                          <a:lnTo>
                            <a:pt x="14" y="166"/>
                          </a:lnTo>
                          <a:lnTo>
                            <a:pt x="10" y="166"/>
                          </a:lnTo>
                          <a:lnTo>
                            <a:pt x="2" y="155"/>
                          </a:lnTo>
                          <a:lnTo>
                            <a:pt x="0" y="146"/>
                          </a:lnTo>
                          <a:lnTo>
                            <a:pt x="0" y="144"/>
                          </a:lnTo>
                          <a:lnTo>
                            <a:pt x="3" y="143"/>
                          </a:lnTo>
                          <a:lnTo>
                            <a:pt x="4" y="135"/>
                          </a:lnTo>
                          <a:lnTo>
                            <a:pt x="29" y="106"/>
                          </a:lnTo>
                          <a:lnTo>
                            <a:pt x="31" y="79"/>
                          </a:lnTo>
                          <a:lnTo>
                            <a:pt x="35" y="56"/>
                          </a:lnTo>
                          <a:lnTo>
                            <a:pt x="39" y="49"/>
                          </a:lnTo>
                          <a:lnTo>
                            <a:pt x="29" y="42"/>
                          </a:lnTo>
                          <a:lnTo>
                            <a:pt x="25" y="32"/>
                          </a:lnTo>
                          <a:lnTo>
                            <a:pt x="25" y="5"/>
                          </a:lnTo>
                          <a:lnTo>
                            <a:pt x="40" y="0"/>
                          </a:lnTo>
                          <a:lnTo>
                            <a:pt x="54" y="9"/>
                          </a:lnTo>
                          <a:lnTo>
                            <a:pt x="70" y="16"/>
                          </a:lnTo>
                          <a:lnTo>
                            <a:pt x="85" y="25"/>
                          </a:lnTo>
                          <a:lnTo>
                            <a:pt x="100" y="32"/>
                          </a:lnTo>
                          <a:lnTo>
                            <a:pt x="115" y="41"/>
                          </a:lnTo>
                          <a:lnTo>
                            <a:pt x="131" y="48"/>
                          </a:lnTo>
                          <a:lnTo>
                            <a:pt x="145" y="57"/>
                          </a:lnTo>
                          <a:lnTo>
                            <a:pt x="160" y="64"/>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63" name="Freeform 435"/>
                    <p:cNvSpPr>
                      <a:spLocks/>
                    </p:cNvSpPr>
                    <p:nvPr/>
                  </p:nvSpPr>
                  <p:spPr bwMode="gray">
                    <a:xfrm>
                      <a:off x="2355034" y="1094332"/>
                      <a:ext cx="830381" cy="695849"/>
                    </a:xfrm>
                    <a:custGeom>
                      <a:avLst/>
                      <a:gdLst/>
                      <a:ahLst/>
                      <a:cxnLst>
                        <a:cxn ang="0">
                          <a:pos x="65" y="148"/>
                        </a:cxn>
                        <a:cxn ang="0">
                          <a:pos x="48" y="148"/>
                        </a:cxn>
                        <a:cxn ang="0">
                          <a:pos x="33" y="148"/>
                        </a:cxn>
                        <a:cxn ang="0">
                          <a:pos x="16" y="148"/>
                        </a:cxn>
                        <a:cxn ang="0">
                          <a:pos x="0" y="150"/>
                        </a:cxn>
                        <a:cxn ang="0">
                          <a:pos x="1" y="146"/>
                        </a:cxn>
                        <a:cxn ang="0">
                          <a:pos x="20" y="140"/>
                        </a:cxn>
                        <a:cxn ang="0">
                          <a:pos x="27" y="134"/>
                        </a:cxn>
                        <a:cxn ang="0">
                          <a:pos x="40" y="124"/>
                        </a:cxn>
                        <a:cxn ang="0">
                          <a:pos x="45" y="117"/>
                        </a:cxn>
                        <a:cxn ang="0">
                          <a:pos x="50" y="108"/>
                        </a:cxn>
                        <a:cxn ang="0">
                          <a:pos x="50" y="102"/>
                        </a:cxn>
                        <a:cxn ang="0">
                          <a:pos x="46" y="97"/>
                        </a:cxn>
                        <a:cxn ang="0">
                          <a:pos x="48" y="85"/>
                        </a:cxn>
                        <a:cxn ang="0">
                          <a:pos x="53" y="75"/>
                        </a:cxn>
                        <a:cxn ang="0">
                          <a:pos x="57" y="72"/>
                        </a:cxn>
                        <a:cxn ang="0">
                          <a:pos x="58" y="64"/>
                        </a:cxn>
                        <a:cxn ang="0">
                          <a:pos x="69" y="50"/>
                        </a:cxn>
                        <a:cxn ang="0">
                          <a:pos x="85" y="42"/>
                        </a:cxn>
                        <a:cxn ang="0">
                          <a:pos x="95" y="34"/>
                        </a:cxn>
                        <a:cxn ang="0">
                          <a:pos x="100" y="26"/>
                        </a:cxn>
                        <a:cxn ang="0">
                          <a:pos x="107" y="4"/>
                        </a:cxn>
                        <a:cxn ang="0">
                          <a:pos x="114" y="0"/>
                        </a:cxn>
                        <a:cxn ang="0">
                          <a:pos x="121" y="10"/>
                        </a:cxn>
                        <a:cxn ang="0">
                          <a:pos x="129" y="15"/>
                        </a:cxn>
                        <a:cxn ang="0">
                          <a:pos x="150" y="12"/>
                        </a:cxn>
                        <a:cxn ang="0">
                          <a:pos x="157" y="16"/>
                        </a:cxn>
                        <a:cxn ang="0">
                          <a:pos x="159" y="16"/>
                        </a:cxn>
                        <a:cxn ang="0">
                          <a:pos x="165" y="16"/>
                        </a:cxn>
                        <a:cxn ang="0">
                          <a:pos x="164" y="17"/>
                        </a:cxn>
                        <a:cxn ang="0">
                          <a:pos x="164" y="18"/>
                        </a:cxn>
                        <a:cxn ang="0">
                          <a:pos x="167" y="22"/>
                        </a:cxn>
                        <a:cxn ang="0">
                          <a:pos x="167" y="23"/>
                        </a:cxn>
                        <a:cxn ang="0">
                          <a:pos x="169" y="26"/>
                        </a:cxn>
                        <a:cxn ang="0">
                          <a:pos x="167" y="28"/>
                        </a:cxn>
                        <a:cxn ang="0">
                          <a:pos x="170" y="33"/>
                        </a:cxn>
                        <a:cxn ang="0">
                          <a:pos x="169" y="40"/>
                        </a:cxn>
                        <a:cxn ang="0">
                          <a:pos x="171" y="43"/>
                        </a:cxn>
                        <a:cxn ang="0">
                          <a:pos x="170" y="48"/>
                        </a:cxn>
                        <a:cxn ang="0">
                          <a:pos x="171" y="54"/>
                        </a:cxn>
                        <a:cxn ang="0">
                          <a:pos x="173" y="59"/>
                        </a:cxn>
                        <a:cxn ang="0">
                          <a:pos x="179" y="63"/>
                        </a:cxn>
                        <a:cxn ang="0">
                          <a:pos x="176" y="66"/>
                        </a:cxn>
                        <a:cxn ang="0">
                          <a:pos x="177" y="70"/>
                        </a:cxn>
                        <a:cxn ang="0">
                          <a:pos x="151" y="70"/>
                        </a:cxn>
                        <a:cxn ang="0">
                          <a:pos x="150" y="75"/>
                        </a:cxn>
                        <a:cxn ang="0">
                          <a:pos x="138" y="78"/>
                        </a:cxn>
                        <a:cxn ang="0">
                          <a:pos x="136" y="82"/>
                        </a:cxn>
                        <a:cxn ang="0">
                          <a:pos x="139" y="83"/>
                        </a:cxn>
                        <a:cxn ang="0">
                          <a:pos x="136" y="87"/>
                        </a:cxn>
                        <a:cxn ang="0">
                          <a:pos x="140" y="90"/>
                        </a:cxn>
                        <a:cxn ang="0">
                          <a:pos x="140" y="91"/>
                        </a:cxn>
                        <a:cxn ang="0">
                          <a:pos x="122" y="98"/>
                        </a:cxn>
                        <a:cxn ang="0">
                          <a:pos x="116" y="107"/>
                        </a:cxn>
                        <a:cxn ang="0">
                          <a:pos x="110" y="109"/>
                        </a:cxn>
                        <a:cxn ang="0">
                          <a:pos x="96" y="112"/>
                        </a:cxn>
                        <a:cxn ang="0">
                          <a:pos x="96" y="115"/>
                        </a:cxn>
                        <a:cxn ang="0">
                          <a:pos x="88" y="114"/>
                        </a:cxn>
                        <a:cxn ang="0">
                          <a:pos x="82" y="120"/>
                        </a:cxn>
                        <a:cxn ang="0">
                          <a:pos x="78" y="120"/>
                        </a:cxn>
                        <a:cxn ang="0">
                          <a:pos x="72" y="124"/>
                        </a:cxn>
                        <a:cxn ang="0">
                          <a:pos x="65" y="130"/>
                        </a:cxn>
                        <a:cxn ang="0">
                          <a:pos x="65" y="148"/>
                        </a:cxn>
                      </a:cxnLst>
                      <a:rect l="0" t="0" r="r" b="b"/>
                      <a:pathLst>
                        <a:path w="179" h="150">
                          <a:moveTo>
                            <a:pt x="65" y="148"/>
                          </a:moveTo>
                          <a:lnTo>
                            <a:pt x="48" y="148"/>
                          </a:lnTo>
                          <a:lnTo>
                            <a:pt x="33" y="148"/>
                          </a:lnTo>
                          <a:lnTo>
                            <a:pt x="16" y="148"/>
                          </a:lnTo>
                          <a:lnTo>
                            <a:pt x="0" y="150"/>
                          </a:lnTo>
                          <a:lnTo>
                            <a:pt x="1" y="146"/>
                          </a:lnTo>
                          <a:lnTo>
                            <a:pt x="20" y="140"/>
                          </a:lnTo>
                          <a:lnTo>
                            <a:pt x="27" y="134"/>
                          </a:lnTo>
                          <a:lnTo>
                            <a:pt x="40" y="124"/>
                          </a:lnTo>
                          <a:lnTo>
                            <a:pt x="45" y="117"/>
                          </a:lnTo>
                          <a:lnTo>
                            <a:pt x="50" y="108"/>
                          </a:lnTo>
                          <a:lnTo>
                            <a:pt x="50" y="102"/>
                          </a:lnTo>
                          <a:lnTo>
                            <a:pt x="46" y="97"/>
                          </a:lnTo>
                          <a:lnTo>
                            <a:pt x="48" y="85"/>
                          </a:lnTo>
                          <a:lnTo>
                            <a:pt x="53" y="75"/>
                          </a:lnTo>
                          <a:lnTo>
                            <a:pt x="57" y="72"/>
                          </a:lnTo>
                          <a:lnTo>
                            <a:pt x="58" y="64"/>
                          </a:lnTo>
                          <a:lnTo>
                            <a:pt x="69" y="50"/>
                          </a:lnTo>
                          <a:lnTo>
                            <a:pt x="85" y="42"/>
                          </a:lnTo>
                          <a:lnTo>
                            <a:pt x="95" y="34"/>
                          </a:lnTo>
                          <a:lnTo>
                            <a:pt x="100" y="26"/>
                          </a:lnTo>
                          <a:lnTo>
                            <a:pt x="107" y="4"/>
                          </a:lnTo>
                          <a:lnTo>
                            <a:pt x="114" y="0"/>
                          </a:lnTo>
                          <a:lnTo>
                            <a:pt x="121" y="10"/>
                          </a:lnTo>
                          <a:lnTo>
                            <a:pt x="129" y="15"/>
                          </a:lnTo>
                          <a:lnTo>
                            <a:pt x="150" y="12"/>
                          </a:lnTo>
                          <a:lnTo>
                            <a:pt x="157" y="16"/>
                          </a:lnTo>
                          <a:lnTo>
                            <a:pt x="159" y="16"/>
                          </a:lnTo>
                          <a:lnTo>
                            <a:pt x="165" y="16"/>
                          </a:lnTo>
                          <a:lnTo>
                            <a:pt x="164" y="17"/>
                          </a:lnTo>
                          <a:lnTo>
                            <a:pt x="164" y="18"/>
                          </a:lnTo>
                          <a:lnTo>
                            <a:pt x="167" y="22"/>
                          </a:lnTo>
                          <a:lnTo>
                            <a:pt x="167" y="23"/>
                          </a:lnTo>
                          <a:lnTo>
                            <a:pt x="169" y="26"/>
                          </a:lnTo>
                          <a:lnTo>
                            <a:pt x="167" y="28"/>
                          </a:lnTo>
                          <a:lnTo>
                            <a:pt x="170" y="33"/>
                          </a:lnTo>
                          <a:lnTo>
                            <a:pt x="169" y="40"/>
                          </a:lnTo>
                          <a:lnTo>
                            <a:pt x="171" y="43"/>
                          </a:lnTo>
                          <a:lnTo>
                            <a:pt x="170" y="48"/>
                          </a:lnTo>
                          <a:lnTo>
                            <a:pt x="171" y="54"/>
                          </a:lnTo>
                          <a:lnTo>
                            <a:pt x="173" y="59"/>
                          </a:lnTo>
                          <a:lnTo>
                            <a:pt x="179" y="63"/>
                          </a:lnTo>
                          <a:lnTo>
                            <a:pt x="176" y="66"/>
                          </a:lnTo>
                          <a:lnTo>
                            <a:pt x="177" y="70"/>
                          </a:lnTo>
                          <a:lnTo>
                            <a:pt x="151" y="70"/>
                          </a:lnTo>
                          <a:lnTo>
                            <a:pt x="150" y="75"/>
                          </a:lnTo>
                          <a:lnTo>
                            <a:pt x="138" y="78"/>
                          </a:lnTo>
                          <a:lnTo>
                            <a:pt x="136" y="82"/>
                          </a:lnTo>
                          <a:lnTo>
                            <a:pt x="139" y="83"/>
                          </a:lnTo>
                          <a:lnTo>
                            <a:pt x="136" y="87"/>
                          </a:lnTo>
                          <a:lnTo>
                            <a:pt x="140" y="90"/>
                          </a:lnTo>
                          <a:lnTo>
                            <a:pt x="140" y="91"/>
                          </a:lnTo>
                          <a:lnTo>
                            <a:pt x="122" y="98"/>
                          </a:lnTo>
                          <a:lnTo>
                            <a:pt x="116" y="107"/>
                          </a:lnTo>
                          <a:lnTo>
                            <a:pt x="110" y="109"/>
                          </a:lnTo>
                          <a:lnTo>
                            <a:pt x="96" y="112"/>
                          </a:lnTo>
                          <a:lnTo>
                            <a:pt x="96" y="115"/>
                          </a:lnTo>
                          <a:lnTo>
                            <a:pt x="88" y="114"/>
                          </a:lnTo>
                          <a:lnTo>
                            <a:pt x="82" y="120"/>
                          </a:lnTo>
                          <a:lnTo>
                            <a:pt x="78" y="120"/>
                          </a:lnTo>
                          <a:lnTo>
                            <a:pt x="72" y="124"/>
                          </a:lnTo>
                          <a:lnTo>
                            <a:pt x="65" y="130"/>
                          </a:lnTo>
                          <a:lnTo>
                            <a:pt x="65" y="148"/>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64" name="Freeform 436"/>
                    <p:cNvSpPr>
                      <a:spLocks/>
                    </p:cNvSpPr>
                    <p:nvPr/>
                  </p:nvSpPr>
                  <p:spPr bwMode="gray">
                    <a:xfrm>
                      <a:off x="2076693" y="1822656"/>
                      <a:ext cx="839659" cy="955632"/>
                    </a:xfrm>
                    <a:custGeom>
                      <a:avLst/>
                      <a:gdLst/>
                      <a:ahLst/>
                      <a:cxnLst>
                        <a:cxn ang="0">
                          <a:pos x="119" y="194"/>
                        </a:cxn>
                        <a:cxn ang="0">
                          <a:pos x="154" y="195"/>
                        </a:cxn>
                        <a:cxn ang="0">
                          <a:pos x="174" y="182"/>
                        </a:cxn>
                        <a:cxn ang="0">
                          <a:pos x="167" y="163"/>
                        </a:cxn>
                        <a:cxn ang="0">
                          <a:pos x="163" y="128"/>
                        </a:cxn>
                        <a:cxn ang="0">
                          <a:pos x="160" y="93"/>
                        </a:cxn>
                        <a:cxn ang="0">
                          <a:pos x="156" y="56"/>
                        </a:cxn>
                        <a:cxn ang="0">
                          <a:pos x="168" y="39"/>
                        </a:cxn>
                        <a:cxn ang="0">
                          <a:pos x="167" y="29"/>
                        </a:cxn>
                        <a:cxn ang="0">
                          <a:pos x="139" y="10"/>
                        </a:cxn>
                        <a:cxn ang="0">
                          <a:pos x="125" y="21"/>
                        </a:cxn>
                        <a:cxn ang="0">
                          <a:pos x="101" y="21"/>
                        </a:cxn>
                        <a:cxn ang="0">
                          <a:pos x="77" y="21"/>
                        </a:cxn>
                        <a:cxn ang="0">
                          <a:pos x="76" y="49"/>
                        </a:cxn>
                        <a:cxn ang="0">
                          <a:pos x="62" y="68"/>
                        </a:cxn>
                        <a:cxn ang="0">
                          <a:pos x="60" y="85"/>
                        </a:cxn>
                        <a:cxn ang="0">
                          <a:pos x="46" y="98"/>
                        </a:cxn>
                        <a:cxn ang="0">
                          <a:pos x="18" y="98"/>
                        </a:cxn>
                        <a:cxn ang="0">
                          <a:pos x="0" y="106"/>
                        </a:cxn>
                        <a:cxn ang="0">
                          <a:pos x="6" y="112"/>
                        </a:cxn>
                        <a:cxn ang="0">
                          <a:pos x="11" y="117"/>
                        </a:cxn>
                        <a:cxn ang="0">
                          <a:pos x="11" y="125"/>
                        </a:cxn>
                        <a:cxn ang="0">
                          <a:pos x="12" y="139"/>
                        </a:cxn>
                        <a:cxn ang="0">
                          <a:pos x="13" y="160"/>
                        </a:cxn>
                        <a:cxn ang="0">
                          <a:pos x="10" y="178"/>
                        </a:cxn>
                        <a:cxn ang="0">
                          <a:pos x="27" y="176"/>
                        </a:cxn>
                        <a:cxn ang="0">
                          <a:pos x="46" y="184"/>
                        </a:cxn>
                        <a:cxn ang="0">
                          <a:pos x="56" y="192"/>
                        </a:cxn>
                        <a:cxn ang="0">
                          <a:pos x="62" y="198"/>
                        </a:cxn>
                        <a:cxn ang="0">
                          <a:pos x="71" y="206"/>
                        </a:cxn>
                        <a:cxn ang="0">
                          <a:pos x="83" y="189"/>
                        </a:cxn>
                        <a:cxn ang="0">
                          <a:pos x="90" y="199"/>
                        </a:cxn>
                        <a:cxn ang="0">
                          <a:pos x="102" y="194"/>
                        </a:cxn>
                      </a:cxnLst>
                      <a:rect l="0" t="0" r="r" b="b"/>
                      <a:pathLst>
                        <a:path w="181" h="206">
                          <a:moveTo>
                            <a:pt x="102" y="194"/>
                          </a:moveTo>
                          <a:lnTo>
                            <a:pt x="119" y="194"/>
                          </a:lnTo>
                          <a:lnTo>
                            <a:pt x="137" y="195"/>
                          </a:lnTo>
                          <a:lnTo>
                            <a:pt x="154" y="195"/>
                          </a:lnTo>
                          <a:lnTo>
                            <a:pt x="171" y="195"/>
                          </a:lnTo>
                          <a:lnTo>
                            <a:pt x="174" y="182"/>
                          </a:lnTo>
                          <a:lnTo>
                            <a:pt x="168" y="180"/>
                          </a:lnTo>
                          <a:lnTo>
                            <a:pt x="167" y="163"/>
                          </a:lnTo>
                          <a:lnTo>
                            <a:pt x="164" y="145"/>
                          </a:lnTo>
                          <a:lnTo>
                            <a:pt x="163" y="128"/>
                          </a:lnTo>
                          <a:lnTo>
                            <a:pt x="161" y="111"/>
                          </a:lnTo>
                          <a:lnTo>
                            <a:pt x="160" y="93"/>
                          </a:lnTo>
                          <a:lnTo>
                            <a:pt x="158" y="75"/>
                          </a:lnTo>
                          <a:lnTo>
                            <a:pt x="156" y="56"/>
                          </a:lnTo>
                          <a:lnTo>
                            <a:pt x="155" y="39"/>
                          </a:lnTo>
                          <a:lnTo>
                            <a:pt x="168" y="39"/>
                          </a:lnTo>
                          <a:lnTo>
                            <a:pt x="181" y="39"/>
                          </a:lnTo>
                          <a:lnTo>
                            <a:pt x="167" y="29"/>
                          </a:lnTo>
                          <a:lnTo>
                            <a:pt x="154" y="20"/>
                          </a:lnTo>
                          <a:lnTo>
                            <a:pt x="139" y="10"/>
                          </a:lnTo>
                          <a:lnTo>
                            <a:pt x="125" y="0"/>
                          </a:lnTo>
                          <a:lnTo>
                            <a:pt x="125" y="21"/>
                          </a:lnTo>
                          <a:lnTo>
                            <a:pt x="113" y="21"/>
                          </a:lnTo>
                          <a:lnTo>
                            <a:pt x="101" y="21"/>
                          </a:lnTo>
                          <a:lnTo>
                            <a:pt x="89" y="21"/>
                          </a:lnTo>
                          <a:lnTo>
                            <a:pt x="77" y="21"/>
                          </a:lnTo>
                          <a:lnTo>
                            <a:pt x="77" y="33"/>
                          </a:lnTo>
                          <a:lnTo>
                            <a:pt x="76" y="49"/>
                          </a:lnTo>
                          <a:lnTo>
                            <a:pt x="76" y="64"/>
                          </a:lnTo>
                          <a:lnTo>
                            <a:pt x="62" y="68"/>
                          </a:lnTo>
                          <a:lnTo>
                            <a:pt x="58" y="74"/>
                          </a:lnTo>
                          <a:lnTo>
                            <a:pt x="60" y="85"/>
                          </a:lnTo>
                          <a:lnTo>
                            <a:pt x="61" y="98"/>
                          </a:lnTo>
                          <a:lnTo>
                            <a:pt x="46" y="98"/>
                          </a:lnTo>
                          <a:lnTo>
                            <a:pt x="32" y="98"/>
                          </a:lnTo>
                          <a:lnTo>
                            <a:pt x="18" y="98"/>
                          </a:lnTo>
                          <a:lnTo>
                            <a:pt x="4" y="99"/>
                          </a:lnTo>
                          <a:lnTo>
                            <a:pt x="0" y="106"/>
                          </a:lnTo>
                          <a:lnTo>
                            <a:pt x="2" y="104"/>
                          </a:lnTo>
                          <a:lnTo>
                            <a:pt x="6" y="112"/>
                          </a:lnTo>
                          <a:lnTo>
                            <a:pt x="8" y="112"/>
                          </a:lnTo>
                          <a:lnTo>
                            <a:pt x="11" y="117"/>
                          </a:lnTo>
                          <a:lnTo>
                            <a:pt x="12" y="123"/>
                          </a:lnTo>
                          <a:lnTo>
                            <a:pt x="11" y="125"/>
                          </a:lnTo>
                          <a:lnTo>
                            <a:pt x="7" y="131"/>
                          </a:lnTo>
                          <a:lnTo>
                            <a:pt x="12" y="139"/>
                          </a:lnTo>
                          <a:lnTo>
                            <a:pt x="13" y="146"/>
                          </a:lnTo>
                          <a:lnTo>
                            <a:pt x="13" y="160"/>
                          </a:lnTo>
                          <a:lnTo>
                            <a:pt x="6" y="185"/>
                          </a:lnTo>
                          <a:lnTo>
                            <a:pt x="10" y="178"/>
                          </a:lnTo>
                          <a:lnTo>
                            <a:pt x="18" y="179"/>
                          </a:lnTo>
                          <a:lnTo>
                            <a:pt x="27" y="176"/>
                          </a:lnTo>
                          <a:lnTo>
                            <a:pt x="38" y="176"/>
                          </a:lnTo>
                          <a:lnTo>
                            <a:pt x="46" y="184"/>
                          </a:lnTo>
                          <a:lnTo>
                            <a:pt x="52" y="184"/>
                          </a:lnTo>
                          <a:lnTo>
                            <a:pt x="56" y="192"/>
                          </a:lnTo>
                          <a:lnTo>
                            <a:pt x="60" y="194"/>
                          </a:lnTo>
                          <a:lnTo>
                            <a:pt x="62" y="198"/>
                          </a:lnTo>
                          <a:lnTo>
                            <a:pt x="61" y="199"/>
                          </a:lnTo>
                          <a:lnTo>
                            <a:pt x="71" y="206"/>
                          </a:lnTo>
                          <a:lnTo>
                            <a:pt x="77" y="200"/>
                          </a:lnTo>
                          <a:lnTo>
                            <a:pt x="83" y="189"/>
                          </a:lnTo>
                          <a:lnTo>
                            <a:pt x="87" y="190"/>
                          </a:lnTo>
                          <a:lnTo>
                            <a:pt x="90" y="199"/>
                          </a:lnTo>
                          <a:lnTo>
                            <a:pt x="95" y="200"/>
                          </a:lnTo>
                          <a:lnTo>
                            <a:pt x="102" y="194"/>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65" name="Freeform 437"/>
                    <p:cNvSpPr>
                      <a:spLocks/>
                    </p:cNvSpPr>
                    <p:nvPr/>
                  </p:nvSpPr>
                  <p:spPr bwMode="gray">
                    <a:xfrm>
                      <a:off x="2076693" y="1780903"/>
                      <a:ext cx="579876" cy="533486"/>
                    </a:xfrm>
                    <a:custGeom>
                      <a:avLst/>
                      <a:gdLst/>
                      <a:ahLst/>
                      <a:cxnLst>
                        <a:cxn ang="0">
                          <a:pos x="125" y="30"/>
                        </a:cxn>
                        <a:cxn ang="0">
                          <a:pos x="113" y="30"/>
                        </a:cxn>
                        <a:cxn ang="0">
                          <a:pos x="101" y="30"/>
                        </a:cxn>
                        <a:cxn ang="0">
                          <a:pos x="89" y="30"/>
                        </a:cxn>
                        <a:cxn ang="0">
                          <a:pos x="77" y="30"/>
                        </a:cxn>
                        <a:cxn ang="0">
                          <a:pos x="77" y="42"/>
                        </a:cxn>
                        <a:cxn ang="0">
                          <a:pos x="76" y="58"/>
                        </a:cxn>
                        <a:cxn ang="0">
                          <a:pos x="76" y="73"/>
                        </a:cxn>
                        <a:cxn ang="0">
                          <a:pos x="62" y="77"/>
                        </a:cxn>
                        <a:cxn ang="0">
                          <a:pos x="58" y="83"/>
                        </a:cxn>
                        <a:cxn ang="0">
                          <a:pos x="60" y="94"/>
                        </a:cxn>
                        <a:cxn ang="0">
                          <a:pos x="61" y="107"/>
                        </a:cxn>
                        <a:cxn ang="0">
                          <a:pos x="46" y="107"/>
                        </a:cxn>
                        <a:cxn ang="0">
                          <a:pos x="32" y="107"/>
                        </a:cxn>
                        <a:cxn ang="0">
                          <a:pos x="18" y="107"/>
                        </a:cxn>
                        <a:cxn ang="0">
                          <a:pos x="4" y="108"/>
                        </a:cxn>
                        <a:cxn ang="0">
                          <a:pos x="0" y="115"/>
                        </a:cxn>
                        <a:cxn ang="0">
                          <a:pos x="1" y="101"/>
                        </a:cxn>
                        <a:cxn ang="0">
                          <a:pos x="4" y="94"/>
                        </a:cxn>
                        <a:cxn ang="0">
                          <a:pos x="7" y="93"/>
                        </a:cxn>
                        <a:cxn ang="0">
                          <a:pos x="13" y="81"/>
                        </a:cxn>
                        <a:cxn ang="0">
                          <a:pos x="12" y="79"/>
                        </a:cxn>
                        <a:cxn ang="0">
                          <a:pos x="19" y="65"/>
                        </a:cxn>
                        <a:cxn ang="0">
                          <a:pos x="32" y="47"/>
                        </a:cxn>
                        <a:cxn ang="0">
                          <a:pos x="37" y="29"/>
                        </a:cxn>
                        <a:cxn ang="0">
                          <a:pos x="42" y="24"/>
                        </a:cxn>
                        <a:cxn ang="0">
                          <a:pos x="52" y="16"/>
                        </a:cxn>
                        <a:cxn ang="0">
                          <a:pos x="55" y="10"/>
                        </a:cxn>
                        <a:cxn ang="0">
                          <a:pos x="60" y="2"/>
                        </a:cxn>
                        <a:cxn ang="0">
                          <a:pos x="76" y="0"/>
                        </a:cxn>
                        <a:cxn ang="0">
                          <a:pos x="93" y="0"/>
                        </a:cxn>
                        <a:cxn ang="0">
                          <a:pos x="108" y="0"/>
                        </a:cxn>
                        <a:cxn ang="0">
                          <a:pos x="125" y="0"/>
                        </a:cxn>
                        <a:cxn ang="0">
                          <a:pos x="125" y="9"/>
                        </a:cxn>
                        <a:cxn ang="0">
                          <a:pos x="125" y="30"/>
                        </a:cxn>
                      </a:cxnLst>
                      <a:rect l="0" t="0" r="r" b="b"/>
                      <a:pathLst>
                        <a:path w="125" h="115">
                          <a:moveTo>
                            <a:pt x="125" y="30"/>
                          </a:moveTo>
                          <a:lnTo>
                            <a:pt x="113" y="30"/>
                          </a:lnTo>
                          <a:lnTo>
                            <a:pt x="101" y="30"/>
                          </a:lnTo>
                          <a:lnTo>
                            <a:pt x="89" y="30"/>
                          </a:lnTo>
                          <a:lnTo>
                            <a:pt x="77" y="30"/>
                          </a:lnTo>
                          <a:lnTo>
                            <a:pt x="77" y="42"/>
                          </a:lnTo>
                          <a:lnTo>
                            <a:pt x="76" y="58"/>
                          </a:lnTo>
                          <a:lnTo>
                            <a:pt x="76" y="73"/>
                          </a:lnTo>
                          <a:lnTo>
                            <a:pt x="62" y="77"/>
                          </a:lnTo>
                          <a:lnTo>
                            <a:pt x="58" y="83"/>
                          </a:lnTo>
                          <a:lnTo>
                            <a:pt x="60" y="94"/>
                          </a:lnTo>
                          <a:lnTo>
                            <a:pt x="61" y="107"/>
                          </a:lnTo>
                          <a:lnTo>
                            <a:pt x="46" y="107"/>
                          </a:lnTo>
                          <a:lnTo>
                            <a:pt x="32" y="107"/>
                          </a:lnTo>
                          <a:lnTo>
                            <a:pt x="18" y="107"/>
                          </a:lnTo>
                          <a:lnTo>
                            <a:pt x="4" y="108"/>
                          </a:lnTo>
                          <a:lnTo>
                            <a:pt x="0" y="115"/>
                          </a:lnTo>
                          <a:lnTo>
                            <a:pt x="1" y="101"/>
                          </a:lnTo>
                          <a:lnTo>
                            <a:pt x="4" y="94"/>
                          </a:lnTo>
                          <a:lnTo>
                            <a:pt x="7" y="93"/>
                          </a:lnTo>
                          <a:lnTo>
                            <a:pt x="13" y="81"/>
                          </a:lnTo>
                          <a:lnTo>
                            <a:pt x="12" y="79"/>
                          </a:lnTo>
                          <a:lnTo>
                            <a:pt x="19" y="65"/>
                          </a:lnTo>
                          <a:lnTo>
                            <a:pt x="32" y="47"/>
                          </a:lnTo>
                          <a:lnTo>
                            <a:pt x="37" y="29"/>
                          </a:lnTo>
                          <a:lnTo>
                            <a:pt x="42" y="24"/>
                          </a:lnTo>
                          <a:lnTo>
                            <a:pt x="52" y="16"/>
                          </a:lnTo>
                          <a:lnTo>
                            <a:pt x="55" y="10"/>
                          </a:lnTo>
                          <a:lnTo>
                            <a:pt x="60" y="2"/>
                          </a:lnTo>
                          <a:lnTo>
                            <a:pt x="76" y="0"/>
                          </a:lnTo>
                          <a:lnTo>
                            <a:pt x="93" y="0"/>
                          </a:lnTo>
                          <a:lnTo>
                            <a:pt x="108" y="0"/>
                          </a:lnTo>
                          <a:lnTo>
                            <a:pt x="125" y="0"/>
                          </a:lnTo>
                          <a:lnTo>
                            <a:pt x="125" y="9"/>
                          </a:lnTo>
                          <a:lnTo>
                            <a:pt x="125" y="30"/>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66" name="Freeform 438"/>
                    <p:cNvSpPr>
                      <a:spLocks/>
                    </p:cNvSpPr>
                    <p:nvPr/>
                  </p:nvSpPr>
                  <p:spPr bwMode="gray">
                    <a:xfrm>
                      <a:off x="2406061" y="2003575"/>
                      <a:ext cx="1141192" cy="1113359"/>
                    </a:xfrm>
                    <a:custGeom>
                      <a:avLst/>
                      <a:gdLst/>
                      <a:ahLst/>
                      <a:cxnLst>
                        <a:cxn ang="0">
                          <a:pos x="48" y="155"/>
                        </a:cxn>
                        <a:cxn ang="0">
                          <a:pos x="83" y="156"/>
                        </a:cxn>
                        <a:cxn ang="0">
                          <a:pos x="103" y="143"/>
                        </a:cxn>
                        <a:cxn ang="0">
                          <a:pos x="96" y="124"/>
                        </a:cxn>
                        <a:cxn ang="0">
                          <a:pos x="92" y="89"/>
                        </a:cxn>
                        <a:cxn ang="0">
                          <a:pos x="89" y="54"/>
                        </a:cxn>
                        <a:cxn ang="0">
                          <a:pos x="85" y="17"/>
                        </a:cxn>
                        <a:cxn ang="0">
                          <a:pos x="96" y="0"/>
                        </a:cxn>
                        <a:cxn ang="0">
                          <a:pos x="121" y="8"/>
                        </a:cxn>
                        <a:cxn ang="0">
                          <a:pos x="143" y="24"/>
                        </a:cxn>
                        <a:cxn ang="0">
                          <a:pos x="166" y="40"/>
                        </a:cxn>
                        <a:cxn ang="0">
                          <a:pos x="187" y="56"/>
                        </a:cxn>
                        <a:cxn ang="0">
                          <a:pos x="200" y="69"/>
                        </a:cxn>
                        <a:cxn ang="0">
                          <a:pos x="210" y="78"/>
                        </a:cxn>
                        <a:cxn ang="0">
                          <a:pos x="219" y="81"/>
                        </a:cxn>
                        <a:cxn ang="0">
                          <a:pos x="231" y="91"/>
                        </a:cxn>
                        <a:cxn ang="0">
                          <a:pos x="233" y="100"/>
                        </a:cxn>
                        <a:cxn ang="0">
                          <a:pos x="244" y="110"/>
                        </a:cxn>
                        <a:cxn ang="0">
                          <a:pos x="246" y="135"/>
                        </a:cxn>
                        <a:cxn ang="0">
                          <a:pos x="241" y="149"/>
                        </a:cxn>
                        <a:cxn ang="0">
                          <a:pos x="219" y="159"/>
                        </a:cxn>
                        <a:cxn ang="0">
                          <a:pos x="196" y="164"/>
                        </a:cxn>
                        <a:cxn ang="0">
                          <a:pos x="171" y="166"/>
                        </a:cxn>
                        <a:cxn ang="0">
                          <a:pos x="125" y="193"/>
                        </a:cxn>
                        <a:cxn ang="0">
                          <a:pos x="108" y="219"/>
                        </a:cxn>
                        <a:cxn ang="0">
                          <a:pos x="105" y="237"/>
                        </a:cxn>
                        <a:cxn ang="0">
                          <a:pos x="99" y="236"/>
                        </a:cxn>
                        <a:cxn ang="0">
                          <a:pos x="92" y="238"/>
                        </a:cxn>
                        <a:cxn ang="0">
                          <a:pos x="90" y="231"/>
                        </a:cxn>
                        <a:cxn ang="0">
                          <a:pos x="86" y="234"/>
                        </a:cxn>
                        <a:cxn ang="0">
                          <a:pos x="83" y="237"/>
                        </a:cxn>
                        <a:cxn ang="0">
                          <a:pos x="78" y="240"/>
                        </a:cxn>
                        <a:cxn ang="0">
                          <a:pos x="72" y="238"/>
                        </a:cxn>
                        <a:cxn ang="0">
                          <a:pos x="64" y="240"/>
                        </a:cxn>
                        <a:cxn ang="0">
                          <a:pos x="58" y="226"/>
                        </a:cxn>
                        <a:cxn ang="0">
                          <a:pos x="53" y="227"/>
                        </a:cxn>
                        <a:cxn ang="0">
                          <a:pos x="58" y="222"/>
                        </a:cxn>
                        <a:cxn ang="0">
                          <a:pos x="54" y="219"/>
                        </a:cxn>
                        <a:cxn ang="0">
                          <a:pos x="50" y="216"/>
                        </a:cxn>
                        <a:cxn ang="0">
                          <a:pos x="49" y="208"/>
                        </a:cxn>
                        <a:cxn ang="0">
                          <a:pos x="47" y="203"/>
                        </a:cxn>
                        <a:cxn ang="0">
                          <a:pos x="42" y="205"/>
                        </a:cxn>
                        <a:cxn ang="0">
                          <a:pos x="37" y="210"/>
                        </a:cxn>
                        <a:cxn ang="0">
                          <a:pos x="23" y="211"/>
                        </a:cxn>
                        <a:cxn ang="0">
                          <a:pos x="15" y="210"/>
                        </a:cxn>
                        <a:cxn ang="0">
                          <a:pos x="11" y="209"/>
                        </a:cxn>
                        <a:cxn ang="0">
                          <a:pos x="14" y="195"/>
                        </a:cxn>
                        <a:cxn ang="0">
                          <a:pos x="6" y="189"/>
                        </a:cxn>
                        <a:cxn ang="0">
                          <a:pos x="4" y="181"/>
                        </a:cxn>
                        <a:cxn ang="0">
                          <a:pos x="0" y="173"/>
                        </a:cxn>
                        <a:cxn ang="0">
                          <a:pos x="6" y="161"/>
                        </a:cxn>
                        <a:cxn ang="0">
                          <a:pos x="16" y="151"/>
                        </a:cxn>
                        <a:cxn ang="0">
                          <a:pos x="24" y="161"/>
                        </a:cxn>
                      </a:cxnLst>
                      <a:rect l="0" t="0" r="r" b="b"/>
                      <a:pathLst>
                        <a:path w="246" h="240">
                          <a:moveTo>
                            <a:pt x="31" y="155"/>
                          </a:moveTo>
                          <a:lnTo>
                            <a:pt x="48" y="155"/>
                          </a:lnTo>
                          <a:lnTo>
                            <a:pt x="66" y="156"/>
                          </a:lnTo>
                          <a:lnTo>
                            <a:pt x="83" y="156"/>
                          </a:lnTo>
                          <a:lnTo>
                            <a:pt x="100" y="156"/>
                          </a:lnTo>
                          <a:lnTo>
                            <a:pt x="103" y="143"/>
                          </a:lnTo>
                          <a:lnTo>
                            <a:pt x="97" y="141"/>
                          </a:lnTo>
                          <a:lnTo>
                            <a:pt x="96" y="124"/>
                          </a:lnTo>
                          <a:lnTo>
                            <a:pt x="93" y="106"/>
                          </a:lnTo>
                          <a:lnTo>
                            <a:pt x="92" y="89"/>
                          </a:lnTo>
                          <a:lnTo>
                            <a:pt x="90" y="72"/>
                          </a:lnTo>
                          <a:lnTo>
                            <a:pt x="89" y="54"/>
                          </a:lnTo>
                          <a:lnTo>
                            <a:pt x="87" y="36"/>
                          </a:lnTo>
                          <a:lnTo>
                            <a:pt x="85" y="17"/>
                          </a:lnTo>
                          <a:lnTo>
                            <a:pt x="84" y="0"/>
                          </a:lnTo>
                          <a:lnTo>
                            <a:pt x="96" y="0"/>
                          </a:lnTo>
                          <a:lnTo>
                            <a:pt x="110" y="0"/>
                          </a:lnTo>
                          <a:lnTo>
                            <a:pt x="121" y="8"/>
                          </a:lnTo>
                          <a:lnTo>
                            <a:pt x="133" y="16"/>
                          </a:lnTo>
                          <a:lnTo>
                            <a:pt x="143" y="24"/>
                          </a:lnTo>
                          <a:lnTo>
                            <a:pt x="154" y="32"/>
                          </a:lnTo>
                          <a:lnTo>
                            <a:pt x="166" y="40"/>
                          </a:lnTo>
                          <a:lnTo>
                            <a:pt x="177" y="48"/>
                          </a:lnTo>
                          <a:lnTo>
                            <a:pt x="187" y="56"/>
                          </a:lnTo>
                          <a:lnTo>
                            <a:pt x="199" y="63"/>
                          </a:lnTo>
                          <a:lnTo>
                            <a:pt x="200" y="69"/>
                          </a:lnTo>
                          <a:lnTo>
                            <a:pt x="206" y="73"/>
                          </a:lnTo>
                          <a:lnTo>
                            <a:pt x="210" y="78"/>
                          </a:lnTo>
                          <a:lnTo>
                            <a:pt x="217" y="79"/>
                          </a:lnTo>
                          <a:lnTo>
                            <a:pt x="219" y="81"/>
                          </a:lnTo>
                          <a:lnTo>
                            <a:pt x="230" y="85"/>
                          </a:lnTo>
                          <a:lnTo>
                            <a:pt x="231" y="91"/>
                          </a:lnTo>
                          <a:lnTo>
                            <a:pt x="230" y="97"/>
                          </a:lnTo>
                          <a:lnTo>
                            <a:pt x="233" y="100"/>
                          </a:lnTo>
                          <a:lnTo>
                            <a:pt x="244" y="97"/>
                          </a:lnTo>
                          <a:lnTo>
                            <a:pt x="244" y="110"/>
                          </a:lnTo>
                          <a:lnTo>
                            <a:pt x="246" y="122"/>
                          </a:lnTo>
                          <a:lnTo>
                            <a:pt x="246" y="135"/>
                          </a:lnTo>
                          <a:lnTo>
                            <a:pt x="246" y="148"/>
                          </a:lnTo>
                          <a:lnTo>
                            <a:pt x="241" y="149"/>
                          </a:lnTo>
                          <a:lnTo>
                            <a:pt x="235" y="159"/>
                          </a:lnTo>
                          <a:lnTo>
                            <a:pt x="219" y="159"/>
                          </a:lnTo>
                          <a:lnTo>
                            <a:pt x="203" y="159"/>
                          </a:lnTo>
                          <a:lnTo>
                            <a:pt x="196" y="164"/>
                          </a:lnTo>
                          <a:lnTo>
                            <a:pt x="185" y="164"/>
                          </a:lnTo>
                          <a:lnTo>
                            <a:pt x="171" y="166"/>
                          </a:lnTo>
                          <a:lnTo>
                            <a:pt x="146" y="186"/>
                          </a:lnTo>
                          <a:lnTo>
                            <a:pt x="125" y="193"/>
                          </a:lnTo>
                          <a:lnTo>
                            <a:pt x="119" y="207"/>
                          </a:lnTo>
                          <a:lnTo>
                            <a:pt x="108" y="219"/>
                          </a:lnTo>
                          <a:lnTo>
                            <a:pt x="105" y="227"/>
                          </a:lnTo>
                          <a:lnTo>
                            <a:pt x="105" y="237"/>
                          </a:lnTo>
                          <a:lnTo>
                            <a:pt x="102" y="238"/>
                          </a:lnTo>
                          <a:lnTo>
                            <a:pt x="99" y="236"/>
                          </a:lnTo>
                          <a:lnTo>
                            <a:pt x="97" y="236"/>
                          </a:lnTo>
                          <a:lnTo>
                            <a:pt x="92" y="238"/>
                          </a:lnTo>
                          <a:lnTo>
                            <a:pt x="90" y="238"/>
                          </a:lnTo>
                          <a:lnTo>
                            <a:pt x="90" y="231"/>
                          </a:lnTo>
                          <a:lnTo>
                            <a:pt x="87" y="231"/>
                          </a:lnTo>
                          <a:lnTo>
                            <a:pt x="86" y="234"/>
                          </a:lnTo>
                          <a:lnTo>
                            <a:pt x="84" y="232"/>
                          </a:lnTo>
                          <a:lnTo>
                            <a:pt x="83" y="237"/>
                          </a:lnTo>
                          <a:lnTo>
                            <a:pt x="78" y="237"/>
                          </a:lnTo>
                          <a:lnTo>
                            <a:pt x="78" y="240"/>
                          </a:lnTo>
                          <a:lnTo>
                            <a:pt x="74" y="238"/>
                          </a:lnTo>
                          <a:lnTo>
                            <a:pt x="72" y="238"/>
                          </a:lnTo>
                          <a:lnTo>
                            <a:pt x="69" y="235"/>
                          </a:lnTo>
                          <a:lnTo>
                            <a:pt x="64" y="240"/>
                          </a:lnTo>
                          <a:lnTo>
                            <a:pt x="59" y="234"/>
                          </a:lnTo>
                          <a:lnTo>
                            <a:pt x="58" y="226"/>
                          </a:lnTo>
                          <a:lnTo>
                            <a:pt x="55" y="226"/>
                          </a:lnTo>
                          <a:lnTo>
                            <a:pt x="53" y="227"/>
                          </a:lnTo>
                          <a:lnTo>
                            <a:pt x="53" y="226"/>
                          </a:lnTo>
                          <a:lnTo>
                            <a:pt x="58" y="222"/>
                          </a:lnTo>
                          <a:lnTo>
                            <a:pt x="58" y="221"/>
                          </a:lnTo>
                          <a:lnTo>
                            <a:pt x="54" y="219"/>
                          </a:lnTo>
                          <a:lnTo>
                            <a:pt x="53" y="216"/>
                          </a:lnTo>
                          <a:lnTo>
                            <a:pt x="50" y="216"/>
                          </a:lnTo>
                          <a:lnTo>
                            <a:pt x="50" y="211"/>
                          </a:lnTo>
                          <a:lnTo>
                            <a:pt x="49" y="208"/>
                          </a:lnTo>
                          <a:lnTo>
                            <a:pt x="48" y="208"/>
                          </a:lnTo>
                          <a:lnTo>
                            <a:pt x="47" y="203"/>
                          </a:lnTo>
                          <a:lnTo>
                            <a:pt x="43" y="203"/>
                          </a:lnTo>
                          <a:lnTo>
                            <a:pt x="42" y="205"/>
                          </a:lnTo>
                          <a:lnTo>
                            <a:pt x="39" y="208"/>
                          </a:lnTo>
                          <a:lnTo>
                            <a:pt x="37" y="210"/>
                          </a:lnTo>
                          <a:lnTo>
                            <a:pt x="29" y="208"/>
                          </a:lnTo>
                          <a:lnTo>
                            <a:pt x="23" y="211"/>
                          </a:lnTo>
                          <a:lnTo>
                            <a:pt x="19" y="208"/>
                          </a:lnTo>
                          <a:lnTo>
                            <a:pt x="15" y="210"/>
                          </a:lnTo>
                          <a:lnTo>
                            <a:pt x="12" y="210"/>
                          </a:lnTo>
                          <a:lnTo>
                            <a:pt x="11" y="209"/>
                          </a:lnTo>
                          <a:lnTo>
                            <a:pt x="14" y="204"/>
                          </a:lnTo>
                          <a:lnTo>
                            <a:pt x="14" y="195"/>
                          </a:lnTo>
                          <a:lnTo>
                            <a:pt x="9" y="189"/>
                          </a:lnTo>
                          <a:lnTo>
                            <a:pt x="6" y="189"/>
                          </a:lnTo>
                          <a:lnTo>
                            <a:pt x="3" y="184"/>
                          </a:lnTo>
                          <a:lnTo>
                            <a:pt x="4" y="181"/>
                          </a:lnTo>
                          <a:lnTo>
                            <a:pt x="3" y="175"/>
                          </a:lnTo>
                          <a:lnTo>
                            <a:pt x="0" y="173"/>
                          </a:lnTo>
                          <a:lnTo>
                            <a:pt x="0" y="167"/>
                          </a:lnTo>
                          <a:lnTo>
                            <a:pt x="6" y="161"/>
                          </a:lnTo>
                          <a:lnTo>
                            <a:pt x="12" y="150"/>
                          </a:lnTo>
                          <a:lnTo>
                            <a:pt x="16" y="151"/>
                          </a:lnTo>
                          <a:lnTo>
                            <a:pt x="19" y="160"/>
                          </a:lnTo>
                          <a:lnTo>
                            <a:pt x="24" y="161"/>
                          </a:lnTo>
                          <a:lnTo>
                            <a:pt x="31" y="155"/>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67" name="Freeform 439"/>
                    <p:cNvSpPr>
                      <a:spLocks/>
                    </p:cNvSpPr>
                    <p:nvPr/>
                  </p:nvSpPr>
                  <p:spPr bwMode="gray">
                    <a:xfrm>
                      <a:off x="2893156" y="2764370"/>
                      <a:ext cx="524207" cy="403594"/>
                    </a:xfrm>
                    <a:custGeom>
                      <a:avLst/>
                      <a:gdLst/>
                      <a:ahLst/>
                      <a:cxnLst>
                        <a:cxn ang="0">
                          <a:pos x="38" y="87"/>
                        </a:cxn>
                        <a:cxn ang="0">
                          <a:pos x="37" y="73"/>
                        </a:cxn>
                        <a:cxn ang="0">
                          <a:pos x="35" y="67"/>
                        </a:cxn>
                        <a:cxn ang="0">
                          <a:pos x="36" y="63"/>
                        </a:cxn>
                        <a:cxn ang="0">
                          <a:pos x="66" y="65"/>
                        </a:cxn>
                        <a:cxn ang="0">
                          <a:pos x="76" y="63"/>
                        </a:cxn>
                        <a:cxn ang="0">
                          <a:pos x="81" y="63"/>
                        </a:cxn>
                        <a:cxn ang="0">
                          <a:pos x="86" y="65"/>
                        </a:cxn>
                        <a:cxn ang="0">
                          <a:pos x="92" y="63"/>
                        </a:cxn>
                        <a:cxn ang="0">
                          <a:pos x="99" y="55"/>
                        </a:cxn>
                        <a:cxn ang="0">
                          <a:pos x="108" y="56"/>
                        </a:cxn>
                        <a:cxn ang="0">
                          <a:pos x="113" y="49"/>
                        </a:cxn>
                        <a:cxn ang="0">
                          <a:pos x="108" y="44"/>
                        </a:cxn>
                        <a:cxn ang="0">
                          <a:pos x="110" y="41"/>
                        </a:cxn>
                        <a:cxn ang="0">
                          <a:pos x="112" y="40"/>
                        </a:cxn>
                        <a:cxn ang="0">
                          <a:pos x="110" y="36"/>
                        </a:cxn>
                        <a:cxn ang="0">
                          <a:pos x="107" y="36"/>
                        </a:cxn>
                        <a:cxn ang="0">
                          <a:pos x="103" y="38"/>
                        </a:cxn>
                        <a:cxn ang="0">
                          <a:pos x="98" y="36"/>
                        </a:cxn>
                        <a:cxn ang="0">
                          <a:pos x="91" y="24"/>
                        </a:cxn>
                        <a:cxn ang="0">
                          <a:pos x="83" y="16"/>
                        </a:cxn>
                        <a:cxn ang="0">
                          <a:pos x="82" y="11"/>
                        </a:cxn>
                        <a:cxn ang="0">
                          <a:pos x="79" y="7"/>
                        </a:cxn>
                        <a:cxn ang="0">
                          <a:pos x="80" y="0"/>
                        </a:cxn>
                        <a:cxn ang="0">
                          <a:pos x="66" y="2"/>
                        </a:cxn>
                        <a:cxn ang="0">
                          <a:pos x="41" y="22"/>
                        </a:cxn>
                        <a:cxn ang="0">
                          <a:pos x="20" y="29"/>
                        </a:cxn>
                        <a:cxn ang="0">
                          <a:pos x="14" y="43"/>
                        </a:cxn>
                        <a:cxn ang="0">
                          <a:pos x="3" y="55"/>
                        </a:cxn>
                        <a:cxn ang="0">
                          <a:pos x="0" y="63"/>
                        </a:cxn>
                        <a:cxn ang="0">
                          <a:pos x="0" y="73"/>
                        </a:cxn>
                        <a:cxn ang="0">
                          <a:pos x="4" y="81"/>
                        </a:cxn>
                        <a:cxn ang="0">
                          <a:pos x="7" y="83"/>
                        </a:cxn>
                        <a:cxn ang="0">
                          <a:pos x="10" y="82"/>
                        </a:cxn>
                        <a:cxn ang="0">
                          <a:pos x="12" y="84"/>
                        </a:cxn>
                        <a:cxn ang="0">
                          <a:pos x="14" y="82"/>
                        </a:cxn>
                        <a:cxn ang="0">
                          <a:pos x="24" y="79"/>
                        </a:cxn>
                        <a:cxn ang="0">
                          <a:pos x="29" y="81"/>
                        </a:cxn>
                        <a:cxn ang="0">
                          <a:pos x="31" y="79"/>
                        </a:cxn>
                        <a:cxn ang="0">
                          <a:pos x="35" y="87"/>
                        </a:cxn>
                        <a:cxn ang="0">
                          <a:pos x="38" y="87"/>
                        </a:cxn>
                      </a:cxnLst>
                      <a:rect l="0" t="0" r="r" b="b"/>
                      <a:pathLst>
                        <a:path w="113" h="87">
                          <a:moveTo>
                            <a:pt x="38" y="87"/>
                          </a:moveTo>
                          <a:lnTo>
                            <a:pt x="37" y="73"/>
                          </a:lnTo>
                          <a:lnTo>
                            <a:pt x="35" y="67"/>
                          </a:lnTo>
                          <a:lnTo>
                            <a:pt x="36" y="63"/>
                          </a:lnTo>
                          <a:lnTo>
                            <a:pt x="66" y="65"/>
                          </a:lnTo>
                          <a:lnTo>
                            <a:pt x="76" y="63"/>
                          </a:lnTo>
                          <a:lnTo>
                            <a:pt x="81" y="63"/>
                          </a:lnTo>
                          <a:lnTo>
                            <a:pt x="86" y="65"/>
                          </a:lnTo>
                          <a:lnTo>
                            <a:pt x="92" y="63"/>
                          </a:lnTo>
                          <a:lnTo>
                            <a:pt x="99" y="55"/>
                          </a:lnTo>
                          <a:lnTo>
                            <a:pt x="108" y="56"/>
                          </a:lnTo>
                          <a:lnTo>
                            <a:pt x="113" y="49"/>
                          </a:lnTo>
                          <a:lnTo>
                            <a:pt x="108" y="44"/>
                          </a:lnTo>
                          <a:lnTo>
                            <a:pt x="110" y="41"/>
                          </a:lnTo>
                          <a:lnTo>
                            <a:pt x="112" y="40"/>
                          </a:lnTo>
                          <a:lnTo>
                            <a:pt x="110" y="36"/>
                          </a:lnTo>
                          <a:lnTo>
                            <a:pt x="107" y="36"/>
                          </a:lnTo>
                          <a:lnTo>
                            <a:pt x="103" y="38"/>
                          </a:lnTo>
                          <a:lnTo>
                            <a:pt x="98" y="36"/>
                          </a:lnTo>
                          <a:lnTo>
                            <a:pt x="91" y="24"/>
                          </a:lnTo>
                          <a:lnTo>
                            <a:pt x="83" y="16"/>
                          </a:lnTo>
                          <a:lnTo>
                            <a:pt x="82" y="11"/>
                          </a:lnTo>
                          <a:lnTo>
                            <a:pt x="79" y="7"/>
                          </a:lnTo>
                          <a:lnTo>
                            <a:pt x="80" y="0"/>
                          </a:lnTo>
                          <a:lnTo>
                            <a:pt x="66" y="2"/>
                          </a:lnTo>
                          <a:lnTo>
                            <a:pt x="41" y="22"/>
                          </a:lnTo>
                          <a:lnTo>
                            <a:pt x="20" y="29"/>
                          </a:lnTo>
                          <a:lnTo>
                            <a:pt x="14" y="43"/>
                          </a:lnTo>
                          <a:lnTo>
                            <a:pt x="3" y="55"/>
                          </a:lnTo>
                          <a:lnTo>
                            <a:pt x="0" y="63"/>
                          </a:lnTo>
                          <a:lnTo>
                            <a:pt x="0" y="73"/>
                          </a:lnTo>
                          <a:lnTo>
                            <a:pt x="4" y="81"/>
                          </a:lnTo>
                          <a:lnTo>
                            <a:pt x="7" y="83"/>
                          </a:lnTo>
                          <a:lnTo>
                            <a:pt x="10" y="82"/>
                          </a:lnTo>
                          <a:lnTo>
                            <a:pt x="12" y="84"/>
                          </a:lnTo>
                          <a:lnTo>
                            <a:pt x="14" y="82"/>
                          </a:lnTo>
                          <a:lnTo>
                            <a:pt x="24" y="79"/>
                          </a:lnTo>
                          <a:lnTo>
                            <a:pt x="29" y="81"/>
                          </a:lnTo>
                          <a:lnTo>
                            <a:pt x="31" y="79"/>
                          </a:lnTo>
                          <a:lnTo>
                            <a:pt x="35" y="87"/>
                          </a:lnTo>
                          <a:lnTo>
                            <a:pt x="38" y="87"/>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68" name="Freeform 440"/>
                    <p:cNvSpPr>
                      <a:spLocks/>
                    </p:cNvSpPr>
                    <p:nvPr/>
                  </p:nvSpPr>
                  <p:spPr bwMode="gray">
                    <a:xfrm>
                      <a:off x="5328625" y="3557639"/>
                      <a:ext cx="366482" cy="389676"/>
                    </a:xfrm>
                    <a:custGeom>
                      <a:avLst/>
                      <a:gdLst/>
                      <a:ahLst/>
                      <a:cxnLst>
                        <a:cxn ang="0">
                          <a:pos x="12" y="43"/>
                        </a:cxn>
                        <a:cxn ang="0">
                          <a:pos x="12" y="46"/>
                        </a:cxn>
                        <a:cxn ang="0">
                          <a:pos x="14" y="46"/>
                        </a:cxn>
                        <a:cxn ang="0">
                          <a:pos x="19" y="40"/>
                        </a:cxn>
                        <a:cxn ang="0">
                          <a:pos x="24" y="37"/>
                        </a:cxn>
                        <a:cxn ang="0">
                          <a:pos x="25" y="34"/>
                        </a:cxn>
                        <a:cxn ang="0">
                          <a:pos x="25" y="29"/>
                        </a:cxn>
                        <a:cxn ang="0">
                          <a:pos x="24" y="29"/>
                        </a:cxn>
                        <a:cxn ang="0">
                          <a:pos x="18" y="25"/>
                        </a:cxn>
                        <a:cxn ang="0">
                          <a:pos x="17" y="21"/>
                        </a:cxn>
                        <a:cxn ang="0">
                          <a:pos x="18" y="7"/>
                        </a:cxn>
                        <a:cxn ang="0">
                          <a:pos x="20" y="5"/>
                        </a:cxn>
                        <a:cxn ang="0">
                          <a:pos x="33" y="5"/>
                        </a:cxn>
                        <a:cxn ang="0">
                          <a:pos x="35" y="8"/>
                        </a:cxn>
                        <a:cxn ang="0">
                          <a:pos x="46" y="4"/>
                        </a:cxn>
                        <a:cxn ang="0">
                          <a:pos x="56" y="4"/>
                        </a:cxn>
                        <a:cxn ang="0">
                          <a:pos x="63" y="0"/>
                        </a:cxn>
                        <a:cxn ang="0">
                          <a:pos x="69" y="2"/>
                        </a:cxn>
                        <a:cxn ang="0">
                          <a:pos x="71" y="15"/>
                        </a:cxn>
                        <a:cxn ang="0">
                          <a:pos x="79" y="20"/>
                        </a:cxn>
                        <a:cxn ang="0">
                          <a:pos x="79" y="30"/>
                        </a:cxn>
                        <a:cxn ang="0">
                          <a:pos x="79" y="40"/>
                        </a:cxn>
                        <a:cxn ang="0">
                          <a:pos x="64" y="59"/>
                        </a:cxn>
                        <a:cxn ang="0">
                          <a:pos x="64" y="59"/>
                        </a:cxn>
                        <a:cxn ang="0">
                          <a:pos x="63" y="59"/>
                        </a:cxn>
                        <a:cxn ang="0">
                          <a:pos x="61" y="59"/>
                        </a:cxn>
                        <a:cxn ang="0">
                          <a:pos x="58" y="59"/>
                        </a:cxn>
                        <a:cxn ang="0">
                          <a:pos x="55" y="58"/>
                        </a:cxn>
                        <a:cxn ang="0">
                          <a:pos x="54" y="57"/>
                        </a:cxn>
                        <a:cxn ang="0">
                          <a:pos x="50" y="62"/>
                        </a:cxn>
                        <a:cxn ang="0">
                          <a:pos x="48" y="61"/>
                        </a:cxn>
                        <a:cxn ang="0">
                          <a:pos x="45" y="61"/>
                        </a:cxn>
                        <a:cxn ang="0">
                          <a:pos x="43" y="59"/>
                        </a:cxn>
                        <a:cxn ang="0">
                          <a:pos x="43" y="62"/>
                        </a:cxn>
                        <a:cxn ang="0">
                          <a:pos x="42" y="62"/>
                        </a:cxn>
                        <a:cxn ang="0">
                          <a:pos x="39" y="62"/>
                        </a:cxn>
                        <a:cxn ang="0">
                          <a:pos x="38" y="63"/>
                        </a:cxn>
                        <a:cxn ang="0">
                          <a:pos x="36" y="64"/>
                        </a:cxn>
                        <a:cxn ang="0">
                          <a:pos x="33" y="65"/>
                        </a:cxn>
                        <a:cxn ang="0">
                          <a:pos x="32" y="67"/>
                        </a:cxn>
                        <a:cxn ang="0">
                          <a:pos x="33" y="68"/>
                        </a:cxn>
                        <a:cxn ang="0">
                          <a:pos x="30" y="77"/>
                        </a:cxn>
                        <a:cxn ang="0">
                          <a:pos x="31" y="78"/>
                        </a:cxn>
                        <a:cxn ang="0">
                          <a:pos x="11" y="78"/>
                        </a:cxn>
                        <a:cxn ang="0">
                          <a:pos x="7" y="79"/>
                        </a:cxn>
                        <a:cxn ang="0">
                          <a:pos x="5" y="84"/>
                        </a:cxn>
                        <a:cxn ang="0">
                          <a:pos x="0" y="83"/>
                        </a:cxn>
                        <a:cxn ang="0">
                          <a:pos x="0" y="68"/>
                        </a:cxn>
                        <a:cxn ang="0">
                          <a:pos x="1" y="64"/>
                        </a:cxn>
                        <a:cxn ang="0">
                          <a:pos x="2" y="56"/>
                        </a:cxn>
                        <a:cxn ang="0">
                          <a:pos x="12" y="43"/>
                        </a:cxn>
                      </a:cxnLst>
                      <a:rect l="0" t="0" r="r" b="b"/>
                      <a:pathLst>
                        <a:path w="79" h="84">
                          <a:moveTo>
                            <a:pt x="12" y="43"/>
                          </a:moveTo>
                          <a:lnTo>
                            <a:pt x="12" y="46"/>
                          </a:lnTo>
                          <a:lnTo>
                            <a:pt x="14" y="46"/>
                          </a:lnTo>
                          <a:lnTo>
                            <a:pt x="19" y="40"/>
                          </a:lnTo>
                          <a:lnTo>
                            <a:pt x="24" y="37"/>
                          </a:lnTo>
                          <a:lnTo>
                            <a:pt x="25" y="34"/>
                          </a:lnTo>
                          <a:lnTo>
                            <a:pt x="25" y="29"/>
                          </a:lnTo>
                          <a:lnTo>
                            <a:pt x="24" y="29"/>
                          </a:lnTo>
                          <a:lnTo>
                            <a:pt x="18" y="25"/>
                          </a:lnTo>
                          <a:lnTo>
                            <a:pt x="17" y="21"/>
                          </a:lnTo>
                          <a:lnTo>
                            <a:pt x="18" y="7"/>
                          </a:lnTo>
                          <a:lnTo>
                            <a:pt x="20" y="5"/>
                          </a:lnTo>
                          <a:lnTo>
                            <a:pt x="33" y="5"/>
                          </a:lnTo>
                          <a:lnTo>
                            <a:pt x="35" y="8"/>
                          </a:lnTo>
                          <a:lnTo>
                            <a:pt x="46" y="4"/>
                          </a:lnTo>
                          <a:lnTo>
                            <a:pt x="56" y="4"/>
                          </a:lnTo>
                          <a:lnTo>
                            <a:pt x="63" y="0"/>
                          </a:lnTo>
                          <a:lnTo>
                            <a:pt x="69" y="2"/>
                          </a:lnTo>
                          <a:lnTo>
                            <a:pt x="71" y="15"/>
                          </a:lnTo>
                          <a:lnTo>
                            <a:pt x="79" y="20"/>
                          </a:lnTo>
                          <a:lnTo>
                            <a:pt x="79" y="30"/>
                          </a:lnTo>
                          <a:lnTo>
                            <a:pt x="79" y="40"/>
                          </a:lnTo>
                          <a:lnTo>
                            <a:pt x="64" y="59"/>
                          </a:lnTo>
                          <a:lnTo>
                            <a:pt x="64" y="59"/>
                          </a:lnTo>
                          <a:lnTo>
                            <a:pt x="63" y="59"/>
                          </a:lnTo>
                          <a:lnTo>
                            <a:pt x="61" y="59"/>
                          </a:lnTo>
                          <a:lnTo>
                            <a:pt x="58" y="59"/>
                          </a:lnTo>
                          <a:lnTo>
                            <a:pt x="55" y="58"/>
                          </a:lnTo>
                          <a:lnTo>
                            <a:pt x="54" y="57"/>
                          </a:lnTo>
                          <a:lnTo>
                            <a:pt x="50" y="62"/>
                          </a:lnTo>
                          <a:lnTo>
                            <a:pt x="48" y="61"/>
                          </a:lnTo>
                          <a:lnTo>
                            <a:pt x="45" y="61"/>
                          </a:lnTo>
                          <a:lnTo>
                            <a:pt x="43" y="59"/>
                          </a:lnTo>
                          <a:lnTo>
                            <a:pt x="43" y="62"/>
                          </a:lnTo>
                          <a:lnTo>
                            <a:pt x="42" y="62"/>
                          </a:lnTo>
                          <a:lnTo>
                            <a:pt x="39" y="62"/>
                          </a:lnTo>
                          <a:lnTo>
                            <a:pt x="38" y="63"/>
                          </a:lnTo>
                          <a:lnTo>
                            <a:pt x="36" y="64"/>
                          </a:lnTo>
                          <a:lnTo>
                            <a:pt x="33" y="65"/>
                          </a:lnTo>
                          <a:lnTo>
                            <a:pt x="32" y="67"/>
                          </a:lnTo>
                          <a:lnTo>
                            <a:pt x="33" y="68"/>
                          </a:lnTo>
                          <a:lnTo>
                            <a:pt x="30" y="77"/>
                          </a:lnTo>
                          <a:lnTo>
                            <a:pt x="31" y="78"/>
                          </a:lnTo>
                          <a:lnTo>
                            <a:pt x="11" y="78"/>
                          </a:lnTo>
                          <a:lnTo>
                            <a:pt x="7" y="79"/>
                          </a:lnTo>
                          <a:lnTo>
                            <a:pt x="5" y="84"/>
                          </a:lnTo>
                          <a:lnTo>
                            <a:pt x="0" y="83"/>
                          </a:lnTo>
                          <a:lnTo>
                            <a:pt x="0" y="68"/>
                          </a:lnTo>
                          <a:lnTo>
                            <a:pt x="1" y="64"/>
                          </a:lnTo>
                          <a:lnTo>
                            <a:pt x="2" y="56"/>
                          </a:lnTo>
                          <a:lnTo>
                            <a:pt x="12" y="43"/>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69" name="Freeform 442"/>
                    <p:cNvSpPr>
                      <a:spLocks/>
                    </p:cNvSpPr>
                    <p:nvPr/>
                  </p:nvSpPr>
                  <p:spPr bwMode="gray">
                    <a:xfrm>
                      <a:off x="6112616" y="2996319"/>
                      <a:ext cx="719046" cy="969551"/>
                    </a:xfrm>
                    <a:custGeom>
                      <a:avLst/>
                      <a:gdLst/>
                      <a:ahLst/>
                      <a:cxnLst>
                        <a:cxn ang="0">
                          <a:pos x="92" y="75"/>
                        </a:cxn>
                        <a:cxn ang="0">
                          <a:pos x="71" y="96"/>
                        </a:cxn>
                        <a:cxn ang="0">
                          <a:pos x="43" y="107"/>
                        </a:cxn>
                        <a:cxn ang="0">
                          <a:pos x="29" y="117"/>
                        </a:cxn>
                        <a:cxn ang="0">
                          <a:pos x="18" y="120"/>
                        </a:cxn>
                        <a:cxn ang="0">
                          <a:pos x="7" y="134"/>
                        </a:cxn>
                        <a:cxn ang="0">
                          <a:pos x="0" y="155"/>
                        </a:cxn>
                        <a:cxn ang="0">
                          <a:pos x="0" y="183"/>
                        </a:cxn>
                        <a:cxn ang="0">
                          <a:pos x="8" y="209"/>
                        </a:cxn>
                        <a:cxn ang="0">
                          <a:pos x="24" y="186"/>
                        </a:cxn>
                        <a:cxn ang="0">
                          <a:pos x="38" y="175"/>
                        </a:cxn>
                        <a:cxn ang="0">
                          <a:pos x="73" y="150"/>
                        </a:cxn>
                        <a:cxn ang="0">
                          <a:pos x="100" y="121"/>
                        </a:cxn>
                        <a:cxn ang="0">
                          <a:pos x="118" y="97"/>
                        </a:cxn>
                        <a:cxn ang="0">
                          <a:pos x="132" y="66"/>
                        </a:cxn>
                        <a:cxn ang="0">
                          <a:pos x="137" y="58"/>
                        </a:cxn>
                        <a:cxn ang="0">
                          <a:pos x="148" y="26"/>
                        </a:cxn>
                        <a:cxn ang="0">
                          <a:pos x="152" y="23"/>
                        </a:cxn>
                        <a:cxn ang="0">
                          <a:pos x="151" y="21"/>
                        </a:cxn>
                        <a:cxn ang="0">
                          <a:pos x="150" y="8"/>
                        </a:cxn>
                        <a:cxn ang="0">
                          <a:pos x="144" y="0"/>
                        </a:cxn>
                        <a:cxn ang="0">
                          <a:pos x="123" y="8"/>
                        </a:cxn>
                        <a:cxn ang="0">
                          <a:pos x="113" y="10"/>
                        </a:cxn>
                        <a:cxn ang="0">
                          <a:pos x="94" y="12"/>
                        </a:cxn>
                        <a:cxn ang="0">
                          <a:pos x="71" y="16"/>
                        </a:cxn>
                        <a:cxn ang="0">
                          <a:pos x="51" y="23"/>
                        </a:cxn>
                        <a:cxn ang="0">
                          <a:pos x="33" y="6"/>
                        </a:cxn>
                        <a:cxn ang="0">
                          <a:pos x="27" y="18"/>
                        </a:cxn>
                        <a:cxn ang="0">
                          <a:pos x="38" y="37"/>
                        </a:cxn>
                        <a:cxn ang="0">
                          <a:pos x="57" y="48"/>
                        </a:cxn>
                        <a:cxn ang="0">
                          <a:pos x="80" y="56"/>
                        </a:cxn>
                        <a:cxn ang="0">
                          <a:pos x="106" y="60"/>
                        </a:cxn>
                      </a:cxnLst>
                      <a:rect l="0" t="0" r="r" b="b"/>
                      <a:pathLst>
                        <a:path w="155" h="209">
                          <a:moveTo>
                            <a:pt x="102" y="64"/>
                          </a:moveTo>
                          <a:lnTo>
                            <a:pt x="92" y="75"/>
                          </a:lnTo>
                          <a:lnTo>
                            <a:pt x="82" y="86"/>
                          </a:lnTo>
                          <a:lnTo>
                            <a:pt x="71" y="96"/>
                          </a:lnTo>
                          <a:lnTo>
                            <a:pt x="61" y="107"/>
                          </a:lnTo>
                          <a:lnTo>
                            <a:pt x="43" y="107"/>
                          </a:lnTo>
                          <a:lnTo>
                            <a:pt x="35" y="110"/>
                          </a:lnTo>
                          <a:lnTo>
                            <a:pt x="29" y="117"/>
                          </a:lnTo>
                          <a:lnTo>
                            <a:pt x="19" y="119"/>
                          </a:lnTo>
                          <a:lnTo>
                            <a:pt x="18" y="120"/>
                          </a:lnTo>
                          <a:lnTo>
                            <a:pt x="13" y="124"/>
                          </a:lnTo>
                          <a:lnTo>
                            <a:pt x="7" y="134"/>
                          </a:lnTo>
                          <a:lnTo>
                            <a:pt x="0" y="141"/>
                          </a:lnTo>
                          <a:lnTo>
                            <a:pt x="0" y="155"/>
                          </a:lnTo>
                          <a:lnTo>
                            <a:pt x="0" y="169"/>
                          </a:lnTo>
                          <a:lnTo>
                            <a:pt x="0" y="183"/>
                          </a:lnTo>
                          <a:lnTo>
                            <a:pt x="0" y="198"/>
                          </a:lnTo>
                          <a:lnTo>
                            <a:pt x="8" y="209"/>
                          </a:lnTo>
                          <a:lnTo>
                            <a:pt x="23" y="193"/>
                          </a:lnTo>
                          <a:lnTo>
                            <a:pt x="24" y="186"/>
                          </a:lnTo>
                          <a:lnTo>
                            <a:pt x="29" y="186"/>
                          </a:lnTo>
                          <a:lnTo>
                            <a:pt x="38" y="175"/>
                          </a:lnTo>
                          <a:lnTo>
                            <a:pt x="60" y="156"/>
                          </a:lnTo>
                          <a:lnTo>
                            <a:pt x="73" y="150"/>
                          </a:lnTo>
                          <a:lnTo>
                            <a:pt x="82" y="139"/>
                          </a:lnTo>
                          <a:lnTo>
                            <a:pt x="100" y="121"/>
                          </a:lnTo>
                          <a:lnTo>
                            <a:pt x="108" y="107"/>
                          </a:lnTo>
                          <a:lnTo>
                            <a:pt x="118" y="97"/>
                          </a:lnTo>
                          <a:lnTo>
                            <a:pt x="123" y="83"/>
                          </a:lnTo>
                          <a:lnTo>
                            <a:pt x="132" y="66"/>
                          </a:lnTo>
                          <a:lnTo>
                            <a:pt x="132" y="61"/>
                          </a:lnTo>
                          <a:lnTo>
                            <a:pt x="137" y="58"/>
                          </a:lnTo>
                          <a:lnTo>
                            <a:pt x="145" y="44"/>
                          </a:lnTo>
                          <a:lnTo>
                            <a:pt x="148" y="26"/>
                          </a:lnTo>
                          <a:lnTo>
                            <a:pt x="155" y="24"/>
                          </a:lnTo>
                          <a:lnTo>
                            <a:pt x="152" y="23"/>
                          </a:lnTo>
                          <a:lnTo>
                            <a:pt x="150" y="23"/>
                          </a:lnTo>
                          <a:lnTo>
                            <a:pt x="151" y="21"/>
                          </a:lnTo>
                          <a:lnTo>
                            <a:pt x="152" y="13"/>
                          </a:lnTo>
                          <a:lnTo>
                            <a:pt x="150" y="8"/>
                          </a:lnTo>
                          <a:lnTo>
                            <a:pt x="152" y="2"/>
                          </a:lnTo>
                          <a:lnTo>
                            <a:pt x="144" y="0"/>
                          </a:lnTo>
                          <a:lnTo>
                            <a:pt x="136" y="5"/>
                          </a:lnTo>
                          <a:lnTo>
                            <a:pt x="123" y="8"/>
                          </a:lnTo>
                          <a:lnTo>
                            <a:pt x="118" y="10"/>
                          </a:lnTo>
                          <a:lnTo>
                            <a:pt x="113" y="10"/>
                          </a:lnTo>
                          <a:lnTo>
                            <a:pt x="108" y="12"/>
                          </a:lnTo>
                          <a:lnTo>
                            <a:pt x="94" y="12"/>
                          </a:lnTo>
                          <a:lnTo>
                            <a:pt x="83" y="18"/>
                          </a:lnTo>
                          <a:lnTo>
                            <a:pt x="71" y="16"/>
                          </a:lnTo>
                          <a:lnTo>
                            <a:pt x="60" y="23"/>
                          </a:lnTo>
                          <a:lnTo>
                            <a:pt x="51" y="23"/>
                          </a:lnTo>
                          <a:lnTo>
                            <a:pt x="46" y="21"/>
                          </a:lnTo>
                          <a:lnTo>
                            <a:pt x="33" y="6"/>
                          </a:lnTo>
                          <a:lnTo>
                            <a:pt x="29" y="15"/>
                          </a:lnTo>
                          <a:lnTo>
                            <a:pt x="27" y="18"/>
                          </a:lnTo>
                          <a:lnTo>
                            <a:pt x="29" y="24"/>
                          </a:lnTo>
                          <a:lnTo>
                            <a:pt x="38" y="37"/>
                          </a:lnTo>
                          <a:lnTo>
                            <a:pt x="45" y="43"/>
                          </a:lnTo>
                          <a:lnTo>
                            <a:pt x="57" y="48"/>
                          </a:lnTo>
                          <a:lnTo>
                            <a:pt x="68" y="51"/>
                          </a:lnTo>
                          <a:lnTo>
                            <a:pt x="80" y="56"/>
                          </a:lnTo>
                          <a:lnTo>
                            <a:pt x="92" y="60"/>
                          </a:lnTo>
                          <a:lnTo>
                            <a:pt x="106" y="60"/>
                          </a:lnTo>
                          <a:lnTo>
                            <a:pt x="102" y="64"/>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70" name="Freeform 443"/>
                    <p:cNvSpPr>
                      <a:spLocks/>
                    </p:cNvSpPr>
                    <p:nvPr/>
                  </p:nvSpPr>
                  <p:spPr bwMode="gray">
                    <a:xfrm>
                      <a:off x="5555938" y="2778288"/>
                      <a:ext cx="1048412" cy="821103"/>
                    </a:xfrm>
                    <a:custGeom>
                      <a:avLst/>
                      <a:gdLst/>
                      <a:ahLst/>
                      <a:cxnLst>
                        <a:cxn ang="0">
                          <a:pos x="212" y="122"/>
                        </a:cxn>
                        <a:cxn ang="0">
                          <a:pos x="191" y="143"/>
                        </a:cxn>
                        <a:cxn ang="0">
                          <a:pos x="163" y="154"/>
                        </a:cxn>
                        <a:cxn ang="0">
                          <a:pos x="149" y="164"/>
                        </a:cxn>
                        <a:cxn ang="0">
                          <a:pos x="138" y="167"/>
                        </a:cxn>
                        <a:cxn ang="0">
                          <a:pos x="126" y="171"/>
                        </a:cxn>
                        <a:cxn ang="0">
                          <a:pos x="106" y="168"/>
                        </a:cxn>
                        <a:cxn ang="0">
                          <a:pos x="95" y="177"/>
                        </a:cxn>
                        <a:cxn ang="0">
                          <a:pos x="72" y="173"/>
                        </a:cxn>
                        <a:cxn ang="0">
                          <a:pos x="43" y="160"/>
                        </a:cxn>
                        <a:cxn ang="0">
                          <a:pos x="32" y="144"/>
                        </a:cxn>
                        <a:cxn ang="0">
                          <a:pos x="18" y="122"/>
                        </a:cxn>
                        <a:cxn ang="0">
                          <a:pos x="0" y="108"/>
                        </a:cxn>
                        <a:cxn ang="0">
                          <a:pos x="3" y="101"/>
                        </a:cxn>
                        <a:cxn ang="0">
                          <a:pos x="17" y="97"/>
                        </a:cxn>
                        <a:cxn ang="0">
                          <a:pos x="19" y="69"/>
                        </a:cxn>
                        <a:cxn ang="0">
                          <a:pos x="28" y="60"/>
                        </a:cxn>
                        <a:cxn ang="0">
                          <a:pos x="40" y="36"/>
                        </a:cxn>
                        <a:cxn ang="0">
                          <a:pos x="52" y="13"/>
                        </a:cxn>
                        <a:cxn ang="0">
                          <a:pos x="59" y="10"/>
                        </a:cxn>
                        <a:cxn ang="0">
                          <a:pos x="63" y="6"/>
                        </a:cxn>
                        <a:cxn ang="0">
                          <a:pos x="72" y="0"/>
                        </a:cxn>
                        <a:cxn ang="0">
                          <a:pos x="80" y="6"/>
                        </a:cxn>
                        <a:cxn ang="0">
                          <a:pos x="88" y="4"/>
                        </a:cxn>
                        <a:cxn ang="0">
                          <a:pos x="96" y="5"/>
                        </a:cxn>
                        <a:cxn ang="0">
                          <a:pos x="107" y="6"/>
                        </a:cxn>
                        <a:cxn ang="0">
                          <a:pos x="121" y="20"/>
                        </a:cxn>
                        <a:cxn ang="0">
                          <a:pos x="133" y="32"/>
                        </a:cxn>
                        <a:cxn ang="0">
                          <a:pos x="139" y="41"/>
                        </a:cxn>
                        <a:cxn ang="0">
                          <a:pos x="132" y="57"/>
                        </a:cxn>
                        <a:cxn ang="0">
                          <a:pos x="140" y="62"/>
                        </a:cxn>
                        <a:cxn ang="0">
                          <a:pos x="149" y="62"/>
                        </a:cxn>
                        <a:cxn ang="0">
                          <a:pos x="149" y="71"/>
                        </a:cxn>
                        <a:cxn ang="0">
                          <a:pos x="165" y="90"/>
                        </a:cxn>
                        <a:cxn ang="0">
                          <a:pos x="188" y="98"/>
                        </a:cxn>
                        <a:cxn ang="0">
                          <a:pos x="212" y="107"/>
                        </a:cxn>
                        <a:cxn ang="0">
                          <a:pos x="222" y="111"/>
                        </a:cxn>
                      </a:cxnLst>
                      <a:rect l="0" t="0" r="r" b="b"/>
                      <a:pathLst>
                        <a:path w="226" h="177">
                          <a:moveTo>
                            <a:pt x="222" y="111"/>
                          </a:moveTo>
                          <a:lnTo>
                            <a:pt x="212" y="122"/>
                          </a:lnTo>
                          <a:lnTo>
                            <a:pt x="202" y="133"/>
                          </a:lnTo>
                          <a:lnTo>
                            <a:pt x="191" y="143"/>
                          </a:lnTo>
                          <a:lnTo>
                            <a:pt x="181" y="154"/>
                          </a:lnTo>
                          <a:lnTo>
                            <a:pt x="163" y="154"/>
                          </a:lnTo>
                          <a:lnTo>
                            <a:pt x="155" y="157"/>
                          </a:lnTo>
                          <a:lnTo>
                            <a:pt x="149" y="164"/>
                          </a:lnTo>
                          <a:lnTo>
                            <a:pt x="139" y="166"/>
                          </a:lnTo>
                          <a:lnTo>
                            <a:pt x="138" y="167"/>
                          </a:lnTo>
                          <a:lnTo>
                            <a:pt x="133" y="171"/>
                          </a:lnTo>
                          <a:lnTo>
                            <a:pt x="126" y="171"/>
                          </a:lnTo>
                          <a:lnTo>
                            <a:pt x="116" y="166"/>
                          </a:lnTo>
                          <a:lnTo>
                            <a:pt x="106" y="168"/>
                          </a:lnTo>
                          <a:lnTo>
                            <a:pt x="102" y="173"/>
                          </a:lnTo>
                          <a:lnTo>
                            <a:pt x="95" y="177"/>
                          </a:lnTo>
                          <a:lnTo>
                            <a:pt x="89" y="177"/>
                          </a:lnTo>
                          <a:lnTo>
                            <a:pt x="72" y="173"/>
                          </a:lnTo>
                          <a:lnTo>
                            <a:pt x="55" y="161"/>
                          </a:lnTo>
                          <a:lnTo>
                            <a:pt x="43" y="160"/>
                          </a:lnTo>
                          <a:lnTo>
                            <a:pt x="43" y="149"/>
                          </a:lnTo>
                          <a:lnTo>
                            <a:pt x="32" y="144"/>
                          </a:lnTo>
                          <a:lnTo>
                            <a:pt x="26" y="128"/>
                          </a:lnTo>
                          <a:lnTo>
                            <a:pt x="18" y="122"/>
                          </a:lnTo>
                          <a:lnTo>
                            <a:pt x="13" y="114"/>
                          </a:lnTo>
                          <a:lnTo>
                            <a:pt x="0" y="108"/>
                          </a:lnTo>
                          <a:lnTo>
                            <a:pt x="3" y="106"/>
                          </a:lnTo>
                          <a:lnTo>
                            <a:pt x="3" y="101"/>
                          </a:lnTo>
                          <a:lnTo>
                            <a:pt x="12" y="101"/>
                          </a:lnTo>
                          <a:lnTo>
                            <a:pt x="17" y="97"/>
                          </a:lnTo>
                          <a:lnTo>
                            <a:pt x="18" y="68"/>
                          </a:lnTo>
                          <a:lnTo>
                            <a:pt x="19" y="69"/>
                          </a:lnTo>
                          <a:lnTo>
                            <a:pt x="22" y="63"/>
                          </a:lnTo>
                          <a:lnTo>
                            <a:pt x="28" y="60"/>
                          </a:lnTo>
                          <a:lnTo>
                            <a:pt x="31" y="49"/>
                          </a:lnTo>
                          <a:lnTo>
                            <a:pt x="40" y="36"/>
                          </a:lnTo>
                          <a:lnTo>
                            <a:pt x="47" y="30"/>
                          </a:lnTo>
                          <a:lnTo>
                            <a:pt x="52" y="13"/>
                          </a:lnTo>
                          <a:lnTo>
                            <a:pt x="52" y="9"/>
                          </a:lnTo>
                          <a:lnTo>
                            <a:pt x="59" y="10"/>
                          </a:lnTo>
                          <a:lnTo>
                            <a:pt x="61" y="6"/>
                          </a:lnTo>
                          <a:lnTo>
                            <a:pt x="63" y="6"/>
                          </a:lnTo>
                          <a:lnTo>
                            <a:pt x="66" y="13"/>
                          </a:lnTo>
                          <a:lnTo>
                            <a:pt x="72" y="0"/>
                          </a:lnTo>
                          <a:lnTo>
                            <a:pt x="77" y="3"/>
                          </a:lnTo>
                          <a:lnTo>
                            <a:pt x="80" y="6"/>
                          </a:lnTo>
                          <a:lnTo>
                            <a:pt x="87" y="6"/>
                          </a:lnTo>
                          <a:lnTo>
                            <a:pt x="88" y="4"/>
                          </a:lnTo>
                          <a:lnTo>
                            <a:pt x="91" y="6"/>
                          </a:lnTo>
                          <a:lnTo>
                            <a:pt x="96" y="5"/>
                          </a:lnTo>
                          <a:lnTo>
                            <a:pt x="102" y="6"/>
                          </a:lnTo>
                          <a:lnTo>
                            <a:pt x="107" y="6"/>
                          </a:lnTo>
                          <a:lnTo>
                            <a:pt x="115" y="11"/>
                          </a:lnTo>
                          <a:lnTo>
                            <a:pt x="121" y="20"/>
                          </a:lnTo>
                          <a:lnTo>
                            <a:pt x="130" y="26"/>
                          </a:lnTo>
                          <a:lnTo>
                            <a:pt x="133" y="32"/>
                          </a:lnTo>
                          <a:lnTo>
                            <a:pt x="140" y="40"/>
                          </a:lnTo>
                          <a:lnTo>
                            <a:pt x="139" y="41"/>
                          </a:lnTo>
                          <a:lnTo>
                            <a:pt x="137" y="49"/>
                          </a:lnTo>
                          <a:lnTo>
                            <a:pt x="132" y="57"/>
                          </a:lnTo>
                          <a:lnTo>
                            <a:pt x="134" y="62"/>
                          </a:lnTo>
                          <a:lnTo>
                            <a:pt x="140" y="62"/>
                          </a:lnTo>
                          <a:lnTo>
                            <a:pt x="145" y="59"/>
                          </a:lnTo>
                          <a:lnTo>
                            <a:pt x="149" y="62"/>
                          </a:lnTo>
                          <a:lnTo>
                            <a:pt x="147" y="65"/>
                          </a:lnTo>
                          <a:lnTo>
                            <a:pt x="149" y="71"/>
                          </a:lnTo>
                          <a:lnTo>
                            <a:pt x="158" y="84"/>
                          </a:lnTo>
                          <a:lnTo>
                            <a:pt x="165" y="90"/>
                          </a:lnTo>
                          <a:lnTo>
                            <a:pt x="177" y="95"/>
                          </a:lnTo>
                          <a:lnTo>
                            <a:pt x="188" y="98"/>
                          </a:lnTo>
                          <a:lnTo>
                            <a:pt x="200" y="103"/>
                          </a:lnTo>
                          <a:lnTo>
                            <a:pt x="212" y="107"/>
                          </a:lnTo>
                          <a:lnTo>
                            <a:pt x="226" y="107"/>
                          </a:lnTo>
                          <a:lnTo>
                            <a:pt x="222" y="111"/>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71" name="Freeform 678"/>
                    <p:cNvSpPr>
                      <a:spLocks/>
                    </p:cNvSpPr>
                    <p:nvPr/>
                  </p:nvSpPr>
                  <p:spPr bwMode="gray">
                    <a:xfrm>
                      <a:off x="6228590" y="2866427"/>
                      <a:ext cx="4641" cy="4641"/>
                    </a:xfrm>
                    <a:custGeom>
                      <a:avLst/>
                      <a:gdLst/>
                      <a:ahLst/>
                      <a:cxnLst>
                        <a:cxn ang="0">
                          <a:pos x="0" y="0"/>
                        </a:cxn>
                        <a:cxn ang="0">
                          <a:pos x="0" y="1"/>
                        </a:cxn>
                        <a:cxn ang="0">
                          <a:pos x="0" y="0"/>
                        </a:cxn>
                      </a:cxnLst>
                      <a:rect l="0" t="0" r="r" b="b"/>
                      <a:pathLst>
                        <a:path h="1">
                          <a:moveTo>
                            <a:pt x="0" y="0"/>
                          </a:moveTo>
                          <a:lnTo>
                            <a:pt x="0" y="1"/>
                          </a:lnTo>
                          <a:lnTo>
                            <a:pt x="0" y="0"/>
                          </a:lnTo>
                          <a:close/>
                        </a:path>
                      </a:pathLst>
                    </a:custGeom>
                    <a:grpFill/>
                    <a:ln w="6350" cap="rnd">
                      <a:solidFill>
                        <a:schemeClr val="bg1"/>
                      </a:solidFill>
                      <a:prstDash val="solid"/>
                      <a:round/>
                      <a:headEnd/>
                      <a:tailEnd/>
                    </a:ln>
                  </p:spPr>
                  <p:txBody>
                    <a:bodyPr/>
                    <a:lstStyle/>
                    <a:p>
                      <a:endParaRPr lang="en-US" sz="3200" dirty="0">
                        <a:solidFill>
                          <a:srgbClr val="000000"/>
                        </a:solidFill>
                        <a:latin typeface="+mj-lt"/>
                      </a:endParaRPr>
                    </a:p>
                  </p:txBody>
                </p:sp>
                <p:sp>
                  <p:nvSpPr>
                    <p:cNvPr id="472" name="Freeform 679"/>
                    <p:cNvSpPr>
                      <a:spLocks/>
                    </p:cNvSpPr>
                    <p:nvPr/>
                  </p:nvSpPr>
                  <p:spPr bwMode="gray">
                    <a:xfrm>
                      <a:off x="6228590" y="2843234"/>
                      <a:ext cx="4641" cy="4641"/>
                    </a:xfrm>
                    <a:custGeom>
                      <a:avLst/>
                      <a:gdLst/>
                      <a:ahLst/>
                      <a:cxnLst>
                        <a:cxn ang="0">
                          <a:pos x="0" y="1"/>
                        </a:cxn>
                        <a:cxn ang="0">
                          <a:pos x="1" y="1"/>
                        </a:cxn>
                        <a:cxn ang="0">
                          <a:pos x="1" y="0"/>
                        </a:cxn>
                        <a:cxn ang="0">
                          <a:pos x="0" y="1"/>
                        </a:cxn>
                      </a:cxnLst>
                      <a:rect l="0" t="0" r="r" b="b"/>
                      <a:pathLst>
                        <a:path w="1" h="1">
                          <a:moveTo>
                            <a:pt x="0" y="1"/>
                          </a:moveTo>
                          <a:lnTo>
                            <a:pt x="1" y="1"/>
                          </a:lnTo>
                          <a:lnTo>
                            <a:pt x="1" y="0"/>
                          </a:lnTo>
                          <a:lnTo>
                            <a:pt x="0" y="1"/>
                          </a:lnTo>
                          <a:close/>
                        </a:path>
                      </a:pathLst>
                    </a:custGeom>
                    <a:grpFill/>
                    <a:ln w="6350" cap="rnd">
                      <a:solidFill>
                        <a:schemeClr val="bg1"/>
                      </a:solidFill>
                      <a:prstDash val="solid"/>
                      <a:round/>
                      <a:headEnd/>
                      <a:tailEnd/>
                    </a:ln>
                  </p:spPr>
                  <p:txBody>
                    <a:bodyPr/>
                    <a:lstStyle/>
                    <a:p>
                      <a:endParaRPr lang="en-US" sz="3200" dirty="0">
                        <a:solidFill>
                          <a:srgbClr val="000000"/>
                        </a:solidFill>
                        <a:latin typeface="+mj-lt"/>
                      </a:endParaRPr>
                    </a:p>
                  </p:txBody>
                </p:sp>
                <p:sp>
                  <p:nvSpPr>
                    <p:cNvPr id="473" name="Freeform 680"/>
                    <p:cNvSpPr>
                      <a:spLocks/>
                    </p:cNvSpPr>
                    <p:nvPr/>
                  </p:nvSpPr>
                  <p:spPr bwMode="gray">
                    <a:xfrm>
                      <a:off x="6896605" y="2973126"/>
                      <a:ext cx="18556" cy="4641"/>
                    </a:xfrm>
                    <a:custGeom>
                      <a:avLst/>
                      <a:gdLst/>
                      <a:ahLst/>
                      <a:cxnLst>
                        <a:cxn ang="0">
                          <a:pos x="0" y="0"/>
                        </a:cxn>
                        <a:cxn ang="0">
                          <a:pos x="4" y="0"/>
                        </a:cxn>
                        <a:cxn ang="0">
                          <a:pos x="0" y="0"/>
                        </a:cxn>
                      </a:cxnLst>
                      <a:rect l="0" t="0" r="r" b="b"/>
                      <a:pathLst>
                        <a:path w="4">
                          <a:moveTo>
                            <a:pt x="0" y="0"/>
                          </a:moveTo>
                          <a:lnTo>
                            <a:pt x="4" y="0"/>
                          </a:lnTo>
                          <a:lnTo>
                            <a:pt x="0" y="0"/>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74" name="Freeform 681"/>
                    <p:cNvSpPr>
                      <a:spLocks/>
                    </p:cNvSpPr>
                    <p:nvPr/>
                  </p:nvSpPr>
                  <p:spPr bwMode="gray">
                    <a:xfrm>
                      <a:off x="6975469" y="2931374"/>
                      <a:ext cx="74224" cy="37112"/>
                    </a:xfrm>
                    <a:custGeom>
                      <a:avLst/>
                      <a:gdLst/>
                      <a:ahLst/>
                      <a:cxnLst>
                        <a:cxn ang="0">
                          <a:pos x="15" y="3"/>
                        </a:cxn>
                        <a:cxn ang="0">
                          <a:pos x="16" y="3"/>
                        </a:cxn>
                        <a:cxn ang="0">
                          <a:pos x="14" y="5"/>
                        </a:cxn>
                        <a:cxn ang="0">
                          <a:pos x="9" y="8"/>
                        </a:cxn>
                        <a:cxn ang="0">
                          <a:pos x="0" y="4"/>
                        </a:cxn>
                        <a:cxn ang="0">
                          <a:pos x="3" y="0"/>
                        </a:cxn>
                        <a:cxn ang="0">
                          <a:pos x="6" y="3"/>
                        </a:cxn>
                        <a:cxn ang="0">
                          <a:pos x="15" y="3"/>
                        </a:cxn>
                      </a:cxnLst>
                      <a:rect l="0" t="0" r="r" b="b"/>
                      <a:pathLst>
                        <a:path w="16" h="8">
                          <a:moveTo>
                            <a:pt x="15" y="3"/>
                          </a:moveTo>
                          <a:lnTo>
                            <a:pt x="16" y="3"/>
                          </a:lnTo>
                          <a:lnTo>
                            <a:pt x="14" y="5"/>
                          </a:lnTo>
                          <a:lnTo>
                            <a:pt x="9" y="8"/>
                          </a:lnTo>
                          <a:lnTo>
                            <a:pt x="0" y="4"/>
                          </a:lnTo>
                          <a:lnTo>
                            <a:pt x="3" y="0"/>
                          </a:lnTo>
                          <a:lnTo>
                            <a:pt x="6" y="3"/>
                          </a:lnTo>
                          <a:lnTo>
                            <a:pt x="15" y="3"/>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75" name="Freeform 682"/>
                    <p:cNvSpPr>
                      <a:spLocks/>
                    </p:cNvSpPr>
                    <p:nvPr/>
                  </p:nvSpPr>
                  <p:spPr bwMode="gray">
                    <a:xfrm>
                      <a:off x="6163645" y="2625200"/>
                      <a:ext cx="9278" cy="18556"/>
                    </a:xfrm>
                    <a:custGeom>
                      <a:avLst/>
                      <a:gdLst/>
                      <a:ahLst/>
                      <a:cxnLst>
                        <a:cxn ang="0">
                          <a:pos x="2" y="4"/>
                        </a:cxn>
                        <a:cxn ang="0">
                          <a:pos x="0" y="0"/>
                        </a:cxn>
                        <a:cxn ang="0">
                          <a:pos x="2" y="4"/>
                        </a:cxn>
                      </a:cxnLst>
                      <a:rect l="0" t="0" r="r" b="b"/>
                      <a:pathLst>
                        <a:path w="2" h="4">
                          <a:moveTo>
                            <a:pt x="2" y="4"/>
                          </a:moveTo>
                          <a:lnTo>
                            <a:pt x="0" y="0"/>
                          </a:lnTo>
                          <a:lnTo>
                            <a:pt x="2" y="4"/>
                          </a:lnTo>
                          <a:close/>
                        </a:path>
                      </a:pathLst>
                    </a:custGeom>
                    <a:grpFill/>
                    <a:ln w="6350" cap="rnd">
                      <a:solidFill>
                        <a:schemeClr val="bg1"/>
                      </a:solidFill>
                      <a:prstDash val="solid"/>
                      <a:round/>
                      <a:headEnd/>
                      <a:tailEnd/>
                    </a:ln>
                  </p:spPr>
                  <p:txBody>
                    <a:bodyPr/>
                    <a:lstStyle/>
                    <a:p>
                      <a:endParaRPr lang="en-US" sz="3200" dirty="0">
                        <a:solidFill>
                          <a:srgbClr val="000000"/>
                        </a:solidFill>
                        <a:latin typeface="+mj-lt"/>
                      </a:endParaRPr>
                    </a:p>
                  </p:txBody>
                </p:sp>
                <p:sp>
                  <p:nvSpPr>
                    <p:cNvPr id="476" name="Freeform 683"/>
                    <p:cNvSpPr>
                      <a:spLocks/>
                    </p:cNvSpPr>
                    <p:nvPr/>
                  </p:nvSpPr>
                  <p:spPr bwMode="gray">
                    <a:xfrm>
                      <a:off x="6168284" y="2620562"/>
                      <a:ext cx="4641" cy="9278"/>
                    </a:xfrm>
                    <a:custGeom>
                      <a:avLst/>
                      <a:gdLst/>
                      <a:ahLst/>
                      <a:cxnLst>
                        <a:cxn ang="0">
                          <a:pos x="0" y="0"/>
                        </a:cxn>
                        <a:cxn ang="0">
                          <a:pos x="1" y="2"/>
                        </a:cxn>
                        <a:cxn ang="0">
                          <a:pos x="0" y="0"/>
                        </a:cxn>
                      </a:cxnLst>
                      <a:rect l="0" t="0" r="r" b="b"/>
                      <a:pathLst>
                        <a:path w="1" h="2">
                          <a:moveTo>
                            <a:pt x="0" y="0"/>
                          </a:moveTo>
                          <a:lnTo>
                            <a:pt x="1" y="2"/>
                          </a:lnTo>
                          <a:lnTo>
                            <a:pt x="0" y="0"/>
                          </a:lnTo>
                          <a:close/>
                        </a:path>
                      </a:pathLst>
                    </a:custGeom>
                    <a:grpFill/>
                    <a:ln w="6350" cap="rnd">
                      <a:solidFill>
                        <a:schemeClr val="bg1"/>
                      </a:solidFill>
                      <a:prstDash val="solid"/>
                      <a:round/>
                      <a:headEnd/>
                      <a:tailEnd/>
                    </a:ln>
                  </p:spPr>
                  <p:txBody>
                    <a:bodyPr/>
                    <a:lstStyle/>
                    <a:p>
                      <a:endParaRPr lang="en-US" sz="3200" dirty="0">
                        <a:solidFill>
                          <a:srgbClr val="000000"/>
                        </a:solidFill>
                        <a:latin typeface="+mj-lt"/>
                      </a:endParaRPr>
                    </a:p>
                  </p:txBody>
                </p:sp>
                <p:sp>
                  <p:nvSpPr>
                    <p:cNvPr id="477" name="Freeform 684"/>
                    <p:cNvSpPr>
                      <a:spLocks/>
                    </p:cNvSpPr>
                    <p:nvPr/>
                  </p:nvSpPr>
                  <p:spPr bwMode="gray">
                    <a:xfrm>
                      <a:off x="6177563" y="2629841"/>
                      <a:ext cx="9278" cy="13918"/>
                    </a:xfrm>
                    <a:custGeom>
                      <a:avLst/>
                      <a:gdLst/>
                      <a:ahLst/>
                      <a:cxnLst>
                        <a:cxn ang="0">
                          <a:pos x="2" y="3"/>
                        </a:cxn>
                        <a:cxn ang="0">
                          <a:pos x="0" y="0"/>
                        </a:cxn>
                        <a:cxn ang="0">
                          <a:pos x="2" y="3"/>
                        </a:cxn>
                      </a:cxnLst>
                      <a:rect l="0" t="0" r="r" b="b"/>
                      <a:pathLst>
                        <a:path w="2" h="3">
                          <a:moveTo>
                            <a:pt x="2" y="3"/>
                          </a:moveTo>
                          <a:lnTo>
                            <a:pt x="0" y="0"/>
                          </a:lnTo>
                          <a:lnTo>
                            <a:pt x="2" y="3"/>
                          </a:lnTo>
                          <a:close/>
                        </a:path>
                      </a:pathLst>
                    </a:custGeom>
                    <a:grpFill/>
                    <a:ln w="6350" cap="rnd">
                      <a:solidFill>
                        <a:schemeClr val="bg1"/>
                      </a:solidFill>
                      <a:prstDash val="solid"/>
                      <a:round/>
                      <a:headEnd/>
                      <a:tailEnd/>
                    </a:ln>
                  </p:spPr>
                  <p:txBody>
                    <a:bodyPr/>
                    <a:lstStyle/>
                    <a:p>
                      <a:endParaRPr lang="en-US" sz="3200" dirty="0">
                        <a:solidFill>
                          <a:srgbClr val="000000"/>
                        </a:solidFill>
                        <a:latin typeface="+mj-lt"/>
                      </a:endParaRPr>
                    </a:p>
                  </p:txBody>
                </p:sp>
                <p:sp>
                  <p:nvSpPr>
                    <p:cNvPr id="478" name="Freeform 734"/>
                    <p:cNvSpPr>
                      <a:spLocks/>
                    </p:cNvSpPr>
                    <p:nvPr/>
                  </p:nvSpPr>
                  <p:spPr bwMode="gray">
                    <a:xfrm>
                      <a:off x="2081331" y="1720598"/>
                      <a:ext cx="51031" cy="46390"/>
                    </a:xfrm>
                    <a:custGeom>
                      <a:avLst/>
                      <a:gdLst/>
                      <a:ahLst/>
                      <a:cxnLst>
                        <a:cxn ang="0">
                          <a:pos x="10" y="0"/>
                        </a:cxn>
                        <a:cxn ang="0">
                          <a:pos x="0" y="4"/>
                        </a:cxn>
                        <a:cxn ang="0">
                          <a:pos x="1" y="7"/>
                        </a:cxn>
                        <a:cxn ang="0">
                          <a:pos x="4" y="10"/>
                        </a:cxn>
                        <a:cxn ang="0">
                          <a:pos x="6" y="9"/>
                        </a:cxn>
                        <a:cxn ang="0">
                          <a:pos x="7" y="4"/>
                        </a:cxn>
                        <a:cxn ang="0">
                          <a:pos x="11" y="1"/>
                        </a:cxn>
                        <a:cxn ang="0">
                          <a:pos x="10" y="0"/>
                        </a:cxn>
                      </a:cxnLst>
                      <a:rect l="0" t="0" r="r" b="b"/>
                      <a:pathLst>
                        <a:path w="11" h="10">
                          <a:moveTo>
                            <a:pt x="10" y="0"/>
                          </a:moveTo>
                          <a:lnTo>
                            <a:pt x="0" y="4"/>
                          </a:lnTo>
                          <a:lnTo>
                            <a:pt x="1" y="7"/>
                          </a:lnTo>
                          <a:lnTo>
                            <a:pt x="4" y="10"/>
                          </a:lnTo>
                          <a:lnTo>
                            <a:pt x="6" y="9"/>
                          </a:lnTo>
                          <a:lnTo>
                            <a:pt x="7" y="4"/>
                          </a:lnTo>
                          <a:lnTo>
                            <a:pt x="11" y="1"/>
                          </a:lnTo>
                          <a:lnTo>
                            <a:pt x="10" y="0"/>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79" name="Freeform 735"/>
                    <p:cNvSpPr>
                      <a:spLocks/>
                    </p:cNvSpPr>
                    <p:nvPr/>
                  </p:nvSpPr>
                  <p:spPr bwMode="gray">
                    <a:xfrm>
                      <a:off x="2160195" y="1753070"/>
                      <a:ext cx="27834" cy="37112"/>
                    </a:xfrm>
                    <a:custGeom>
                      <a:avLst/>
                      <a:gdLst/>
                      <a:ahLst/>
                      <a:cxnLst>
                        <a:cxn ang="0">
                          <a:pos x="1" y="0"/>
                        </a:cxn>
                        <a:cxn ang="0">
                          <a:pos x="0" y="6"/>
                        </a:cxn>
                        <a:cxn ang="0">
                          <a:pos x="3" y="8"/>
                        </a:cxn>
                        <a:cxn ang="0">
                          <a:pos x="6" y="5"/>
                        </a:cxn>
                        <a:cxn ang="0">
                          <a:pos x="6" y="2"/>
                        </a:cxn>
                        <a:cxn ang="0">
                          <a:pos x="1" y="0"/>
                        </a:cxn>
                      </a:cxnLst>
                      <a:rect l="0" t="0" r="r" b="b"/>
                      <a:pathLst>
                        <a:path w="6" h="8">
                          <a:moveTo>
                            <a:pt x="1" y="0"/>
                          </a:moveTo>
                          <a:lnTo>
                            <a:pt x="0" y="6"/>
                          </a:lnTo>
                          <a:lnTo>
                            <a:pt x="3" y="8"/>
                          </a:lnTo>
                          <a:lnTo>
                            <a:pt x="6" y="5"/>
                          </a:lnTo>
                          <a:lnTo>
                            <a:pt x="6" y="2"/>
                          </a:lnTo>
                          <a:lnTo>
                            <a:pt x="1" y="0"/>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80" name="Freeform 736"/>
                    <p:cNvSpPr>
                      <a:spLocks/>
                    </p:cNvSpPr>
                    <p:nvPr/>
                  </p:nvSpPr>
                  <p:spPr bwMode="gray">
                    <a:xfrm>
                      <a:off x="2257613" y="1706680"/>
                      <a:ext cx="32474" cy="55668"/>
                    </a:xfrm>
                    <a:custGeom>
                      <a:avLst/>
                      <a:gdLst/>
                      <a:ahLst/>
                      <a:cxnLst>
                        <a:cxn ang="0">
                          <a:pos x="7" y="0"/>
                        </a:cxn>
                        <a:cxn ang="0">
                          <a:pos x="6" y="0"/>
                        </a:cxn>
                        <a:cxn ang="0">
                          <a:pos x="2" y="10"/>
                        </a:cxn>
                        <a:cxn ang="0">
                          <a:pos x="0" y="12"/>
                        </a:cxn>
                        <a:cxn ang="0">
                          <a:pos x="6" y="7"/>
                        </a:cxn>
                        <a:cxn ang="0">
                          <a:pos x="7" y="0"/>
                        </a:cxn>
                      </a:cxnLst>
                      <a:rect l="0" t="0" r="r" b="b"/>
                      <a:pathLst>
                        <a:path w="7" h="12">
                          <a:moveTo>
                            <a:pt x="7" y="0"/>
                          </a:moveTo>
                          <a:lnTo>
                            <a:pt x="6" y="0"/>
                          </a:lnTo>
                          <a:lnTo>
                            <a:pt x="2" y="10"/>
                          </a:lnTo>
                          <a:lnTo>
                            <a:pt x="0" y="12"/>
                          </a:lnTo>
                          <a:lnTo>
                            <a:pt x="6" y="7"/>
                          </a:lnTo>
                          <a:lnTo>
                            <a:pt x="7" y="0"/>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81" name="Freeform 737"/>
                    <p:cNvSpPr>
                      <a:spLocks/>
                    </p:cNvSpPr>
                    <p:nvPr/>
                  </p:nvSpPr>
                  <p:spPr bwMode="gray">
                    <a:xfrm>
                      <a:off x="2290087" y="1669568"/>
                      <a:ext cx="27834" cy="23196"/>
                    </a:xfrm>
                    <a:custGeom>
                      <a:avLst/>
                      <a:gdLst/>
                      <a:ahLst/>
                      <a:cxnLst>
                        <a:cxn ang="0">
                          <a:pos x="6" y="0"/>
                        </a:cxn>
                        <a:cxn ang="0">
                          <a:pos x="3" y="2"/>
                        </a:cxn>
                        <a:cxn ang="0">
                          <a:pos x="0" y="5"/>
                        </a:cxn>
                        <a:cxn ang="0">
                          <a:pos x="5" y="4"/>
                        </a:cxn>
                        <a:cxn ang="0">
                          <a:pos x="6" y="0"/>
                        </a:cxn>
                      </a:cxnLst>
                      <a:rect l="0" t="0" r="r" b="b"/>
                      <a:pathLst>
                        <a:path w="6" h="5">
                          <a:moveTo>
                            <a:pt x="6" y="0"/>
                          </a:moveTo>
                          <a:lnTo>
                            <a:pt x="3" y="2"/>
                          </a:lnTo>
                          <a:lnTo>
                            <a:pt x="0" y="5"/>
                          </a:lnTo>
                          <a:lnTo>
                            <a:pt x="5" y="4"/>
                          </a:lnTo>
                          <a:lnTo>
                            <a:pt x="6" y="0"/>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82" name="Freeform 738"/>
                    <p:cNvSpPr>
                      <a:spLocks/>
                    </p:cNvSpPr>
                    <p:nvPr/>
                  </p:nvSpPr>
                  <p:spPr bwMode="gray">
                    <a:xfrm>
                      <a:off x="3992596" y="1275255"/>
                      <a:ext cx="18556" cy="13918"/>
                    </a:xfrm>
                    <a:custGeom>
                      <a:avLst/>
                      <a:gdLst/>
                      <a:ahLst/>
                      <a:cxnLst>
                        <a:cxn ang="0">
                          <a:pos x="2" y="0"/>
                        </a:cxn>
                        <a:cxn ang="0">
                          <a:pos x="4" y="3"/>
                        </a:cxn>
                        <a:cxn ang="0">
                          <a:pos x="0" y="3"/>
                        </a:cxn>
                        <a:cxn ang="0">
                          <a:pos x="0" y="0"/>
                        </a:cxn>
                        <a:cxn ang="0">
                          <a:pos x="2" y="0"/>
                        </a:cxn>
                      </a:cxnLst>
                      <a:rect l="0" t="0" r="r" b="b"/>
                      <a:pathLst>
                        <a:path w="4" h="3">
                          <a:moveTo>
                            <a:pt x="2" y="0"/>
                          </a:moveTo>
                          <a:lnTo>
                            <a:pt x="4" y="3"/>
                          </a:lnTo>
                          <a:lnTo>
                            <a:pt x="0" y="3"/>
                          </a:lnTo>
                          <a:lnTo>
                            <a:pt x="0" y="0"/>
                          </a:lnTo>
                          <a:lnTo>
                            <a:pt x="2" y="0"/>
                          </a:lnTo>
                          <a:close/>
                        </a:path>
                      </a:pathLst>
                    </a:custGeom>
                    <a:grpFill/>
                    <a:ln w="6350" cap="rnd">
                      <a:solidFill>
                        <a:schemeClr val="bg1"/>
                      </a:solidFill>
                      <a:prstDash val="solid"/>
                      <a:round/>
                      <a:headEnd/>
                      <a:tailEnd/>
                    </a:ln>
                  </p:spPr>
                  <p:txBody>
                    <a:bodyPr/>
                    <a:lstStyle/>
                    <a:p>
                      <a:endParaRPr lang="en-US" sz="3200" dirty="0">
                        <a:solidFill>
                          <a:srgbClr val="000000"/>
                        </a:solidFill>
                        <a:latin typeface="+mj-lt"/>
                      </a:endParaRPr>
                    </a:p>
                  </p:txBody>
                </p:sp>
                <p:sp>
                  <p:nvSpPr>
                    <p:cNvPr id="483" name="Freeform 739"/>
                    <p:cNvSpPr>
                      <a:spLocks/>
                    </p:cNvSpPr>
                    <p:nvPr/>
                  </p:nvSpPr>
                  <p:spPr bwMode="gray">
                    <a:xfrm>
                      <a:off x="6033753" y="2690146"/>
                      <a:ext cx="13918" cy="4641"/>
                    </a:xfrm>
                    <a:custGeom>
                      <a:avLst/>
                      <a:gdLst/>
                      <a:ahLst/>
                      <a:cxnLst>
                        <a:cxn ang="0">
                          <a:pos x="2" y="0"/>
                        </a:cxn>
                        <a:cxn ang="0">
                          <a:pos x="0" y="0"/>
                        </a:cxn>
                        <a:cxn ang="0">
                          <a:pos x="3" y="1"/>
                        </a:cxn>
                        <a:cxn ang="0">
                          <a:pos x="2" y="0"/>
                        </a:cxn>
                      </a:cxnLst>
                      <a:rect l="0" t="0" r="r" b="b"/>
                      <a:pathLst>
                        <a:path w="3" h="1">
                          <a:moveTo>
                            <a:pt x="2" y="0"/>
                          </a:moveTo>
                          <a:lnTo>
                            <a:pt x="0" y="0"/>
                          </a:lnTo>
                          <a:lnTo>
                            <a:pt x="3" y="1"/>
                          </a:lnTo>
                          <a:lnTo>
                            <a:pt x="2" y="0"/>
                          </a:lnTo>
                          <a:close/>
                        </a:path>
                      </a:pathLst>
                    </a:custGeom>
                    <a:grpFill/>
                    <a:ln w="6350" cap="rnd">
                      <a:solidFill>
                        <a:schemeClr val="bg1"/>
                      </a:solidFill>
                      <a:prstDash val="solid"/>
                      <a:round/>
                      <a:headEnd/>
                      <a:tailEnd/>
                    </a:ln>
                  </p:spPr>
                  <p:txBody>
                    <a:bodyPr/>
                    <a:lstStyle/>
                    <a:p>
                      <a:endParaRPr lang="en-US" sz="3200" dirty="0">
                        <a:solidFill>
                          <a:srgbClr val="000000"/>
                        </a:solidFill>
                        <a:latin typeface="+mj-lt"/>
                      </a:endParaRPr>
                    </a:p>
                  </p:txBody>
                </p:sp>
                <p:sp>
                  <p:nvSpPr>
                    <p:cNvPr id="484" name="Freeform 740"/>
                    <p:cNvSpPr>
                      <a:spLocks/>
                    </p:cNvSpPr>
                    <p:nvPr/>
                  </p:nvSpPr>
                  <p:spPr bwMode="gray">
                    <a:xfrm>
                      <a:off x="6029114" y="2699423"/>
                      <a:ext cx="41753" cy="23196"/>
                    </a:xfrm>
                    <a:custGeom>
                      <a:avLst/>
                      <a:gdLst/>
                      <a:ahLst/>
                      <a:cxnLst>
                        <a:cxn ang="0">
                          <a:pos x="5" y="4"/>
                        </a:cxn>
                        <a:cxn ang="0">
                          <a:pos x="3" y="0"/>
                        </a:cxn>
                        <a:cxn ang="0">
                          <a:pos x="0" y="1"/>
                        </a:cxn>
                        <a:cxn ang="0">
                          <a:pos x="3" y="3"/>
                        </a:cxn>
                        <a:cxn ang="0">
                          <a:pos x="3" y="4"/>
                        </a:cxn>
                        <a:cxn ang="0">
                          <a:pos x="1" y="4"/>
                        </a:cxn>
                        <a:cxn ang="0">
                          <a:pos x="3" y="5"/>
                        </a:cxn>
                        <a:cxn ang="0">
                          <a:pos x="9" y="5"/>
                        </a:cxn>
                        <a:cxn ang="0">
                          <a:pos x="5" y="4"/>
                        </a:cxn>
                      </a:cxnLst>
                      <a:rect l="0" t="0" r="r" b="b"/>
                      <a:pathLst>
                        <a:path w="9" h="5">
                          <a:moveTo>
                            <a:pt x="5" y="4"/>
                          </a:moveTo>
                          <a:lnTo>
                            <a:pt x="3" y="0"/>
                          </a:lnTo>
                          <a:lnTo>
                            <a:pt x="0" y="1"/>
                          </a:lnTo>
                          <a:lnTo>
                            <a:pt x="3" y="3"/>
                          </a:lnTo>
                          <a:lnTo>
                            <a:pt x="3" y="4"/>
                          </a:lnTo>
                          <a:lnTo>
                            <a:pt x="1" y="4"/>
                          </a:lnTo>
                          <a:lnTo>
                            <a:pt x="3" y="5"/>
                          </a:lnTo>
                          <a:lnTo>
                            <a:pt x="9" y="5"/>
                          </a:lnTo>
                          <a:lnTo>
                            <a:pt x="5" y="4"/>
                          </a:lnTo>
                          <a:close/>
                        </a:path>
                      </a:pathLst>
                    </a:custGeom>
                    <a:grpFill/>
                    <a:ln w="6350" cap="rnd">
                      <a:solidFill>
                        <a:schemeClr val="bg1"/>
                      </a:solidFill>
                      <a:prstDash val="solid"/>
                      <a:round/>
                      <a:headEnd/>
                      <a:tailEnd/>
                    </a:ln>
                  </p:spPr>
                  <p:txBody>
                    <a:bodyPr/>
                    <a:lstStyle/>
                    <a:p>
                      <a:endParaRPr lang="en-US" sz="3200" dirty="0">
                        <a:solidFill>
                          <a:srgbClr val="000000"/>
                        </a:solidFill>
                        <a:latin typeface="+mj-lt"/>
                      </a:endParaRPr>
                    </a:p>
                  </p:txBody>
                </p:sp>
                <p:sp>
                  <p:nvSpPr>
                    <p:cNvPr id="485" name="Freeform 741"/>
                    <p:cNvSpPr>
                      <a:spLocks/>
                    </p:cNvSpPr>
                    <p:nvPr/>
                  </p:nvSpPr>
                  <p:spPr bwMode="gray">
                    <a:xfrm>
                      <a:off x="6024475" y="4197820"/>
                      <a:ext cx="9278" cy="37112"/>
                    </a:xfrm>
                    <a:custGeom>
                      <a:avLst/>
                      <a:gdLst/>
                      <a:ahLst/>
                      <a:cxnLst>
                        <a:cxn ang="0">
                          <a:pos x="2" y="4"/>
                        </a:cxn>
                        <a:cxn ang="0">
                          <a:pos x="2" y="8"/>
                        </a:cxn>
                        <a:cxn ang="0">
                          <a:pos x="0" y="7"/>
                        </a:cxn>
                        <a:cxn ang="0">
                          <a:pos x="0" y="0"/>
                        </a:cxn>
                        <a:cxn ang="0">
                          <a:pos x="2" y="0"/>
                        </a:cxn>
                        <a:cxn ang="0">
                          <a:pos x="2" y="4"/>
                        </a:cxn>
                      </a:cxnLst>
                      <a:rect l="0" t="0" r="r" b="b"/>
                      <a:pathLst>
                        <a:path w="2" h="8">
                          <a:moveTo>
                            <a:pt x="2" y="4"/>
                          </a:moveTo>
                          <a:lnTo>
                            <a:pt x="2" y="8"/>
                          </a:lnTo>
                          <a:lnTo>
                            <a:pt x="0" y="7"/>
                          </a:lnTo>
                          <a:lnTo>
                            <a:pt x="0" y="0"/>
                          </a:lnTo>
                          <a:lnTo>
                            <a:pt x="2" y="0"/>
                          </a:lnTo>
                          <a:lnTo>
                            <a:pt x="2" y="4"/>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86" name="Freeform 742"/>
                    <p:cNvSpPr>
                      <a:spLocks/>
                    </p:cNvSpPr>
                    <p:nvPr/>
                  </p:nvSpPr>
                  <p:spPr bwMode="gray">
                    <a:xfrm>
                      <a:off x="5996640" y="4258125"/>
                      <a:ext cx="23196" cy="51031"/>
                    </a:xfrm>
                    <a:custGeom>
                      <a:avLst/>
                      <a:gdLst/>
                      <a:ahLst/>
                      <a:cxnLst>
                        <a:cxn ang="0">
                          <a:pos x="0" y="0"/>
                        </a:cxn>
                        <a:cxn ang="0">
                          <a:pos x="5" y="11"/>
                        </a:cxn>
                        <a:cxn ang="0">
                          <a:pos x="0" y="8"/>
                        </a:cxn>
                        <a:cxn ang="0">
                          <a:pos x="0" y="0"/>
                        </a:cxn>
                      </a:cxnLst>
                      <a:rect l="0" t="0" r="r" b="b"/>
                      <a:pathLst>
                        <a:path w="5" h="11">
                          <a:moveTo>
                            <a:pt x="0" y="0"/>
                          </a:moveTo>
                          <a:lnTo>
                            <a:pt x="5" y="11"/>
                          </a:lnTo>
                          <a:lnTo>
                            <a:pt x="0" y="8"/>
                          </a:lnTo>
                          <a:lnTo>
                            <a:pt x="0" y="0"/>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87" name="Freeform 744"/>
                    <p:cNvSpPr>
                      <a:spLocks/>
                    </p:cNvSpPr>
                    <p:nvPr/>
                  </p:nvSpPr>
                  <p:spPr bwMode="gray">
                    <a:xfrm>
                      <a:off x="6265702" y="4666357"/>
                      <a:ext cx="18556" cy="37112"/>
                    </a:xfrm>
                    <a:custGeom>
                      <a:avLst/>
                      <a:gdLst/>
                      <a:ahLst/>
                      <a:cxnLst>
                        <a:cxn ang="0">
                          <a:pos x="2" y="0"/>
                        </a:cxn>
                        <a:cxn ang="0">
                          <a:pos x="4" y="8"/>
                        </a:cxn>
                        <a:cxn ang="0">
                          <a:pos x="0" y="4"/>
                        </a:cxn>
                        <a:cxn ang="0">
                          <a:pos x="0" y="1"/>
                        </a:cxn>
                        <a:cxn ang="0">
                          <a:pos x="2" y="0"/>
                        </a:cxn>
                      </a:cxnLst>
                      <a:rect l="0" t="0" r="r" b="b"/>
                      <a:pathLst>
                        <a:path w="4" h="8">
                          <a:moveTo>
                            <a:pt x="2" y="0"/>
                          </a:moveTo>
                          <a:lnTo>
                            <a:pt x="4" y="8"/>
                          </a:lnTo>
                          <a:lnTo>
                            <a:pt x="0" y="4"/>
                          </a:lnTo>
                          <a:lnTo>
                            <a:pt x="0" y="1"/>
                          </a:lnTo>
                          <a:lnTo>
                            <a:pt x="2" y="0"/>
                          </a:lnTo>
                          <a:close/>
                        </a:path>
                      </a:pathLst>
                    </a:custGeom>
                    <a:grpFill/>
                    <a:ln w="6350" cap="rnd">
                      <a:solidFill>
                        <a:schemeClr val="bg1"/>
                      </a:solidFill>
                      <a:prstDash val="solid"/>
                      <a:round/>
                      <a:headEnd/>
                      <a:tailEnd/>
                    </a:ln>
                  </p:spPr>
                  <p:txBody>
                    <a:bodyPr/>
                    <a:lstStyle/>
                    <a:p>
                      <a:endParaRPr lang="en-US" sz="3200" dirty="0">
                        <a:solidFill>
                          <a:srgbClr val="000000"/>
                        </a:solidFill>
                        <a:latin typeface="+mj-lt"/>
                      </a:endParaRPr>
                    </a:p>
                  </p:txBody>
                </p:sp>
                <p:sp>
                  <p:nvSpPr>
                    <p:cNvPr id="488" name="Freeform 745"/>
                    <p:cNvSpPr>
                      <a:spLocks/>
                    </p:cNvSpPr>
                    <p:nvPr/>
                  </p:nvSpPr>
                  <p:spPr bwMode="gray">
                    <a:xfrm>
                      <a:off x="6293535" y="4731302"/>
                      <a:ext cx="18556" cy="9278"/>
                    </a:xfrm>
                    <a:custGeom>
                      <a:avLst/>
                      <a:gdLst/>
                      <a:ahLst/>
                      <a:cxnLst>
                        <a:cxn ang="0">
                          <a:pos x="4" y="2"/>
                        </a:cxn>
                        <a:cxn ang="0">
                          <a:pos x="0" y="0"/>
                        </a:cxn>
                        <a:cxn ang="0">
                          <a:pos x="4" y="2"/>
                        </a:cxn>
                      </a:cxnLst>
                      <a:rect l="0" t="0" r="r" b="b"/>
                      <a:pathLst>
                        <a:path w="4" h="2">
                          <a:moveTo>
                            <a:pt x="4" y="2"/>
                          </a:moveTo>
                          <a:lnTo>
                            <a:pt x="0" y="0"/>
                          </a:lnTo>
                          <a:lnTo>
                            <a:pt x="4" y="2"/>
                          </a:lnTo>
                          <a:close/>
                        </a:path>
                      </a:pathLst>
                    </a:custGeom>
                    <a:grpFill/>
                    <a:ln w="6350" cap="rnd">
                      <a:solidFill>
                        <a:schemeClr val="bg1"/>
                      </a:solidFill>
                      <a:prstDash val="solid"/>
                      <a:round/>
                      <a:headEnd/>
                      <a:tailEnd/>
                    </a:ln>
                  </p:spPr>
                  <p:txBody>
                    <a:bodyPr/>
                    <a:lstStyle/>
                    <a:p>
                      <a:endParaRPr lang="en-US" sz="3200" dirty="0">
                        <a:solidFill>
                          <a:srgbClr val="000000"/>
                        </a:solidFill>
                        <a:latin typeface="+mj-lt"/>
                      </a:endParaRPr>
                    </a:p>
                  </p:txBody>
                </p:sp>
                <p:sp>
                  <p:nvSpPr>
                    <p:cNvPr id="489" name="Freeform 746"/>
                    <p:cNvSpPr>
                      <a:spLocks/>
                    </p:cNvSpPr>
                    <p:nvPr/>
                  </p:nvSpPr>
                  <p:spPr bwMode="gray">
                    <a:xfrm>
                      <a:off x="6339925" y="4722024"/>
                      <a:ext cx="13918" cy="23196"/>
                    </a:xfrm>
                    <a:custGeom>
                      <a:avLst/>
                      <a:gdLst/>
                      <a:ahLst/>
                      <a:cxnLst>
                        <a:cxn ang="0">
                          <a:pos x="3" y="0"/>
                        </a:cxn>
                        <a:cxn ang="0">
                          <a:pos x="3" y="5"/>
                        </a:cxn>
                        <a:cxn ang="0">
                          <a:pos x="0" y="1"/>
                        </a:cxn>
                        <a:cxn ang="0">
                          <a:pos x="3" y="0"/>
                        </a:cxn>
                      </a:cxnLst>
                      <a:rect l="0" t="0" r="r" b="b"/>
                      <a:pathLst>
                        <a:path w="3" h="5">
                          <a:moveTo>
                            <a:pt x="3" y="0"/>
                          </a:moveTo>
                          <a:lnTo>
                            <a:pt x="3" y="5"/>
                          </a:lnTo>
                          <a:lnTo>
                            <a:pt x="0" y="1"/>
                          </a:lnTo>
                          <a:lnTo>
                            <a:pt x="3" y="0"/>
                          </a:lnTo>
                          <a:close/>
                        </a:path>
                      </a:pathLst>
                    </a:custGeom>
                    <a:grpFill/>
                    <a:ln w="6350" cap="rnd">
                      <a:solidFill>
                        <a:schemeClr val="bg1"/>
                      </a:solidFill>
                      <a:prstDash val="solid"/>
                      <a:round/>
                      <a:headEnd/>
                      <a:tailEnd/>
                    </a:ln>
                  </p:spPr>
                  <p:txBody>
                    <a:bodyPr/>
                    <a:lstStyle/>
                    <a:p>
                      <a:endParaRPr lang="en-US" sz="3200" dirty="0">
                        <a:solidFill>
                          <a:srgbClr val="000000"/>
                        </a:solidFill>
                        <a:latin typeface="+mj-lt"/>
                      </a:endParaRPr>
                    </a:p>
                  </p:txBody>
                </p:sp>
                <p:sp>
                  <p:nvSpPr>
                    <p:cNvPr id="490" name="Freeform 747"/>
                    <p:cNvSpPr>
                      <a:spLocks/>
                    </p:cNvSpPr>
                    <p:nvPr/>
                  </p:nvSpPr>
                  <p:spPr bwMode="gray">
                    <a:xfrm>
                      <a:off x="6395594" y="4768414"/>
                      <a:ext cx="9278" cy="13918"/>
                    </a:xfrm>
                    <a:custGeom>
                      <a:avLst/>
                      <a:gdLst/>
                      <a:ahLst/>
                      <a:cxnLst>
                        <a:cxn ang="0">
                          <a:pos x="2" y="1"/>
                        </a:cxn>
                        <a:cxn ang="0">
                          <a:pos x="2" y="3"/>
                        </a:cxn>
                        <a:cxn ang="0">
                          <a:pos x="1" y="3"/>
                        </a:cxn>
                        <a:cxn ang="0">
                          <a:pos x="0" y="0"/>
                        </a:cxn>
                        <a:cxn ang="0">
                          <a:pos x="2" y="1"/>
                        </a:cxn>
                      </a:cxnLst>
                      <a:rect l="0" t="0" r="r" b="b"/>
                      <a:pathLst>
                        <a:path w="2" h="3">
                          <a:moveTo>
                            <a:pt x="2" y="1"/>
                          </a:moveTo>
                          <a:lnTo>
                            <a:pt x="2" y="3"/>
                          </a:lnTo>
                          <a:lnTo>
                            <a:pt x="1" y="3"/>
                          </a:lnTo>
                          <a:lnTo>
                            <a:pt x="0" y="0"/>
                          </a:lnTo>
                          <a:lnTo>
                            <a:pt x="2" y="1"/>
                          </a:lnTo>
                          <a:close/>
                        </a:path>
                      </a:pathLst>
                    </a:custGeom>
                    <a:grpFill/>
                    <a:ln w="6350" cap="rnd">
                      <a:solidFill>
                        <a:schemeClr val="bg1"/>
                      </a:solidFill>
                      <a:prstDash val="solid"/>
                      <a:round/>
                      <a:headEnd/>
                      <a:tailEnd/>
                    </a:ln>
                  </p:spPr>
                  <p:txBody>
                    <a:bodyPr/>
                    <a:lstStyle/>
                    <a:p>
                      <a:endParaRPr lang="en-US" sz="3200" dirty="0">
                        <a:solidFill>
                          <a:srgbClr val="000000"/>
                        </a:solidFill>
                        <a:latin typeface="+mj-lt"/>
                      </a:endParaRPr>
                    </a:p>
                  </p:txBody>
                </p:sp>
                <p:sp>
                  <p:nvSpPr>
                    <p:cNvPr id="491" name="Freeform 748"/>
                    <p:cNvSpPr>
                      <a:spLocks/>
                    </p:cNvSpPr>
                    <p:nvPr/>
                  </p:nvSpPr>
                  <p:spPr bwMode="gray">
                    <a:xfrm>
                      <a:off x="6483736" y="4522549"/>
                      <a:ext cx="13918" cy="4641"/>
                    </a:xfrm>
                    <a:custGeom>
                      <a:avLst/>
                      <a:gdLst/>
                      <a:ahLst/>
                      <a:cxnLst>
                        <a:cxn ang="0">
                          <a:pos x="2" y="0"/>
                        </a:cxn>
                        <a:cxn ang="0">
                          <a:pos x="0" y="1"/>
                        </a:cxn>
                        <a:cxn ang="0">
                          <a:pos x="2" y="1"/>
                        </a:cxn>
                        <a:cxn ang="0">
                          <a:pos x="3" y="0"/>
                        </a:cxn>
                        <a:cxn ang="0">
                          <a:pos x="2" y="0"/>
                        </a:cxn>
                      </a:cxnLst>
                      <a:rect l="0" t="0" r="r" b="b"/>
                      <a:pathLst>
                        <a:path w="3" h="1">
                          <a:moveTo>
                            <a:pt x="2" y="0"/>
                          </a:moveTo>
                          <a:lnTo>
                            <a:pt x="0" y="1"/>
                          </a:lnTo>
                          <a:lnTo>
                            <a:pt x="2" y="1"/>
                          </a:lnTo>
                          <a:lnTo>
                            <a:pt x="3" y="0"/>
                          </a:lnTo>
                          <a:lnTo>
                            <a:pt x="2" y="0"/>
                          </a:lnTo>
                          <a:close/>
                        </a:path>
                      </a:pathLst>
                    </a:custGeom>
                    <a:grpFill/>
                    <a:ln w="6350" cap="rnd">
                      <a:solidFill>
                        <a:schemeClr val="bg1"/>
                      </a:solidFill>
                      <a:prstDash val="solid"/>
                      <a:round/>
                      <a:headEnd/>
                      <a:tailEnd/>
                    </a:ln>
                  </p:spPr>
                  <p:txBody>
                    <a:bodyPr/>
                    <a:lstStyle/>
                    <a:p>
                      <a:endParaRPr lang="en-US" sz="3200" dirty="0">
                        <a:solidFill>
                          <a:srgbClr val="000000"/>
                        </a:solidFill>
                        <a:latin typeface="+mj-lt"/>
                      </a:endParaRPr>
                    </a:p>
                  </p:txBody>
                </p:sp>
                <p:sp>
                  <p:nvSpPr>
                    <p:cNvPr id="492" name="Freeform 749"/>
                    <p:cNvSpPr>
                      <a:spLocks/>
                    </p:cNvSpPr>
                    <p:nvPr/>
                  </p:nvSpPr>
                  <p:spPr bwMode="gray">
                    <a:xfrm>
                      <a:off x="6261064" y="4726665"/>
                      <a:ext cx="496374" cy="1015941"/>
                    </a:xfrm>
                    <a:custGeom>
                      <a:avLst/>
                      <a:gdLst/>
                      <a:ahLst/>
                      <a:cxnLst>
                        <a:cxn ang="0">
                          <a:pos x="19" y="63"/>
                        </a:cxn>
                        <a:cxn ang="0">
                          <a:pos x="29" y="60"/>
                        </a:cxn>
                        <a:cxn ang="0">
                          <a:pos x="32" y="60"/>
                        </a:cxn>
                        <a:cxn ang="0">
                          <a:pos x="36" y="58"/>
                        </a:cxn>
                        <a:cxn ang="0">
                          <a:pos x="42" y="57"/>
                        </a:cxn>
                        <a:cxn ang="0">
                          <a:pos x="50" y="61"/>
                        </a:cxn>
                        <a:cxn ang="0">
                          <a:pos x="48" y="54"/>
                        </a:cxn>
                        <a:cxn ang="0">
                          <a:pos x="55" y="49"/>
                        </a:cxn>
                        <a:cxn ang="0">
                          <a:pos x="60" y="52"/>
                        </a:cxn>
                        <a:cxn ang="0">
                          <a:pos x="61" y="42"/>
                        </a:cxn>
                        <a:cxn ang="0">
                          <a:pos x="62" y="44"/>
                        </a:cxn>
                        <a:cxn ang="0">
                          <a:pos x="70" y="39"/>
                        </a:cxn>
                        <a:cxn ang="0">
                          <a:pos x="69" y="30"/>
                        </a:cxn>
                        <a:cxn ang="0">
                          <a:pos x="69" y="22"/>
                        </a:cxn>
                        <a:cxn ang="0">
                          <a:pos x="73" y="22"/>
                        </a:cxn>
                        <a:cxn ang="0">
                          <a:pos x="78" y="17"/>
                        </a:cxn>
                        <a:cxn ang="0">
                          <a:pos x="82" y="17"/>
                        </a:cxn>
                        <a:cxn ang="0">
                          <a:pos x="82" y="4"/>
                        </a:cxn>
                        <a:cxn ang="0">
                          <a:pos x="88" y="0"/>
                        </a:cxn>
                        <a:cxn ang="0">
                          <a:pos x="107" y="52"/>
                        </a:cxn>
                        <a:cxn ang="0">
                          <a:pos x="103" y="59"/>
                        </a:cxn>
                        <a:cxn ang="0">
                          <a:pos x="98" y="52"/>
                        </a:cxn>
                        <a:cxn ang="0">
                          <a:pos x="99" y="70"/>
                        </a:cxn>
                        <a:cxn ang="0">
                          <a:pos x="91" y="103"/>
                        </a:cxn>
                        <a:cxn ang="0">
                          <a:pos x="64" y="193"/>
                        </a:cxn>
                        <a:cxn ang="0">
                          <a:pos x="57" y="208"/>
                        </a:cxn>
                        <a:cxn ang="0">
                          <a:pos x="42" y="212"/>
                        </a:cxn>
                        <a:cxn ang="0">
                          <a:pos x="13" y="208"/>
                        </a:cxn>
                        <a:cxn ang="0">
                          <a:pos x="6" y="192"/>
                        </a:cxn>
                        <a:cxn ang="0">
                          <a:pos x="5" y="176"/>
                        </a:cxn>
                        <a:cxn ang="0">
                          <a:pos x="0" y="156"/>
                        </a:cxn>
                        <a:cxn ang="0">
                          <a:pos x="6" y="146"/>
                        </a:cxn>
                        <a:cxn ang="0">
                          <a:pos x="11" y="138"/>
                        </a:cxn>
                        <a:cxn ang="0">
                          <a:pos x="19" y="118"/>
                        </a:cxn>
                        <a:cxn ang="0">
                          <a:pos x="13" y="90"/>
                        </a:cxn>
                        <a:cxn ang="0">
                          <a:pos x="18" y="69"/>
                        </a:cxn>
                      </a:cxnLst>
                      <a:rect l="0" t="0" r="r" b="b"/>
                      <a:pathLst>
                        <a:path w="107" h="219">
                          <a:moveTo>
                            <a:pt x="18" y="65"/>
                          </a:moveTo>
                          <a:lnTo>
                            <a:pt x="19" y="63"/>
                          </a:lnTo>
                          <a:lnTo>
                            <a:pt x="25" y="63"/>
                          </a:lnTo>
                          <a:lnTo>
                            <a:pt x="29" y="60"/>
                          </a:lnTo>
                          <a:lnTo>
                            <a:pt x="31" y="63"/>
                          </a:lnTo>
                          <a:lnTo>
                            <a:pt x="32" y="60"/>
                          </a:lnTo>
                          <a:lnTo>
                            <a:pt x="34" y="61"/>
                          </a:lnTo>
                          <a:lnTo>
                            <a:pt x="36" y="58"/>
                          </a:lnTo>
                          <a:lnTo>
                            <a:pt x="39" y="58"/>
                          </a:lnTo>
                          <a:lnTo>
                            <a:pt x="42" y="57"/>
                          </a:lnTo>
                          <a:lnTo>
                            <a:pt x="47" y="61"/>
                          </a:lnTo>
                          <a:lnTo>
                            <a:pt x="50" y="61"/>
                          </a:lnTo>
                          <a:lnTo>
                            <a:pt x="47" y="57"/>
                          </a:lnTo>
                          <a:lnTo>
                            <a:pt x="48" y="54"/>
                          </a:lnTo>
                          <a:lnTo>
                            <a:pt x="54" y="48"/>
                          </a:lnTo>
                          <a:lnTo>
                            <a:pt x="55" y="49"/>
                          </a:lnTo>
                          <a:lnTo>
                            <a:pt x="56" y="53"/>
                          </a:lnTo>
                          <a:lnTo>
                            <a:pt x="60" y="52"/>
                          </a:lnTo>
                          <a:lnTo>
                            <a:pt x="57" y="47"/>
                          </a:lnTo>
                          <a:lnTo>
                            <a:pt x="61" y="42"/>
                          </a:lnTo>
                          <a:lnTo>
                            <a:pt x="62" y="39"/>
                          </a:lnTo>
                          <a:lnTo>
                            <a:pt x="62" y="44"/>
                          </a:lnTo>
                          <a:lnTo>
                            <a:pt x="67" y="39"/>
                          </a:lnTo>
                          <a:lnTo>
                            <a:pt x="70" y="39"/>
                          </a:lnTo>
                          <a:lnTo>
                            <a:pt x="66" y="34"/>
                          </a:lnTo>
                          <a:lnTo>
                            <a:pt x="69" y="30"/>
                          </a:lnTo>
                          <a:lnTo>
                            <a:pt x="70" y="32"/>
                          </a:lnTo>
                          <a:lnTo>
                            <a:pt x="69" y="22"/>
                          </a:lnTo>
                          <a:lnTo>
                            <a:pt x="70" y="21"/>
                          </a:lnTo>
                          <a:lnTo>
                            <a:pt x="73" y="22"/>
                          </a:lnTo>
                          <a:lnTo>
                            <a:pt x="74" y="26"/>
                          </a:lnTo>
                          <a:lnTo>
                            <a:pt x="78" y="17"/>
                          </a:lnTo>
                          <a:lnTo>
                            <a:pt x="80" y="18"/>
                          </a:lnTo>
                          <a:lnTo>
                            <a:pt x="82" y="17"/>
                          </a:lnTo>
                          <a:lnTo>
                            <a:pt x="84" y="6"/>
                          </a:lnTo>
                          <a:lnTo>
                            <a:pt x="82" y="4"/>
                          </a:lnTo>
                          <a:lnTo>
                            <a:pt x="84" y="5"/>
                          </a:lnTo>
                          <a:lnTo>
                            <a:pt x="88" y="0"/>
                          </a:lnTo>
                          <a:lnTo>
                            <a:pt x="99" y="12"/>
                          </a:lnTo>
                          <a:lnTo>
                            <a:pt x="107" y="52"/>
                          </a:lnTo>
                          <a:lnTo>
                            <a:pt x="105" y="59"/>
                          </a:lnTo>
                          <a:lnTo>
                            <a:pt x="103" y="59"/>
                          </a:lnTo>
                          <a:lnTo>
                            <a:pt x="100" y="52"/>
                          </a:lnTo>
                          <a:lnTo>
                            <a:pt x="98" y="52"/>
                          </a:lnTo>
                          <a:lnTo>
                            <a:pt x="97" y="63"/>
                          </a:lnTo>
                          <a:lnTo>
                            <a:pt x="99" y="70"/>
                          </a:lnTo>
                          <a:lnTo>
                            <a:pt x="93" y="80"/>
                          </a:lnTo>
                          <a:lnTo>
                            <a:pt x="91" y="103"/>
                          </a:lnTo>
                          <a:lnTo>
                            <a:pt x="79" y="138"/>
                          </a:lnTo>
                          <a:lnTo>
                            <a:pt x="64" y="193"/>
                          </a:lnTo>
                          <a:lnTo>
                            <a:pt x="61" y="201"/>
                          </a:lnTo>
                          <a:lnTo>
                            <a:pt x="57" y="208"/>
                          </a:lnTo>
                          <a:lnTo>
                            <a:pt x="53" y="211"/>
                          </a:lnTo>
                          <a:lnTo>
                            <a:pt x="42" y="212"/>
                          </a:lnTo>
                          <a:lnTo>
                            <a:pt x="29" y="219"/>
                          </a:lnTo>
                          <a:lnTo>
                            <a:pt x="13" y="208"/>
                          </a:lnTo>
                          <a:lnTo>
                            <a:pt x="9" y="201"/>
                          </a:lnTo>
                          <a:lnTo>
                            <a:pt x="6" y="192"/>
                          </a:lnTo>
                          <a:lnTo>
                            <a:pt x="7" y="184"/>
                          </a:lnTo>
                          <a:lnTo>
                            <a:pt x="5" y="176"/>
                          </a:lnTo>
                          <a:lnTo>
                            <a:pt x="0" y="169"/>
                          </a:lnTo>
                          <a:lnTo>
                            <a:pt x="0" y="156"/>
                          </a:lnTo>
                          <a:lnTo>
                            <a:pt x="4" y="149"/>
                          </a:lnTo>
                          <a:lnTo>
                            <a:pt x="6" y="146"/>
                          </a:lnTo>
                          <a:lnTo>
                            <a:pt x="7" y="145"/>
                          </a:lnTo>
                          <a:lnTo>
                            <a:pt x="11" y="138"/>
                          </a:lnTo>
                          <a:lnTo>
                            <a:pt x="19" y="123"/>
                          </a:lnTo>
                          <a:lnTo>
                            <a:pt x="19" y="118"/>
                          </a:lnTo>
                          <a:lnTo>
                            <a:pt x="14" y="106"/>
                          </a:lnTo>
                          <a:lnTo>
                            <a:pt x="13" y="90"/>
                          </a:lnTo>
                          <a:lnTo>
                            <a:pt x="10" y="85"/>
                          </a:lnTo>
                          <a:lnTo>
                            <a:pt x="18" y="69"/>
                          </a:lnTo>
                          <a:lnTo>
                            <a:pt x="18" y="65"/>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93" name="Freeform 752"/>
                    <p:cNvSpPr>
                      <a:spLocks/>
                    </p:cNvSpPr>
                    <p:nvPr/>
                  </p:nvSpPr>
                  <p:spPr bwMode="gray">
                    <a:xfrm>
                      <a:off x="3904457" y="3692168"/>
                      <a:ext cx="134533" cy="88143"/>
                    </a:xfrm>
                    <a:custGeom>
                      <a:avLst/>
                      <a:gdLst/>
                      <a:ahLst/>
                      <a:cxnLst>
                        <a:cxn ang="0">
                          <a:pos x="29" y="0"/>
                        </a:cxn>
                        <a:cxn ang="0">
                          <a:pos x="5" y="1"/>
                        </a:cxn>
                        <a:cxn ang="0">
                          <a:pos x="2" y="9"/>
                        </a:cxn>
                        <a:cxn ang="0">
                          <a:pos x="0" y="16"/>
                        </a:cxn>
                        <a:cxn ang="0">
                          <a:pos x="4" y="17"/>
                        </a:cxn>
                        <a:cxn ang="0">
                          <a:pos x="2" y="19"/>
                        </a:cxn>
                        <a:cxn ang="0">
                          <a:pos x="10" y="17"/>
                        </a:cxn>
                        <a:cxn ang="0">
                          <a:pos x="29" y="17"/>
                        </a:cxn>
                        <a:cxn ang="0">
                          <a:pos x="27" y="3"/>
                        </a:cxn>
                        <a:cxn ang="0">
                          <a:pos x="29" y="0"/>
                        </a:cxn>
                      </a:cxnLst>
                      <a:rect l="0" t="0" r="r" b="b"/>
                      <a:pathLst>
                        <a:path w="29" h="19">
                          <a:moveTo>
                            <a:pt x="29" y="0"/>
                          </a:moveTo>
                          <a:lnTo>
                            <a:pt x="5" y="1"/>
                          </a:lnTo>
                          <a:lnTo>
                            <a:pt x="2" y="9"/>
                          </a:lnTo>
                          <a:lnTo>
                            <a:pt x="0" y="16"/>
                          </a:lnTo>
                          <a:lnTo>
                            <a:pt x="4" y="17"/>
                          </a:lnTo>
                          <a:lnTo>
                            <a:pt x="2" y="19"/>
                          </a:lnTo>
                          <a:lnTo>
                            <a:pt x="10" y="17"/>
                          </a:lnTo>
                          <a:lnTo>
                            <a:pt x="29" y="17"/>
                          </a:lnTo>
                          <a:lnTo>
                            <a:pt x="27" y="3"/>
                          </a:lnTo>
                          <a:lnTo>
                            <a:pt x="29" y="0"/>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94" name="Freeform 753"/>
                    <p:cNvSpPr>
                      <a:spLocks/>
                    </p:cNvSpPr>
                    <p:nvPr/>
                  </p:nvSpPr>
                  <p:spPr bwMode="gray">
                    <a:xfrm>
                      <a:off x="3844149" y="3576194"/>
                      <a:ext cx="32474" cy="32474"/>
                    </a:xfrm>
                    <a:custGeom>
                      <a:avLst/>
                      <a:gdLst/>
                      <a:ahLst/>
                      <a:cxnLst>
                        <a:cxn ang="0">
                          <a:pos x="7" y="3"/>
                        </a:cxn>
                        <a:cxn ang="0">
                          <a:pos x="5" y="7"/>
                        </a:cxn>
                        <a:cxn ang="0">
                          <a:pos x="0" y="7"/>
                        </a:cxn>
                        <a:cxn ang="0">
                          <a:pos x="2" y="0"/>
                        </a:cxn>
                        <a:cxn ang="0">
                          <a:pos x="7" y="3"/>
                        </a:cxn>
                      </a:cxnLst>
                      <a:rect l="0" t="0" r="r" b="b"/>
                      <a:pathLst>
                        <a:path w="7" h="7">
                          <a:moveTo>
                            <a:pt x="7" y="3"/>
                          </a:moveTo>
                          <a:lnTo>
                            <a:pt x="5" y="7"/>
                          </a:lnTo>
                          <a:lnTo>
                            <a:pt x="0" y="7"/>
                          </a:lnTo>
                          <a:lnTo>
                            <a:pt x="2" y="0"/>
                          </a:lnTo>
                          <a:lnTo>
                            <a:pt x="7" y="3"/>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95" name="Freeform 755"/>
                    <p:cNvSpPr>
                      <a:spLocks/>
                    </p:cNvSpPr>
                    <p:nvPr/>
                  </p:nvSpPr>
                  <p:spPr bwMode="gray">
                    <a:xfrm>
                      <a:off x="3760647" y="3724643"/>
                      <a:ext cx="4641" cy="9278"/>
                    </a:xfrm>
                    <a:custGeom>
                      <a:avLst/>
                      <a:gdLst/>
                      <a:ahLst/>
                      <a:cxnLst>
                        <a:cxn ang="0">
                          <a:pos x="1" y="0"/>
                        </a:cxn>
                        <a:cxn ang="0">
                          <a:pos x="1" y="1"/>
                        </a:cxn>
                        <a:cxn ang="0">
                          <a:pos x="0" y="2"/>
                        </a:cxn>
                        <a:cxn ang="0">
                          <a:pos x="1" y="0"/>
                        </a:cxn>
                      </a:cxnLst>
                      <a:rect l="0" t="0" r="r" b="b"/>
                      <a:pathLst>
                        <a:path w="1" h="2">
                          <a:moveTo>
                            <a:pt x="1" y="0"/>
                          </a:moveTo>
                          <a:lnTo>
                            <a:pt x="1" y="1"/>
                          </a:lnTo>
                          <a:lnTo>
                            <a:pt x="0" y="2"/>
                          </a:lnTo>
                          <a:lnTo>
                            <a:pt x="1" y="0"/>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96" name="Freeform 756"/>
                    <p:cNvSpPr>
                      <a:spLocks/>
                    </p:cNvSpPr>
                    <p:nvPr/>
                  </p:nvSpPr>
                  <p:spPr bwMode="gray">
                    <a:xfrm>
                      <a:off x="3700341" y="3817423"/>
                      <a:ext cx="23196" cy="23196"/>
                    </a:xfrm>
                    <a:custGeom>
                      <a:avLst/>
                      <a:gdLst/>
                      <a:ahLst/>
                      <a:cxnLst>
                        <a:cxn ang="0">
                          <a:pos x="4" y="0"/>
                        </a:cxn>
                        <a:cxn ang="0">
                          <a:pos x="5" y="2"/>
                        </a:cxn>
                        <a:cxn ang="0">
                          <a:pos x="2" y="5"/>
                        </a:cxn>
                        <a:cxn ang="0">
                          <a:pos x="0" y="2"/>
                        </a:cxn>
                        <a:cxn ang="0">
                          <a:pos x="4" y="0"/>
                        </a:cxn>
                      </a:cxnLst>
                      <a:rect l="0" t="0" r="r" b="b"/>
                      <a:pathLst>
                        <a:path w="5" h="5">
                          <a:moveTo>
                            <a:pt x="4" y="0"/>
                          </a:moveTo>
                          <a:lnTo>
                            <a:pt x="5" y="2"/>
                          </a:lnTo>
                          <a:lnTo>
                            <a:pt x="2" y="5"/>
                          </a:lnTo>
                          <a:lnTo>
                            <a:pt x="0" y="2"/>
                          </a:lnTo>
                          <a:lnTo>
                            <a:pt x="4" y="0"/>
                          </a:lnTo>
                          <a:close/>
                        </a:path>
                      </a:pathLst>
                    </a:custGeom>
                    <a:grpFill/>
                    <a:ln w="6350" cap="flat" cmpd="sng">
                      <a:solidFill>
                        <a:schemeClr val="bg1"/>
                      </a:solidFill>
                      <a:prstDash val="solid"/>
                      <a:round/>
                      <a:headEnd type="none" w="med" len="med"/>
                      <a:tailEnd type="none" w="med" len="med"/>
                    </a:ln>
                    <a:effectLst/>
                  </p:spPr>
                  <p:txBody>
                    <a:bodyPr/>
                    <a:lstStyle/>
                    <a:p>
                      <a:endParaRPr lang="en-US" sz="3200" dirty="0">
                        <a:solidFill>
                          <a:srgbClr val="000000"/>
                        </a:solidFill>
                        <a:latin typeface="+mj-lt"/>
                      </a:endParaRPr>
                    </a:p>
                  </p:txBody>
                </p:sp>
                <p:sp>
                  <p:nvSpPr>
                    <p:cNvPr id="497" name="Freeform 978"/>
                    <p:cNvSpPr>
                      <a:spLocks/>
                    </p:cNvSpPr>
                    <p:nvPr/>
                  </p:nvSpPr>
                  <p:spPr bwMode="gray">
                    <a:xfrm>
                      <a:off x="5384293" y="3692168"/>
                      <a:ext cx="60308" cy="78865"/>
                    </a:xfrm>
                    <a:custGeom>
                      <a:avLst/>
                      <a:gdLst/>
                      <a:ahLst/>
                      <a:cxnLst>
                        <a:cxn ang="0">
                          <a:pos x="12" y="0"/>
                        </a:cxn>
                        <a:cxn ang="0">
                          <a:pos x="0" y="11"/>
                        </a:cxn>
                        <a:cxn ang="0">
                          <a:pos x="0" y="14"/>
                        </a:cxn>
                        <a:cxn ang="0">
                          <a:pos x="0" y="17"/>
                        </a:cxn>
                        <a:cxn ang="0">
                          <a:pos x="2" y="17"/>
                        </a:cxn>
                        <a:cxn ang="0">
                          <a:pos x="7" y="11"/>
                        </a:cxn>
                        <a:cxn ang="0">
                          <a:pos x="12" y="8"/>
                        </a:cxn>
                        <a:cxn ang="0">
                          <a:pos x="13" y="5"/>
                        </a:cxn>
                        <a:cxn ang="0">
                          <a:pos x="13" y="0"/>
                        </a:cxn>
                        <a:cxn ang="0">
                          <a:pos x="12" y="0"/>
                        </a:cxn>
                      </a:cxnLst>
                      <a:rect l="0" t="0" r="r" b="b"/>
                      <a:pathLst>
                        <a:path w="13" h="17">
                          <a:moveTo>
                            <a:pt x="12" y="0"/>
                          </a:moveTo>
                          <a:lnTo>
                            <a:pt x="0" y="11"/>
                          </a:lnTo>
                          <a:lnTo>
                            <a:pt x="0" y="14"/>
                          </a:lnTo>
                          <a:lnTo>
                            <a:pt x="0" y="17"/>
                          </a:lnTo>
                          <a:lnTo>
                            <a:pt x="2" y="17"/>
                          </a:lnTo>
                          <a:lnTo>
                            <a:pt x="7" y="11"/>
                          </a:lnTo>
                          <a:lnTo>
                            <a:pt x="12" y="8"/>
                          </a:lnTo>
                          <a:lnTo>
                            <a:pt x="13" y="5"/>
                          </a:lnTo>
                          <a:lnTo>
                            <a:pt x="13" y="0"/>
                          </a:lnTo>
                          <a:lnTo>
                            <a:pt x="12" y="0"/>
                          </a:lnTo>
                          <a:close/>
                        </a:path>
                      </a:pathLst>
                    </a:custGeom>
                    <a:grpFill/>
                    <a:ln w="6350" cap="rnd">
                      <a:solidFill>
                        <a:schemeClr val="bg1"/>
                      </a:solidFill>
                      <a:prstDash val="solid"/>
                      <a:round/>
                      <a:headEnd/>
                      <a:tailEnd/>
                    </a:ln>
                  </p:spPr>
                  <p:txBody>
                    <a:bodyPr/>
                    <a:lstStyle/>
                    <a:p>
                      <a:endParaRPr lang="en-US" sz="3200" dirty="0">
                        <a:solidFill>
                          <a:srgbClr val="000000"/>
                        </a:solidFill>
                        <a:latin typeface="+mj-lt"/>
                      </a:endParaRPr>
                    </a:p>
                  </p:txBody>
                </p:sp>
                <p:sp>
                  <p:nvSpPr>
                    <p:cNvPr id="498" name="Freeform 979"/>
                    <p:cNvSpPr>
                      <a:spLocks/>
                    </p:cNvSpPr>
                    <p:nvPr/>
                  </p:nvSpPr>
                  <p:spPr bwMode="gray">
                    <a:xfrm>
                      <a:off x="3148299" y="3195797"/>
                      <a:ext cx="129892" cy="208756"/>
                    </a:xfrm>
                    <a:custGeom>
                      <a:avLst/>
                      <a:gdLst/>
                      <a:ahLst/>
                      <a:cxnLst>
                        <a:cxn ang="0">
                          <a:pos x="18" y="13"/>
                        </a:cxn>
                        <a:cxn ang="0">
                          <a:pos x="15" y="13"/>
                        </a:cxn>
                        <a:cxn ang="0">
                          <a:pos x="13" y="7"/>
                        </a:cxn>
                        <a:cxn ang="0">
                          <a:pos x="12" y="8"/>
                        </a:cxn>
                        <a:cxn ang="0">
                          <a:pos x="6" y="0"/>
                        </a:cxn>
                        <a:cxn ang="0">
                          <a:pos x="8" y="7"/>
                        </a:cxn>
                        <a:cxn ang="0">
                          <a:pos x="0" y="7"/>
                        </a:cxn>
                        <a:cxn ang="0">
                          <a:pos x="5" y="7"/>
                        </a:cxn>
                        <a:cxn ang="0">
                          <a:pos x="6" y="8"/>
                        </a:cxn>
                        <a:cxn ang="0">
                          <a:pos x="8" y="7"/>
                        </a:cxn>
                        <a:cxn ang="0">
                          <a:pos x="12" y="12"/>
                        </a:cxn>
                        <a:cxn ang="0">
                          <a:pos x="14" y="15"/>
                        </a:cxn>
                        <a:cxn ang="0">
                          <a:pos x="11" y="18"/>
                        </a:cxn>
                        <a:cxn ang="0">
                          <a:pos x="18" y="17"/>
                        </a:cxn>
                        <a:cxn ang="0">
                          <a:pos x="19" y="17"/>
                        </a:cxn>
                        <a:cxn ang="0">
                          <a:pos x="21" y="22"/>
                        </a:cxn>
                        <a:cxn ang="0">
                          <a:pos x="17" y="26"/>
                        </a:cxn>
                        <a:cxn ang="0">
                          <a:pos x="24" y="26"/>
                        </a:cxn>
                        <a:cxn ang="0">
                          <a:pos x="24" y="26"/>
                        </a:cxn>
                        <a:cxn ang="0">
                          <a:pos x="20" y="31"/>
                        </a:cxn>
                        <a:cxn ang="0">
                          <a:pos x="25" y="35"/>
                        </a:cxn>
                        <a:cxn ang="0">
                          <a:pos x="26" y="38"/>
                        </a:cxn>
                        <a:cxn ang="0">
                          <a:pos x="20" y="38"/>
                        </a:cxn>
                        <a:cxn ang="0">
                          <a:pos x="11" y="34"/>
                        </a:cxn>
                        <a:cxn ang="0">
                          <a:pos x="21" y="42"/>
                        </a:cxn>
                        <a:cxn ang="0">
                          <a:pos x="25" y="42"/>
                        </a:cxn>
                        <a:cxn ang="0">
                          <a:pos x="26" y="44"/>
                        </a:cxn>
                        <a:cxn ang="0">
                          <a:pos x="28" y="38"/>
                        </a:cxn>
                        <a:cxn ang="0">
                          <a:pos x="28" y="27"/>
                        </a:cxn>
                        <a:cxn ang="0">
                          <a:pos x="26" y="18"/>
                        </a:cxn>
                        <a:cxn ang="0">
                          <a:pos x="28" y="16"/>
                        </a:cxn>
                        <a:cxn ang="0">
                          <a:pos x="28" y="12"/>
                        </a:cxn>
                        <a:cxn ang="0">
                          <a:pos x="26" y="7"/>
                        </a:cxn>
                        <a:cxn ang="0">
                          <a:pos x="25" y="11"/>
                        </a:cxn>
                        <a:cxn ang="0">
                          <a:pos x="25" y="13"/>
                        </a:cxn>
                        <a:cxn ang="0">
                          <a:pos x="25" y="17"/>
                        </a:cxn>
                        <a:cxn ang="0">
                          <a:pos x="19" y="16"/>
                        </a:cxn>
                      </a:cxnLst>
                      <a:rect l="0" t="0" r="r" b="b"/>
                      <a:pathLst>
                        <a:path w="28" h="45">
                          <a:moveTo>
                            <a:pt x="21" y="13"/>
                          </a:moveTo>
                          <a:lnTo>
                            <a:pt x="18" y="13"/>
                          </a:lnTo>
                          <a:lnTo>
                            <a:pt x="18" y="15"/>
                          </a:lnTo>
                          <a:lnTo>
                            <a:pt x="15" y="13"/>
                          </a:lnTo>
                          <a:lnTo>
                            <a:pt x="12" y="11"/>
                          </a:lnTo>
                          <a:lnTo>
                            <a:pt x="13" y="7"/>
                          </a:lnTo>
                          <a:lnTo>
                            <a:pt x="12" y="5"/>
                          </a:lnTo>
                          <a:lnTo>
                            <a:pt x="12" y="8"/>
                          </a:lnTo>
                          <a:lnTo>
                            <a:pt x="11" y="8"/>
                          </a:lnTo>
                          <a:lnTo>
                            <a:pt x="6" y="0"/>
                          </a:lnTo>
                          <a:lnTo>
                            <a:pt x="6" y="4"/>
                          </a:lnTo>
                          <a:lnTo>
                            <a:pt x="8" y="7"/>
                          </a:lnTo>
                          <a:lnTo>
                            <a:pt x="4" y="5"/>
                          </a:lnTo>
                          <a:lnTo>
                            <a:pt x="0" y="7"/>
                          </a:lnTo>
                          <a:lnTo>
                            <a:pt x="4" y="8"/>
                          </a:lnTo>
                          <a:lnTo>
                            <a:pt x="5" y="7"/>
                          </a:lnTo>
                          <a:lnTo>
                            <a:pt x="5" y="8"/>
                          </a:lnTo>
                          <a:lnTo>
                            <a:pt x="6" y="8"/>
                          </a:lnTo>
                          <a:lnTo>
                            <a:pt x="6" y="10"/>
                          </a:lnTo>
                          <a:lnTo>
                            <a:pt x="8" y="7"/>
                          </a:lnTo>
                          <a:lnTo>
                            <a:pt x="11" y="10"/>
                          </a:lnTo>
                          <a:lnTo>
                            <a:pt x="12" y="12"/>
                          </a:lnTo>
                          <a:lnTo>
                            <a:pt x="11" y="13"/>
                          </a:lnTo>
                          <a:lnTo>
                            <a:pt x="14" y="15"/>
                          </a:lnTo>
                          <a:lnTo>
                            <a:pt x="12" y="16"/>
                          </a:lnTo>
                          <a:lnTo>
                            <a:pt x="11" y="18"/>
                          </a:lnTo>
                          <a:lnTo>
                            <a:pt x="14" y="16"/>
                          </a:lnTo>
                          <a:lnTo>
                            <a:pt x="18" y="17"/>
                          </a:lnTo>
                          <a:lnTo>
                            <a:pt x="17" y="18"/>
                          </a:lnTo>
                          <a:lnTo>
                            <a:pt x="19" y="17"/>
                          </a:lnTo>
                          <a:lnTo>
                            <a:pt x="20" y="18"/>
                          </a:lnTo>
                          <a:lnTo>
                            <a:pt x="21" y="22"/>
                          </a:lnTo>
                          <a:lnTo>
                            <a:pt x="14" y="26"/>
                          </a:lnTo>
                          <a:lnTo>
                            <a:pt x="17" y="26"/>
                          </a:lnTo>
                          <a:lnTo>
                            <a:pt x="21" y="23"/>
                          </a:lnTo>
                          <a:lnTo>
                            <a:pt x="24" y="26"/>
                          </a:lnTo>
                          <a:lnTo>
                            <a:pt x="21" y="26"/>
                          </a:lnTo>
                          <a:lnTo>
                            <a:pt x="24" y="26"/>
                          </a:lnTo>
                          <a:lnTo>
                            <a:pt x="26" y="29"/>
                          </a:lnTo>
                          <a:lnTo>
                            <a:pt x="20" y="31"/>
                          </a:lnTo>
                          <a:lnTo>
                            <a:pt x="25" y="32"/>
                          </a:lnTo>
                          <a:lnTo>
                            <a:pt x="25" y="35"/>
                          </a:lnTo>
                          <a:lnTo>
                            <a:pt x="23" y="37"/>
                          </a:lnTo>
                          <a:lnTo>
                            <a:pt x="26" y="38"/>
                          </a:lnTo>
                          <a:lnTo>
                            <a:pt x="21" y="39"/>
                          </a:lnTo>
                          <a:lnTo>
                            <a:pt x="20" y="38"/>
                          </a:lnTo>
                          <a:lnTo>
                            <a:pt x="14" y="37"/>
                          </a:lnTo>
                          <a:lnTo>
                            <a:pt x="11" y="34"/>
                          </a:lnTo>
                          <a:lnTo>
                            <a:pt x="13" y="37"/>
                          </a:lnTo>
                          <a:lnTo>
                            <a:pt x="21" y="42"/>
                          </a:lnTo>
                          <a:lnTo>
                            <a:pt x="23" y="45"/>
                          </a:lnTo>
                          <a:lnTo>
                            <a:pt x="25" y="42"/>
                          </a:lnTo>
                          <a:lnTo>
                            <a:pt x="25" y="44"/>
                          </a:lnTo>
                          <a:lnTo>
                            <a:pt x="26" y="44"/>
                          </a:lnTo>
                          <a:lnTo>
                            <a:pt x="26" y="39"/>
                          </a:lnTo>
                          <a:lnTo>
                            <a:pt x="28" y="38"/>
                          </a:lnTo>
                          <a:lnTo>
                            <a:pt x="27" y="35"/>
                          </a:lnTo>
                          <a:lnTo>
                            <a:pt x="28" y="27"/>
                          </a:lnTo>
                          <a:lnTo>
                            <a:pt x="27" y="20"/>
                          </a:lnTo>
                          <a:lnTo>
                            <a:pt x="26" y="18"/>
                          </a:lnTo>
                          <a:lnTo>
                            <a:pt x="26" y="16"/>
                          </a:lnTo>
                          <a:lnTo>
                            <a:pt x="28" y="16"/>
                          </a:lnTo>
                          <a:lnTo>
                            <a:pt x="27" y="13"/>
                          </a:lnTo>
                          <a:lnTo>
                            <a:pt x="28" y="12"/>
                          </a:lnTo>
                          <a:lnTo>
                            <a:pt x="26" y="11"/>
                          </a:lnTo>
                          <a:lnTo>
                            <a:pt x="26" y="7"/>
                          </a:lnTo>
                          <a:lnTo>
                            <a:pt x="25" y="10"/>
                          </a:lnTo>
                          <a:lnTo>
                            <a:pt x="25" y="11"/>
                          </a:lnTo>
                          <a:lnTo>
                            <a:pt x="26" y="12"/>
                          </a:lnTo>
                          <a:lnTo>
                            <a:pt x="25" y="13"/>
                          </a:lnTo>
                          <a:lnTo>
                            <a:pt x="26" y="15"/>
                          </a:lnTo>
                          <a:lnTo>
                            <a:pt x="25" y="17"/>
                          </a:lnTo>
                          <a:lnTo>
                            <a:pt x="24" y="21"/>
                          </a:lnTo>
                          <a:lnTo>
                            <a:pt x="19" y="16"/>
                          </a:lnTo>
                          <a:lnTo>
                            <a:pt x="21" y="13"/>
                          </a:lnTo>
                          <a:close/>
                        </a:path>
                      </a:pathLst>
                    </a:custGeom>
                    <a:grpFill/>
                    <a:ln w="6350" cap="rnd">
                      <a:solidFill>
                        <a:schemeClr val="bg1"/>
                      </a:solidFill>
                      <a:prstDash val="solid"/>
                      <a:round/>
                      <a:headEnd/>
                      <a:tailEnd/>
                    </a:ln>
                  </p:spPr>
                  <p:txBody>
                    <a:bodyPr/>
                    <a:lstStyle/>
                    <a:p>
                      <a:endParaRPr lang="en-US" sz="3200" dirty="0">
                        <a:solidFill>
                          <a:srgbClr val="000000"/>
                        </a:solidFill>
                        <a:latin typeface="+mj-lt"/>
                      </a:endParaRPr>
                    </a:p>
                  </p:txBody>
                </p:sp>
                <p:sp>
                  <p:nvSpPr>
                    <p:cNvPr id="499" name="Freeform 980"/>
                    <p:cNvSpPr>
                      <a:spLocks/>
                    </p:cNvSpPr>
                    <p:nvPr/>
                  </p:nvSpPr>
                  <p:spPr bwMode="gray">
                    <a:xfrm>
                      <a:off x="4164240" y="2815400"/>
                      <a:ext cx="143810" cy="134533"/>
                    </a:xfrm>
                    <a:custGeom>
                      <a:avLst/>
                      <a:gdLst/>
                      <a:ahLst/>
                      <a:cxnLst>
                        <a:cxn ang="0">
                          <a:pos x="24" y="24"/>
                        </a:cxn>
                        <a:cxn ang="0">
                          <a:pos x="19" y="25"/>
                        </a:cxn>
                        <a:cxn ang="0">
                          <a:pos x="17" y="29"/>
                        </a:cxn>
                        <a:cxn ang="0">
                          <a:pos x="13" y="27"/>
                        </a:cxn>
                        <a:cxn ang="0">
                          <a:pos x="11" y="20"/>
                        </a:cxn>
                        <a:cxn ang="0">
                          <a:pos x="6" y="17"/>
                        </a:cxn>
                        <a:cxn ang="0">
                          <a:pos x="0" y="5"/>
                        </a:cxn>
                        <a:cxn ang="0">
                          <a:pos x="1" y="1"/>
                        </a:cxn>
                        <a:cxn ang="0">
                          <a:pos x="5" y="0"/>
                        </a:cxn>
                        <a:cxn ang="0">
                          <a:pos x="9" y="1"/>
                        </a:cxn>
                        <a:cxn ang="0">
                          <a:pos x="14" y="6"/>
                        </a:cxn>
                        <a:cxn ang="0">
                          <a:pos x="15" y="12"/>
                        </a:cxn>
                        <a:cxn ang="0">
                          <a:pos x="30" y="13"/>
                        </a:cxn>
                        <a:cxn ang="0">
                          <a:pos x="31" y="17"/>
                        </a:cxn>
                        <a:cxn ang="0">
                          <a:pos x="30" y="20"/>
                        </a:cxn>
                        <a:cxn ang="0">
                          <a:pos x="24" y="24"/>
                        </a:cxn>
                      </a:cxnLst>
                      <a:rect l="0" t="0" r="r" b="b"/>
                      <a:pathLst>
                        <a:path w="31" h="29">
                          <a:moveTo>
                            <a:pt x="24" y="24"/>
                          </a:moveTo>
                          <a:lnTo>
                            <a:pt x="19" y="25"/>
                          </a:lnTo>
                          <a:lnTo>
                            <a:pt x="17" y="29"/>
                          </a:lnTo>
                          <a:lnTo>
                            <a:pt x="13" y="27"/>
                          </a:lnTo>
                          <a:lnTo>
                            <a:pt x="11" y="20"/>
                          </a:lnTo>
                          <a:lnTo>
                            <a:pt x="6" y="17"/>
                          </a:lnTo>
                          <a:lnTo>
                            <a:pt x="0" y="5"/>
                          </a:lnTo>
                          <a:lnTo>
                            <a:pt x="1" y="1"/>
                          </a:lnTo>
                          <a:lnTo>
                            <a:pt x="5" y="0"/>
                          </a:lnTo>
                          <a:lnTo>
                            <a:pt x="9" y="1"/>
                          </a:lnTo>
                          <a:lnTo>
                            <a:pt x="14" y="6"/>
                          </a:lnTo>
                          <a:lnTo>
                            <a:pt x="15" y="12"/>
                          </a:lnTo>
                          <a:lnTo>
                            <a:pt x="30" y="13"/>
                          </a:lnTo>
                          <a:lnTo>
                            <a:pt x="31" y="17"/>
                          </a:lnTo>
                          <a:lnTo>
                            <a:pt x="30" y="20"/>
                          </a:lnTo>
                          <a:lnTo>
                            <a:pt x="24" y="24"/>
                          </a:lnTo>
                          <a:close/>
                        </a:path>
                      </a:pathLst>
                    </a:custGeom>
                    <a:grpFill/>
                    <a:ln w="6350" cap="rnd">
                      <a:solidFill>
                        <a:schemeClr val="bg1"/>
                      </a:solidFill>
                      <a:prstDash val="solid"/>
                      <a:round/>
                      <a:headEnd/>
                      <a:tailEnd/>
                    </a:ln>
                  </p:spPr>
                  <p:txBody>
                    <a:bodyPr/>
                    <a:lstStyle/>
                    <a:p>
                      <a:endParaRPr lang="en-US" sz="3200" dirty="0">
                        <a:solidFill>
                          <a:srgbClr val="000000"/>
                        </a:solidFill>
                        <a:latin typeface="+mj-lt"/>
                      </a:endParaRPr>
                    </a:p>
                  </p:txBody>
                </p:sp>
                <p:sp>
                  <p:nvSpPr>
                    <p:cNvPr id="500" name="Freeform 981"/>
                    <p:cNvSpPr>
                      <a:spLocks/>
                    </p:cNvSpPr>
                    <p:nvPr/>
                  </p:nvSpPr>
                  <p:spPr bwMode="gray">
                    <a:xfrm>
                      <a:off x="5760053" y="3525165"/>
                      <a:ext cx="55668" cy="153088"/>
                    </a:xfrm>
                    <a:custGeom>
                      <a:avLst/>
                      <a:gdLst/>
                      <a:ahLst/>
                      <a:cxnLst>
                        <a:cxn ang="0">
                          <a:pos x="2" y="0"/>
                        </a:cxn>
                        <a:cxn ang="0">
                          <a:pos x="6" y="6"/>
                        </a:cxn>
                        <a:cxn ang="0">
                          <a:pos x="7" y="22"/>
                        </a:cxn>
                        <a:cxn ang="0">
                          <a:pos x="12" y="28"/>
                        </a:cxn>
                        <a:cxn ang="0">
                          <a:pos x="12" y="33"/>
                        </a:cxn>
                        <a:cxn ang="0">
                          <a:pos x="11" y="33"/>
                        </a:cxn>
                        <a:cxn ang="0">
                          <a:pos x="9" y="28"/>
                        </a:cxn>
                        <a:cxn ang="0">
                          <a:pos x="2" y="22"/>
                        </a:cxn>
                        <a:cxn ang="0">
                          <a:pos x="0" y="10"/>
                        </a:cxn>
                        <a:cxn ang="0">
                          <a:pos x="0" y="3"/>
                        </a:cxn>
                        <a:cxn ang="0">
                          <a:pos x="2" y="0"/>
                        </a:cxn>
                      </a:cxnLst>
                      <a:rect l="0" t="0" r="r" b="b"/>
                      <a:pathLst>
                        <a:path w="12" h="33">
                          <a:moveTo>
                            <a:pt x="2" y="0"/>
                          </a:moveTo>
                          <a:lnTo>
                            <a:pt x="6" y="6"/>
                          </a:lnTo>
                          <a:lnTo>
                            <a:pt x="7" y="22"/>
                          </a:lnTo>
                          <a:lnTo>
                            <a:pt x="12" y="28"/>
                          </a:lnTo>
                          <a:lnTo>
                            <a:pt x="12" y="33"/>
                          </a:lnTo>
                          <a:lnTo>
                            <a:pt x="11" y="33"/>
                          </a:lnTo>
                          <a:lnTo>
                            <a:pt x="9" y="28"/>
                          </a:lnTo>
                          <a:lnTo>
                            <a:pt x="2" y="22"/>
                          </a:lnTo>
                          <a:lnTo>
                            <a:pt x="0" y="10"/>
                          </a:lnTo>
                          <a:lnTo>
                            <a:pt x="0" y="3"/>
                          </a:lnTo>
                          <a:lnTo>
                            <a:pt x="2" y="0"/>
                          </a:lnTo>
                          <a:close/>
                        </a:path>
                      </a:pathLst>
                    </a:custGeom>
                    <a:grpFill/>
                    <a:ln w="6350" cap="rnd">
                      <a:solidFill>
                        <a:schemeClr val="bg1"/>
                      </a:solidFill>
                      <a:prstDash val="solid"/>
                      <a:round/>
                      <a:headEnd/>
                      <a:tailEnd/>
                    </a:ln>
                  </p:spPr>
                  <p:txBody>
                    <a:bodyPr/>
                    <a:lstStyle/>
                    <a:p>
                      <a:endParaRPr lang="en-US" sz="3200" dirty="0">
                        <a:solidFill>
                          <a:srgbClr val="000000"/>
                        </a:solidFill>
                        <a:latin typeface="+mj-lt"/>
                      </a:endParaRPr>
                    </a:p>
                  </p:txBody>
                </p:sp>
                <p:sp>
                  <p:nvSpPr>
                    <p:cNvPr id="501" name="Freeform 984"/>
                    <p:cNvSpPr>
                      <a:spLocks/>
                    </p:cNvSpPr>
                    <p:nvPr/>
                  </p:nvSpPr>
                  <p:spPr bwMode="gray">
                    <a:xfrm>
                      <a:off x="5129151" y="5046754"/>
                      <a:ext cx="134533" cy="97420"/>
                    </a:xfrm>
                    <a:custGeom>
                      <a:avLst/>
                      <a:gdLst/>
                      <a:ahLst/>
                      <a:cxnLst>
                        <a:cxn ang="0">
                          <a:pos x="12" y="5"/>
                        </a:cxn>
                        <a:cxn ang="0">
                          <a:pos x="16" y="5"/>
                        </a:cxn>
                        <a:cxn ang="0">
                          <a:pos x="20" y="0"/>
                        </a:cxn>
                        <a:cxn ang="0">
                          <a:pos x="26" y="0"/>
                        </a:cxn>
                        <a:cxn ang="0">
                          <a:pos x="29" y="2"/>
                        </a:cxn>
                        <a:cxn ang="0">
                          <a:pos x="28" y="5"/>
                        </a:cxn>
                        <a:cxn ang="0">
                          <a:pos x="23" y="3"/>
                        </a:cxn>
                        <a:cxn ang="0">
                          <a:pos x="17" y="6"/>
                        </a:cxn>
                        <a:cxn ang="0">
                          <a:pos x="17" y="8"/>
                        </a:cxn>
                        <a:cxn ang="0">
                          <a:pos x="11" y="12"/>
                        </a:cxn>
                        <a:cxn ang="0">
                          <a:pos x="4" y="19"/>
                        </a:cxn>
                        <a:cxn ang="0">
                          <a:pos x="0" y="21"/>
                        </a:cxn>
                        <a:cxn ang="0">
                          <a:pos x="12" y="5"/>
                        </a:cxn>
                      </a:cxnLst>
                      <a:rect l="0" t="0" r="r" b="b"/>
                      <a:pathLst>
                        <a:path w="29" h="21">
                          <a:moveTo>
                            <a:pt x="12" y="5"/>
                          </a:moveTo>
                          <a:lnTo>
                            <a:pt x="16" y="5"/>
                          </a:lnTo>
                          <a:lnTo>
                            <a:pt x="20" y="0"/>
                          </a:lnTo>
                          <a:lnTo>
                            <a:pt x="26" y="0"/>
                          </a:lnTo>
                          <a:lnTo>
                            <a:pt x="29" y="2"/>
                          </a:lnTo>
                          <a:lnTo>
                            <a:pt x="28" y="5"/>
                          </a:lnTo>
                          <a:lnTo>
                            <a:pt x="23" y="3"/>
                          </a:lnTo>
                          <a:lnTo>
                            <a:pt x="17" y="6"/>
                          </a:lnTo>
                          <a:lnTo>
                            <a:pt x="17" y="8"/>
                          </a:lnTo>
                          <a:lnTo>
                            <a:pt x="11" y="12"/>
                          </a:lnTo>
                          <a:lnTo>
                            <a:pt x="4" y="19"/>
                          </a:lnTo>
                          <a:lnTo>
                            <a:pt x="0" y="21"/>
                          </a:lnTo>
                          <a:lnTo>
                            <a:pt x="12" y="5"/>
                          </a:lnTo>
                          <a:close/>
                        </a:path>
                      </a:pathLst>
                    </a:custGeom>
                    <a:grpFill/>
                    <a:ln w="6350" cap="rnd">
                      <a:solidFill>
                        <a:schemeClr val="bg1"/>
                      </a:solidFill>
                      <a:prstDash val="solid"/>
                      <a:round/>
                      <a:headEnd/>
                      <a:tailEnd/>
                    </a:ln>
                  </p:spPr>
                  <p:txBody>
                    <a:bodyPr/>
                    <a:lstStyle/>
                    <a:p>
                      <a:endParaRPr lang="en-US" sz="3200" dirty="0">
                        <a:solidFill>
                          <a:srgbClr val="000000"/>
                        </a:solidFill>
                        <a:latin typeface="+mj-lt"/>
                      </a:endParaRPr>
                    </a:p>
                  </p:txBody>
                </p:sp>
                <p:sp>
                  <p:nvSpPr>
                    <p:cNvPr id="502" name="Freeform 991"/>
                    <p:cNvSpPr>
                      <a:spLocks/>
                    </p:cNvSpPr>
                    <p:nvPr/>
                  </p:nvSpPr>
                  <p:spPr bwMode="gray">
                    <a:xfrm>
                      <a:off x="5402850" y="4977170"/>
                      <a:ext cx="102058" cy="18556"/>
                    </a:xfrm>
                    <a:custGeom>
                      <a:avLst/>
                      <a:gdLst/>
                      <a:ahLst/>
                      <a:cxnLst>
                        <a:cxn ang="0">
                          <a:pos x="5" y="4"/>
                        </a:cxn>
                        <a:cxn ang="0">
                          <a:pos x="19" y="3"/>
                        </a:cxn>
                        <a:cxn ang="0">
                          <a:pos x="22" y="1"/>
                        </a:cxn>
                        <a:cxn ang="0">
                          <a:pos x="16" y="0"/>
                        </a:cxn>
                        <a:cxn ang="0">
                          <a:pos x="8" y="1"/>
                        </a:cxn>
                        <a:cxn ang="0">
                          <a:pos x="1" y="0"/>
                        </a:cxn>
                        <a:cxn ang="0">
                          <a:pos x="0" y="0"/>
                        </a:cxn>
                        <a:cxn ang="0">
                          <a:pos x="0" y="3"/>
                        </a:cxn>
                        <a:cxn ang="0">
                          <a:pos x="5" y="4"/>
                        </a:cxn>
                      </a:cxnLst>
                      <a:rect l="0" t="0" r="r" b="b"/>
                      <a:pathLst>
                        <a:path w="22" h="4">
                          <a:moveTo>
                            <a:pt x="5" y="4"/>
                          </a:moveTo>
                          <a:lnTo>
                            <a:pt x="19" y="3"/>
                          </a:lnTo>
                          <a:lnTo>
                            <a:pt x="22" y="1"/>
                          </a:lnTo>
                          <a:lnTo>
                            <a:pt x="16" y="0"/>
                          </a:lnTo>
                          <a:lnTo>
                            <a:pt x="8" y="1"/>
                          </a:lnTo>
                          <a:lnTo>
                            <a:pt x="1" y="0"/>
                          </a:lnTo>
                          <a:lnTo>
                            <a:pt x="0" y="0"/>
                          </a:lnTo>
                          <a:lnTo>
                            <a:pt x="0" y="3"/>
                          </a:lnTo>
                          <a:lnTo>
                            <a:pt x="5" y="4"/>
                          </a:lnTo>
                          <a:close/>
                        </a:path>
                      </a:pathLst>
                    </a:custGeom>
                    <a:grpFill/>
                    <a:ln w="6350" cap="rnd">
                      <a:solidFill>
                        <a:schemeClr val="bg1"/>
                      </a:solidFill>
                      <a:prstDash val="solid"/>
                      <a:round/>
                      <a:headEnd/>
                      <a:tailEnd/>
                    </a:ln>
                  </p:spPr>
                  <p:txBody>
                    <a:bodyPr/>
                    <a:lstStyle/>
                    <a:p>
                      <a:endParaRPr lang="en-US" sz="3200" dirty="0">
                        <a:solidFill>
                          <a:srgbClr val="000000"/>
                        </a:solidFill>
                        <a:latin typeface="+mj-lt"/>
                      </a:endParaRPr>
                    </a:p>
                  </p:txBody>
                </p:sp>
                <p:sp>
                  <p:nvSpPr>
                    <p:cNvPr id="503" name="Freeform 999"/>
                    <p:cNvSpPr>
                      <a:spLocks/>
                    </p:cNvSpPr>
                    <p:nvPr/>
                  </p:nvSpPr>
                  <p:spPr bwMode="gray">
                    <a:xfrm>
                      <a:off x="5416768" y="2077799"/>
                      <a:ext cx="143810" cy="194837"/>
                    </a:xfrm>
                    <a:custGeom>
                      <a:avLst/>
                      <a:gdLst/>
                      <a:ahLst/>
                      <a:cxnLst>
                        <a:cxn ang="0">
                          <a:pos x="26" y="0"/>
                        </a:cxn>
                        <a:cxn ang="0">
                          <a:pos x="27" y="0"/>
                        </a:cxn>
                        <a:cxn ang="0">
                          <a:pos x="30" y="1"/>
                        </a:cxn>
                        <a:cxn ang="0">
                          <a:pos x="31" y="11"/>
                        </a:cxn>
                        <a:cxn ang="0">
                          <a:pos x="29" y="14"/>
                        </a:cxn>
                        <a:cxn ang="0">
                          <a:pos x="31" y="19"/>
                        </a:cxn>
                        <a:cxn ang="0">
                          <a:pos x="26" y="16"/>
                        </a:cxn>
                        <a:cxn ang="0">
                          <a:pos x="22" y="22"/>
                        </a:cxn>
                        <a:cxn ang="0">
                          <a:pos x="19" y="22"/>
                        </a:cxn>
                        <a:cxn ang="0">
                          <a:pos x="17" y="20"/>
                        </a:cxn>
                        <a:cxn ang="0">
                          <a:pos x="12" y="27"/>
                        </a:cxn>
                        <a:cxn ang="0">
                          <a:pos x="8" y="30"/>
                        </a:cxn>
                        <a:cxn ang="0">
                          <a:pos x="7" y="31"/>
                        </a:cxn>
                        <a:cxn ang="0">
                          <a:pos x="6" y="35"/>
                        </a:cxn>
                        <a:cxn ang="0">
                          <a:pos x="0" y="42"/>
                        </a:cxn>
                        <a:cxn ang="0">
                          <a:pos x="0" y="38"/>
                        </a:cxn>
                        <a:cxn ang="0">
                          <a:pos x="4" y="35"/>
                        </a:cxn>
                        <a:cxn ang="0">
                          <a:pos x="5" y="31"/>
                        </a:cxn>
                        <a:cxn ang="0">
                          <a:pos x="7" y="26"/>
                        </a:cxn>
                        <a:cxn ang="0">
                          <a:pos x="8" y="26"/>
                        </a:cxn>
                        <a:cxn ang="0">
                          <a:pos x="12" y="22"/>
                        </a:cxn>
                        <a:cxn ang="0">
                          <a:pos x="12" y="19"/>
                        </a:cxn>
                        <a:cxn ang="0">
                          <a:pos x="13" y="20"/>
                        </a:cxn>
                        <a:cxn ang="0">
                          <a:pos x="18" y="17"/>
                        </a:cxn>
                        <a:cxn ang="0">
                          <a:pos x="24" y="17"/>
                        </a:cxn>
                        <a:cxn ang="0">
                          <a:pos x="27" y="10"/>
                        </a:cxn>
                        <a:cxn ang="0">
                          <a:pos x="23" y="9"/>
                        </a:cxn>
                        <a:cxn ang="0">
                          <a:pos x="29" y="5"/>
                        </a:cxn>
                        <a:cxn ang="0">
                          <a:pos x="26" y="0"/>
                        </a:cxn>
                      </a:cxnLst>
                      <a:rect l="0" t="0" r="r" b="b"/>
                      <a:pathLst>
                        <a:path w="31" h="42">
                          <a:moveTo>
                            <a:pt x="26" y="0"/>
                          </a:moveTo>
                          <a:lnTo>
                            <a:pt x="27" y="0"/>
                          </a:lnTo>
                          <a:lnTo>
                            <a:pt x="30" y="1"/>
                          </a:lnTo>
                          <a:lnTo>
                            <a:pt x="31" y="11"/>
                          </a:lnTo>
                          <a:lnTo>
                            <a:pt x="29" y="14"/>
                          </a:lnTo>
                          <a:lnTo>
                            <a:pt x="31" y="19"/>
                          </a:lnTo>
                          <a:lnTo>
                            <a:pt x="26" y="16"/>
                          </a:lnTo>
                          <a:lnTo>
                            <a:pt x="22" y="22"/>
                          </a:lnTo>
                          <a:lnTo>
                            <a:pt x="19" y="22"/>
                          </a:lnTo>
                          <a:lnTo>
                            <a:pt x="17" y="20"/>
                          </a:lnTo>
                          <a:lnTo>
                            <a:pt x="12" y="27"/>
                          </a:lnTo>
                          <a:lnTo>
                            <a:pt x="8" y="30"/>
                          </a:lnTo>
                          <a:lnTo>
                            <a:pt x="7" y="31"/>
                          </a:lnTo>
                          <a:lnTo>
                            <a:pt x="6" y="35"/>
                          </a:lnTo>
                          <a:lnTo>
                            <a:pt x="0" y="42"/>
                          </a:lnTo>
                          <a:lnTo>
                            <a:pt x="0" y="38"/>
                          </a:lnTo>
                          <a:lnTo>
                            <a:pt x="4" y="35"/>
                          </a:lnTo>
                          <a:lnTo>
                            <a:pt x="5" y="31"/>
                          </a:lnTo>
                          <a:lnTo>
                            <a:pt x="7" y="26"/>
                          </a:lnTo>
                          <a:lnTo>
                            <a:pt x="8" y="26"/>
                          </a:lnTo>
                          <a:lnTo>
                            <a:pt x="12" y="22"/>
                          </a:lnTo>
                          <a:lnTo>
                            <a:pt x="12" y="19"/>
                          </a:lnTo>
                          <a:lnTo>
                            <a:pt x="13" y="20"/>
                          </a:lnTo>
                          <a:lnTo>
                            <a:pt x="18" y="17"/>
                          </a:lnTo>
                          <a:lnTo>
                            <a:pt x="24" y="17"/>
                          </a:lnTo>
                          <a:lnTo>
                            <a:pt x="27" y="10"/>
                          </a:lnTo>
                          <a:lnTo>
                            <a:pt x="23" y="9"/>
                          </a:lnTo>
                          <a:lnTo>
                            <a:pt x="29" y="5"/>
                          </a:lnTo>
                          <a:lnTo>
                            <a:pt x="26" y="0"/>
                          </a:lnTo>
                          <a:close/>
                        </a:path>
                      </a:pathLst>
                    </a:custGeom>
                    <a:grpFill/>
                    <a:ln w="6350" cap="rnd">
                      <a:solidFill>
                        <a:schemeClr val="bg1"/>
                      </a:solidFill>
                      <a:prstDash val="solid"/>
                      <a:round/>
                      <a:headEnd/>
                      <a:tailEnd/>
                    </a:ln>
                  </p:spPr>
                  <p:txBody>
                    <a:bodyPr/>
                    <a:lstStyle/>
                    <a:p>
                      <a:endParaRPr lang="en-US" sz="3200" dirty="0">
                        <a:solidFill>
                          <a:srgbClr val="000000"/>
                        </a:solidFill>
                        <a:latin typeface="+mj-lt"/>
                      </a:endParaRPr>
                    </a:p>
                  </p:txBody>
                </p:sp>
                <p:sp>
                  <p:nvSpPr>
                    <p:cNvPr id="504" name="Freeform 1000"/>
                    <p:cNvSpPr>
                      <a:spLocks/>
                    </p:cNvSpPr>
                    <p:nvPr/>
                  </p:nvSpPr>
                  <p:spPr bwMode="gray">
                    <a:xfrm>
                      <a:off x="5296154" y="3854535"/>
                      <a:ext cx="37112" cy="41753"/>
                    </a:xfrm>
                    <a:custGeom>
                      <a:avLst/>
                      <a:gdLst/>
                      <a:ahLst/>
                      <a:cxnLst>
                        <a:cxn ang="0">
                          <a:pos x="5" y="1"/>
                        </a:cxn>
                        <a:cxn ang="0">
                          <a:pos x="0" y="6"/>
                        </a:cxn>
                        <a:cxn ang="0">
                          <a:pos x="1" y="9"/>
                        </a:cxn>
                        <a:cxn ang="0">
                          <a:pos x="7" y="4"/>
                        </a:cxn>
                        <a:cxn ang="0">
                          <a:pos x="8" y="0"/>
                        </a:cxn>
                        <a:cxn ang="0">
                          <a:pos x="7" y="0"/>
                        </a:cxn>
                        <a:cxn ang="0">
                          <a:pos x="5" y="1"/>
                        </a:cxn>
                      </a:cxnLst>
                      <a:rect l="0" t="0" r="r" b="b"/>
                      <a:pathLst>
                        <a:path w="8" h="9">
                          <a:moveTo>
                            <a:pt x="5" y="1"/>
                          </a:moveTo>
                          <a:lnTo>
                            <a:pt x="0" y="6"/>
                          </a:lnTo>
                          <a:lnTo>
                            <a:pt x="1" y="9"/>
                          </a:lnTo>
                          <a:lnTo>
                            <a:pt x="7" y="4"/>
                          </a:lnTo>
                          <a:lnTo>
                            <a:pt x="8" y="0"/>
                          </a:lnTo>
                          <a:lnTo>
                            <a:pt x="7" y="0"/>
                          </a:lnTo>
                          <a:lnTo>
                            <a:pt x="5" y="1"/>
                          </a:lnTo>
                          <a:close/>
                        </a:path>
                      </a:pathLst>
                    </a:custGeom>
                    <a:grpFill/>
                    <a:ln w="6350" cap="rnd">
                      <a:solidFill>
                        <a:schemeClr val="bg1"/>
                      </a:solidFill>
                      <a:prstDash val="solid"/>
                      <a:round/>
                      <a:headEnd/>
                      <a:tailEnd/>
                    </a:ln>
                  </p:spPr>
                  <p:txBody>
                    <a:bodyPr/>
                    <a:lstStyle/>
                    <a:p>
                      <a:endParaRPr lang="en-US" sz="3200" dirty="0">
                        <a:solidFill>
                          <a:srgbClr val="000000"/>
                        </a:solidFill>
                        <a:latin typeface="+mj-lt"/>
                      </a:endParaRPr>
                    </a:p>
                  </p:txBody>
                </p:sp>
                <p:sp>
                  <p:nvSpPr>
                    <p:cNvPr id="505" name="Freeform 1001"/>
                    <p:cNvSpPr>
                      <a:spLocks/>
                    </p:cNvSpPr>
                    <p:nvPr/>
                  </p:nvSpPr>
                  <p:spPr bwMode="gray">
                    <a:xfrm>
                      <a:off x="5263680" y="3965870"/>
                      <a:ext cx="32474" cy="60308"/>
                    </a:xfrm>
                    <a:custGeom>
                      <a:avLst/>
                      <a:gdLst/>
                      <a:ahLst/>
                      <a:cxnLst>
                        <a:cxn ang="0">
                          <a:pos x="7" y="4"/>
                        </a:cxn>
                        <a:cxn ang="0">
                          <a:pos x="7" y="1"/>
                        </a:cxn>
                        <a:cxn ang="0">
                          <a:pos x="3" y="0"/>
                        </a:cxn>
                        <a:cxn ang="0">
                          <a:pos x="1" y="6"/>
                        </a:cxn>
                        <a:cxn ang="0">
                          <a:pos x="0" y="12"/>
                        </a:cxn>
                        <a:cxn ang="0">
                          <a:pos x="1" y="13"/>
                        </a:cxn>
                        <a:cxn ang="0">
                          <a:pos x="3" y="11"/>
                        </a:cxn>
                        <a:cxn ang="0">
                          <a:pos x="7" y="4"/>
                        </a:cxn>
                      </a:cxnLst>
                      <a:rect l="0" t="0" r="r" b="b"/>
                      <a:pathLst>
                        <a:path w="7" h="13">
                          <a:moveTo>
                            <a:pt x="7" y="4"/>
                          </a:moveTo>
                          <a:lnTo>
                            <a:pt x="7" y="1"/>
                          </a:lnTo>
                          <a:lnTo>
                            <a:pt x="3" y="0"/>
                          </a:lnTo>
                          <a:lnTo>
                            <a:pt x="1" y="6"/>
                          </a:lnTo>
                          <a:lnTo>
                            <a:pt x="0" y="12"/>
                          </a:lnTo>
                          <a:lnTo>
                            <a:pt x="1" y="13"/>
                          </a:lnTo>
                          <a:lnTo>
                            <a:pt x="3" y="11"/>
                          </a:lnTo>
                          <a:lnTo>
                            <a:pt x="7" y="4"/>
                          </a:lnTo>
                          <a:close/>
                        </a:path>
                      </a:pathLst>
                    </a:custGeom>
                    <a:grpFill/>
                    <a:ln w="6350" cap="rnd">
                      <a:solidFill>
                        <a:schemeClr val="bg1"/>
                      </a:solidFill>
                      <a:prstDash val="solid"/>
                      <a:round/>
                      <a:headEnd/>
                      <a:tailEnd/>
                    </a:ln>
                  </p:spPr>
                  <p:txBody>
                    <a:bodyPr/>
                    <a:lstStyle/>
                    <a:p>
                      <a:endParaRPr lang="en-US" sz="3200" dirty="0">
                        <a:solidFill>
                          <a:srgbClr val="000000"/>
                        </a:solidFill>
                        <a:latin typeface="+mj-lt"/>
                      </a:endParaRPr>
                    </a:p>
                  </p:txBody>
                </p:sp>
                <p:sp>
                  <p:nvSpPr>
                    <p:cNvPr id="509" name="Freeform 1002"/>
                    <p:cNvSpPr>
                      <a:spLocks/>
                    </p:cNvSpPr>
                    <p:nvPr/>
                  </p:nvSpPr>
                  <p:spPr bwMode="gray">
                    <a:xfrm>
                      <a:off x="4359078" y="5195201"/>
                      <a:ext cx="78865" cy="46390"/>
                    </a:xfrm>
                    <a:custGeom>
                      <a:avLst/>
                      <a:gdLst/>
                      <a:ahLst/>
                      <a:cxnLst>
                        <a:cxn ang="0">
                          <a:pos x="0" y="6"/>
                        </a:cxn>
                        <a:cxn ang="0">
                          <a:pos x="1" y="10"/>
                        </a:cxn>
                        <a:cxn ang="0">
                          <a:pos x="4" y="10"/>
                        </a:cxn>
                        <a:cxn ang="0">
                          <a:pos x="17" y="5"/>
                        </a:cxn>
                        <a:cxn ang="0">
                          <a:pos x="17" y="3"/>
                        </a:cxn>
                        <a:cxn ang="0">
                          <a:pos x="13" y="0"/>
                        </a:cxn>
                        <a:cxn ang="0">
                          <a:pos x="8" y="0"/>
                        </a:cxn>
                        <a:cxn ang="0">
                          <a:pos x="4" y="3"/>
                        </a:cxn>
                        <a:cxn ang="0">
                          <a:pos x="4" y="2"/>
                        </a:cxn>
                        <a:cxn ang="0">
                          <a:pos x="3" y="2"/>
                        </a:cxn>
                        <a:cxn ang="0">
                          <a:pos x="0" y="6"/>
                        </a:cxn>
                      </a:cxnLst>
                      <a:rect l="0" t="0" r="r" b="b"/>
                      <a:pathLst>
                        <a:path w="17" h="10">
                          <a:moveTo>
                            <a:pt x="0" y="6"/>
                          </a:moveTo>
                          <a:lnTo>
                            <a:pt x="1" y="10"/>
                          </a:lnTo>
                          <a:lnTo>
                            <a:pt x="4" y="10"/>
                          </a:lnTo>
                          <a:lnTo>
                            <a:pt x="17" y="5"/>
                          </a:lnTo>
                          <a:lnTo>
                            <a:pt x="17" y="3"/>
                          </a:lnTo>
                          <a:lnTo>
                            <a:pt x="13" y="0"/>
                          </a:lnTo>
                          <a:lnTo>
                            <a:pt x="8" y="0"/>
                          </a:lnTo>
                          <a:lnTo>
                            <a:pt x="4" y="3"/>
                          </a:lnTo>
                          <a:lnTo>
                            <a:pt x="4" y="2"/>
                          </a:lnTo>
                          <a:lnTo>
                            <a:pt x="3" y="2"/>
                          </a:lnTo>
                          <a:lnTo>
                            <a:pt x="0" y="6"/>
                          </a:lnTo>
                          <a:close/>
                        </a:path>
                      </a:pathLst>
                    </a:custGeom>
                    <a:grpFill/>
                    <a:ln w="6350" cap="rnd">
                      <a:solidFill>
                        <a:schemeClr val="bg1"/>
                      </a:solidFill>
                      <a:prstDash val="solid"/>
                      <a:round/>
                      <a:headEnd/>
                      <a:tailEnd/>
                    </a:ln>
                  </p:spPr>
                  <p:txBody>
                    <a:bodyPr/>
                    <a:lstStyle/>
                    <a:p>
                      <a:endParaRPr lang="en-US" sz="3200" dirty="0">
                        <a:solidFill>
                          <a:srgbClr val="000000"/>
                        </a:solidFill>
                        <a:latin typeface="+mj-lt"/>
                      </a:endParaRPr>
                    </a:p>
                  </p:txBody>
                </p:sp>
                <p:sp>
                  <p:nvSpPr>
                    <p:cNvPr id="510" name="Freeform 1003"/>
                    <p:cNvSpPr>
                      <a:spLocks/>
                    </p:cNvSpPr>
                    <p:nvPr/>
                  </p:nvSpPr>
                  <p:spPr bwMode="gray">
                    <a:xfrm>
                      <a:off x="4989980" y="5301900"/>
                      <a:ext cx="97420" cy="97420"/>
                    </a:xfrm>
                    <a:custGeom>
                      <a:avLst/>
                      <a:gdLst/>
                      <a:ahLst/>
                      <a:cxnLst>
                        <a:cxn ang="0">
                          <a:pos x="19" y="6"/>
                        </a:cxn>
                        <a:cxn ang="0">
                          <a:pos x="17" y="5"/>
                        </a:cxn>
                        <a:cxn ang="0">
                          <a:pos x="16" y="6"/>
                        </a:cxn>
                        <a:cxn ang="0">
                          <a:pos x="14" y="16"/>
                        </a:cxn>
                        <a:cxn ang="0">
                          <a:pos x="11" y="16"/>
                        </a:cxn>
                        <a:cxn ang="0">
                          <a:pos x="10" y="14"/>
                        </a:cxn>
                        <a:cxn ang="0">
                          <a:pos x="12" y="10"/>
                        </a:cxn>
                        <a:cxn ang="0">
                          <a:pos x="10" y="7"/>
                        </a:cxn>
                        <a:cxn ang="0">
                          <a:pos x="15" y="0"/>
                        </a:cxn>
                        <a:cxn ang="0">
                          <a:pos x="9" y="2"/>
                        </a:cxn>
                        <a:cxn ang="0">
                          <a:pos x="6" y="9"/>
                        </a:cxn>
                        <a:cxn ang="0">
                          <a:pos x="3" y="9"/>
                        </a:cxn>
                        <a:cxn ang="0">
                          <a:pos x="0" y="11"/>
                        </a:cxn>
                        <a:cxn ang="0">
                          <a:pos x="0" y="16"/>
                        </a:cxn>
                        <a:cxn ang="0">
                          <a:pos x="2" y="17"/>
                        </a:cxn>
                        <a:cxn ang="0">
                          <a:pos x="5" y="17"/>
                        </a:cxn>
                        <a:cxn ang="0">
                          <a:pos x="11" y="16"/>
                        </a:cxn>
                        <a:cxn ang="0">
                          <a:pos x="17" y="21"/>
                        </a:cxn>
                        <a:cxn ang="0">
                          <a:pos x="19" y="20"/>
                        </a:cxn>
                        <a:cxn ang="0">
                          <a:pos x="21" y="16"/>
                        </a:cxn>
                        <a:cxn ang="0">
                          <a:pos x="17" y="15"/>
                        </a:cxn>
                        <a:cxn ang="0">
                          <a:pos x="18" y="10"/>
                        </a:cxn>
                        <a:cxn ang="0">
                          <a:pos x="21" y="7"/>
                        </a:cxn>
                        <a:cxn ang="0">
                          <a:pos x="19" y="6"/>
                        </a:cxn>
                      </a:cxnLst>
                      <a:rect l="0" t="0" r="r" b="b"/>
                      <a:pathLst>
                        <a:path w="21" h="21">
                          <a:moveTo>
                            <a:pt x="19" y="6"/>
                          </a:moveTo>
                          <a:lnTo>
                            <a:pt x="17" y="5"/>
                          </a:lnTo>
                          <a:lnTo>
                            <a:pt x="16" y="6"/>
                          </a:lnTo>
                          <a:lnTo>
                            <a:pt x="14" y="16"/>
                          </a:lnTo>
                          <a:lnTo>
                            <a:pt x="11" y="16"/>
                          </a:lnTo>
                          <a:lnTo>
                            <a:pt x="10" y="14"/>
                          </a:lnTo>
                          <a:lnTo>
                            <a:pt x="12" y="10"/>
                          </a:lnTo>
                          <a:lnTo>
                            <a:pt x="10" y="7"/>
                          </a:lnTo>
                          <a:lnTo>
                            <a:pt x="15" y="0"/>
                          </a:lnTo>
                          <a:lnTo>
                            <a:pt x="9" y="2"/>
                          </a:lnTo>
                          <a:lnTo>
                            <a:pt x="6" y="9"/>
                          </a:lnTo>
                          <a:lnTo>
                            <a:pt x="3" y="9"/>
                          </a:lnTo>
                          <a:lnTo>
                            <a:pt x="0" y="11"/>
                          </a:lnTo>
                          <a:lnTo>
                            <a:pt x="0" y="16"/>
                          </a:lnTo>
                          <a:lnTo>
                            <a:pt x="2" y="17"/>
                          </a:lnTo>
                          <a:lnTo>
                            <a:pt x="5" y="17"/>
                          </a:lnTo>
                          <a:lnTo>
                            <a:pt x="11" y="16"/>
                          </a:lnTo>
                          <a:lnTo>
                            <a:pt x="17" y="21"/>
                          </a:lnTo>
                          <a:lnTo>
                            <a:pt x="19" y="20"/>
                          </a:lnTo>
                          <a:lnTo>
                            <a:pt x="21" y="16"/>
                          </a:lnTo>
                          <a:lnTo>
                            <a:pt x="17" y="15"/>
                          </a:lnTo>
                          <a:lnTo>
                            <a:pt x="18" y="10"/>
                          </a:lnTo>
                          <a:lnTo>
                            <a:pt x="21" y="7"/>
                          </a:lnTo>
                          <a:lnTo>
                            <a:pt x="19" y="6"/>
                          </a:lnTo>
                          <a:close/>
                        </a:path>
                      </a:pathLst>
                    </a:custGeom>
                    <a:grpFill/>
                    <a:ln w="6350" cap="rnd">
                      <a:solidFill>
                        <a:schemeClr val="bg1"/>
                      </a:solidFill>
                      <a:prstDash val="solid"/>
                      <a:round/>
                      <a:headEnd/>
                      <a:tailEnd/>
                    </a:ln>
                  </p:spPr>
                  <p:txBody>
                    <a:bodyPr/>
                    <a:lstStyle/>
                    <a:p>
                      <a:endParaRPr lang="en-US" sz="3200" dirty="0">
                        <a:solidFill>
                          <a:srgbClr val="000000"/>
                        </a:solidFill>
                        <a:latin typeface="+mj-lt"/>
                      </a:endParaRPr>
                    </a:p>
                  </p:txBody>
                </p:sp>
                <p:sp>
                  <p:nvSpPr>
                    <p:cNvPr id="511" name="Freeform 1013"/>
                    <p:cNvSpPr>
                      <a:spLocks/>
                    </p:cNvSpPr>
                    <p:nvPr/>
                  </p:nvSpPr>
                  <p:spPr bwMode="gray">
                    <a:xfrm>
                      <a:off x="5263680" y="4466881"/>
                      <a:ext cx="32474" cy="41753"/>
                    </a:xfrm>
                    <a:custGeom>
                      <a:avLst/>
                      <a:gdLst/>
                      <a:ahLst/>
                      <a:cxnLst>
                        <a:cxn ang="0">
                          <a:pos x="1" y="6"/>
                        </a:cxn>
                        <a:cxn ang="0">
                          <a:pos x="0" y="8"/>
                        </a:cxn>
                        <a:cxn ang="0">
                          <a:pos x="0" y="8"/>
                        </a:cxn>
                        <a:cxn ang="0">
                          <a:pos x="1" y="9"/>
                        </a:cxn>
                        <a:cxn ang="0">
                          <a:pos x="1" y="9"/>
                        </a:cxn>
                        <a:cxn ang="0">
                          <a:pos x="2" y="9"/>
                        </a:cxn>
                        <a:cxn ang="0">
                          <a:pos x="3" y="9"/>
                        </a:cxn>
                        <a:cxn ang="0">
                          <a:pos x="3" y="9"/>
                        </a:cxn>
                        <a:cxn ang="0">
                          <a:pos x="5" y="8"/>
                        </a:cxn>
                        <a:cxn ang="0">
                          <a:pos x="5" y="7"/>
                        </a:cxn>
                        <a:cxn ang="0">
                          <a:pos x="5" y="6"/>
                        </a:cxn>
                        <a:cxn ang="0">
                          <a:pos x="6" y="5"/>
                        </a:cxn>
                        <a:cxn ang="0">
                          <a:pos x="7" y="3"/>
                        </a:cxn>
                        <a:cxn ang="0">
                          <a:pos x="7" y="2"/>
                        </a:cxn>
                        <a:cxn ang="0">
                          <a:pos x="6" y="1"/>
                        </a:cxn>
                        <a:cxn ang="0">
                          <a:pos x="6" y="0"/>
                        </a:cxn>
                        <a:cxn ang="0">
                          <a:pos x="5" y="0"/>
                        </a:cxn>
                        <a:cxn ang="0">
                          <a:pos x="3" y="0"/>
                        </a:cxn>
                        <a:cxn ang="0">
                          <a:pos x="3" y="0"/>
                        </a:cxn>
                        <a:cxn ang="0">
                          <a:pos x="2" y="0"/>
                        </a:cxn>
                        <a:cxn ang="0">
                          <a:pos x="2" y="1"/>
                        </a:cxn>
                        <a:cxn ang="0">
                          <a:pos x="2" y="3"/>
                        </a:cxn>
                        <a:cxn ang="0">
                          <a:pos x="1" y="6"/>
                        </a:cxn>
                      </a:cxnLst>
                      <a:rect l="0" t="0" r="r" b="b"/>
                      <a:pathLst>
                        <a:path w="7" h="9">
                          <a:moveTo>
                            <a:pt x="1" y="6"/>
                          </a:moveTo>
                          <a:lnTo>
                            <a:pt x="0" y="8"/>
                          </a:lnTo>
                          <a:lnTo>
                            <a:pt x="0" y="8"/>
                          </a:lnTo>
                          <a:lnTo>
                            <a:pt x="1" y="9"/>
                          </a:lnTo>
                          <a:lnTo>
                            <a:pt x="1" y="9"/>
                          </a:lnTo>
                          <a:lnTo>
                            <a:pt x="2" y="9"/>
                          </a:lnTo>
                          <a:lnTo>
                            <a:pt x="3" y="9"/>
                          </a:lnTo>
                          <a:lnTo>
                            <a:pt x="3" y="9"/>
                          </a:lnTo>
                          <a:lnTo>
                            <a:pt x="5" y="8"/>
                          </a:lnTo>
                          <a:lnTo>
                            <a:pt x="5" y="7"/>
                          </a:lnTo>
                          <a:lnTo>
                            <a:pt x="5" y="6"/>
                          </a:lnTo>
                          <a:lnTo>
                            <a:pt x="6" y="5"/>
                          </a:lnTo>
                          <a:lnTo>
                            <a:pt x="7" y="3"/>
                          </a:lnTo>
                          <a:lnTo>
                            <a:pt x="7" y="2"/>
                          </a:lnTo>
                          <a:lnTo>
                            <a:pt x="6" y="1"/>
                          </a:lnTo>
                          <a:lnTo>
                            <a:pt x="6" y="0"/>
                          </a:lnTo>
                          <a:lnTo>
                            <a:pt x="5" y="0"/>
                          </a:lnTo>
                          <a:lnTo>
                            <a:pt x="3" y="0"/>
                          </a:lnTo>
                          <a:lnTo>
                            <a:pt x="3" y="0"/>
                          </a:lnTo>
                          <a:lnTo>
                            <a:pt x="2" y="0"/>
                          </a:lnTo>
                          <a:lnTo>
                            <a:pt x="2" y="1"/>
                          </a:lnTo>
                          <a:lnTo>
                            <a:pt x="2" y="3"/>
                          </a:lnTo>
                          <a:lnTo>
                            <a:pt x="1" y="6"/>
                          </a:lnTo>
                          <a:close/>
                        </a:path>
                      </a:pathLst>
                    </a:custGeom>
                    <a:grpFill/>
                    <a:ln w="6350" cap="rnd">
                      <a:solidFill>
                        <a:schemeClr val="bg1"/>
                      </a:solidFill>
                      <a:prstDash val="solid"/>
                      <a:round/>
                      <a:headEnd/>
                      <a:tailEnd/>
                    </a:ln>
                  </p:spPr>
                  <p:txBody>
                    <a:bodyPr/>
                    <a:lstStyle/>
                    <a:p>
                      <a:endParaRPr lang="en-US" sz="3200" dirty="0">
                        <a:solidFill>
                          <a:srgbClr val="000000"/>
                        </a:solidFill>
                        <a:latin typeface="+mj-lt"/>
                      </a:endParaRPr>
                    </a:p>
                  </p:txBody>
                </p:sp>
              </p:grpSp>
              <p:sp>
                <p:nvSpPr>
                  <p:cNvPr id="374" name="Rectangle 373"/>
                  <p:cNvSpPr/>
                  <p:nvPr/>
                </p:nvSpPr>
                <p:spPr bwMode="gray">
                  <a:xfrm>
                    <a:off x="2093693" y="2357352"/>
                    <a:ext cx="1790701" cy="991069"/>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75" name="Rectangle 374"/>
                  <p:cNvSpPr/>
                  <p:nvPr/>
                </p:nvSpPr>
                <p:spPr bwMode="gray">
                  <a:xfrm rot="5400000">
                    <a:off x="3219406" y="2578620"/>
                    <a:ext cx="1790701" cy="1273261"/>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76" name="Rectangle 375"/>
                  <p:cNvSpPr/>
                  <p:nvPr/>
                </p:nvSpPr>
                <p:spPr bwMode="gray">
                  <a:xfrm rot="5400000">
                    <a:off x="3342351" y="4549266"/>
                    <a:ext cx="1790701" cy="884423"/>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77" name="Rectangle 376"/>
                  <p:cNvSpPr/>
                  <p:nvPr/>
                </p:nvSpPr>
                <p:spPr bwMode="gray">
                  <a:xfrm rot="5400000">
                    <a:off x="3724253" y="3842763"/>
                    <a:ext cx="1790701" cy="884423"/>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78" name="Rectangle 377"/>
                  <p:cNvSpPr/>
                  <p:nvPr/>
                </p:nvSpPr>
                <p:spPr bwMode="gray">
                  <a:xfrm rot="5400000">
                    <a:off x="4228973" y="5094419"/>
                    <a:ext cx="797761" cy="441043"/>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79" name="Rectangle 378"/>
                  <p:cNvSpPr/>
                  <p:nvPr/>
                </p:nvSpPr>
                <p:spPr bwMode="gray">
                  <a:xfrm rot="5400000">
                    <a:off x="3873262" y="5476642"/>
                    <a:ext cx="797761" cy="639428"/>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80" name="Oval 379"/>
                  <p:cNvSpPr/>
                  <p:nvPr/>
                </p:nvSpPr>
                <p:spPr bwMode="gray">
                  <a:xfrm>
                    <a:off x="3811652" y="5510429"/>
                    <a:ext cx="351933" cy="571853"/>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81" name="Oval 380"/>
                  <p:cNvSpPr/>
                  <p:nvPr/>
                </p:nvSpPr>
                <p:spPr bwMode="gray">
                  <a:xfrm>
                    <a:off x="4443927" y="5503429"/>
                    <a:ext cx="351933" cy="571853"/>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82" name="Oval 381"/>
                  <p:cNvSpPr/>
                  <p:nvPr/>
                </p:nvSpPr>
                <p:spPr bwMode="gray">
                  <a:xfrm>
                    <a:off x="3546120" y="5038123"/>
                    <a:ext cx="351933" cy="28669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83" name="Oval 382"/>
                  <p:cNvSpPr/>
                  <p:nvPr/>
                </p:nvSpPr>
                <p:spPr bwMode="gray">
                  <a:xfrm>
                    <a:off x="4704903" y="5008917"/>
                    <a:ext cx="351933" cy="28669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84" name="Oval 383"/>
                  <p:cNvSpPr/>
                  <p:nvPr/>
                </p:nvSpPr>
                <p:spPr bwMode="gray">
                  <a:xfrm>
                    <a:off x="4911053" y="4674309"/>
                    <a:ext cx="351933" cy="28669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85" name="Oval 384"/>
                  <p:cNvSpPr/>
                  <p:nvPr/>
                </p:nvSpPr>
                <p:spPr bwMode="gray">
                  <a:xfrm>
                    <a:off x="4864837" y="4201355"/>
                    <a:ext cx="351933" cy="28669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86" name="Oval 385"/>
                  <p:cNvSpPr/>
                  <p:nvPr/>
                </p:nvSpPr>
                <p:spPr bwMode="gray">
                  <a:xfrm>
                    <a:off x="3578072" y="4077791"/>
                    <a:ext cx="351933" cy="509768"/>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87" name="Oval 386"/>
                  <p:cNvSpPr/>
                  <p:nvPr/>
                </p:nvSpPr>
                <p:spPr bwMode="gray">
                  <a:xfrm>
                    <a:off x="3501169" y="4139701"/>
                    <a:ext cx="351933" cy="28669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88" name="Oval 387"/>
                  <p:cNvSpPr/>
                  <p:nvPr/>
                </p:nvSpPr>
                <p:spPr bwMode="gray">
                  <a:xfrm rot="15701772">
                    <a:off x="3531659" y="4276982"/>
                    <a:ext cx="351933" cy="28669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89" name="Oval 388"/>
                  <p:cNvSpPr/>
                  <p:nvPr/>
                </p:nvSpPr>
                <p:spPr bwMode="gray">
                  <a:xfrm rot="15701772">
                    <a:off x="3379298" y="3903529"/>
                    <a:ext cx="351933" cy="28669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90" name="Oval 389"/>
                  <p:cNvSpPr/>
                  <p:nvPr/>
                </p:nvSpPr>
                <p:spPr bwMode="gray">
                  <a:xfrm rot="15701772">
                    <a:off x="3249750" y="3538653"/>
                    <a:ext cx="351933" cy="28669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91" name="Oval 390"/>
                  <p:cNvSpPr/>
                  <p:nvPr/>
                </p:nvSpPr>
                <p:spPr bwMode="gray">
                  <a:xfrm rot="15701772">
                    <a:off x="2458355" y="2933969"/>
                    <a:ext cx="351933" cy="1114344"/>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92" name="Oval 391"/>
                  <p:cNvSpPr/>
                  <p:nvPr/>
                </p:nvSpPr>
                <p:spPr bwMode="gray">
                  <a:xfrm rot="15701772">
                    <a:off x="2699676" y="3123703"/>
                    <a:ext cx="351933" cy="949862"/>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93" name="Oval 392"/>
                  <p:cNvSpPr/>
                  <p:nvPr/>
                </p:nvSpPr>
                <p:spPr bwMode="gray">
                  <a:xfrm>
                    <a:off x="2547855" y="3530869"/>
                    <a:ext cx="351933" cy="28669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94" name="Oval 393"/>
                  <p:cNvSpPr/>
                  <p:nvPr/>
                </p:nvSpPr>
                <p:spPr bwMode="gray">
                  <a:xfrm>
                    <a:off x="2318234" y="3561565"/>
                    <a:ext cx="191838" cy="28669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95" name="Oval 394"/>
                  <p:cNvSpPr/>
                  <p:nvPr/>
                </p:nvSpPr>
                <p:spPr bwMode="gray">
                  <a:xfrm>
                    <a:off x="2137271" y="3576017"/>
                    <a:ext cx="502948" cy="164979"/>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96" name="Oval 395"/>
                  <p:cNvSpPr/>
                  <p:nvPr/>
                </p:nvSpPr>
                <p:spPr bwMode="gray">
                  <a:xfrm>
                    <a:off x="2068821" y="3477499"/>
                    <a:ext cx="502948" cy="164979"/>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97" name="Oval 396"/>
                  <p:cNvSpPr/>
                  <p:nvPr/>
                </p:nvSpPr>
                <p:spPr bwMode="gray">
                  <a:xfrm>
                    <a:off x="1849519" y="3249643"/>
                    <a:ext cx="502948" cy="164979"/>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98" name="Oval 397"/>
                  <p:cNvSpPr/>
                  <p:nvPr/>
                </p:nvSpPr>
                <p:spPr bwMode="gray">
                  <a:xfrm>
                    <a:off x="1925113" y="3333709"/>
                    <a:ext cx="502948" cy="164979"/>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399" name="Oval 398"/>
                  <p:cNvSpPr/>
                  <p:nvPr/>
                </p:nvSpPr>
                <p:spPr bwMode="gray">
                  <a:xfrm>
                    <a:off x="1871428" y="2991308"/>
                    <a:ext cx="502948" cy="310079"/>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400" name="Oval 399"/>
                  <p:cNvSpPr/>
                  <p:nvPr/>
                </p:nvSpPr>
                <p:spPr bwMode="gray">
                  <a:xfrm>
                    <a:off x="1846984" y="3194995"/>
                    <a:ext cx="502948" cy="212511"/>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401" name="Oval 400"/>
                  <p:cNvSpPr/>
                  <p:nvPr/>
                </p:nvSpPr>
                <p:spPr bwMode="gray">
                  <a:xfrm>
                    <a:off x="1848650" y="2657257"/>
                    <a:ext cx="502948" cy="310079"/>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402" name="Oval 401"/>
                  <p:cNvSpPr/>
                  <p:nvPr/>
                </p:nvSpPr>
                <p:spPr bwMode="gray">
                  <a:xfrm rot="18576948">
                    <a:off x="2032353" y="2052766"/>
                    <a:ext cx="1014561" cy="345791"/>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403" name="Oval 402"/>
                  <p:cNvSpPr/>
                  <p:nvPr/>
                </p:nvSpPr>
                <p:spPr bwMode="gray">
                  <a:xfrm rot="18576948">
                    <a:off x="4905033" y="3674364"/>
                    <a:ext cx="1014561" cy="345791"/>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404" name="Oval 403"/>
                  <p:cNvSpPr/>
                  <p:nvPr/>
                </p:nvSpPr>
                <p:spPr bwMode="gray">
                  <a:xfrm rot="18576948">
                    <a:off x="3656509" y="1693945"/>
                    <a:ext cx="1014561" cy="3072864"/>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405" name="Oval 404"/>
                  <p:cNvSpPr/>
                  <p:nvPr/>
                </p:nvSpPr>
                <p:spPr bwMode="gray">
                  <a:xfrm rot="918175">
                    <a:off x="5208842" y="3437064"/>
                    <a:ext cx="279488" cy="180174"/>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406" name="Oval 405"/>
                  <p:cNvSpPr/>
                  <p:nvPr/>
                </p:nvSpPr>
                <p:spPr bwMode="gray">
                  <a:xfrm rot="2864693">
                    <a:off x="5141278" y="3258060"/>
                    <a:ext cx="279488" cy="129055"/>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407" name="Oval 406"/>
                  <p:cNvSpPr/>
                  <p:nvPr/>
                </p:nvSpPr>
                <p:spPr bwMode="gray">
                  <a:xfrm rot="2864693">
                    <a:off x="4926225" y="3132872"/>
                    <a:ext cx="279488" cy="252896"/>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408" name="Oval 407"/>
                  <p:cNvSpPr/>
                  <p:nvPr/>
                </p:nvSpPr>
                <p:spPr bwMode="gray">
                  <a:xfrm rot="2864693">
                    <a:off x="5365944" y="3415717"/>
                    <a:ext cx="70920" cy="60569"/>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409" name="Oval 408"/>
                  <p:cNvSpPr/>
                  <p:nvPr/>
                </p:nvSpPr>
                <p:spPr bwMode="gray">
                  <a:xfrm rot="2864693">
                    <a:off x="5520725" y="3568117"/>
                    <a:ext cx="70920" cy="60569"/>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410" name="Oval 409"/>
                  <p:cNvSpPr/>
                  <p:nvPr/>
                </p:nvSpPr>
                <p:spPr bwMode="gray">
                  <a:xfrm rot="2864693">
                    <a:off x="5343547" y="3325445"/>
                    <a:ext cx="70920" cy="60569"/>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411" name="Oval 410"/>
                  <p:cNvSpPr/>
                  <p:nvPr/>
                </p:nvSpPr>
                <p:spPr bwMode="gray">
                  <a:xfrm rot="2864693">
                    <a:off x="5037924" y="2980328"/>
                    <a:ext cx="70920" cy="199141"/>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412" name="Oval 411"/>
                  <p:cNvSpPr/>
                  <p:nvPr/>
                </p:nvSpPr>
                <p:spPr bwMode="gray">
                  <a:xfrm rot="2864693">
                    <a:off x="4838334" y="2632455"/>
                    <a:ext cx="87240" cy="201509"/>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413" name="Oval 412"/>
                  <p:cNvSpPr/>
                  <p:nvPr/>
                </p:nvSpPr>
                <p:spPr bwMode="gray">
                  <a:xfrm rot="2864693">
                    <a:off x="4663080" y="2575132"/>
                    <a:ext cx="217646" cy="222201"/>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414" name="Oval 413"/>
                  <p:cNvSpPr/>
                  <p:nvPr/>
                </p:nvSpPr>
                <p:spPr bwMode="gray">
                  <a:xfrm rot="2864693">
                    <a:off x="4202402" y="2107992"/>
                    <a:ext cx="260739" cy="249116"/>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415" name="Oval 414"/>
                  <p:cNvSpPr/>
                  <p:nvPr/>
                </p:nvSpPr>
                <p:spPr bwMode="gray">
                  <a:xfrm rot="2864693">
                    <a:off x="4283397" y="2073937"/>
                    <a:ext cx="45719" cy="63788"/>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416" name="Oval 415"/>
                  <p:cNvSpPr/>
                  <p:nvPr/>
                </p:nvSpPr>
                <p:spPr bwMode="gray">
                  <a:xfrm rot="2864693">
                    <a:off x="4435797" y="2226337"/>
                    <a:ext cx="45719" cy="63788"/>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417" name="Oval 416"/>
                  <p:cNvSpPr/>
                  <p:nvPr/>
                </p:nvSpPr>
                <p:spPr bwMode="gray">
                  <a:xfrm rot="421170">
                    <a:off x="3243880" y="1933867"/>
                    <a:ext cx="339024" cy="395286"/>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418" name="Oval 417"/>
                  <p:cNvSpPr/>
                  <p:nvPr/>
                </p:nvSpPr>
                <p:spPr bwMode="gray">
                  <a:xfrm rot="421170">
                    <a:off x="3252220" y="1690266"/>
                    <a:ext cx="189180" cy="179721"/>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419" name="Oval 418"/>
                  <p:cNvSpPr/>
                  <p:nvPr/>
                </p:nvSpPr>
                <p:spPr bwMode="gray">
                  <a:xfrm rot="421170">
                    <a:off x="3207514" y="1815807"/>
                    <a:ext cx="189180" cy="179721"/>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sp>
                <p:nvSpPr>
                  <p:cNvPr id="420" name="Oval 419"/>
                  <p:cNvSpPr/>
                  <p:nvPr/>
                </p:nvSpPr>
                <p:spPr bwMode="gray">
                  <a:xfrm rot="21173649">
                    <a:off x="2080674" y="2323534"/>
                    <a:ext cx="230829" cy="45826"/>
                  </a:xfrm>
                  <a:prstGeom prst="ellipse">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grpSp>
            <p:sp>
              <p:nvSpPr>
                <p:cNvPr id="372" name="Rectangle 371"/>
                <p:cNvSpPr/>
                <p:nvPr/>
              </p:nvSpPr>
              <p:spPr bwMode="gray">
                <a:xfrm rot="5400000">
                  <a:off x="6190766" y="1816626"/>
                  <a:ext cx="492065" cy="396238"/>
                </a:xfrm>
                <a:prstGeom prst="rect">
                  <a:avLst/>
                </a:prstGeom>
                <a:gr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prstClr val="white"/>
                    </a:solidFill>
                    <a:latin typeface="+mj-lt"/>
                  </a:endParaRPr>
                </a:p>
              </p:txBody>
            </p:sp>
          </p:grpSp>
          <p:sp>
            <p:nvSpPr>
              <p:cNvPr id="516" name="Freeform 351"/>
              <p:cNvSpPr>
                <a:spLocks noChangeAspect="1" noEditPoints="1"/>
              </p:cNvSpPr>
              <p:nvPr/>
            </p:nvSpPr>
            <p:spPr bwMode="auto">
              <a:xfrm>
                <a:off x="6316102" y="5247807"/>
                <a:ext cx="433215" cy="433215"/>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latin typeface="+mj-lt"/>
                </a:endParaRPr>
              </a:p>
            </p:txBody>
          </p:sp>
          <p:pic>
            <p:nvPicPr>
              <p:cNvPr id="538" name="Picture 537"/>
              <p:cNvPicPr>
                <a:picLocks noChangeAspect="1"/>
              </p:cNvPicPr>
              <p:nvPr/>
            </p:nvPicPr>
            <p:blipFill rotWithShape="1">
              <a:blip r:embed="rId5"/>
              <a:srcRect l="16782"/>
              <a:stretch/>
            </p:blipFill>
            <p:spPr>
              <a:xfrm>
                <a:off x="6749535" y="4657256"/>
                <a:ext cx="269501" cy="1095375"/>
              </a:xfrm>
              <a:prstGeom prst="rect">
                <a:avLst/>
              </a:prstGeom>
            </p:spPr>
          </p:pic>
        </p:grpSp>
        <p:sp>
          <p:nvSpPr>
            <p:cNvPr id="542" name="TextBox 541"/>
            <p:cNvSpPr txBox="1"/>
            <p:nvPr/>
          </p:nvSpPr>
          <p:spPr>
            <a:xfrm>
              <a:off x="6313471" y="1940931"/>
              <a:ext cx="2487988" cy="470057"/>
            </a:xfrm>
            <a:prstGeom prst="rect">
              <a:avLst/>
            </a:prstGeom>
            <a:noFill/>
          </p:spPr>
          <p:txBody>
            <a:bodyPr wrap="square" lIns="0" tIns="0" rIns="0" bIns="0" rtlCol="0">
              <a:spAutoFit/>
            </a:bodyPr>
            <a:lstStyle/>
            <a:p>
              <a:pPr algn="r"/>
              <a:r>
                <a:rPr lang="fr-FR" sz="1400" dirty="0">
                  <a:latin typeface="+mj-lt"/>
                </a:rPr>
                <a:t>possèdent un </a:t>
              </a:r>
              <a:r>
                <a:rPr lang="fr-FR" sz="1400" b="1" dirty="0">
                  <a:latin typeface="+mj-lt"/>
                </a:rPr>
                <a:t>e-</a:t>
              </a:r>
              <a:r>
                <a:rPr lang="fr-FR" sz="1400" b="1" dirty="0" err="1">
                  <a:latin typeface="+mj-lt"/>
                </a:rPr>
                <a:t>wallet</a:t>
              </a:r>
              <a:r>
                <a:rPr lang="fr-FR" sz="1400" dirty="0">
                  <a:latin typeface="+mj-lt"/>
                </a:rPr>
                <a:t>, soit 3 fois plus qu’aux US</a:t>
              </a:r>
            </a:p>
          </p:txBody>
        </p:sp>
        <p:sp>
          <p:nvSpPr>
            <p:cNvPr id="543" name="Rectangle 542"/>
            <p:cNvSpPr/>
            <p:nvPr/>
          </p:nvSpPr>
          <p:spPr>
            <a:xfrm>
              <a:off x="4675863" y="1065372"/>
              <a:ext cx="4125598" cy="906539"/>
            </a:xfrm>
            <a:prstGeom prst="rect">
              <a:avLst/>
            </a:prstGeom>
          </p:spPr>
          <p:txBody>
            <a:bodyPr wrap="square">
              <a:spAutoFit/>
            </a:bodyPr>
            <a:lstStyle/>
            <a:p>
              <a:pPr algn="r"/>
              <a:r>
                <a:rPr lang="fr-FR" sz="2400" b="1" dirty="0">
                  <a:solidFill>
                    <a:srgbClr val="6FC2B4"/>
                  </a:solidFill>
                  <a:latin typeface="+mj-lt"/>
                </a:rPr>
                <a:t>183 millions d’africains </a:t>
              </a:r>
            </a:p>
          </p:txBody>
        </p:sp>
        <p:pic>
          <p:nvPicPr>
            <p:cNvPr id="544" name="Picture 543"/>
            <p:cNvPicPr>
              <a:picLocks noChangeAspect="1"/>
            </p:cNvPicPr>
            <p:nvPr/>
          </p:nvPicPr>
          <p:blipFill>
            <a:blip r:embed="rId6"/>
            <a:stretch>
              <a:fillRect/>
            </a:stretch>
          </p:blipFill>
          <p:spPr>
            <a:xfrm>
              <a:off x="4984678" y="1024722"/>
              <a:ext cx="1325650" cy="1426216"/>
            </a:xfrm>
            <a:prstGeom prst="rect">
              <a:avLst/>
            </a:prstGeom>
          </p:spPr>
        </p:pic>
        <p:sp>
          <p:nvSpPr>
            <p:cNvPr id="549" name="Rectangle 548"/>
            <p:cNvSpPr/>
            <p:nvPr/>
          </p:nvSpPr>
          <p:spPr>
            <a:xfrm>
              <a:off x="4418399" y="2729923"/>
              <a:ext cx="3059204" cy="1175142"/>
            </a:xfrm>
            <a:prstGeom prst="rect">
              <a:avLst/>
            </a:prstGeom>
            <a:noFill/>
          </p:spPr>
          <p:txBody>
            <a:bodyPr wrap="square" lIns="0" tIns="0" rIns="0" bIns="0" rtlCol="0">
              <a:spAutoFit/>
            </a:bodyPr>
            <a:lstStyle/>
            <a:p>
              <a:pPr algn="ctr">
                <a:spcBef>
                  <a:spcPts val="600"/>
                </a:spcBef>
                <a:buSzPct val="100000"/>
              </a:pPr>
              <a:r>
                <a:rPr lang="fr-FR" sz="2800" b="1" dirty="0">
                  <a:solidFill>
                    <a:schemeClr val="accent6"/>
                  </a:solidFill>
                  <a:latin typeface="+mj-lt"/>
                </a:rPr>
                <a:t>Plus de 50% </a:t>
              </a:r>
              <a:r>
                <a:rPr lang="fr-FR" sz="1400" dirty="0">
                  <a:solidFill>
                    <a:srgbClr val="313131"/>
                  </a:solidFill>
                  <a:latin typeface="+mj-lt"/>
                </a:rPr>
                <a:t>des comptes de paiement sur mobile dans le monde se trouvent en Afrique</a:t>
              </a:r>
            </a:p>
          </p:txBody>
        </p:sp>
        <p:sp>
          <p:nvSpPr>
            <p:cNvPr id="550" name="object 4"/>
            <p:cNvSpPr/>
            <p:nvPr/>
          </p:nvSpPr>
          <p:spPr>
            <a:xfrm>
              <a:off x="7548402" y="2577103"/>
              <a:ext cx="1615114" cy="1389588"/>
            </a:xfrm>
            <a:prstGeom prst="rect">
              <a:avLst/>
            </a:prstGeom>
            <a:blipFill>
              <a:blip r:embed="rId7" cstate="print"/>
              <a:stretch>
                <a:fillRect/>
              </a:stretch>
            </a:blipFill>
          </p:spPr>
          <p:txBody>
            <a:bodyPr wrap="square" lIns="0" tIns="0" rIns="0" bIns="0" rtlCol="0"/>
            <a:lstStyle/>
            <a:p>
              <a:endParaRPr>
                <a:latin typeface="+mj-lt"/>
              </a:endParaRPr>
            </a:p>
          </p:txBody>
        </p:sp>
        <p:sp>
          <p:nvSpPr>
            <p:cNvPr id="553" name="TextBox 552"/>
            <p:cNvSpPr txBox="1"/>
            <p:nvPr/>
          </p:nvSpPr>
          <p:spPr>
            <a:xfrm>
              <a:off x="9161" y="4097636"/>
              <a:ext cx="6095474" cy="302180"/>
            </a:xfrm>
            <a:prstGeom prst="rect">
              <a:avLst/>
            </a:prstGeom>
            <a:noFill/>
          </p:spPr>
          <p:txBody>
            <a:bodyPr wrap="square" lIns="0" tIns="0" rIns="0" bIns="0" rtlCol="0">
              <a:spAutoFit/>
            </a:bodyPr>
            <a:lstStyle>
              <a:defPPr>
                <a:defRPr lang="fr-FR"/>
              </a:defPPr>
              <a:lvl1pPr algn="ctr">
                <a:spcBef>
                  <a:spcPts val="600"/>
                </a:spcBef>
                <a:buSzPct val="100000"/>
                <a:defRPr sz="1200" b="1">
                  <a:solidFill>
                    <a:srgbClr val="313131"/>
                  </a:solidFill>
                </a:defRPr>
              </a:lvl1pPr>
            </a:lstStyle>
            <a:p>
              <a:pPr algn="l" defTabSz="914377">
                <a:spcBef>
                  <a:spcPts val="0"/>
                </a:spcBef>
                <a:spcAft>
                  <a:spcPts val="1000"/>
                </a:spcAft>
              </a:pPr>
              <a:r>
                <a:rPr lang="fr-FR" sz="1800" b="0" dirty="0">
                  <a:solidFill>
                    <a:srgbClr val="575757"/>
                  </a:solidFill>
                  <a:latin typeface="+mj-lt"/>
                </a:rPr>
                <a:t>…porté par le développement de </a:t>
              </a:r>
              <a:r>
                <a:rPr lang="fr-FR" sz="1800" b="0" dirty="0">
                  <a:solidFill>
                    <a:schemeClr val="accent2"/>
                  </a:solidFill>
                  <a:latin typeface="+mj-lt"/>
                </a:rPr>
                <a:t>2 phénomènes</a:t>
              </a:r>
            </a:p>
          </p:txBody>
        </p:sp>
        <p:cxnSp>
          <p:nvCxnSpPr>
            <p:cNvPr id="716" name="Straight Connector 715"/>
            <p:cNvCxnSpPr/>
            <p:nvPr/>
          </p:nvCxnSpPr>
          <p:spPr>
            <a:xfrm>
              <a:off x="4265460" y="2577103"/>
              <a:ext cx="4536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17" name="Straight Connector 716"/>
            <p:cNvCxnSpPr/>
            <p:nvPr/>
          </p:nvCxnSpPr>
          <p:spPr>
            <a:xfrm>
              <a:off x="946900" y="3966691"/>
              <a:ext cx="6408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8"/>
            <a:stretch>
              <a:fillRect/>
            </a:stretch>
          </p:blipFill>
          <p:spPr>
            <a:xfrm>
              <a:off x="697867" y="2497069"/>
              <a:ext cx="3194270" cy="1345558"/>
            </a:xfrm>
            <a:prstGeom prst="rect">
              <a:avLst/>
            </a:prstGeom>
          </p:spPr>
        </p:pic>
      </p:grpSp>
    </p:spTree>
    <p:extLst>
      <p:ext uri="{BB962C8B-B14F-4D97-AF65-F5344CB8AC3E}">
        <p14:creationId xmlns:p14="http://schemas.microsoft.com/office/powerpoint/2010/main" val="52298369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p:txBody>
          <a:bodyPr/>
          <a:lstStyle/>
          <a:p>
            <a:pPr>
              <a:spcBef>
                <a:spcPts val="600"/>
              </a:spcBef>
              <a:buSzPct val="100000"/>
              <a:buFont typeface="Arial"/>
              <a:buNone/>
            </a:pPr>
            <a:r>
              <a:rPr dirty="0">
                <a:solidFill>
                  <a:prstClr val="black"/>
                </a:solidFill>
                <a:latin typeface="+mj-lt"/>
              </a:rPr>
              <a:t>© 2017 Deloitte</a:t>
            </a:r>
            <a:r>
              <a:rPr lang="fr-FR" dirty="0">
                <a:solidFill>
                  <a:prstClr val="black"/>
                </a:solidFill>
                <a:latin typeface="+mj-lt"/>
              </a:rPr>
              <a:t> </a:t>
            </a:r>
            <a:endParaRPr dirty="0">
              <a:solidFill>
                <a:prstClr val="black"/>
              </a:solidFill>
              <a:latin typeface="+mj-lt"/>
            </a:endParaRPr>
          </a:p>
        </p:txBody>
      </p:sp>
      <p:sp>
        <p:nvSpPr>
          <p:cNvPr id="5" name="Slide Number Placeholder 4"/>
          <p:cNvSpPr>
            <a:spLocks noGrp="1"/>
          </p:cNvSpPr>
          <p:nvPr>
            <p:ph type="sldNum" sz="quarter" idx="4"/>
          </p:nvPr>
        </p:nvSpPr>
        <p:spPr/>
        <p:txBody>
          <a:bodyPr/>
          <a:lstStyle/>
          <a:p>
            <a:pPr algn="r">
              <a:spcBef>
                <a:spcPts val="600"/>
              </a:spcBef>
              <a:buSzPct val="100000"/>
              <a:buFont typeface="Arial"/>
              <a:buNone/>
            </a:pPr>
            <a:fld id="{4654C24A-AA93-4318-A7E9-AF587A936244}" type="slidenum">
              <a:rPr>
                <a:solidFill>
                  <a:prstClr val="black"/>
                </a:solidFill>
                <a:latin typeface="+mj-lt"/>
              </a:rPr>
              <a:pPr algn="r">
                <a:spcBef>
                  <a:spcPts val="600"/>
                </a:spcBef>
                <a:buSzPct val="100000"/>
                <a:buFont typeface="Arial"/>
                <a:buNone/>
              </a:pPr>
              <a:t>9</a:t>
            </a:fld>
            <a:endParaRPr>
              <a:solidFill>
                <a:prstClr val="black"/>
              </a:solidFill>
              <a:latin typeface="+mj-lt"/>
            </a:endParaRPr>
          </a:p>
        </p:txBody>
      </p:sp>
      <p:sp>
        <p:nvSpPr>
          <p:cNvPr id="49" name="Date Placeholder 5"/>
          <p:cNvSpPr>
            <a:spLocks noGrp="1"/>
          </p:cNvSpPr>
          <p:nvPr>
            <p:ph type="dt" sz="half" idx="2"/>
          </p:nvPr>
        </p:nvSpPr>
        <p:spPr>
          <a:xfrm>
            <a:off x="4751388" y="6477000"/>
            <a:ext cx="3672420" cy="100156"/>
          </a:xfrm>
        </p:spPr>
        <p:txBody>
          <a:bodyPr/>
          <a:lstStyle/>
          <a:p>
            <a:pPr algn="r">
              <a:buSzPct val="100000"/>
              <a:buFont typeface="Arial"/>
              <a:buNone/>
            </a:pPr>
            <a:r>
              <a:rPr lang="fr-FR" dirty="0">
                <a:solidFill>
                  <a:prstClr val="black"/>
                </a:solidFill>
                <a:latin typeface="+mj-lt"/>
              </a:rPr>
              <a:t>Afrique : conduire l’innovation </a:t>
            </a:r>
            <a:r>
              <a:rPr lang="fr-FR" dirty="0" err="1">
                <a:solidFill>
                  <a:prstClr val="black"/>
                </a:solidFill>
                <a:latin typeface="+mj-lt"/>
              </a:rPr>
              <a:t>FinTech</a:t>
            </a:r>
            <a:endParaRPr lang="fr-FR" dirty="0">
              <a:solidFill>
                <a:prstClr val="black"/>
              </a:solidFill>
              <a:latin typeface="+mj-lt"/>
            </a:endParaRPr>
          </a:p>
        </p:txBody>
      </p:sp>
      <p:sp>
        <p:nvSpPr>
          <p:cNvPr id="201" name="Title 2"/>
          <p:cNvSpPr>
            <a:spLocks noGrp="1"/>
          </p:cNvSpPr>
          <p:nvPr>
            <p:ph type="title"/>
          </p:nvPr>
        </p:nvSpPr>
        <p:spPr>
          <a:xfrm>
            <a:off x="376239" y="317500"/>
            <a:ext cx="8391525" cy="334101"/>
          </a:xfrm>
        </p:spPr>
        <p:txBody>
          <a:bodyPr/>
          <a:lstStyle/>
          <a:p>
            <a:r>
              <a:rPr lang="fr-FR" dirty="0"/>
              <a:t>La </a:t>
            </a:r>
            <a:r>
              <a:rPr lang="fr-FR" dirty="0" err="1"/>
              <a:t>Fintech</a:t>
            </a:r>
            <a:r>
              <a:rPr lang="fr-FR" dirty="0"/>
              <a:t> en Afrique</a:t>
            </a:r>
          </a:p>
        </p:txBody>
      </p:sp>
      <p:sp>
        <p:nvSpPr>
          <p:cNvPr id="202" name="Text Placeholder 8"/>
          <p:cNvSpPr>
            <a:spLocks noGrp="1"/>
          </p:cNvSpPr>
          <p:nvPr>
            <p:ph type="body" sz="quarter" idx="13"/>
          </p:nvPr>
        </p:nvSpPr>
        <p:spPr>
          <a:xfrm>
            <a:off x="376237" y="651601"/>
            <a:ext cx="8638973" cy="355250"/>
          </a:xfrm>
        </p:spPr>
        <p:txBody>
          <a:bodyPr/>
          <a:lstStyle/>
          <a:p>
            <a:r>
              <a:rPr lang="fr-FR" sz="1800" dirty="0">
                <a:latin typeface="+mj-lt"/>
              </a:rPr>
              <a:t>Un écosystème en cours de constitution </a:t>
            </a:r>
          </a:p>
        </p:txBody>
      </p:sp>
      <p:grpSp>
        <p:nvGrpSpPr>
          <p:cNvPr id="2" name="Group 1"/>
          <p:cNvGrpSpPr/>
          <p:nvPr/>
        </p:nvGrpSpPr>
        <p:grpSpPr>
          <a:xfrm>
            <a:off x="275705" y="2098590"/>
            <a:ext cx="4812968" cy="4149276"/>
            <a:chOff x="275705" y="1849222"/>
            <a:chExt cx="5102225" cy="4398645"/>
          </a:xfrm>
        </p:grpSpPr>
        <p:sp>
          <p:nvSpPr>
            <p:cNvPr id="88" name="object 31"/>
            <p:cNvSpPr/>
            <p:nvPr/>
          </p:nvSpPr>
          <p:spPr>
            <a:xfrm>
              <a:off x="1619429" y="1849222"/>
              <a:ext cx="2414270" cy="544830"/>
            </a:xfrm>
            <a:custGeom>
              <a:avLst/>
              <a:gdLst/>
              <a:ahLst/>
              <a:cxnLst/>
              <a:rect l="l" t="t" r="r" b="b"/>
              <a:pathLst>
                <a:path w="2414270" h="544830">
                  <a:moveTo>
                    <a:pt x="2261374" y="0"/>
                  </a:moveTo>
                  <a:lnTo>
                    <a:pt x="152641" y="0"/>
                  </a:lnTo>
                  <a:lnTo>
                    <a:pt x="108788" y="3987"/>
                  </a:lnTo>
                  <a:lnTo>
                    <a:pt x="64947" y="11963"/>
                  </a:lnTo>
                  <a:lnTo>
                    <a:pt x="25082" y="23926"/>
                  </a:lnTo>
                  <a:lnTo>
                    <a:pt x="0" y="35077"/>
                  </a:lnTo>
                  <a:lnTo>
                    <a:pt x="287248" y="544829"/>
                  </a:lnTo>
                  <a:lnTo>
                    <a:pt x="305727" y="536613"/>
                  </a:lnTo>
                  <a:lnTo>
                    <a:pt x="336118" y="527494"/>
                  </a:lnTo>
                  <a:lnTo>
                    <a:pt x="369557" y="521411"/>
                  </a:lnTo>
                  <a:lnTo>
                    <a:pt x="402996" y="518363"/>
                  </a:lnTo>
                  <a:lnTo>
                    <a:pt x="2141681" y="518363"/>
                  </a:lnTo>
                  <a:lnTo>
                    <a:pt x="2414016" y="35077"/>
                  </a:lnTo>
                  <a:lnTo>
                    <a:pt x="2388946" y="23926"/>
                  </a:lnTo>
                  <a:lnTo>
                    <a:pt x="2349080" y="11963"/>
                  </a:lnTo>
                  <a:lnTo>
                    <a:pt x="2305227" y="3987"/>
                  </a:lnTo>
                  <a:lnTo>
                    <a:pt x="2261374" y="0"/>
                  </a:lnTo>
                  <a:close/>
                </a:path>
                <a:path w="2414270" h="544830">
                  <a:moveTo>
                    <a:pt x="2141681" y="518363"/>
                  </a:moveTo>
                  <a:lnTo>
                    <a:pt x="2011032" y="518363"/>
                  </a:lnTo>
                  <a:lnTo>
                    <a:pt x="2044458" y="521411"/>
                  </a:lnTo>
                  <a:lnTo>
                    <a:pt x="2077897" y="527494"/>
                  </a:lnTo>
                  <a:lnTo>
                    <a:pt x="2108301" y="536613"/>
                  </a:lnTo>
                  <a:lnTo>
                    <a:pt x="2126767" y="544829"/>
                  </a:lnTo>
                  <a:lnTo>
                    <a:pt x="2141681" y="518363"/>
                  </a:lnTo>
                  <a:close/>
                </a:path>
              </a:pathLst>
            </a:custGeom>
            <a:solidFill>
              <a:srgbClr val="041E42"/>
            </a:solidFill>
          </p:spPr>
          <p:txBody>
            <a:bodyPr wrap="square" lIns="0" tIns="0" rIns="0" bIns="0" rtlCol="0"/>
            <a:lstStyle/>
            <a:p>
              <a:endParaRPr>
                <a:solidFill>
                  <a:prstClr val="black"/>
                </a:solidFill>
                <a:latin typeface="+mj-lt"/>
              </a:endParaRPr>
            </a:p>
          </p:txBody>
        </p:sp>
        <p:sp>
          <p:nvSpPr>
            <p:cNvPr id="89" name="object 62"/>
            <p:cNvSpPr/>
            <p:nvPr/>
          </p:nvSpPr>
          <p:spPr>
            <a:xfrm>
              <a:off x="340793" y="1894179"/>
              <a:ext cx="2472690" cy="2156460"/>
            </a:xfrm>
            <a:custGeom>
              <a:avLst/>
              <a:gdLst/>
              <a:ahLst/>
              <a:cxnLst/>
              <a:rect l="l" t="t" r="r" b="b"/>
              <a:pathLst>
                <a:path w="2472690" h="2156460">
                  <a:moveTo>
                    <a:pt x="1259077" y="0"/>
                  </a:moveTo>
                  <a:lnTo>
                    <a:pt x="1211262" y="27901"/>
                  </a:lnTo>
                  <a:lnTo>
                    <a:pt x="1171422" y="59791"/>
                  </a:lnTo>
                  <a:lnTo>
                    <a:pt x="1135557" y="99656"/>
                  </a:lnTo>
                  <a:lnTo>
                    <a:pt x="1103680" y="143497"/>
                  </a:lnTo>
                  <a:lnTo>
                    <a:pt x="47815" y="1973097"/>
                  </a:lnTo>
                  <a:lnTo>
                    <a:pt x="27889" y="2016950"/>
                  </a:lnTo>
                  <a:lnTo>
                    <a:pt x="11950" y="2064778"/>
                  </a:lnTo>
                  <a:lnTo>
                    <a:pt x="3987" y="2108631"/>
                  </a:lnTo>
                  <a:lnTo>
                    <a:pt x="0" y="2156460"/>
                  </a:lnTo>
                  <a:lnTo>
                    <a:pt x="2471051" y="2156460"/>
                  </a:lnTo>
                  <a:lnTo>
                    <a:pt x="2472690" y="2153564"/>
                  </a:lnTo>
                  <a:lnTo>
                    <a:pt x="2472410" y="2153056"/>
                  </a:lnTo>
                  <a:lnTo>
                    <a:pt x="590118" y="2153056"/>
                  </a:lnTo>
                  <a:lnTo>
                    <a:pt x="593153" y="2116582"/>
                  </a:lnTo>
                  <a:lnTo>
                    <a:pt x="611390" y="2046668"/>
                  </a:lnTo>
                  <a:lnTo>
                    <a:pt x="1431734" y="618058"/>
                  </a:lnTo>
                  <a:lnTo>
                    <a:pt x="1456042" y="584619"/>
                  </a:lnTo>
                  <a:lnTo>
                    <a:pt x="1483385" y="554228"/>
                  </a:lnTo>
                  <a:lnTo>
                    <a:pt x="1513776" y="529907"/>
                  </a:lnTo>
                  <a:lnTo>
                    <a:pt x="1546834" y="510616"/>
                  </a:lnTo>
                  <a:lnTo>
                    <a:pt x="1259077" y="0"/>
                  </a:lnTo>
                  <a:close/>
                </a:path>
              </a:pathLst>
            </a:custGeom>
            <a:solidFill>
              <a:srgbClr val="0097A9"/>
            </a:solidFill>
          </p:spPr>
          <p:txBody>
            <a:bodyPr wrap="square" lIns="0" tIns="0" rIns="0" bIns="0" rtlCol="0"/>
            <a:lstStyle/>
            <a:p>
              <a:endParaRPr>
                <a:solidFill>
                  <a:prstClr val="black"/>
                </a:solidFill>
                <a:latin typeface="+mj-lt"/>
              </a:endParaRPr>
            </a:p>
          </p:txBody>
        </p:sp>
        <p:sp>
          <p:nvSpPr>
            <p:cNvPr id="90" name="object 102"/>
            <p:cNvSpPr/>
            <p:nvPr/>
          </p:nvSpPr>
          <p:spPr>
            <a:xfrm>
              <a:off x="340793" y="4061307"/>
              <a:ext cx="1541780" cy="2156460"/>
            </a:xfrm>
            <a:custGeom>
              <a:avLst/>
              <a:gdLst/>
              <a:ahLst/>
              <a:cxnLst/>
              <a:rect l="l" t="t" r="r" b="b"/>
              <a:pathLst>
                <a:path w="1541779" h="2156460">
                  <a:moveTo>
                    <a:pt x="590689" y="0"/>
                  </a:moveTo>
                  <a:lnTo>
                    <a:pt x="0" y="0"/>
                  </a:lnTo>
                  <a:lnTo>
                    <a:pt x="3987" y="47828"/>
                  </a:lnTo>
                  <a:lnTo>
                    <a:pt x="11950" y="91681"/>
                  </a:lnTo>
                  <a:lnTo>
                    <a:pt x="27889" y="139509"/>
                  </a:lnTo>
                  <a:lnTo>
                    <a:pt x="47815" y="183362"/>
                  </a:lnTo>
                  <a:lnTo>
                    <a:pt x="1103807" y="2012962"/>
                  </a:lnTo>
                  <a:lnTo>
                    <a:pt x="1135684" y="2056803"/>
                  </a:lnTo>
                  <a:lnTo>
                    <a:pt x="1171549" y="2096668"/>
                  </a:lnTo>
                  <a:lnTo>
                    <a:pt x="1211389" y="2128558"/>
                  </a:lnTo>
                  <a:lnTo>
                    <a:pt x="1259217" y="2156460"/>
                  </a:lnTo>
                  <a:lnTo>
                    <a:pt x="1278978" y="2121395"/>
                  </a:lnTo>
                  <a:lnTo>
                    <a:pt x="1268183" y="2116594"/>
                  </a:lnTo>
                  <a:lnTo>
                    <a:pt x="1541526" y="1633181"/>
                  </a:lnTo>
                  <a:lnTo>
                    <a:pt x="1483550" y="1592770"/>
                  </a:lnTo>
                  <a:lnTo>
                    <a:pt x="1456207" y="1562366"/>
                  </a:lnTo>
                  <a:lnTo>
                    <a:pt x="1431886" y="1528940"/>
                  </a:lnTo>
                  <a:lnTo>
                    <a:pt x="626643" y="133756"/>
                  </a:lnTo>
                  <a:lnTo>
                    <a:pt x="599300" y="63855"/>
                  </a:lnTo>
                  <a:lnTo>
                    <a:pt x="593217" y="30416"/>
                  </a:lnTo>
                  <a:lnTo>
                    <a:pt x="590689" y="0"/>
                  </a:lnTo>
                  <a:close/>
                </a:path>
              </a:pathLst>
            </a:custGeom>
            <a:solidFill>
              <a:srgbClr val="44546A"/>
            </a:solidFill>
          </p:spPr>
          <p:txBody>
            <a:bodyPr wrap="square" lIns="0" tIns="0" rIns="0" bIns="0" rtlCol="0"/>
            <a:lstStyle/>
            <a:p>
              <a:endParaRPr>
                <a:solidFill>
                  <a:prstClr val="black"/>
                </a:solidFill>
                <a:latin typeface="+mj-lt"/>
              </a:endParaRPr>
            </a:p>
          </p:txBody>
        </p:sp>
        <p:sp>
          <p:nvSpPr>
            <p:cNvPr id="91" name="object 112"/>
            <p:cNvSpPr/>
            <p:nvPr/>
          </p:nvSpPr>
          <p:spPr>
            <a:xfrm>
              <a:off x="3771317" y="4061307"/>
              <a:ext cx="1541780" cy="2156460"/>
            </a:xfrm>
            <a:custGeom>
              <a:avLst/>
              <a:gdLst/>
              <a:ahLst/>
              <a:cxnLst/>
              <a:rect l="l" t="t" r="r" b="b"/>
              <a:pathLst>
                <a:path w="1541779" h="2156460">
                  <a:moveTo>
                    <a:pt x="1541526" y="0"/>
                  </a:moveTo>
                  <a:lnTo>
                    <a:pt x="950582" y="0"/>
                  </a:lnTo>
                  <a:lnTo>
                    <a:pt x="948042" y="30416"/>
                  </a:lnTo>
                  <a:lnTo>
                    <a:pt x="941971" y="66890"/>
                  </a:lnTo>
                  <a:lnTo>
                    <a:pt x="914603" y="133756"/>
                  </a:lnTo>
                  <a:lnTo>
                    <a:pt x="109004" y="1528940"/>
                  </a:lnTo>
                  <a:lnTo>
                    <a:pt x="84683" y="1562366"/>
                  </a:lnTo>
                  <a:lnTo>
                    <a:pt x="57327" y="1592770"/>
                  </a:lnTo>
                  <a:lnTo>
                    <a:pt x="26923" y="1617091"/>
                  </a:lnTo>
                  <a:lnTo>
                    <a:pt x="0" y="1632788"/>
                  </a:lnTo>
                  <a:lnTo>
                    <a:pt x="272783" y="2116594"/>
                  </a:lnTo>
                  <a:lnTo>
                    <a:pt x="261988" y="2121395"/>
                  </a:lnTo>
                  <a:lnTo>
                    <a:pt x="281762" y="2156460"/>
                  </a:lnTo>
                  <a:lnTo>
                    <a:pt x="329603" y="2128558"/>
                  </a:lnTo>
                  <a:lnTo>
                    <a:pt x="369468" y="2096668"/>
                  </a:lnTo>
                  <a:lnTo>
                    <a:pt x="405345" y="2056803"/>
                  </a:lnTo>
                  <a:lnTo>
                    <a:pt x="437235" y="2012962"/>
                  </a:lnTo>
                  <a:lnTo>
                    <a:pt x="1493685" y="183362"/>
                  </a:lnTo>
                  <a:lnTo>
                    <a:pt x="1513611" y="139509"/>
                  </a:lnTo>
                  <a:lnTo>
                    <a:pt x="1529562" y="95669"/>
                  </a:lnTo>
                  <a:lnTo>
                    <a:pt x="1537538" y="47828"/>
                  </a:lnTo>
                  <a:lnTo>
                    <a:pt x="1541526" y="0"/>
                  </a:lnTo>
                  <a:close/>
                </a:path>
              </a:pathLst>
            </a:custGeom>
            <a:solidFill>
              <a:srgbClr val="43B02A"/>
            </a:solidFill>
          </p:spPr>
          <p:txBody>
            <a:bodyPr wrap="square" lIns="0" tIns="0" rIns="0" bIns="0" rtlCol="0"/>
            <a:lstStyle/>
            <a:p>
              <a:endParaRPr>
                <a:solidFill>
                  <a:prstClr val="black"/>
                </a:solidFill>
                <a:latin typeface="+mj-lt"/>
              </a:endParaRPr>
            </a:p>
          </p:txBody>
        </p:sp>
        <p:sp>
          <p:nvSpPr>
            <p:cNvPr id="92" name="object 118"/>
            <p:cNvSpPr/>
            <p:nvPr/>
          </p:nvSpPr>
          <p:spPr>
            <a:xfrm>
              <a:off x="1619429" y="5703418"/>
              <a:ext cx="2414270" cy="544195"/>
            </a:xfrm>
            <a:custGeom>
              <a:avLst/>
              <a:gdLst/>
              <a:ahLst/>
              <a:cxnLst/>
              <a:rect l="l" t="t" r="r" b="b"/>
              <a:pathLst>
                <a:path w="2414270" h="544195">
                  <a:moveTo>
                    <a:pt x="287248" y="0"/>
                  </a:moveTo>
                  <a:lnTo>
                    <a:pt x="0" y="509041"/>
                  </a:lnTo>
                  <a:lnTo>
                    <a:pt x="25082" y="520179"/>
                  </a:lnTo>
                  <a:lnTo>
                    <a:pt x="64947" y="532117"/>
                  </a:lnTo>
                  <a:lnTo>
                    <a:pt x="108788" y="540080"/>
                  </a:lnTo>
                  <a:lnTo>
                    <a:pt x="152641" y="544067"/>
                  </a:lnTo>
                  <a:lnTo>
                    <a:pt x="2261374" y="544067"/>
                  </a:lnTo>
                  <a:lnTo>
                    <a:pt x="2305227" y="540080"/>
                  </a:lnTo>
                  <a:lnTo>
                    <a:pt x="2349080" y="532117"/>
                  </a:lnTo>
                  <a:lnTo>
                    <a:pt x="2388946" y="520179"/>
                  </a:lnTo>
                  <a:lnTo>
                    <a:pt x="2414016" y="509041"/>
                  </a:lnTo>
                  <a:lnTo>
                    <a:pt x="2141680" y="26428"/>
                  </a:lnTo>
                  <a:lnTo>
                    <a:pt x="402996" y="26428"/>
                  </a:lnTo>
                  <a:lnTo>
                    <a:pt x="369557" y="23393"/>
                  </a:lnTo>
                  <a:lnTo>
                    <a:pt x="336118" y="17310"/>
                  </a:lnTo>
                  <a:lnTo>
                    <a:pt x="305727" y="8204"/>
                  </a:lnTo>
                  <a:lnTo>
                    <a:pt x="287248" y="0"/>
                  </a:lnTo>
                  <a:close/>
                </a:path>
                <a:path w="2414270" h="544195">
                  <a:moveTo>
                    <a:pt x="2126767" y="0"/>
                  </a:moveTo>
                  <a:lnTo>
                    <a:pt x="2108301" y="8204"/>
                  </a:lnTo>
                  <a:lnTo>
                    <a:pt x="2077897" y="17310"/>
                  </a:lnTo>
                  <a:lnTo>
                    <a:pt x="2044458" y="23393"/>
                  </a:lnTo>
                  <a:lnTo>
                    <a:pt x="2011032" y="26428"/>
                  </a:lnTo>
                  <a:lnTo>
                    <a:pt x="2141680" y="26428"/>
                  </a:lnTo>
                  <a:lnTo>
                    <a:pt x="2126767" y="0"/>
                  </a:lnTo>
                  <a:close/>
                </a:path>
              </a:pathLst>
            </a:custGeom>
            <a:solidFill>
              <a:srgbClr val="86BC25"/>
            </a:solidFill>
          </p:spPr>
          <p:txBody>
            <a:bodyPr wrap="square" lIns="0" tIns="0" rIns="0" bIns="0" rtlCol="0"/>
            <a:lstStyle/>
            <a:p>
              <a:endParaRPr>
                <a:solidFill>
                  <a:prstClr val="black"/>
                </a:solidFill>
                <a:latin typeface="+mj-lt"/>
              </a:endParaRPr>
            </a:p>
          </p:txBody>
        </p:sp>
        <p:sp>
          <p:nvSpPr>
            <p:cNvPr id="93" name="object 64"/>
            <p:cNvSpPr/>
            <p:nvPr/>
          </p:nvSpPr>
          <p:spPr>
            <a:xfrm>
              <a:off x="2842440" y="1894179"/>
              <a:ext cx="2470785" cy="2156460"/>
            </a:xfrm>
            <a:custGeom>
              <a:avLst/>
              <a:gdLst/>
              <a:ahLst/>
              <a:cxnLst/>
              <a:rect l="l" t="t" r="r" b="b"/>
              <a:pathLst>
                <a:path w="2470784" h="2156460">
                  <a:moveTo>
                    <a:pt x="1210627" y="0"/>
                  </a:moveTo>
                  <a:lnTo>
                    <a:pt x="922718" y="510616"/>
                  </a:lnTo>
                  <a:lnTo>
                    <a:pt x="955789" y="529907"/>
                  </a:lnTo>
                  <a:lnTo>
                    <a:pt x="986193" y="554228"/>
                  </a:lnTo>
                  <a:lnTo>
                    <a:pt x="1013548" y="584619"/>
                  </a:lnTo>
                  <a:lnTo>
                    <a:pt x="1037869" y="618058"/>
                  </a:lnTo>
                  <a:lnTo>
                    <a:pt x="1843481" y="2013229"/>
                  </a:lnTo>
                  <a:lnTo>
                    <a:pt x="1870837" y="2080107"/>
                  </a:lnTo>
                  <a:lnTo>
                    <a:pt x="1879955" y="2153056"/>
                  </a:lnTo>
                  <a:lnTo>
                    <a:pt x="0" y="2153056"/>
                  </a:lnTo>
                  <a:lnTo>
                    <a:pt x="1917" y="2156460"/>
                  </a:lnTo>
                  <a:lnTo>
                    <a:pt x="2470404" y="2156460"/>
                  </a:lnTo>
                  <a:lnTo>
                    <a:pt x="2466416" y="2108631"/>
                  </a:lnTo>
                  <a:lnTo>
                    <a:pt x="2458440" y="2060790"/>
                  </a:lnTo>
                  <a:lnTo>
                    <a:pt x="2442489" y="2016950"/>
                  </a:lnTo>
                  <a:lnTo>
                    <a:pt x="2422563" y="1973097"/>
                  </a:lnTo>
                  <a:lnTo>
                    <a:pt x="1366100" y="143497"/>
                  </a:lnTo>
                  <a:lnTo>
                    <a:pt x="1334211" y="99656"/>
                  </a:lnTo>
                  <a:lnTo>
                    <a:pt x="1298333" y="59791"/>
                  </a:lnTo>
                  <a:lnTo>
                    <a:pt x="1258468" y="27901"/>
                  </a:lnTo>
                  <a:lnTo>
                    <a:pt x="1210627" y="0"/>
                  </a:lnTo>
                  <a:close/>
                </a:path>
              </a:pathLst>
            </a:custGeom>
            <a:solidFill>
              <a:srgbClr val="62B5E5"/>
            </a:solidFill>
          </p:spPr>
          <p:txBody>
            <a:bodyPr wrap="square" lIns="0" tIns="0" rIns="0" bIns="0" rtlCol="0"/>
            <a:lstStyle/>
            <a:p>
              <a:endParaRPr>
                <a:solidFill>
                  <a:prstClr val="black"/>
                </a:solidFill>
                <a:latin typeface="+mj-lt"/>
              </a:endParaRPr>
            </a:p>
          </p:txBody>
        </p:sp>
        <p:sp>
          <p:nvSpPr>
            <p:cNvPr id="94" name="object 120"/>
            <p:cNvSpPr txBox="1"/>
            <p:nvPr/>
          </p:nvSpPr>
          <p:spPr>
            <a:xfrm>
              <a:off x="2029178" y="1976768"/>
              <a:ext cx="1595153" cy="228392"/>
            </a:xfrm>
            <a:prstGeom prst="rect">
              <a:avLst/>
            </a:prstGeom>
          </p:spPr>
          <p:txBody>
            <a:bodyPr vert="horz" wrap="square" lIns="0" tIns="0" rIns="0" bIns="0" rtlCol="0">
              <a:spAutoFit/>
            </a:bodyPr>
            <a:lstStyle/>
            <a:p>
              <a:pPr marL="12700" algn="ctr"/>
              <a:r>
                <a:rPr sz="1400" spc="-10" dirty="0">
                  <a:solidFill>
                    <a:srgbClr val="FFFFFF"/>
                  </a:solidFill>
                  <a:latin typeface="+mj-lt"/>
                  <a:cs typeface="Verdana"/>
                </a:rPr>
                <a:t>Paiements</a:t>
              </a:r>
              <a:endParaRPr sz="1400" dirty="0">
                <a:solidFill>
                  <a:prstClr val="black"/>
                </a:solidFill>
                <a:latin typeface="+mj-lt"/>
                <a:cs typeface="Verdana"/>
              </a:endParaRPr>
            </a:p>
          </p:txBody>
        </p:sp>
        <p:sp>
          <p:nvSpPr>
            <p:cNvPr id="95" name="object 120"/>
            <p:cNvSpPr txBox="1"/>
            <p:nvPr/>
          </p:nvSpPr>
          <p:spPr>
            <a:xfrm>
              <a:off x="1910142" y="5845949"/>
              <a:ext cx="1831835" cy="228392"/>
            </a:xfrm>
            <a:prstGeom prst="rect">
              <a:avLst/>
            </a:prstGeom>
          </p:spPr>
          <p:txBody>
            <a:bodyPr vert="horz" wrap="square" lIns="0" tIns="0" rIns="0" bIns="0" rtlCol="0">
              <a:spAutoFit/>
            </a:bodyPr>
            <a:lstStyle/>
            <a:p>
              <a:pPr marL="12700" algn="ctr"/>
              <a:r>
                <a:rPr lang="fr-FR" sz="1400" spc="-10" dirty="0">
                  <a:solidFill>
                    <a:srgbClr val="FFFFFF"/>
                  </a:solidFill>
                  <a:latin typeface="+mj-lt"/>
                  <a:cs typeface="Verdana"/>
                </a:rPr>
                <a:t>Levée de fonds</a:t>
              </a:r>
              <a:endParaRPr sz="1400" dirty="0">
                <a:solidFill>
                  <a:prstClr val="black"/>
                </a:solidFill>
                <a:latin typeface="+mj-lt"/>
                <a:cs typeface="Verdana"/>
              </a:endParaRPr>
            </a:p>
          </p:txBody>
        </p:sp>
        <p:sp>
          <p:nvSpPr>
            <p:cNvPr id="96" name="object 55"/>
            <p:cNvSpPr/>
            <p:nvPr/>
          </p:nvSpPr>
          <p:spPr>
            <a:xfrm>
              <a:off x="1898322" y="4061307"/>
              <a:ext cx="916940" cy="1611630"/>
            </a:xfrm>
            <a:custGeom>
              <a:avLst/>
              <a:gdLst/>
              <a:ahLst/>
              <a:cxnLst/>
              <a:rect l="l" t="t" r="r" b="b"/>
              <a:pathLst>
                <a:path w="916939" h="1611629">
                  <a:moveTo>
                    <a:pt x="909358" y="0"/>
                  </a:moveTo>
                  <a:lnTo>
                    <a:pt x="916686" y="0"/>
                  </a:lnTo>
                  <a:lnTo>
                    <a:pt x="8229" y="1611630"/>
                  </a:lnTo>
                  <a:lnTo>
                    <a:pt x="0" y="1607972"/>
                  </a:lnTo>
                  <a:lnTo>
                    <a:pt x="909358"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98" name="object 127"/>
            <p:cNvSpPr/>
            <p:nvPr/>
          </p:nvSpPr>
          <p:spPr>
            <a:xfrm>
              <a:off x="1580568" y="1849222"/>
              <a:ext cx="2482472" cy="4398645"/>
            </a:xfrm>
            <a:custGeom>
              <a:avLst/>
              <a:gdLst/>
              <a:ahLst/>
              <a:cxnLst/>
              <a:rect l="l" t="t" r="r" b="b"/>
              <a:pathLst>
                <a:path w="2501265" h="4398645">
                  <a:moveTo>
                    <a:pt x="2500858" y="0"/>
                  </a:moveTo>
                  <a:lnTo>
                    <a:pt x="0" y="4398403"/>
                  </a:lnTo>
                </a:path>
              </a:pathLst>
            </a:custGeom>
            <a:ln w="9906">
              <a:solidFill>
                <a:srgbClr val="0097A9"/>
              </a:solidFill>
              <a:prstDash val="dash"/>
            </a:ln>
          </p:spPr>
          <p:txBody>
            <a:bodyPr wrap="square" lIns="0" tIns="0" rIns="0" bIns="0" rtlCol="0"/>
            <a:lstStyle/>
            <a:p>
              <a:endParaRPr>
                <a:solidFill>
                  <a:prstClr val="black"/>
                </a:solidFill>
                <a:latin typeface="+mj-lt"/>
              </a:endParaRPr>
            </a:p>
          </p:txBody>
        </p:sp>
        <p:sp>
          <p:nvSpPr>
            <p:cNvPr id="99" name="object 126"/>
            <p:cNvSpPr/>
            <p:nvPr/>
          </p:nvSpPr>
          <p:spPr>
            <a:xfrm>
              <a:off x="1580567" y="1849222"/>
              <a:ext cx="2483644" cy="4398645"/>
            </a:xfrm>
            <a:custGeom>
              <a:avLst/>
              <a:gdLst/>
              <a:ahLst/>
              <a:cxnLst/>
              <a:rect l="l" t="t" r="r" b="b"/>
              <a:pathLst>
                <a:path w="2461260" h="4398645">
                  <a:moveTo>
                    <a:pt x="0" y="0"/>
                  </a:moveTo>
                  <a:lnTo>
                    <a:pt x="2460866" y="4398403"/>
                  </a:lnTo>
                </a:path>
              </a:pathLst>
            </a:custGeom>
            <a:ln w="9906">
              <a:solidFill>
                <a:srgbClr val="0097A9"/>
              </a:solidFill>
              <a:prstDash val="dash"/>
            </a:ln>
          </p:spPr>
          <p:txBody>
            <a:bodyPr wrap="square" lIns="0" tIns="0" rIns="0" bIns="0" rtlCol="0"/>
            <a:lstStyle/>
            <a:p>
              <a:endParaRPr>
                <a:solidFill>
                  <a:prstClr val="black"/>
                </a:solidFill>
                <a:latin typeface="+mj-lt"/>
              </a:endParaRPr>
            </a:p>
          </p:txBody>
        </p:sp>
        <p:sp>
          <p:nvSpPr>
            <p:cNvPr id="100" name="object 32"/>
            <p:cNvSpPr/>
            <p:nvPr/>
          </p:nvSpPr>
          <p:spPr>
            <a:xfrm>
              <a:off x="2821866" y="4024731"/>
              <a:ext cx="12700" cy="22225"/>
            </a:xfrm>
            <a:custGeom>
              <a:avLst/>
              <a:gdLst/>
              <a:ahLst/>
              <a:cxnLst/>
              <a:rect l="l" t="t" r="r" b="b"/>
              <a:pathLst>
                <a:path w="12700" h="22225">
                  <a:moveTo>
                    <a:pt x="6121" y="0"/>
                  </a:moveTo>
                  <a:lnTo>
                    <a:pt x="0" y="11049"/>
                  </a:lnTo>
                  <a:lnTo>
                    <a:pt x="6121" y="22085"/>
                  </a:lnTo>
                  <a:lnTo>
                    <a:pt x="12192" y="11049"/>
                  </a:lnTo>
                  <a:lnTo>
                    <a:pt x="6121"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101" name="object 33"/>
            <p:cNvSpPr/>
            <p:nvPr/>
          </p:nvSpPr>
          <p:spPr>
            <a:xfrm>
              <a:off x="2821866" y="4024731"/>
              <a:ext cx="12700" cy="22225"/>
            </a:xfrm>
            <a:custGeom>
              <a:avLst/>
              <a:gdLst/>
              <a:ahLst/>
              <a:cxnLst/>
              <a:rect l="l" t="t" r="r" b="b"/>
              <a:pathLst>
                <a:path w="12700" h="22225">
                  <a:moveTo>
                    <a:pt x="6108" y="0"/>
                  </a:moveTo>
                  <a:lnTo>
                    <a:pt x="12191" y="11049"/>
                  </a:lnTo>
                  <a:lnTo>
                    <a:pt x="6108" y="22098"/>
                  </a:lnTo>
                  <a:lnTo>
                    <a:pt x="0" y="11049"/>
                  </a:lnTo>
                  <a:lnTo>
                    <a:pt x="6108" y="0"/>
                  </a:lnTo>
                  <a:close/>
                </a:path>
              </a:pathLst>
            </a:custGeom>
            <a:ln w="16001">
              <a:solidFill>
                <a:srgbClr val="FFFFFF"/>
              </a:solidFill>
            </a:ln>
          </p:spPr>
          <p:txBody>
            <a:bodyPr wrap="square" lIns="0" tIns="0" rIns="0" bIns="0" rtlCol="0"/>
            <a:lstStyle/>
            <a:p>
              <a:endParaRPr>
                <a:solidFill>
                  <a:prstClr val="black"/>
                </a:solidFill>
                <a:latin typeface="+mj-lt"/>
              </a:endParaRPr>
            </a:p>
          </p:txBody>
        </p:sp>
        <p:sp>
          <p:nvSpPr>
            <p:cNvPr id="102" name="object 34"/>
            <p:cNvSpPr/>
            <p:nvPr/>
          </p:nvSpPr>
          <p:spPr>
            <a:xfrm>
              <a:off x="2834058" y="4033875"/>
              <a:ext cx="2540" cy="5080"/>
            </a:xfrm>
            <a:custGeom>
              <a:avLst/>
              <a:gdLst/>
              <a:ahLst/>
              <a:cxnLst/>
              <a:rect l="l" t="t" r="r" b="b"/>
              <a:pathLst>
                <a:path w="2539" h="5079">
                  <a:moveTo>
                    <a:pt x="1143" y="0"/>
                  </a:moveTo>
                  <a:lnTo>
                    <a:pt x="0" y="2286"/>
                  </a:lnTo>
                  <a:lnTo>
                    <a:pt x="1143" y="4572"/>
                  </a:lnTo>
                  <a:lnTo>
                    <a:pt x="2286" y="2286"/>
                  </a:lnTo>
                  <a:lnTo>
                    <a:pt x="1143"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103" name="object 35"/>
            <p:cNvSpPr/>
            <p:nvPr/>
          </p:nvSpPr>
          <p:spPr>
            <a:xfrm>
              <a:off x="2834058" y="4033875"/>
              <a:ext cx="2540" cy="5080"/>
            </a:xfrm>
            <a:custGeom>
              <a:avLst/>
              <a:gdLst/>
              <a:ahLst/>
              <a:cxnLst/>
              <a:rect l="l" t="t" r="r" b="b"/>
              <a:pathLst>
                <a:path w="2539" h="5079">
                  <a:moveTo>
                    <a:pt x="1142" y="0"/>
                  </a:moveTo>
                  <a:lnTo>
                    <a:pt x="2285" y="2286"/>
                  </a:lnTo>
                  <a:lnTo>
                    <a:pt x="1142" y="4572"/>
                  </a:lnTo>
                  <a:lnTo>
                    <a:pt x="0" y="2286"/>
                  </a:lnTo>
                  <a:lnTo>
                    <a:pt x="1142"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104" name="object 36"/>
            <p:cNvSpPr/>
            <p:nvPr/>
          </p:nvSpPr>
          <p:spPr>
            <a:xfrm>
              <a:off x="2820341" y="4035781"/>
              <a:ext cx="1905" cy="0"/>
            </a:xfrm>
            <a:custGeom>
              <a:avLst/>
              <a:gdLst/>
              <a:ahLst/>
              <a:cxnLst/>
              <a:rect l="l" t="t" r="r" b="b"/>
              <a:pathLst>
                <a:path w="1904">
                  <a:moveTo>
                    <a:pt x="0" y="0"/>
                  </a:moveTo>
                  <a:lnTo>
                    <a:pt x="1524" y="0"/>
                  </a:lnTo>
                </a:path>
              </a:pathLst>
            </a:custGeom>
            <a:ln w="3175">
              <a:solidFill>
                <a:srgbClr val="F2F2F2"/>
              </a:solidFill>
            </a:ln>
          </p:spPr>
          <p:txBody>
            <a:bodyPr wrap="square" lIns="0" tIns="0" rIns="0" bIns="0" rtlCol="0"/>
            <a:lstStyle/>
            <a:p>
              <a:endParaRPr>
                <a:solidFill>
                  <a:prstClr val="black"/>
                </a:solidFill>
                <a:latin typeface="+mj-lt"/>
              </a:endParaRPr>
            </a:p>
          </p:txBody>
        </p:sp>
        <p:sp>
          <p:nvSpPr>
            <p:cNvPr id="105" name="object 37"/>
            <p:cNvSpPr/>
            <p:nvPr/>
          </p:nvSpPr>
          <p:spPr>
            <a:xfrm>
              <a:off x="2820341" y="4034637"/>
              <a:ext cx="1905" cy="2540"/>
            </a:xfrm>
            <a:custGeom>
              <a:avLst/>
              <a:gdLst/>
              <a:ahLst/>
              <a:cxnLst/>
              <a:rect l="l" t="t" r="r" b="b"/>
              <a:pathLst>
                <a:path w="1904" h="2539">
                  <a:moveTo>
                    <a:pt x="762" y="0"/>
                  </a:moveTo>
                  <a:lnTo>
                    <a:pt x="1524" y="1142"/>
                  </a:lnTo>
                  <a:lnTo>
                    <a:pt x="762" y="2285"/>
                  </a:lnTo>
                  <a:lnTo>
                    <a:pt x="0" y="1142"/>
                  </a:lnTo>
                  <a:lnTo>
                    <a:pt x="762"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106" name="object 38"/>
            <p:cNvSpPr/>
            <p:nvPr/>
          </p:nvSpPr>
          <p:spPr>
            <a:xfrm>
              <a:off x="2837867" y="4039959"/>
              <a:ext cx="3175" cy="6350"/>
            </a:xfrm>
            <a:custGeom>
              <a:avLst/>
              <a:gdLst/>
              <a:ahLst/>
              <a:cxnLst/>
              <a:rect l="l" t="t" r="r" b="b"/>
              <a:pathLst>
                <a:path w="3175" h="6350">
                  <a:moveTo>
                    <a:pt x="1066" y="0"/>
                  </a:moveTo>
                  <a:lnTo>
                    <a:pt x="0" y="2120"/>
                  </a:lnTo>
                  <a:lnTo>
                    <a:pt x="2006" y="6108"/>
                  </a:lnTo>
                  <a:lnTo>
                    <a:pt x="3048" y="4000"/>
                  </a:lnTo>
                  <a:lnTo>
                    <a:pt x="1066"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107" name="object 39"/>
            <p:cNvSpPr/>
            <p:nvPr/>
          </p:nvSpPr>
          <p:spPr>
            <a:xfrm>
              <a:off x="2837867" y="4039972"/>
              <a:ext cx="3175" cy="6350"/>
            </a:xfrm>
            <a:custGeom>
              <a:avLst/>
              <a:gdLst/>
              <a:ahLst/>
              <a:cxnLst/>
              <a:rect l="l" t="t" r="r" b="b"/>
              <a:pathLst>
                <a:path w="3175" h="6350">
                  <a:moveTo>
                    <a:pt x="1054" y="0"/>
                  </a:moveTo>
                  <a:lnTo>
                    <a:pt x="3048" y="3987"/>
                  </a:lnTo>
                  <a:lnTo>
                    <a:pt x="1993" y="6096"/>
                  </a:lnTo>
                  <a:lnTo>
                    <a:pt x="0" y="2108"/>
                  </a:lnTo>
                  <a:lnTo>
                    <a:pt x="1054"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108" name="object 40"/>
            <p:cNvSpPr/>
            <p:nvPr/>
          </p:nvSpPr>
          <p:spPr>
            <a:xfrm>
              <a:off x="2814246" y="4043794"/>
              <a:ext cx="2540" cy="3175"/>
            </a:xfrm>
            <a:custGeom>
              <a:avLst/>
              <a:gdLst/>
              <a:ahLst/>
              <a:cxnLst/>
              <a:rect l="l" t="t" r="r" b="b"/>
              <a:pathLst>
                <a:path w="2539" h="3175">
                  <a:moveTo>
                    <a:pt x="1663" y="0"/>
                  </a:moveTo>
                  <a:lnTo>
                    <a:pt x="0" y="3035"/>
                  </a:lnTo>
                  <a:lnTo>
                    <a:pt x="1219" y="3035"/>
                  </a:lnTo>
                  <a:lnTo>
                    <a:pt x="2286" y="1117"/>
                  </a:lnTo>
                  <a:lnTo>
                    <a:pt x="1663"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109" name="object 41"/>
            <p:cNvSpPr/>
            <p:nvPr/>
          </p:nvSpPr>
          <p:spPr>
            <a:xfrm>
              <a:off x="2814246" y="4043781"/>
              <a:ext cx="2540" cy="3175"/>
            </a:xfrm>
            <a:custGeom>
              <a:avLst/>
              <a:gdLst/>
              <a:ahLst/>
              <a:cxnLst/>
              <a:rect l="l" t="t" r="r" b="b"/>
              <a:pathLst>
                <a:path w="2539" h="3175">
                  <a:moveTo>
                    <a:pt x="1676" y="0"/>
                  </a:moveTo>
                  <a:lnTo>
                    <a:pt x="2286" y="1117"/>
                  </a:lnTo>
                  <a:lnTo>
                    <a:pt x="1231" y="3048"/>
                  </a:lnTo>
                  <a:lnTo>
                    <a:pt x="0" y="3048"/>
                  </a:lnTo>
                  <a:lnTo>
                    <a:pt x="1676"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110" name="object 42"/>
            <p:cNvSpPr/>
            <p:nvPr/>
          </p:nvSpPr>
          <p:spPr>
            <a:xfrm>
              <a:off x="2839391" y="4046080"/>
              <a:ext cx="1270" cy="1270"/>
            </a:xfrm>
            <a:custGeom>
              <a:avLst/>
              <a:gdLst/>
              <a:ahLst/>
              <a:cxnLst/>
              <a:rect l="l" t="t" r="r" b="b"/>
              <a:pathLst>
                <a:path w="1270" h="1270">
                  <a:moveTo>
                    <a:pt x="381" y="0"/>
                  </a:moveTo>
                  <a:lnTo>
                    <a:pt x="0" y="749"/>
                  </a:lnTo>
                  <a:lnTo>
                    <a:pt x="749" y="749"/>
                  </a:lnTo>
                  <a:lnTo>
                    <a:pt x="381"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111" name="object 43"/>
            <p:cNvSpPr/>
            <p:nvPr/>
          </p:nvSpPr>
          <p:spPr>
            <a:xfrm>
              <a:off x="2839391" y="4046068"/>
              <a:ext cx="1270" cy="1270"/>
            </a:xfrm>
            <a:custGeom>
              <a:avLst/>
              <a:gdLst/>
              <a:ahLst/>
              <a:cxnLst/>
              <a:rect l="l" t="t" r="r" b="b"/>
              <a:pathLst>
                <a:path w="1270" h="1270">
                  <a:moveTo>
                    <a:pt x="380" y="0"/>
                  </a:moveTo>
                  <a:lnTo>
                    <a:pt x="761" y="761"/>
                  </a:lnTo>
                  <a:lnTo>
                    <a:pt x="0" y="761"/>
                  </a:lnTo>
                  <a:lnTo>
                    <a:pt x="380"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112" name="object 44"/>
            <p:cNvSpPr/>
            <p:nvPr/>
          </p:nvSpPr>
          <p:spPr>
            <a:xfrm>
              <a:off x="2813484" y="4046830"/>
              <a:ext cx="1270" cy="1270"/>
            </a:xfrm>
            <a:custGeom>
              <a:avLst/>
              <a:gdLst/>
              <a:ahLst/>
              <a:cxnLst/>
              <a:rect l="l" t="t" r="r" b="b"/>
              <a:pathLst>
                <a:path w="1270" h="1270">
                  <a:moveTo>
                    <a:pt x="762" y="0"/>
                  </a:moveTo>
                  <a:lnTo>
                    <a:pt x="0" y="0"/>
                  </a:lnTo>
                  <a:lnTo>
                    <a:pt x="381" y="762"/>
                  </a:lnTo>
                  <a:lnTo>
                    <a:pt x="762"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113" name="object 45"/>
            <p:cNvSpPr/>
            <p:nvPr/>
          </p:nvSpPr>
          <p:spPr>
            <a:xfrm>
              <a:off x="2813484" y="4046830"/>
              <a:ext cx="1270" cy="1270"/>
            </a:xfrm>
            <a:custGeom>
              <a:avLst/>
              <a:gdLst/>
              <a:ahLst/>
              <a:cxnLst/>
              <a:rect l="l" t="t" r="r" b="b"/>
              <a:pathLst>
                <a:path w="1270" h="1270">
                  <a:moveTo>
                    <a:pt x="0" y="0"/>
                  </a:moveTo>
                  <a:lnTo>
                    <a:pt x="762" y="0"/>
                  </a:lnTo>
                  <a:lnTo>
                    <a:pt x="381" y="762"/>
                  </a:lnTo>
                  <a:lnTo>
                    <a:pt x="0"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114" name="object 46"/>
            <p:cNvSpPr/>
            <p:nvPr/>
          </p:nvSpPr>
          <p:spPr>
            <a:xfrm>
              <a:off x="2840153" y="4046830"/>
              <a:ext cx="5080" cy="3810"/>
            </a:xfrm>
            <a:custGeom>
              <a:avLst/>
              <a:gdLst/>
              <a:ahLst/>
              <a:cxnLst/>
              <a:rect l="l" t="t" r="r" b="b"/>
              <a:pathLst>
                <a:path w="5079" h="3810">
                  <a:moveTo>
                    <a:pt x="2540" y="0"/>
                  </a:moveTo>
                  <a:lnTo>
                    <a:pt x="0" y="0"/>
                  </a:lnTo>
                  <a:lnTo>
                    <a:pt x="2032" y="3822"/>
                  </a:lnTo>
                  <a:lnTo>
                    <a:pt x="4572" y="3822"/>
                  </a:lnTo>
                  <a:lnTo>
                    <a:pt x="2540"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115" name="object 47"/>
            <p:cNvSpPr/>
            <p:nvPr/>
          </p:nvSpPr>
          <p:spPr>
            <a:xfrm>
              <a:off x="2840153" y="4046830"/>
              <a:ext cx="5080" cy="3810"/>
            </a:xfrm>
            <a:custGeom>
              <a:avLst/>
              <a:gdLst/>
              <a:ahLst/>
              <a:cxnLst/>
              <a:rect l="l" t="t" r="r" b="b"/>
              <a:pathLst>
                <a:path w="5079" h="3810">
                  <a:moveTo>
                    <a:pt x="0" y="0"/>
                  </a:moveTo>
                  <a:lnTo>
                    <a:pt x="2540" y="0"/>
                  </a:lnTo>
                  <a:lnTo>
                    <a:pt x="4572" y="3810"/>
                  </a:lnTo>
                  <a:lnTo>
                    <a:pt x="2032" y="3810"/>
                  </a:lnTo>
                  <a:lnTo>
                    <a:pt x="0"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116" name="object 48"/>
            <p:cNvSpPr/>
            <p:nvPr/>
          </p:nvSpPr>
          <p:spPr>
            <a:xfrm>
              <a:off x="2811960" y="4047592"/>
              <a:ext cx="2540" cy="3175"/>
            </a:xfrm>
            <a:custGeom>
              <a:avLst/>
              <a:gdLst/>
              <a:ahLst/>
              <a:cxnLst/>
              <a:rect l="l" t="t" r="r" b="b"/>
              <a:pathLst>
                <a:path w="2539" h="3175">
                  <a:moveTo>
                    <a:pt x="1574" y="0"/>
                  </a:moveTo>
                  <a:lnTo>
                    <a:pt x="0" y="3047"/>
                  </a:lnTo>
                  <a:lnTo>
                    <a:pt x="1409" y="3047"/>
                  </a:lnTo>
                  <a:lnTo>
                    <a:pt x="2286" y="1358"/>
                  </a:lnTo>
                  <a:lnTo>
                    <a:pt x="1574"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117" name="object 49"/>
            <p:cNvSpPr/>
            <p:nvPr/>
          </p:nvSpPr>
          <p:spPr>
            <a:xfrm>
              <a:off x="2811960" y="4047592"/>
              <a:ext cx="2540" cy="3175"/>
            </a:xfrm>
            <a:custGeom>
              <a:avLst/>
              <a:gdLst/>
              <a:ahLst/>
              <a:cxnLst/>
              <a:rect l="l" t="t" r="r" b="b"/>
              <a:pathLst>
                <a:path w="2539" h="3175">
                  <a:moveTo>
                    <a:pt x="1587" y="0"/>
                  </a:moveTo>
                  <a:lnTo>
                    <a:pt x="2286" y="1358"/>
                  </a:lnTo>
                  <a:lnTo>
                    <a:pt x="1409" y="3047"/>
                  </a:lnTo>
                  <a:lnTo>
                    <a:pt x="0" y="3047"/>
                  </a:lnTo>
                  <a:lnTo>
                    <a:pt x="1587"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118" name="object 50"/>
            <p:cNvSpPr/>
            <p:nvPr/>
          </p:nvSpPr>
          <p:spPr>
            <a:xfrm>
              <a:off x="2805864" y="4055212"/>
              <a:ext cx="5080" cy="6350"/>
            </a:xfrm>
            <a:custGeom>
              <a:avLst/>
              <a:gdLst/>
              <a:ahLst/>
              <a:cxnLst/>
              <a:rect l="l" t="t" r="r" b="b"/>
              <a:pathLst>
                <a:path w="5079" h="6350">
                  <a:moveTo>
                    <a:pt x="4571" y="0"/>
                  </a:moveTo>
                  <a:lnTo>
                    <a:pt x="3213" y="0"/>
                  </a:lnTo>
                  <a:lnTo>
                    <a:pt x="0" y="6096"/>
                  </a:lnTo>
                  <a:lnTo>
                    <a:pt x="1358" y="6096"/>
                  </a:lnTo>
                  <a:lnTo>
                    <a:pt x="4571"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119" name="object 51"/>
            <p:cNvSpPr/>
            <p:nvPr/>
          </p:nvSpPr>
          <p:spPr>
            <a:xfrm>
              <a:off x="2805864" y="4055212"/>
              <a:ext cx="5080" cy="6350"/>
            </a:xfrm>
            <a:custGeom>
              <a:avLst/>
              <a:gdLst/>
              <a:ahLst/>
              <a:cxnLst/>
              <a:rect l="l" t="t" r="r" b="b"/>
              <a:pathLst>
                <a:path w="5079" h="6350">
                  <a:moveTo>
                    <a:pt x="3213" y="0"/>
                  </a:moveTo>
                  <a:lnTo>
                    <a:pt x="4571" y="0"/>
                  </a:lnTo>
                  <a:lnTo>
                    <a:pt x="1358" y="6096"/>
                  </a:lnTo>
                  <a:lnTo>
                    <a:pt x="0" y="6096"/>
                  </a:lnTo>
                  <a:lnTo>
                    <a:pt x="3213"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120" name="object 52"/>
            <p:cNvSpPr/>
            <p:nvPr/>
          </p:nvSpPr>
          <p:spPr>
            <a:xfrm>
              <a:off x="2844726" y="4055212"/>
              <a:ext cx="6350" cy="6350"/>
            </a:xfrm>
            <a:custGeom>
              <a:avLst/>
              <a:gdLst/>
              <a:ahLst/>
              <a:cxnLst/>
              <a:rect l="l" t="t" r="r" b="b"/>
              <a:pathLst>
                <a:path w="6350" h="6350">
                  <a:moveTo>
                    <a:pt x="2514" y="0"/>
                  </a:moveTo>
                  <a:lnTo>
                    <a:pt x="0" y="0"/>
                  </a:lnTo>
                  <a:lnTo>
                    <a:pt x="3594" y="6096"/>
                  </a:lnTo>
                  <a:lnTo>
                    <a:pt x="6108" y="6096"/>
                  </a:lnTo>
                  <a:lnTo>
                    <a:pt x="2514"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121" name="object 53"/>
            <p:cNvSpPr/>
            <p:nvPr/>
          </p:nvSpPr>
          <p:spPr>
            <a:xfrm>
              <a:off x="2844726" y="4055212"/>
              <a:ext cx="6350" cy="6350"/>
            </a:xfrm>
            <a:custGeom>
              <a:avLst/>
              <a:gdLst/>
              <a:ahLst/>
              <a:cxnLst/>
              <a:rect l="l" t="t" r="r" b="b"/>
              <a:pathLst>
                <a:path w="6350" h="6350">
                  <a:moveTo>
                    <a:pt x="0" y="0"/>
                  </a:moveTo>
                  <a:lnTo>
                    <a:pt x="2514" y="0"/>
                  </a:lnTo>
                  <a:lnTo>
                    <a:pt x="6096" y="6096"/>
                  </a:lnTo>
                  <a:lnTo>
                    <a:pt x="3581" y="6096"/>
                  </a:lnTo>
                  <a:lnTo>
                    <a:pt x="0"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122" name="object 70"/>
            <p:cNvSpPr/>
            <p:nvPr/>
          </p:nvSpPr>
          <p:spPr>
            <a:xfrm>
              <a:off x="2821103" y="4021683"/>
              <a:ext cx="14604" cy="14604"/>
            </a:xfrm>
            <a:custGeom>
              <a:avLst/>
              <a:gdLst/>
              <a:ahLst/>
              <a:cxnLst/>
              <a:rect l="l" t="t" r="r" b="b"/>
              <a:pathLst>
                <a:path w="14604" h="14604">
                  <a:moveTo>
                    <a:pt x="7492" y="0"/>
                  </a:moveTo>
                  <a:lnTo>
                    <a:pt x="0" y="13182"/>
                  </a:lnTo>
                  <a:lnTo>
                    <a:pt x="736" y="14478"/>
                  </a:lnTo>
                  <a:lnTo>
                    <a:pt x="7010" y="3441"/>
                  </a:lnTo>
                  <a:lnTo>
                    <a:pt x="9442" y="3441"/>
                  </a:lnTo>
                  <a:lnTo>
                    <a:pt x="7492" y="0"/>
                  </a:lnTo>
                  <a:close/>
                </a:path>
                <a:path w="14604" h="14604">
                  <a:moveTo>
                    <a:pt x="9442" y="3441"/>
                  </a:moveTo>
                  <a:lnTo>
                    <a:pt x="7010" y="3441"/>
                  </a:lnTo>
                  <a:lnTo>
                    <a:pt x="13271" y="14478"/>
                  </a:lnTo>
                  <a:lnTo>
                    <a:pt x="14477" y="12331"/>
                  </a:lnTo>
                  <a:lnTo>
                    <a:pt x="9442" y="3441"/>
                  </a:lnTo>
                  <a:close/>
                </a:path>
              </a:pathLst>
            </a:custGeom>
            <a:solidFill>
              <a:srgbClr val="F2F2F2"/>
            </a:solidFill>
          </p:spPr>
          <p:txBody>
            <a:bodyPr wrap="square" lIns="0" tIns="0" rIns="0" bIns="0" rtlCol="0"/>
            <a:lstStyle/>
            <a:p>
              <a:endParaRPr>
                <a:solidFill>
                  <a:prstClr val="black"/>
                </a:solidFill>
                <a:latin typeface="+mj-lt"/>
              </a:endParaRPr>
            </a:p>
          </p:txBody>
        </p:sp>
        <p:sp>
          <p:nvSpPr>
            <p:cNvPr id="123" name="object 71"/>
            <p:cNvSpPr/>
            <p:nvPr/>
          </p:nvSpPr>
          <p:spPr>
            <a:xfrm>
              <a:off x="2821103" y="4021683"/>
              <a:ext cx="14604" cy="14604"/>
            </a:xfrm>
            <a:custGeom>
              <a:avLst/>
              <a:gdLst/>
              <a:ahLst/>
              <a:cxnLst/>
              <a:rect l="l" t="t" r="r" b="b"/>
              <a:pathLst>
                <a:path w="14604" h="14604">
                  <a:moveTo>
                    <a:pt x="7492" y="0"/>
                  </a:moveTo>
                  <a:lnTo>
                    <a:pt x="14477" y="12331"/>
                  </a:lnTo>
                  <a:lnTo>
                    <a:pt x="13271" y="14478"/>
                  </a:lnTo>
                  <a:lnTo>
                    <a:pt x="7010" y="3441"/>
                  </a:lnTo>
                  <a:lnTo>
                    <a:pt x="736" y="14478"/>
                  </a:lnTo>
                  <a:lnTo>
                    <a:pt x="0" y="13182"/>
                  </a:lnTo>
                  <a:lnTo>
                    <a:pt x="7492"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124" name="object 72"/>
            <p:cNvSpPr/>
            <p:nvPr/>
          </p:nvSpPr>
          <p:spPr>
            <a:xfrm>
              <a:off x="2815770" y="4036162"/>
              <a:ext cx="5715" cy="8890"/>
            </a:xfrm>
            <a:custGeom>
              <a:avLst/>
              <a:gdLst/>
              <a:ahLst/>
              <a:cxnLst/>
              <a:rect l="l" t="t" r="r" b="b"/>
              <a:pathLst>
                <a:path w="5714" h="8889">
                  <a:moveTo>
                    <a:pt x="4546" y="0"/>
                  </a:moveTo>
                  <a:lnTo>
                    <a:pt x="0" y="7137"/>
                  </a:lnTo>
                  <a:lnTo>
                    <a:pt x="787" y="8369"/>
                  </a:lnTo>
                  <a:lnTo>
                    <a:pt x="5334" y="1231"/>
                  </a:lnTo>
                  <a:lnTo>
                    <a:pt x="4546"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125" name="object 73"/>
            <p:cNvSpPr/>
            <p:nvPr/>
          </p:nvSpPr>
          <p:spPr>
            <a:xfrm>
              <a:off x="2815770" y="4036162"/>
              <a:ext cx="5715" cy="8890"/>
            </a:xfrm>
            <a:custGeom>
              <a:avLst/>
              <a:gdLst/>
              <a:ahLst/>
              <a:cxnLst/>
              <a:rect l="l" t="t" r="r" b="b"/>
              <a:pathLst>
                <a:path w="5714" h="8889">
                  <a:moveTo>
                    <a:pt x="4546" y="0"/>
                  </a:moveTo>
                  <a:lnTo>
                    <a:pt x="5334" y="1231"/>
                  </a:lnTo>
                  <a:lnTo>
                    <a:pt x="787" y="8382"/>
                  </a:lnTo>
                  <a:lnTo>
                    <a:pt x="0" y="7150"/>
                  </a:lnTo>
                  <a:lnTo>
                    <a:pt x="4546"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126" name="object 74"/>
            <p:cNvSpPr/>
            <p:nvPr/>
          </p:nvSpPr>
          <p:spPr>
            <a:xfrm>
              <a:off x="2835582" y="4036162"/>
              <a:ext cx="3175" cy="6350"/>
            </a:xfrm>
            <a:custGeom>
              <a:avLst/>
              <a:gdLst/>
              <a:ahLst/>
              <a:cxnLst/>
              <a:rect l="l" t="t" r="r" b="b"/>
              <a:pathLst>
                <a:path w="3175" h="6350">
                  <a:moveTo>
                    <a:pt x="1079" y="0"/>
                  </a:moveTo>
                  <a:lnTo>
                    <a:pt x="0" y="2133"/>
                  </a:lnTo>
                  <a:lnTo>
                    <a:pt x="1993" y="6083"/>
                  </a:lnTo>
                  <a:lnTo>
                    <a:pt x="3048" y="3962"/>
                  </a:lnTo>
                  <a:lnTo>
                    <a:pt x="1079"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127" name="object 75"/>
            <p:cNvSpPr/>
            <p:nvPr/>
          </p:nvSpPr>
          <p:spPr>
            <a:xfrm>
              <a:off x="2835582" y="4036162"/>
              <a:ext cx="3175" cy="6350"/>
            </a:xfrm>
            <a:custGeom>
              <a:avLst/>
              <a:gdLst/>
              <a:ahLst/>
              <a:cxnLst/>
              <a:rect l="l" t="t" r="r" b="b"/>
              <a:pathLst>
                <a:path w="3175" h="6350">
                  <a:moveTo>
                    <a:pt x="1066" y="0"/>
                  </a:moveTo>
                  <a:lnTo>
                    <a:pt x="3048" y="3962"/>
                  </a:lnTo>
                  <a:lnTo>
                    <a:pt x="1981" y="6096"/>
                  </a:lnTo>
                  <a:lnTo>
                    <a:pt x="0" y="2133"/>
                  </a:lnTo>
                  <a:lnTo>
                    <a:pt x="1066"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128" name="object 76"/>
            <p:cNvSpPr/>
            <p:nvPr/>
          </p:nvSpPr>
          <p:spPr>
            <a:xfrm>
              <a:off x="2821103" y="4036162"/>
              <a:ext cx="14604" cy="14604"/>
            </a:xfrm>
            <a:custGeom>
              <a:avLst/>
              <a:gdLst/>
              <a:ahLst/>
              <a:cxnLst/>
              <a:rect l="l" t="t" r="r" b="b"/>
              <a:pathLst>
                <a:path w="14604" h="14604">
                  <a:moveTo>
                    <a:pt x="736" y="0"/>
                  </a:moveTo>
                  <a:lnTo>
                    <a:pt x="0" y="1295"/>
                  </a:lnTo>
                  <a:lnTo>
                    <a:pt x="7492" y="14478"/>
                  </a:lnTo>
                  <a:lnTo>
                    <a:pt x="9442" y="11036"/>
                  </a:lnTo>
                  <a:lnTo>
                    <a:pt x="7010" y="11036"/>
                  </a:lnTo>
                  <a:lnTo>
                    <a:pt x="736" y="0"/>
                  </a:lnTo>
                  <a:close/>
                </a:path>
                <a:path w="14604" h="14604">
                  <a:moveTo>
                    <a:pt x="13271" y="0"/>
                  </a:moveTo>
                  <a:lnTo>
                    <a:pt x="7010" y="11036"/>
                  </a:lnTo>
                  <a:lnTo>
                    <a:pt x="9442" y="11036"/>
                  </a:lnTo>
                  <a:lnTo>
                    <a:pt x="14477" y="2146"/>
                  </a:lnTo>
                  <a:lnTo>
                    <a:pt x="13271"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129" name="object 77"/>
            <p:cNvSpPr/>
            <p:nvPr/>
          </p:nvSpPr>
          <p:spPr>
            <a:xfrm>
              <a:off x="2821103" y="4036162"/>
              <a:ext cx="14604" cy="14604"/>
            </a:xfrm>
            <a:custGeom>
              <a:avLst/>
              <a:gdLst/>
              <a:ahLst/>
              <a:cxnLst/>
              <a:rect l="l" t="t" r="r" b="b"/>
              <a:pathLst>
                <a:path w="14604" h="14604">
                  <a:moveTo>
                    <a:pt x="736" y="0"/>
                  </a:moveTo>
                  <a:lnTo>
                    <a:pt x="7010" y="11036"/>
                  </a:lnTo>
                  <a:lnTo>
                    <a:pt x="13271" y="0"/>
                  </a:lnTo>
                  <a:lnTo>
                    <a:pt x="14477" y="2146"/>
                  </a:lnTo>
                  <a:lnTo>
                    <a:pt x="7492" y="14478"/>
                  </a:lnTo>
                  <a:lnTo>
                    <a:pt x="0" y="1295"/>
                  </a:lnTo>
                  <a:lnTo>
                    <a:pt x="736"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130" name="object 78"/>
            <p:cNvSpPr/>
            <p:nvPr/>
          </p:nvSpPr>
          <p:spPr>
            <a:xfrm>
              <a:off x="2834820" y="4042257"/>
              <a:ext cx="5715" cy="5080"/>
            </a:xfrm>
            <a:custGeom>
              <a:avLst/>
              <a:gdLst/>
              <a:ahLst/>
              <a:cxnLst/>
              <a:rect l="l" t="t" r="r" b="b"/>
              <a:pathLst>
                <a:path w="5714" h="5079">
                  <a:moveTo>
                    <a:pt x="2921" y="0"/>
                  </a:moveTo>
                  <a:lnTo>
                    <a:pt x="0" y="4572"/>
                  </a:lnTo>
                  <a:lnTo>
                    <a:pt x="4813" y="4572"/>
                  </a:lnTo>
                  <a:lnTo>
                    <a:pt x="5321" y="3771"/>
                  </a:lnTo>
                  <a:lnTo>
                    <a:pt x="2921"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131" name="object 79"/>
            <p:cNvSpPr/>
            <p:nvPr/>
          </p:nvSpPr>
          <p:spPr>
            <a:xfrm>
              <a:off x="2834820" y="4042257"/>
              <a:ext cx="5715" cy="5080"/>
            </a:xfrm>
            <a:custGeom>
              <a:avLst/>
              <a:gdLst/>
              <a:ahLst/>
              <a:cxnLst/>
              <a:rect l="l" t="t" r="r" b="b"/>
              <a:pathLst>
                <a:path w="5714" h="5079">
                  <a:moveTo>
                    <a:pt x="2921" y="0"/>
                  </a:moveTo>
                  <a:lnTo>
                    <a:pt x="5334" y="3759"/>
                  </a:lnTo>
                  <a:lnTo>
                    <a:pt x="4813" y="4572"/>
                  </a:lnTo>
                  <a:lnTo>
                    <a:pt x="0" y="4572"/>
                  </a:lnTo>
                  <a:lnTo>
                    <a:pt x="2921" y="0"/>
                  </a:lnTo>
                  <a:close/>
                </a:path>
              </a:pathLst>
            </a:custGeom>
            <a:ln w="16001">
              <a:solidFill>
                <a:srgbClr val="FFFFFF"/>
              </a:solidFill>
            </a:ln>
          </p:spPr>
          <p:txBody>
            <a:bodyPr wrap="square" lIns="0" tIns="0" rIns="0" bIns="0" rtlCol="0"/>
            <a:lstStyle/>
            <a:p>
              <a:endParaRPr>
                <a:solidFill>
                  <a:prstClr val="black"/>
                </a:solidFill>
                <a:latin typeface="+mj-lt"/>
              </a:endParaRPr>
            </a:p>
          </p:txBody>
        </p:sp>
        <p:sp>
          <p:nvSpPr>
            <p:cNvPr id="132" name="object 80"/>
            <p:cNvSpPr/>
            <p:nvPr/>
          </p:nvSpPr>
          <p:spPr>
            <a:xfrm>
              <a:off x="2840153" y="4043781"/>
              <a:ext cx="2540" cy="3175"/>
            </a:xfrm>
            <a:custGeom>
              <a:avLst/>
              <a:gdLst/>
              <a:ahLst/>
              <a:cxnLst/>
              <a:rect l="l" t="t" r="r" b="b"/>
              <a:pathLst>
                <a:path w="2539" h="3175">
                  <a:moveTo>
                    <a:pt x="952" y="0"/>
                  </a:moveTo>
                  <a:lnTo>
                    <a:pt x="0" y="2158"/>
                  </a:lnTo>
                  <a:lnTo>
                    <a:pt x="393" y="3035"/>
                  </a:lnTo>
                  <a:lnTo>
                    <a:pt x="2286" y="3035"/>
                  </a:lnTo>
                  <a:lnTo>
                    <a:pt x="952"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133" name="object 81"/>
            <p:cNvSpPr/>
            <p:nvPr/>
          </p:nvSpPr>
          <p:spPr>
            <a:xfrm>
              <a:off x="2840153" y="4043781"/>
              <a:ext cx="2540" cy="3175"/>
            </a:xfrm>
            <a:custGeom>
              <a:avLst/>
              <a:gdLst/>
              <a:ahLst/>
              <a:cxnLst/>
              <a:rect l="l" t="t" r="r" b="b"/>
              <a:pathLst>
                <a:path w="2539" h="3175">
                  <a:moveTo>
                    <a:pt x="952" y="0"/>
                  </a:moveTo>
                  <a:lnTo>
                    <a:pt x="2285" y="3048"/>
                  </a:lnTo>
                  <a:lnTo>
                    <a:pt x="380" y="3048"/>
                  </a:lnTo>
                  <a:lnTo>
                    <a:pt x="0" y="2171"/>
                  </a:lnTo>
                  <a:lnTo>
                    <a:pt x="952"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134" name="object 82"/>
            <p:cNvSpPr/>
            <p:nvPr/>
          </p:nvSpPr>
          <p:spPr>
            <a:xfrm>
              <a:off x="2815770" y="4044543"/>
              <a:ext cx="2540" cy="2540"/>
            </a:xfrm>
            <a:custGeom>
              <a:avLst/>
              <a:gdLst/>
              <a:ahLst/>
              <a:cxnLst/>
              <a:rect l="l" t="t" r="r" b="b"/>
              <a:pathLst>
                <a:path w="2539" h="2539">
                  <a:moveTo>
                    <a:pt x="1143" y="0"/>
                  </a:moveTo>
                  <a:lnTo>
                    <a:pt x="0" y="2285"/>
                  </a:lnTo>
                  <a:lnTo>
                    <a:pt x="2286" y="2285"/>
                  </a:lnTo>
                  <a:lnTo>
                    <a:pt x="1143"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135" name="object 83"/>
            <p:cNvSpPr/>
            <p:nvPr/>
          </p:nvSpPr>
          <p:spPr>
            <a:xfrm>
              <a:off x="2815770" y="4044543"/>
              <a:ext cx="2540" cy="2540"/>
            </a:xfrm>
            <a:custGeom>
              <a:avLst/>
              <a:gdLst/>
              <a:ahLst/>
              <a:cxnLst/>
              <a:rect l="l" t="t" r="r" b="b"/>
              <a:pathLst>
                <a:path w="2539" h="2539">
                  <a:moveTo>
                    <a:pt x="1142" y="0"/>
                  </a:moveTo>
                  <a:lnTo>
                    <a:pt x="2285" y="2286"/>
                  </a:lnTo>
                  <a:lnTo>
                    <a:pt x="0" y="2286"/>
                  </a:lnTo>
                  <a:lnTo>
                    <a:pt x="1142"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136" name="object 84"/>
            <p:cNvSpPr/>
            <p:nvPr/>
          </p:nvSpPr>
          <p:spPr>
            <a:xfrm>
              <a:off x="2813484" y="4046830"/>
              <a:ext cx="2540" cy="2540"/>
            </a:xfrm>
            <a:custGeom>
              <a:avLst/>
              <a:gdLst/>
              <a:ahLst/>
              <a:cxnLst/>
              <a:rect l="l" t="t" r="r" b="b"/>
              <a:pathLst>
                <a:path w="2539" h="2539">
                  <a:moveTo>
                    <a:pt x="2285" y="0"/>
                  </a:moveTo>
                  <a:lnTo>
                    <a:pt x="380" y="0"/>
                  </a:lnTo>
                  <a:lnTo>
                    <a:pt x="0" y="647"/>
                  </a:lnTo>
                  <a:lnTo>
                    <a:pt x="952" y="2286"/>
                  </a:lnTo>
                  <a:lnTo>
                    <a:pt x="2285"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137" name="object 85"/>
            <p:cNvSpPr/>
            <p:nvPr/>
          </p:nvSpPr>
          <p:spPr>
            <a:xfrm>
              <a:off x="2813484" y="4046830"/>
              <a:ext cx="2540" cy="2540"/>
            </a:xfrm>
            <a:custGeom>
              <a:avLst/>
              <a:gdLst/>
              <a:ahLst/>
              <a:cxnLst/>
              <a:rect l="l" t="t" r="r" b="b"/>
              <a:pathLst>
                <a:path w="2539" h="2539">
                  <a:moveTo>
                    <a:pt x="380" y="0"/>
                  </a:moveTo>
                  <a:lnTo>
                    <a:pt x="2285" y="0"/>
                  </a:lnTo>
                  <a:lnTo>
                    <a:pt x="952" y="2286"/>
                  </a:lnTo>
                  <a:lnTo>
                    <a:pt x="0" y="647"/>
                  </a:lnTo>
                  <a:lnTo>
                    <a:pt x="380"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138" name="object 86"/>
            <p:cNvSpPr/>
            <p:nvPr/>
          </p:nvSpPr>
          <p:spPr>
            <a:xfrm>
              <a:off x="2837118" y="4046830"/>
              <a:ext cx="5715" cy="3810"/>
            </a:xfrm>
            <a:custGeom>
              <a:avLst/>
              <a:gdLst/>
              <a:ahLst/>
              <a:cxnLst/>
              <a:rect l="l" t="t" r="r" b="b"/>
              <a:pathLst>
                <a:path w="5714" h="3810">
                  <a:moveTo>
                    <a:pt x="3200" y="0"/>
                  </a:moveTo>
                  <a:lnTo>
                    <a:pt x="2120" y="0"/>
                  </a:lnTo>
                  <a:lnTo>
                    <a:pt x="0" y="3822"/>
                  </a:lnTo>
                  <a:lnTo>
                    <a:pt x="5321" y="3822"/>
                  </a:lnTo>
                  <a:lnTo>
                    <a:pt x="3200"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139" name="object 87"/>
            <p:cNvSpPr/>
            <p:nvPr/>
          </p:nvSpPr>
          <p:spPr>
            <a:xfrm>
              <a:off x="2837105" y="4046830"/>
              <a:ext cx="5715" cy="3810"/>
            </a:xfrm>
            <a:custGeom>
              <a:avLst/>
              <a:gdLst/>
              <a:ahLst/>
              <a:cxnLst/>
              <a:rect l="l" t="t" r="r" b="b"/>
              <a:pathLst>
                <a:path w="5714" h="3810">
                  <a:moveTo>
                    <a:pt x="2133" y="0"/>
                  </a:moveTo>
                  <a:lnTo>
                    <a:pt x="3213" y="0"/>
                  </a:lnTo>
                  <a:lnTo>
                    <a:pt x="5334" y="3810"/>
                  </a:lnTo>
                  <a:lnTo>
                    <a:pt x="0" y="3810"/>
                  </a:lnTo>
                  <a:lnTo>
                    <a:pt x="2133"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140" name="object 88"/>
            <p:cNvSpPr/>
            <p:nvPr/>
          </p:nvSpPr>
          <p:spPr>
            <a:xfrm>
              <a:off x="2813484" y="4049103"/>
              <a:ext cx="2540" cy="1905"/>
            </a:xfrm>
            <a:custGeom>
              <a:avLst/>
              <a:gdLst/>
              <a:ahLst/>
              <a:cxnLst/>
              <a:rect l="l" t="t" r="r" b="b"/>
              <a:pathLst>
                <a:path w="2539" h="1904">
                  <a:moveTo>
                    <a:pt x="1143" y="0"/>
                  </a:moveTo>
                  <a:lnTo>
                    <a:pt x="0" y="1536"/>
                  </a:lnTo>
                  <a:lnTo>
                    <a:pt x="2286" y="1536"/>
                  </a:lnTo>
                  <a:lnTo>
                    <a:pt x="1143"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141" name="object 89"/>
            <p:cNvSpPr/>
            <p:nvPr/>
          </p:nvSpPr>
          <p:spPr>
            <a:xfrm>
              <a:off x="2813484" y="4049116"/>
              <a:ext cx="2540" cy="1905"/>
            </a:xfrm>
            <a:custGeom>
              <a:avLst/>
              <a:gdLst/>
              <a:ahLst/>
              <a:cxnLst/>
              <a:rect l="l" t="t" r="r" b="b"/>
              <a:pathLst>
                <a:path w="2539" h="1904">
                  <a:moveTo>
                    <a:pt x="1142" y="0"/>
                  </a:moveTo>
                  <a:lnTo>
                    <a:pt x="2285" y="1523"/>
                  </a:lnTo>
                  <a:lnTo>
                    <a:pt x="0" y="1523"/>
                  </a:lnTo>
                  <a:lnTo>
                    <a:pt x="1142"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142" name="object 90"/>
            <p:cNvSpPr/>
            <p:nvPr/>
          </p:nvSpPr>
          <p:spPr>
            <a:xfrm>
              <a:off x="2809673" y="4050639"/>
              <a:ext cx="3810" cy="5080"/>
            </a:xfrm>
            <a:custGeom>
              <a:avLst/>
              <a:gdLst/>
              <a:ahLst/>
              <a:cxnLst/>
              <a:rect l="l" t="t" r="r" b="b"/>
              <a:pathLst>
                <a:path w="3810" h="5079">
                  <a:moveTo>
                    <a:pt x="3809" y="0"/>
                  </a:moveTo>
                  <a:lnTo>
                    <a:pt x="2539" y="0"/>
                  </a:lnTo>
                  <a:lnTo>
                    <a:pt x="0" y="4571"/>
                  </a:lnTo>
                  <a:lnTo>
                    <a:pt x="1269" y="4571"/>
                  </a:lnTo>
                  <a:lnTo>
                    <a:pt x="3809"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143" name="object 91"/>
            <p:cNvSpPr/>
            <p:nvPr/>
          </p:nvSpPr>
          <p:spPr>
            <a:xfrm>
              <a:off x="2809673" y="4050639"/>
              <a:ext cx="3810" cy="5080"/>
            </a:xfrm>
            <a:custGeom>
              <a:avLst/>
              <a:gdLst/>
              <a:ahLst/>
              <a:cxnLst/>
              <a:rect l="l" t="t" r="r" b="b"/>
              <a:pathLst>
                <a:path w="3810" h="5079">
                  <a:moveTo>
                    <a:pt x="2539" y="0"/>
                  </a:moveTo>
                  <a:lnTo>
                    <a:pt x="3809" y="0"/>
                  </a:lnTo>
                  <a:lnTo>
                    <a:pt x="1269" y="4571"/>
                  </a:lnTo>
                  <a:lnTo>
                    <a:pt x="0" y="4571"/>
                  </a:lnTo>
                  <a:lnTo>
                    <a:pt x="2539"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144" name="object 92"/>
            <p:cNvSpPr/>
            <p:nvPr/>
          </p:nvSpPr>
          <p:spPr>
            <a:xfrm>
              <a:off x="2842440" y="4050639"/>
              <a:ext cx="5715" cy="5080"/>
            </a:xfrm>
            <a:custGeom>
              <a:avLst/>
              <a:gdLst/>
              <a:ahLst/>
              <a:cxnLst/>
              <a:rect l="l" t="t" r="r" b="b"/>
              <a:pathLst>
                <a:path w="5714" h="5079">
                  <a:moveTo>
                    <a:pt x="2425" y="0"/>
                  </a:moveTo>
                  <a:lnTo>
                    <a:pt x="0" y="0"/>
                  </a:lnTo>
                  <a:lnTo>
                    <a:pt x="2908" y="4571"/>
                  </a:lnTo>
                  <a:lnTo>
                    <a:pt x="5334" y="4571"/>
                  </a:lnTo>
                  <a:lnTo>
                    <a:pt x="2425"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145" name="object 93"/>
            <p:cNvSpPr/>
            <p:nvPr/>
          </p:nvSpPr>
          <p:spPr>
            <a:xfrm>
              <a:off x="2842440" y="4050639"/>
              <a:ext cx="5715" cy="5080"/>
            </a:xfrm>
            <a:custGeom>
              <a:avLst/>
              <a:gdLst/>
              <a:ahLst/>
              <a:cxnLst/>
              <a:rect l="l" t="t" r="r" b="b"/>
              <a:pathLst>
                <a:path w="5714" h="5079">
                  <a:moveTo>
                    <a:pt x="0" y="0"/>
                  </a:moveTo>
                  <a:lnTo>
                    <a:pt x="2413" y="0"/>
                  </a:lnTo>
                  <a:lnTo>
                    <a:pt x="5334" y="4571"/>
                  </a:lnTo>
                  <a:lnTo>
                    <a:pt x="2921" y="4571"/>
                  </a:lnTo>
                  <a:lnTo>
                    <a:pt x="0"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146" name="object 94"/>
            <p:cNvSpPr/>
            <p:nvPr/>
          </p:nvSpPr>
          <p:spPr>
            <a:xfrm>
              <a:off x="930582" y="4058260"/>
              <a:ext cx="1879600" cy="0"/>
            </a:xfrm>
            <a:custGeom>
              <a:avLst/>
              <a:gdLst/>
              <a:ahLst/>
              <a:cxnLst/>
              <a:rect l="l" t="t" r="r" b="b"/>
              <a:pathLst>
                <a:path w="1879600">
                  <a:moveTo>
                    <a:pt x="0" y="0"/>
                  </a:moveTo>
                  <a:lnTo>
                    <a:pt x="1879092" y="0"/>
                  </a:lnTo>
                </a:path>
              </a:pathLst>
            </a:custGeom>
            <a:ln w="6095">
              <a:solidFill>
                <a:srgbClr val="F2F2F2"/>
              </a:solidFill>
            </a:ln>
          </p:spPr>
          <p:txBody>
            <a:bodyPr wrap="square" lIns="0" tIns="0" rIns="0" bIns="0" rtlCol="0"/>
            <a:lstStyle/>
            <a:p>
              <a:endParaRPr>
                <a:solidFill>
                  <a:prstClr val="black"/>
                </a:solidFill>
                <a:latin typeface="+mj-lt"/>
              </a:endParaRPr>
            </a:p>
          </p:txBody>
        </p:sp>
        <p:sp>
          <p:nvSpPr>
            <p:cNvPr id="147" name="object 95"/>
            <p:cNvSpPr/>
            <p:nvPr/>
          </p:nvSpPr>
          <p:spPr>
            <a:xfrm>
              <a:off x="930582" y="4055212"/>
              <a:ext cx="1879600" cy="6350"/>
            </a:xfrm>
            <a:custGeom>
              <a:avLst/>
              <a:gdLst/>
              <a:ahLst/>
              <a:cxnLst/>
              <a:rect l="l" t="t" r="r" b="b"/>
              <a:pathLst>
                <a:path w="1879600" h="6350">
                  <a:moveTo>
                    <a:pt x="0" y="3048"/>
                  </a:moveTo>
                  <a:lnTo>
                    <a:pt x="1879092" y="3048"/>
                  </a:lnTo>
                </a:path>
              </a:pathLst>
            </a:custGeom>
            <a:ln w="6095">
              <a:solidFill>
                <a:srgbClr val="FFFFFF"/>
              </a:solidFill>
            </a:ln>
          </p:spPr>
          <p:txBody>
            <a:bodyPr wrap="square" lIns="0" tIns="0" rIns="0" bIns="0" rtlCol="0"/>
            <a:lstStyle/>
            <a:p>
              <a:endParaRPr>
                <a:solidFill>
                  <a:prstClr val="black"/>
                </a:solidFill>
                <a:latin typeface="+mj-lt"/>
              </a:endParaRPr>
            </a:p>
          </p:txBody>
        </p:sp>
        <p:sp>
          <p:nvSpPr>
            <p:cNvPr id="148" name="object 96"/>
            <p:cNvSpPr/>
            <p:nvPr/>
          </p:nvSpPr>
          <p:spPr>
            <a:xfrm>
              <a:off x="2807400" y="4055212"/>
              <a:ext cx="10795" cy="6350"/>
            </a:xfrm>
            <a:custGeom>
              <a:avLst/>
              <a:gdLst/>
              <a:ahLst/>
              <a:cxnLst/>
              <a:rect l="l" t="t" r="r" b="b"/>
              <a:pathLst>
                <a:path w="10795" h="6350">
                  <a:moveTo>
                    <a:pt x="10655" y="0"/>
                  </a:moveTo>
                  <a:lnTo>
                    <a:pt x="3390" y="0"/>
                  </a:lnTo>
                  <a:lnTo>
                    <a:pt x="0" y="6096"/>
                  </a:lnTo>
                  <a:lnTo>
                    <a:pt x="7264" y="6096"/>
                  </a:lnTo>
                  <a:lnTo>
                    <a:pt x="10655"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149" name="object 97"/>
            <p:cNvSpPr/>
            <p:nvPr/>
          </p:nvSpPr>
          <p:spPr>
            <a:xfrm>
              <a:off x="2807387" y="4055212"/>
              <a:ext cx="10795" cy="6350"/>
            </a:xfrm>
            <a:custGeom>
              <a:avLst/>
              <a:gdLst/>
              <a:ahLst/>
              <a:cxnLst/>
              <a:rect l="l" t="t" r="r" b="b"/>
              <a:pathLst>
                <a:path w="10795" h="6350">
                  <a:moveTo>
                    <a:pt x="3403" y="0"/>
                  </a:moveTo>
                  <a:lnTo>
                    <a:pt x="10667" y="0"/>
                  </a:lnTo>
                  <a:lnTo>
                    <a:pt x="7277" y="6096"/>
                  </a:lnTo>
                  <a:lnTo>
                    <a:pt x="0" y="6096"/>
                  </a:lnTo>
                  <a:lnTo>
                    <a:pt x="3403"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150" name="object 98"/>
            <p:cNvSpPr/>
            <p:nvPr/>
          </p:nvSpPr>
          <p:spPr>
            <a:xfrm>
              <a:off x="2834820" y="4055212"/>
              <a:ext cx="13970" cy="6350"/>
            </a:xfrm>
            <a:custGeom>
              <a:avLst/>
              <a:gdLst/>
              <a:ahLst/>
              <a:cxnLst/>
              <a:rect l="l" t="t" r="r" b="b"/>
              <a:pathLst>
                <a:path w="13970" h="6350">
                  <a:moveTo>
                    <a:pt x="10299" y="0"/>
                  </a:moveTo>
                  <a:lnTo>
                    <a:pt x="0" y="0"/>
                  </a:lnTo>
                  <a:lnTo>
                    <a:pt x="3416" y="6096"/>
                  </a:lnTo>
                  <a:lnTo>
                    <a:pt x="13716" y="6096"/>
                  </a:lnTo>
                  <a:lnTo>
                    <a:pt x="10299" y="0"/>
                  </a:lnTo>
                  <a:close/>
                </a:path>
              </a:pathLst>
            </a:custGeom>
            <a:solidFill>
              <a:srgbClr val="F2F2F2"/>
            </a:solidFill>
          </p:spPr>
          <p:txBody>
            <a:bodyPr wrap="square" lIns="0" tIns="0" rIns="0" bIns="0" rtlCol="0"/>
            <a:lstStyle/>
            <a:p>
              <a:endParaRPr>
                <a:solidFill>
                  <a:prstClr val="black"/>
                </a:solidFill>
                <a:latin typeface="+mj-lt"/>
              </a:endParaRPr>
            </a:p>
          </p:txBody>
        </p:sp>
        <p:sp>
          <p:nvSpPr>
            <p:cNvPr id="151" name="object 99"/>
            <p:cNvSpPr/>
            <p:nvPr/>
          </p:nvSpPr>
          <p:spPr>
            <a:xfrm>
              <a:off x="2834820" y="4055212"/>
              <a:ext cx="13970" cy="6350"/>
            </a:xfrm>
            <a:custGeom>
              <a:avLst/>
              <a:gdLst/>
              <a:ahLst/>
              <a:cxnLst/>
              <a:rect l="l" t="t" r="r" b="b"/>
              <a:pathLst>
                <a:path w="13970" h="6350">
                  <a:moveTo>
                    <a:pt x="0" y="0"/>
                  </a:moveTo>
                  <a:lnTo>
                    <a:pt x="10299" y="0"/>
                  </a:lnTo>
                  <a:lnTo>
                    <a:pt x="13716" y="6096"/>
                  </a:lnTo>
                  <a:lnTo>
                    <a:pt x="3416" y="6096"/>
                  </a:lnTo>
                  <a:lnTo>
                    <a:pt x="0" y="0"/>
                  </a:lnTo>
                  <a:close/>
                </a:path>
              </a:pathLst>
            </a:custGeom>
            <a:ln w="16002">
              <a:solidFill>
                <a:srgbClr val="FFFFFF"/>
              </a:solidFill>
            </a:ln>
          </p:spPr>
          <p:txBody>
            <a:bodyPr wrap="square" lIns="0" tIns="0" rIns="0" bIns="0" rtlCol="0"/>
            <a:lstStyle/>
            <a:p>
              <a:endParaRPr>
                <a:solidFill>
                  <a:prstClr val="black"/>
                </a:solidFill>
                <a:latin typeface="+mj-lt"/>
              </a:endParaRPr>
            </a:p>
          </p:txBody>
        </p:sp>
        <p:sp>
          <p:nvSpPr>
            <p:cNvPr id="152" name="object 100"/>
            <p:cNvSpPr/>
            <p:nvPr/>
          </p:nvSpPr>
          <p:spPr>
            <a:xfrm>
              <a:off x="2847773" y="4058260"/>
              <a:ext cx="1874520" cy="0"/>
            </a:xfrm>
            <a:custGeom>
              <a:avLst/>
              <a:gdLst/>
              <a:ahLst/>
              <a:cxnLst/>
              <a:rect l="l" t="t" r="r" b="b"/>
              <a:pathLst>
                <a:path w="1874520">
                  <a:moveTo>
                    <a:pt x="0" y="0"/>
                  </a:moveTo>
                  <a:lnTo>
                    <a:pt x="1874519" y="0"/>
                  </a:lnTo>
                </a:path>
              </a:pathLst>
            </a:custGeom>
            <a:ln w="6095">
              <a:solidFill>
                <a:srgbClr val="F2F2F2"/>
              </a:solidFill>
            </a:ln>
          </p:spPr>
          <p:txBody>
            <a:bodyPr wrap="square" lIns="0" tIns="0" rIns="0" bIns="0" rtlCol="0"/>
            <a:lstStyle/>
            <a:p>
              <a:endParaRPr>
                <a:solidFill>
                  <a:prstClr val="black"/>
                </a:solidFill>
                <a:latin typeface="+mj-lt"/>
              </a:endParaRPr>
            </a:p>
          </p:txBody>
        </p:sp>
        <p:sp>
          <p:nvSpPr>
            <p:cNvPr id="153" name="object 101"/>
            <p:cNvSpPr/>
            <p:nvPr/>
          </p:nvSpPr>
          <p:spPr>
            <a:xfrm>
              <a:off x="2847773" y="4055212"/>
              <a:ext cx="1874520" cy="6350"/>
            </a:xfrm>
            <a:custGeom>
              <a:avLst/>
              <a:gdLst/>
              <a:ahLst/>
              <a:cxnLst/>
              <a:rect l="l" t="t" r="r" b="b"/>
              <a:pathLst>
                <a:path w="1874520" h="6350">
                  <a:moveTo>
                    <a:pt x="0" y="3048"/>
                  </a:moveTo>
                  <a:lnTo>
                    <a:pt x="1874519" y="3048"/>
                  </a:lnTo>
                </a:path>
              </a:pathLst>
            </a:custGeom>
            <a:ln w="6095">
              <a:solidFill>
                <a:srgbClr val="FFFFFF"/>
              </a:solidFill>
            </a:ln>
          </p:spPr>
          <p:txBody>
            <a:bodyPr wrap="square" lIns="0" tIns="0" rIns="0" bIns="0" rtlCol="0"/>
            <a:lstStyle/>
            <a:p>
              <a:endParaRPr>
                <a:solidFill>
                  <a:prstClr val="black"/>
                </a:solidFill>
                <a:latin typeface="+mj-lt"/>
              </a:endParaRPr>
            </a:p>
          </p:txBody>
        </p:sp>
        <p:sp>
          <p:nvSpPr>
            <p:cNvPr id="154" name="object 114"/>
            <p:cNvSpPr/>
            <p:nvPr/>
          </p:nvSpPr>
          <p:spPr>
            <a:xfrm>
              <a:off x="2834820" y="4160368"/>
              <a:ext cx="1905" cy="0"/>
            </a:xfrm>
            <a:custGeom>
              <a:avLst/>
              <a:gdLst/>
              <a:ahLst/>
              <a:cxnLst/>
              <a:rect l="l" t="t" r="r" b="b"/>
              <a:pathLst>
                <a:path w="1904">
                  <a:moveTo>
                    <a:pt x="0" y="0"/>
                  </a:moveTo>
                  <a:lnTo>
                    <a:pt x="1524" y="0"/>
                  </a:lnTo>
                </a:path>
              </a:pathLst>
            </a:custGeom>
            <a:ln w="3175">
              <a:solidFill>
                <a:srgbClr val="F2F2F2"/>
              </a:solidFill>
            </a:ln>
          </p:spPr>
          <p:txBody>
            <a:bodyPr wrap="square" lIns="0" tIns="0" rIns="0" bIns="0" rtlCol="0"/>
            <a:lstStyle/>
            <a:p>
              <a:endParaRPr>
                <a:solidFill>
                  <a:prstClr val="black"/>
                </a:solidFill>
                <a:latin typeface="+mj-lt"/>
              </a:endParaRPr>
            </a:p>
          </p:txBody>
        </p:sp>
        <p:sp>
          <p:nvSpPr>
            <p:cNvPr id="155" name="object 115"/>
            <p:cNvSpPr/>
            <p:nvPr/>
          </p:nvSpPr>
          <p:spPr>
            <a:xfrm>
              <a:off x="2826818" y="4160368"/>
              <a:ext cx="17780" cy="0"/>
            </a:xfrm>
            <a:custGeom>
              <a:avLst/>
              <a:gdLst/>
              <a:ahLst/>
              <a:cxnLst/>
              <a:rect l="l" t="t" r="r" b="b"/>
              <a:pathLst>
                <a:path w="17779">
                  <a:moveTo>
                    <a:pt x="0" y="0"/>
                  </a:moveTo>
                  <a:lnTo>
                    <a:pt x="17525" y="0"/>
                  </a:lnTo>
                </a:path>
              </a:pathLst>
            </a:custGeom>
            <a:ln w="17525">
              <a:solidFill>
                <a:srgbClr val="FFFFFF"/>
              </a:solidFill>
            </a:ln>
          </p:spPr>
          <p:txBody>
            <a:bodyPr wrap="square" lIns="0" tIns="0" rIns="0" bIns="0" rtlCol="0"/>
            <a:lstStyle/>
            <a:p>
              <a:endParaRPr>
                <a:solidFill>
                  <a:prstClr val="black"/>
                </a:solidFill>
                <a:latin typeface="+mj-lt"/>
              </a:endParaRPr>
            </a:p>
          </p:txBody>
        </p:sp>
        <p:sp>
          <p:nvSpPr>
            <p:cNvPr id="156" name="object 116"/>
            <p:cNvSpPr/>
            <p:nvPr/>
          </p:nvSpPr>
          <p:spPr>
            <a:xfrm>
              <a:off x="2837105" y="4199230"/>
              <a:ext cx="2540" cy="0"/>
            </a:xfrm>
            <a:custGeom>
              <a:avLst/>
              <a:gdLst/>
              <a:ahLst/>
              <a:cxnLst/>
              <a:rect l="l" t="t" r="r" b="b"/>
              <a:pathLst>
                <a:path w="2539">
                  <a:moveTo>
                    <a:pt x="0" y="0"/>
                  </a:moveTo>
                  <a:lnTo>
                    <a:pt x="2286" y="0"/>
                  </a:lnTo>
                </a:path>
              </a:pathLst>
            </a:custGeom>
            <a:ln w="3175">
              <a:solidFill>
                <a:srgbClr val="F2F2F2"/>
              </a:solidFill>
            </a:ln>
          </p:spPr>
          <p:txBody>
            <a:bodyPr wrap="square" lIns="0" tIns="0" rIns="0" bIns="0" rtlCol="0"/>
            <a:lstStyle/>
            <a:p>
              <a:endParaRPr>
                <a:solidFill>
                  <a:prstClr val="black"/>
                </a:solidFill>
                <a:latin typeface="+mj-lt"/>
              </a:endParaRPr>
            </a:p>
          </p:txBody>
        </p:sp>
        <p:sp>
          <p:nvSpPr>
            <p:cNvPr id="157" name="object 117"/>
            <p:cNvSpPr/>
            <p:nvPr/>
          </p:nvSpPr>
          <p:spPr>
            <a:xfrm>
              <a:off x="2829104" y="4199230"/>
              <a:ext cx="18415" cy="0"/>
            </a:xfrm>
            <a:custGeom>
              <a:avLst/>
              <a:gdLst/>
              <a:ahLst/>
              <a:cxnLst/>
              <a:rect l="l" t="t" r="r" b="b"/>
              <a:pathLst>
                <a:path w="18414">
                  <a:moveTo>
                    <a:pt x="0" y="0"/>
                  </a:moveTo>
                  <a:lnTo>
                    <a:pt x="18287" y="0"/>
                  </a:lnTo>
                </a:path>
              </a:pathLst>
            </a:custGeom>
            <a:ln w="17525">
              <a:solidFill>
                <a:srgbClr val="FFFFFF"/>
              </a:solidFill>
            </a:ln>
          </p:spPr>
          <p:txBody>
            <a:bodyPr wrap="square" lIns="0" tIns="0" rIns="0" bIns="0" rtlCol="0"/>
            <a:lstStyle/>
            <a:p>
              <a:endParaRPr>
                <a:solidFill>
                  <a:prstClr val="black"/>
                </a:solidFill>
                <a:latin typeface="+mj-lt"/>
              </a:endParaRPr>
            </a:p>
          </p:txBody>
        </p:sp>
        <p:sp>
          <p:nvSpPr>
            <p:cNvPr id="176" name="object 120"/>
            <p:cNvSpPr txBox="1"/>
            <p:nvPr/>
          </p:nvSpPr>
          <p:spPr>
            <a:xfrm rot="3632036">
              <a:off x="3898109" y="2995619"/>
              <a:ext cx="1293349" cy="228392"/>
            </a:xfrm>
            <a:prstGeom prst="rect">
              <a:avLst/>
            </a:prstGeom>
          </p:spPr>
          <p:txBody>
            <a:bodyPr vert="horz" wrap="square" lIns="0" tIns="0" rIns="0" bIns="0" rtlCol="0">
              <a:spAutoFit/>
            </a:bodyPr>
            <a:lstStyle/>
            <a:p>
              <a:pPr marL="12700" algn="ctr"/>
              <a:r>
                <a:rPr lang="fr-FR" sz="1400" spc="-10" dirty="0">
                  <a:solidFill>
                    <a:srgbClr val="FFFFFF"/>
                  </a:solidFill>
                  <a:latin typeface="+mj-lt"/>
                  <a:cs typeface="Verdana"/>
                </a:rPr>
                <a:t>Assurances</a:t>
              </a:r>
              <a:endParaRPr sz="1400" dirty="0">
                <a:solidFill>
                  <a:prstClr val="black"/>
                </a:solidFill>
                <a:latin typeface="+mj-lt"/>
                <a:cs typeface="Verdana"/>
              </a:endParaRPr>
            </a:p>
          </p:txBody>
        </p:sp>
        <p:sp>
          <p:nvSpPr>
            <p:cNvPr id="177" name="object 120"/>
            <p:cNvSpPr txBox="1"/>
            <p:nvPr/>
          </p:nvSpPr>
          <p:spPr>
            <a:xfrm rot="17970827">
              <a:off x="267152" y="2936602"/>
              <a:ext cx="1662775" cy="456783"/>
            </a:xfrm>
            <a:prstGeom prst="rect">
              <a:avLst/>
            </a:prstGeom>
          </p:spPr>
          <p:txBody>
            <a:bodyPr vert="horz" wrap="square" lIns="0" tIns="0" rIns="0" bIns="0" rtlCol="0">
              <a:spAutoFit/>
            </a:bodyPr>
            <a:lstStyle/>
            <a:p>
              <a:pPr marL="12700" algn="ctr"/>
              <a:r>
                <a:rPr lang="fr-FR" sz="1400" spc="-10" dirty="0">
                  <a:solidFill>
                    <a:srgbClr val="FFFFFF"/>
                  </a:solidFill>
                  <a:latin typeface="+mj-lt"/>
                  <a:cs typeface="Verdana"/>
                </a:rPr>
                <a:t>Provisionnement du marché</a:t>
              </a:r>
              <a:endParaRPr sz="1400" dirty="0">
                <a:solidFill>
                  <a:prstClr val="black"/>
                </a:solidFill>
                <a:latin typeface="+mj-lt"/>
                <a:cs typeface="Verdana"/>
              </a:endParaRPr>
            </a:p>
          </p:txBody>
        </p:sp>
        <p:sp>
          <p:nvSpPr>
            <p:cNvPr id="178" name="object 120"/>
            <p:cNvSpPr txBox="1"/>
            <p:nvPr/>
          </p:nvSpPr>
          <p:spPr>
            <a:xfrm rot="3646936">
              <a:off x="300355" y="4733628"/>
              <a:ext cx="1650262" cy="456783"/>
            </a:xfrm>
            <a:prstGeom prst="rect">
              <a:avLst/>
            </a:prstGeom>
          </p:spPr>
          <p:txBody>
            <a:bodyPr vert="horz" wrap="square" lIns="0" tIns="0" rIns="0" bIns="0" rtlCol="0">
              <a:spAutoFit/>
            </a:bodyPr>
            <a:lstStyle/>
            <a:p>
              <a:pPr marL="12700" algn="ctr"/>
              <a:r>
                <a:rPr lang="fr-FR" sz="1400" spc="-10" dirty="0">
                  <a:solidFill>
                    <a:srgbClr val="FFFFFF"/>
                  </a:solidFill>
                  <a:latin typeface="+mj-lt"/>
                  <a:cs typeface="Verdana"/>
                </a:rPr>
                <a:t>Gestion des investissements</a:t>
              </a:r>
              <a:endParaRPr sz="1400" dirty="0">
                <a:solidFill>
                  <a:prstClr val="black"/>
                </a:solidFill>
                <a:latin typeface="+mj-lt"/>
                <a:cs typeface="Verdana"/>
              </a:endParaRPr>
            </a:p>
          </p:txBody>
        </p:sp>
        <p:sp>
          <p:nvSpPr>
            <p:cNvPr id="179" name="object 120"/>
            <p:cNvSpPr txBox="1"/>
            <p:nvPr/>
          </p:nvSpPr>
          <p:spPr>
            <a:xfrm rot="17970827">
              <a:off x="3652463" y="4973295"/>
              <a:ext cx="1662775" cy="228392"/>
            </a:xfrm>
            <a:prstGeom prst="rect">
              <a:avLst/>
            </a:prstGeom>
          </p:spPr>
          <p:txBody>
            <a:bodyPr vert="horz" wrap="square" lIns="0" tIns="0" rIns="0" bIns="0" rtlCol="0">
              <a:spAutoFit/>
            </a:bodyPr>
            <a:lstStyle/>
            <a:p>
              <a:pPr marL="12700" algn="ctr"/>
              <a:r>
                <a:rPr lang="fr-FR" sz="1400" spc="-10" dirty="0">
                  <a:solidFill>
                    <a:srgbClr val="FFFFFF"/>
                  </a:solidFill>
                  <a:latin typeface="+mj-lt"/>
                  <a:cs typeface="Verdana"/>
                </a:rPr>
                <a:t>Dépôts et prêts</a:t>
              </a:r>
              <a:endParaRPr sz="1400" dirty="0">
                <a:solidFill>
                  <a:prstClr val="black"/>
                </a:solidFill>
                <a:latin typeface="+mj-lt"/>
                <a:cs typeface="Verdana"/>
              </a:endParaRPr>
            </a:p>
          </p:txBody>
        </p:sp>
        <p:sp>
          <p:nvSpPr>
            <p:cNvPr id="159" name="object 128"/>
            <p:cNvSpPr/>
            <p:nvPr/>
          </p:nvSpPr>
          <p:spPr>
            <a:xfrm>
              <a:off x="275705" y="4049400"/>
              <a:ext cx="5102225" cy="0"/>
            </a:xfrm>
            <a:custGeom>
              <a:avLst/>
              <a:gdLst/>
              <a:ahLst/>
              <a:cxnLst/>
              <a:rect l="l" t="t" r="r" b="b"/>
              <a:pathLst>
                <a:path w="5102225">
                  <a:moveTo>
                    <a:pt x="0" y="0"/>
                  </a:moveTo>
                  <a:lnTo>
                    <a:pt x="5101945" y="0"/>
                  </a:lnTo>
                </a:path>
              </a:pathLst>
            </a:custGeom>
            <a:ln w="9906">
              <a:solidFill>
                <a:srgbClr val="0097A9"/>
              </a:solidFill>
              <a:prstDash val="dash"/>
            </a:ln>
          </p:spPr>
          <p:txBody>
            <a:bodyPr wrap="square" lIns="0" tIns="0" rIns="0" bIns="0" rtlCol="0"/>
            <a:lstStyle/>
            <a:p>
              <a:endParaRPr>
                <a:solidFill>
                  <a:prstClr val="black"/>
                </a:solidFill>
                <a:latin typeface="+mj-lt"/>
              </a:endParaRPr>
            </a:p>
          </p:txBody>
        </p:sp>
      </p:grpSp>
      <p:sp>
        <p:nvSpPr>
          <p:cNvPr id="160" name="Rectangle 159"/>
          <p:cNvSpPr/>
          <p:nvPr/>
        </p:nvSpPr>
        <p:spPr bwMode="gray">
          <a:xfrm>
            <a:off x="5760964" y="1490174"/>
            <a:ext cx="2954440" cy="237714"/>
          </a:xfrm>
          <a:prstGeom prst="rect">
            <a:avLst/>
          </a:prstGeom>
          <a:pattFill prst="ltDnDiag">
            <a:fgClr>
              <a:schemeClr val="bg1">
                <a:lumMod val="85000"/>
              </a:schemeClr>
            </a:fgClr>
            <a:bgClr>
              <a:schemeClr val="bg1"/>
            </a:bgClr>
          </a:pattFill>
          <a:ln w="19050" algn="ctr">
            <a:noFill/>
            <a:miter lim="800000"/>
            <a:headEnd/>
            <a:tailEnd/>
          </a:ln>
        </p:spPr>
        <p:txBody>
          <a:bodyPr wrap="square" lIns="88900" tIns="88900" rIns="88900" bIns="88900" rtlCol="0" anchor="ctr"/>
          <a:lstStyle/>
          <a:p>
            <a:pPr lvl="0" algn="ctr">
              <a:spcBef>
                <a:spcPts val="600"/>
              </a:spcBef>
              <a:buSzPct val="100000"/>
            </a:pPr>
            <a:r>
              <a:rPr lang="fr-FR" sz="1200" b="1" dirty="0">
                <a:solidFill>
                  <a:schemeClr val="accent3">
                    <a:lumMod val="50000"/>
                  </a:schemeClr>
                </a:solidFill>
                <a:latin typeface="+mj-lt"/>
              </a:rPr>
              <a:t>  Institutions financières</a:t>
            </a:r>
          </a:p>
        </p:txBody>
      </p:sp>
      <p:grpSp>
        <p:nvGrpSpPr>
          <p:cNvPr id="7" name="Group 6"/>
          <p:cNvGrpSpPr/>
          <p:nvPr/>
        </p:nvGrpSpPr>
        <p:grpSpPr>
          <a:xfrm>
            <a:off x="5515257" y="1337359"/>
            <a:ext cx="543345" cy="543345"/>
            <a:chOff x="5515257" y="1337359"/>
            <a:chExt cx="543345" cy="543345"/>
          </a:xfrm>
        </p:grpSpPr>
        <p:sp>
          <p:nvSpPr>
            <p:cNvPr id="162" name="Oval 161"/>
            <p:cNvSpPr/>
            <p:nvPr/>
          </p:nvSpPr>
          <p:spPr bwMode="gray">
            <a:xfrm>
              <a:off x="5515257" y="1337359"/>
              <a:ext cx="543345" cy="543345"/>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64" name="Freeform 532"/>
            <p:cNvSpPr>
              <a:spLocks noEditPoints="1"/>
            </p:cNvSpPr>
            <p:nvPr/>
          </p:nvSpPr>
          <p:spPr bwMode="auto">
            <a:xfrm>
              <a:off x="5549216" y="1371318"/>
              <a:ext cx="475427" cy="475427"/>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rgbClr val="43B02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165" name="Freeform 533"/>
            <p:cNvSpPr>
              <a:spLocks noEditPoints="1"/>
            </p:cNvSpPr>
            <p:nvPr/>
          </p:nvSpPr>
          <p:spPr bwMode="auto">
            <a:xfrm>
              <a:off x="5549216" y="1371318"/>
              <a:ext cx="475427" cy="475427"/>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solidFill>
              <a:schemeClr val="accent3">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ndParaRPr>
            </a:p>
          </p:txBody>
        </p:sp>
      </p:grpSp>
      <p:sp>
        <p:nvSpPr>
          <p:cNvPr id="166" name="Rectangle 165"/>
          <p:cNvSpPr/>
          <p:nvPr/>
        </p:nvSpPr>
        <p:spPr bwMode="gray">
          <a:xfrm>
            <a:off x="5760964" y="2705209"/>
            <a:ext cx="2954440" cy="237714"/>
          </a:xfrm>
          <a:prstGeom prst="rect">
            <a:avLst/>
          </a:prstGeom>
          <a:pattFill prst="ltDnDiag">
            <a:fgClr>
              <a:schemeClr val="bg1">
                <a:lumMod val="85000"/>
              </a:schemeClr>
            </a:fgClr>
            <a:bgClr>
              <a:schemeClr val="bg1"/>
            </a:bgClr>
          </a:pattFill>
          <a:ln w="19050" algn="ctr">
            <a:noFill/>
            <a:miter lim="800000"/>
            <a:headEnd/>
            <a:tailEnd/>
          </a:ln>
        </p:spPr>
        <p:txBody>
          <a:bodyPr wrap="square" lIns="88900" tIns="88900" rIns="88900" bIns="88900" rtlCol="0" anchor="ctr"/>
          <a:lstStyle/>
          <a:p>
            <a:pPr lvl="0" algn="ctr">
              <a:spcBef>
                <a:spcPts val="600"/>
              </a:spcBef>
              <a:buSzPct val="100000"/>
            </a:pPr>
            <a:r>
              <a:rPr lang="fr-FR" sz="1200" b="1" dirty="0">
                <a:solidFill>
                  <a:schemeClr val="accent3">
                    <a:lumMod val="50000"/>
                  </a:schemeClr>
                </a:solidFill>
                <a:latin typeface="+mj-lt"/>
              </a:rPr>
              <a:t>   Investisseurs</a:t>
            </a:r>
          </a:p>
        </p:txBody>
      </p:sp>
      <p:grpSp>
        <p:nvGrpSpPr>
          <p:cNvPr id="6" name="Group 5"/>
          <p:cNvGrpSpPr/>
          <p:nvPr/>
        </p:nvGrpSpPr>
        <p:grpSpPr>
          <a:xfrm>
            <a:off x="5515257" y="2552394"/>
            <a:ext cx="543345" cy="543345"/>
            <a:chOff x="5515257" y="2552394"/>
            <a:chExt cx="543345" cy="543345"/>
          </a:xfrm>
        </p:grpSpPr>
        <p:sp>
          <p:nvSpPr>
            <p:cNvPr id="168" name="Oval 167"/>
            <p:cNvSpPr/>
            <p:nvPr/>
          </p:nvSpPr>
          <p:spPr bwMode="gray">
            <a:xfrm>
              <a:off x="5515257" y="2552394"/>
              <a:ext cx="543345" cy="543345"/>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69" name="Freeform 589"/>
            <p:cNvSpPr>
              <a:spLocks noChangeAspect="1" noEditPoints="1"/>
            </p:cNvSpPr>
            <p:nvPr/>
          </p:nvSpPr>
          <p:spPr bwMode="auto">
            <a:xfrm>
              <a:off x="5548517" y="2586353"/>
              <a:ext cx="476825" cy="475427"/>
            </a:xfrm>
            <a:custGeom>
              <a:avLst/>
              <a:gdLst>
                <a:gd name="T0" fmla="*/ 267 w 512"/>
                <a:gd name="T1" fmla="*/ 160 h 512"/>
                <a:gd name="T2" fmla="*/ 287 w 512"/>
                <a:gd name="T3" fmla="*/ 348 h 512"/>
                <a:gd name="T4" fmla="*/ 256 w 512"/>
                <a:gd name="T5" fmla="*/ 388 h 512"/>
                <a:gd name="T6" fmla="*/ 224 w 512"/>
                <a:gd name="T7" fmla="*/ 348 h 512"/>
                <a:gd name="T8" fmla="*/ 244 w 512"/>
                <a:gd name="T9" fmla="*/ 160 h 512"/>
                <a:gd name="T10" fmla="*/ 267 w 512"/>
                <a:gd name="T11" fmla="*/ 160 h 512"/>
                <a:gd name="T12" fmla="*/ 269 w 512"/>
                <a:gd name="T13" fmla="*/ 138 h 512"/>
                <a:gd name="T14" fmla="*/ 274 w 512"/>
                <a:gd name="T15" fmla="*/ 117 h 512"/>
                <a:gd name="T16" fmla="*/ 237 w 512"/>
                <a:gd name="T17" fmla="*/ 117 h 512"/>
                <a:gd name="T18" fmla="*/ 243 w 512"/>
                <a:gd name="T19" fmla="*/ 138 h 512"/>
                <a:gd name="T20" fmla="*/ 269 w 512"/>
                <a:gd name="T21" fmla="*/ 138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9 w 512"/>
                <a:gd name="T33" fmla="*/ 351 h 512"/>
                <a:gd name="T34" fmla="*/ 288 w 512"/>
                <a:gd name="T35" fmla="*/ 150 h 512"/>
                <a:gd name="T36" fmla="*/ 298 w 512"/>
                <a:gd name="T37" fmla="*/ 109 h 512"/>
                <a:gd name="T38" fmla="*/ 296 w 512"/>
                <a:gd name="T39" fmla="*/ 100 h 512"/>
                <a:gd name="T40" fmla="*/ 288 w 512"/>
                <a:gd name="T41" fmla="*/ 96 h 512"/>
                <a:gd name="T42" fmla="*/ 224 w 512"/>
                <a:gd name="T43" fmla="*/ 96 h 512"/>
                <a:gd name="T44" fmla="*/ 215 w 512"/>
                <a:gd name="T45" fmla="*/ 100 h 512"/>
                <a:gd name="T46" fmla="*/ 213 w 512"/>
                <a:gd name="T47" fmla="*/ 109 h 512"/>
                <a:gd name="T48" fmla="*/ 224 w 512"/>
                <a:gd name="T49" fmla="*/ 150 h 512"/>
                <a:gd name="T50" fmla="*/ 202 w 512"/>
                <a:gd name="T51" fmla="*/ 351 h 512"/>
                <a:gd name="T52" fmla="*/ 205 w 512"/>
                <a:gd name="T53" fmla="*/ 358 h 512"/>
                <a:gd name="T54" fmla="*/ 247 w 512"/>
                <a:gd name="T55" fmla="*/ 412 h 512"/>
                <a:gd name="T56" fmla="*/ 256 w 512"/>
                <a:gd name="T57" fmla="*/ 416 h 512"/>
                <a:gd name="T58" fmla="*/ 264 w 512"/>
                <a:gd name="T59" fmla="*/ 412 h 512"/>
                <a:gd name="T60" fmla="*/ 307 w 512"/>
                <a:gd name="T61" fmla="*/ 358 h 512"/>
                <a:gd name="T62" fmla="*/ 309 w 512"/>
                <a:gd name="T63" fmla="*/ 35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67" y="160"/>
                  </a:moveTo>
                  <a:cubicBezTo>
                    <a:pt x="287" y="348"/>
                    <a:pt x="287" y="348"/>
                    <a:pt x="287" y="348"/>
                  </a:cubicBezTo>
                  <a:cubicBezTo>
                    <a:pt x="256" y="388"/>
                    <a:pt x="256" y="388"/>
                    <a:pt x="256" y="388"/>
                  </a:cubicBezTo>
                  <a:cubicBezTo>
                    <a:pt x="224" y="348"/>
                    <a:pt x="224" y="348"/>
                    <a:pt x="224" y="348"/>
                  </a:cubicBezTo>
                  <a:cubicBezTo>
                    <a:pt x="244" y="160"/>
                    <a:pt x="244" y="160"/>
                    <a:pt x="244" y="160"/>
                  </a:cubicBezTo>
                  <a:lnTo>
                    <a:pt x="267" y="160"/>
                  </a:lnTo>
                  <a:close/>
                  <a:moveTo>
                    <a:pt x="269" y="138"/>
                  </a:moveTo>
                  <a:cubicBezTo>
                    <a:pt x="274" y="117"/>
                    <a:pt x="274" y="117"/>
                    <a:pt x="274" y="117"/>
                  </a:cubicBezTo>
                  <a:cubicBezTo>
                    <a:pt x="237" y="117"/>
                    <a:pt x="237" y="117"/>
                    <a:pt x="237" y="117"/>
                  </a:cubicBezTo>
                  <a:cubicBezTo>
                    <a:pt x="243" y="138"/>
                    <a:pt x="243" y="138"/>
                    <a:pt x="243" y="138"/>
                  </a:cubicBezTo>
                  <a:lnTo>
                    <a:pt x="269"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9" y="351"/>
                  </a:moveTo>
                  <a:cubicBezTo>
                    <a:pt x="288" y="150"/>
                    <a:pt x="288" y="150"/>
                    <a:pt x="288" y="150"/>
                  </a:cubicBezTo>
                  <a:cubicBezTo>
                    <a:pt x="298" y="109"/>
                    <a:pt x="298" y="109"/>
                    <a:pt x="298" y="109"/>
                  </a:cubicBezTo>
                  <a:cubicBezTo>
                    <a:pt x="299" y="106"/>
                    <a:pt x="298" y="102"/>
                    <a:pt x="296" y="100"/>
                  </a:cubicBezTo>
                  <a:cubicBezTo>
                    <a:pt x="294" y="97"/>
                    <a:pt x="291" y="96"/>
                    <a:pt x="288" y="96"/>
                  </a:cubicBezTo>
                  <a:cubicBezTo>
                    <a:pt x="224" y="96"/>
                    <a:pt x="224" y="96"/>
                    <a:pt x="224" y="96"/>
                  </a:cubicBezTo>
                  <a:cubicBezTo>
                    <a:pt x="220" y="96"/>
                    <a:pt x="217" y="97"/>
                    <a:pt x="215" y="100"/>
                  </a:cubicBezTo>
                  <a:cubicBezTo>
                    <a:pt x="213" y="102"/>
                    <a:pt x="213" y="106"/>
                    <a:pt x="213" y="109"/>
                  </a:cubicBezTo>
                  <a:cubicBezTo>
                    <a:pt x="224" y="150"/>
                    <a:pt x="224" y="150"/>
                    <a:pt x="224" y="150"/>
                  </a:cubicBezTo>
                  <a:cubicBezTo>
                    <a:pt x="202" y="351"/>
                    <a:pt x="202" y="351"/>
                    <a:pt x="202" y="351"/>
                  </a:cubicBezTo>
                  <a:cubicBezTo>
                    <a:pt x="202" y="353"/>
                    <a:pt x="203" y="356"/>
                    <a:pt x="205" y="358"/>
                  </a:cubicBezTo>
                  <a:cubicBezTo>
                    <a:pt x="247" y="412"/>
                    <a:pt x="247" y="412"/>
                    <a:pt x="247" y="412"/>
                  </a:cubicBezTo>
                  <a:cubicBezTo>
                    <a:pt x="249" y="414"/>
                    <a:pt x="252" y="416"/>
                    <a:pt x="256" y="416"/>
                  </a:cubicBezTo>
                  <a:cubicBezTo>
                    <a:pt x="259" y="416"/>
                    <a:pt x="262" y="414"/>
                    <a:pt x="264" y="412"/>
                  </a:cubicBezTo>
                  <a:cubicBezTo>
                    <a:pt x="307" y="358"/>
                    <a:pt x="307" y="358"/>
                    <a:pt x="307" y="358"/>
                  </a:cubicBezTo>
                  <a:cubicBezTo>
                    <a:pt x="308" y="356"/>
                    <a:pt x="309" y="353"/>
                    <a:pt x="309" y="351"/>
                  </a:cubicBezTo>
                  <a:close/>
                </a:path>
              </a:pathLst>
            </a:custGeom>
            <a:solidFill>
              <a:schemeClr val="accent3">
                <a:lumMod val="50000"/>
              </a:schemeClr>
            </a:solidFill>
            <a:ln>
              <a:noFill/>
            </a:ln>
            <a:extLst/>
          </p:spPr>
          <p:txBody>
            <a:bodyPr vert="horz" wrap="square" lIns="91440" tIns="45720" rIns="91440" bIns="45720" numCol="1" anchor="t" anchorCtr="0" compatLnSpc="1">
              <a:prstTxWarp prst="textNoShape">
                <a:avLst/>
              </a:prstTxWarp>
            </a:bodyPr>
            <a:lstStyle/>
            <a:p>
              <a:endParaRPr lang="en-GB">
                <a:latin typeface="+mj-lt"/>
              </a:endParaRPr>
            </a:p>
          </p:txBody>
        </p:sp>
      </p:grpSp>
      <p:sp>
        <p:nvSpPr>
          <p:cNvPr id="170" name="Rectangle 169"/>
          <p:cNvSpPr/>
          <p:nvPr/>
        </p:nvSpPr>
        <p:spPr bwMode="gray">
          <a:xfrm>
            <a:off x="5760964" y="3943049"/>
            <a:ext cx="2954440" cy="237714"/>
          </a:xfrm>
          <a:prstGeom prst="rect">
            <a:avLst/>
          </a:prstGeom>
          <a:pattFill prst="ltDnDiag">
            <a:fgClr>
              <a:schemeClr val="bg1">
                <a:lumMod val="85000"/>
              </a:schemeClr>
            </a:fgClr>
            <a:bgClr>
              <a:schemeClr val="bg1"/>
            </a:bgClr>
          </a:pattFill>
          <a:ln w="19050" algn="ctr">
            <a:noFill/>
            <a:miter lim="800000"/>
            <a:headEnd/>
            <a:tailEnd/>
          </a:ln>
        </p:spPr>
        <p:txBody>
          <a:bodyPr wrap="square" lIns="88900" tIns="88900" rIns="88900" bIns="88900" rtlCol="0" anchor="ctr"/>
          <a:lstStyle/>
          <a:p>
            <a:pPr lvl="0" algn="ctr">
              <a:spcBef>
                <a:spcPts val="600"/>
              </a:spcBef>
              <a:buSzPct val="100000"/>
            </a:pPr>
            <a:r>
              <a:rPr lang="fr-FR" sz="1200" b="1" dirty="0">
                <a:solidFill>
                  <a:schemeClr val="accent3">
                    <a:lumMod val="50000"/>
                  </a:schemeClr>
                </a:solidFill>
                <a:latin typeface="+mj-lt"/>
              </a:rPr>
              <a:t>   Incubateurs &amp; Accélérateurs</a:t>
            </a:r>
          </a:p>
        </p:txBody>
      </p:sp>
      <p:grpSp>
        <p:nvGrpSpPr>
          <p:cNvPr id="3" name="Group 2"/>
          <p:cNvGrpSpPr/>
          <p:nvPr/>
        </p:nvGrpSpPr>
        <p:grpSpPr>
          <a:xfrm>
            <a:off x="5515257" y="3790234"/>
            <a:ext cx="543345" cy="543345"/>
            <a:chOff x="5515257" y="3790234"/>
            <a:chExt cx="543345" cy="543345"/>
          </a:xfrm>
        </p:grpSpPr>
        <p:sp>
          <p:nvSpPr>
            <p:cNvPr id="172" name="Oval 171"/>
            <p:cNvSpPr/>
            <p:nvPr/>
          </p:nvSpPr>
          <p:spPr bwMode="gray">
            <a:xfrm>
              <a:off x="5515257" y="3790234"/>
              <a:ext cx="543345" cy="543345"/>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74" name="Freeform 898"/>
            <p:cNvSpPr>
              <a:spLocks noEditPoints="1"/>
            </p:cNvSpPr>
            <p:nvPr/>
          </p:nvSpPr>
          <p:spPr bwMode="auto">
            <a:xfrm>
              <a:off x="5549216" y="3824193"/>
              <a:ext cx="475427" cy="47542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solidFill>
              <a:schemeClr val="accent3">
                <a:lumMod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175" name="Oval 899"/>
            <p:cNvSpPr>
              <a:spLocks noChangeArrowheads="1"/>
            </p:cNvSpPr>
            <p:nvPr/>
          </p:nvSpPr>
          <p:spPr bwMode="auto">
            <a:xfrm>
              <a:off x="5658284" y="3933262"/>
              <a:ext cx="158010" cy="158010"/>
            </a:xfrm>
            <a:prstGeom prst="ellipse">
              <a:avLst/>
            </a:prstGeom>
            <a:solidFill>
              <a:schemeClr val="accent3">
                <a:lumMod val="5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ndParaRPr>
            </a:p>
          </p:txBody>
        </p:sp>
      </p:grpSp>
      <p:sp>
        <p:nvSpPr>
          <p:cNvPr id="180" name="Rectangle 179"/>
          <p:cNvSpPr/>
          <p:nvPr/>
        </p:nvSpPr>
        <p:spPr bwMode="gray">
          <a:xfrm>
            <a:off x="5760964" y="5084828"/>
            <a:ext cx="2954440" cy="237714"/>
          </a:xfrm>
          <a:prstGeom prst="rect">
            <a:avLst/>
          </a:prstGeom>
          <a:pattFill prst="ltDnDiag">
            <a:fgClr>
              <a:schemeClr val="bg1">
                <a:lumMod val="85000"/>
              </a:schemeClr>
            </a:fgClr>
            <a:bgClr>
              <a:schemeClr val="bg1"/>
            </a:bgClr>
          </a:pattFill>
          <a:ln w="19050" algn="ctr">
            <a:noFill/>
            <a:miter lim="800000"/>
            <a:headEnd/>
            <a:tailEnd/>
          </a:ln>
        </p:spPr>
        <p:txBody>
          <a:bodyPr wrap="square" lIns="88900" tIns="88900" rIns="88900" bIns="88900" rtlCol="0" anchor="ctr"/>
          <a:lstStyle/>
          <a:p>
            <a:pPr lvl="0" algn="ctr">
              <a:spcBef>
                <a:spcPts val="600"/>
              </a:spcBef>
              <a:buSzPct val="100000"/>
            </a:pPr>
            <a:r>
              <a:rPr lang="fr-FR" sz="1200" b="1" dirty="0">
                <a:solidFill>
                  <a:schemeClr val="accent3">
                    <a:lumMod val="50000"/>
                  </a:schemeClr>
                </a:solidFill>
                <a:latin typeface="+mj-lt"/>
              </a:rPr>
              <a:t>   Universités</a:t>
            </a:r>
          </a:p>
        </p:txBody>
      </p:sp>
      <p:sp>
        <p:nvSpPr>
          <p:cNvPr id="182" name="Oval 181"/>
          <p:cNvSpPr/>
          <p:nvPr/>
        </p:nvSpPr>
        <p:spPr bwMode="gray">
          <a:xfrm>
            <a:off x="5515257" y="4919313"/>
            <a:ext cx="543345" cy="543345"/>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83" name="Freeform 26"/>
          <p:cNvSpPr>
            <a:spLocks noEditPoints="1"/>
          </p:cNvSpPr>
          <p:nvPr/>
        </p:nvSpPr>
        <p:spPr bwMode="auto">
          <a:xfrm>
            <a:off x="5549216" y="4965972"/>
            <a:ext cx="475427" cy="475427"/>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200" name="Rectangle 199"/>
          <p:cNvSpPr/>
          <p:nvPr/>
        </p:nvSpPr>
        <p:spPr bwMode="gray">
          <a:xfrm>
            <a:off x="1228522" y="1490174"/>
            <a:ext cx="2954440" cy="237714"/>
          </a:xfrm>
          <a:prstGeom prst="rect">
            <a:avLst/>
          </a:prstGeom>
          <a:pattFill prst="ltDnDiag">
            <a:fgClr>
              <a:schemeClr val="bg1">
                <a:lumMod val="85000"/>
              </a:schemeClr>
            </a:fgClr>
            <a:bgClr>
              <a:schemeClr val="bg1"/>
            </a:bgClr>
          </a:pattFill>
          <a:ln w="19050" algn="ctr">
            <a:noFill/>
            <a:miter lim="800000"/>
            <a:headEnd/>
            <a:tailEnd/>
          </a:ln>
        </p:spPr>
        <p:txBody>
          <a:bodyPr wrap="square" lIns="88900" tIns="88900" rIns="88900" bIns="88900" rtlCol="0" anchor="ctr"/>
          <a:lstStyle/>
          <a:p>
            <a:pPr lvl="0" algn="ctr">
              <a:spcBef>
                <a:spcPts val="600"/>
              </a:spcBef>
              <a:buSzPct val="100000"/>
            </a:pPr>
            <a:r>
              <a:rPr lang="fr-FR" sz="1200" b="1" dirty="0">
                <a:solidFill>
                  <a:schemeClr val="accent3">
                    <a:lumMod val="50000"/>
                  </a:schemeClr>
                </a:solidFill>
                <a:latin typeface="+mj-lt"/>
              </a:rPr>
              <a:t>Start </a:t>
            </a:r>
            <a:r>
              <a:rPr lang="fr-FR" sz="1200" b="1" dirty="0" err="1">
                <a:solidFill>
                  <a:schemeClr val="accent3">
                    <a:lumMod val="50000"/>
                  </a:schemeClr>
                </a:solidFill>
                <a:latin typeface="+mj-lt"/>
              </a:rPr>
              <a:t>ups</a:t>
            </a:r>
            <a:r>
              <a:rPr lang="fr-FR" sz="1200" b="1" dirty="0">
                <a:solidFill>
                  <a:schemeClr val="accent3">
                    <a:lumMod val="50000"/>
                  </a:schemeClr>
                </a:solidFill>
                <a:latin typeface="+mj-lt"/>
              </a:rPr>
              <a:t> de </a:t>
            </a:r>
            <a:r>
              <a:rPr lang="fr-FR" sz="1200" b="1" dirty="0" err="1">
                <a:solidFill>
                  <a:schemeClr val="accent3">
                    <a:lumMod val="50000"/>
                  </a:schemeClr>
                </a:solidFill>
                <a:latin typeface="+mj-lt"/>
              </a:rPr>
              <a:t>fintech</a:t>
            </a:r>
            <a:endParaRPr lang="fr-FR" sz="1200" b="1" dirty="0">
              <a:solidFill>
                <a:schemeClr val="accent3">
                  <a:lumMod val="50000"/>
                </a:schemeClr>
              </a:solidFill>
              <a:latin typeface="+mj-lt"/>
            </a:endParaRPr>
          </a:p>
        </p:txBody>
      </p:sp>
      <p:grpSp>
        <p:nvGrpSpPr>
          <p:cNvPr id="8" name="Group 7"/>
          <p:cNvGrpSpPr/>
          <p:nvPr/>
        </p:nvGrpSpPr>
        <p:grpSpPr>
          <a:xfrm>
            <a:off x="989736" y="1337359"/>
            <a:ext cx="543345" cy="543345"/>
            <a:chOff x="989736" y="1337359"/>
            <a:chExt cx="543345" cy="543345"/>
          </a:xfrm>
        </p:grpSpPr>
        <p:sp>
          <p:nvSpPr>
            <p:cNvPr id="198" name="Oval 197"/>
            <p:cNvSpPr/>
            <p:nvPr/>
          </p:nvSpPr>
          <p:spPr bwMode="gray">
            <a:xfrm>
              <a:off x="989736" y="1337359"/>
              <a:ext cx="543345" cy="543345"/>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latin typeface="+mj-lt"/>
              </a:endParaRPr>
            </a:p>
          </p:txBody>
        </p:sp>
        <p:sp>
          <p:nvSpPr>
            <p:cNvPr id="199" name="Freeform 694"/>
            <p:cNvSpPr>
              <a:spLocks noChangeAspect="1" noEditPoints="1"/>
            </p:cNvSpPr>
            <p:nvPr/>
          </p:nvSpPr>
          <p:spPr bwMode="auto">
            <a:xfrm>
              <a:off x="1024392" y="1371318"/>
              <a:ext cx="474033" cy="475427"/>
            </a:xfrm>
            <a:custGeom>
              <a:avLst/>
              <a:gdLst>
                <a:gd name="T0" fmla="*/ 203 w 512"/>
                <a:gd name="T1" fmla="*/ 220 h 512"/>
                <a:gd name="T2" fmla="*/ 192 w 512"/>
                <a:gd name="T3" fmla="*/ 222 h 512"/>
                <a:gd name="T4" fmla="*/ 121 w 512"/>
                <a:gd name="T5" fmla="*/ 250 h 512"/>
                <a:gd name="T6" fmla="*/ 166 w 512"/>
                <a:gd name="T7" fmla="*/ 295 h 512"/>
                <a:gd name="T8" fmla="*/ 166 w 512"/>
                <a:gd name="T9" fmla="*/ 310 h 512"/>
                <a:gd name="T10" fmla="*/ 166 w 512"/>
                <a:gd name="T11" fmla="*/ 348 h 512"/>
                <a:gd name="T12" fmla="*/ 203 w 512"/>
                <a:gd name="T13" fmla="*/ 348 h 512"/>
                <a:gd name="T14" fmla="*/ 211 w 512"/>
                <a:gd name="T15" fmla="*/ 345 h 512"/>
                <a:gd name="T16" fmla="*/ 218 w 512"/>
                <a:gd name="T17" fmla="*/ 348 h 512"/>
                <a:gd name="T18" fmla="*/ 263 w 512"/>
                <a:gd name="T19" fmla="*/ 392 h 512"/>
                <a:gd name="T20" fmla="*/ 290 w 512"/>
                <a:gd name="T21" fmla="*/ 322 h 512"/>
                <a:gd name="T22" fmla="*/ 293 w 512"/>
                <a:gd name="T23" fmla="*/ 311 h 512"/>
                <a:gd name="T24" fmla="*/ 363 w 512"/>
                <a:gd name="T25" fmla="*/ 150 h 512"/>
                <a:gd name="T26" fmla="*/ 203 w 512"/>
                <a:gd name="T27" fmla="*/ 220 h 512"/>
                <a:gd name="T28" fmla="*/ 273 w 512"/>
                <a:gd name="T29" fmla="*/ 302 h 512"/>
                <a:gd name="T30" fmla="*/ 241 w 512"/>
                <a:gd name="T31" fmla="*/ 315 h 512"/>
                <a:gd name="T32" fmla="*/ 208 w 512"/>
                <a:gd name="T33" fmla="*/ 302 h 512"/>
                <a:gd name="T34" fmla="*/ 208 w 512"/>
                <a:gd name="T35" fmla="*/ 237 h 512"/>
                <a:gd name="T36" fmla="*/ 241 w 512"/>
                <a:gd name="T37" fmla="*/ 223 h 512"/>
                <a:gd name="T38" fmla="*/ 273 w 512"/>
                <a:gd name="T39" fmla="*/ 237 h 512"/>
                <a:gd name="T40" fmla="*/ 273 w 512"/>
                <a:gd name="T41" fmla="*/ 302 h 512"/>
                <a:gd name="T42" fmla="*/ 258 w 512"/>
                <a:gd name="T43" fmla="*/ 252 h 512"/>
                <a:gd name="T44" fmla="*/ 258 w 512"/>
                <a:gd name="T45" fmla="*/ 287 h 512"/>
                <a:gd name="T46" fmla="*/ 224 w 512"/>
                <a:gd name="T47" fmla="*/ 287 h 512"/>
                <a:gd name="T48" fmla="*/ 224 w 512"/>
                <a:gd name="T49" fmla="*/ 252 h 512"/>
                <a:gd name="T50" fmla="*/ 241 w 512"/>
                <a:gd name="T51" fmla="*/ 245 h 512"/>
                <a:gd name="T52" fmla="*/ 258 w 512"/>
                <a:gd name="T53" fmla="*/ 252 h 512"/>
                <a:gd name="T54" fmla="*/ 256 w 512"/>
                <a:gd name="T55" fmla="*/ 0 h 512"/>
                <a:gd name="T56" fmla="*/ 0 w 512"/>
                <a:gd name="T57" fmla="*/ 256 h 512"/>
                <a:gd name="T58" fmla="*/ 256 w 512"/>
                <a:gd name="T59" fmla="*/ 512 h 512"/>
                <a:gd name="T60" fmla="*/ 512 w 512"/>
                <a:gd name="T61" fmla="*/ 256 h 512"/>
                <a:gd name="T62" fmla="*/ 256 w 512"/>
                <a:gd name="T63" fmla="*/ 0 h 512"/>
                <a:gd name="T64" fmla="*/ 268 w 512"/>
                <a:gd name="T65" fmla="*/ 415 h 512"/>
                <a:gd name="T66" fmla="*/ 262 w 512"/>
                <a:gd name="T67" fmla="*/ 417 h 512"/>
                <a:gd name="T68" fmla="*/ 254 w 512"/>
                <a:gd name="T69" fmla="*/ 414 h 512"/>
                <a:gd name="T70" fmla="*/ 209 w 512"/>
                <a:gd name="T71" fmla="*/ 369 h 512"/>
                <a:gd name="T72" fmla="*/ 188 w 512"/>
                <a:gd name="T73" fmla="*/ 374 h 512"/>
                <a:gd name="T74" fmla="*/ 151 w 512"/>
                <a:gd name="T75" fmla="*/ 363 h 512"/>
                <a:gd name="T76" fmla="*/ 145 w 512"/>
                <a:gd name="T77" fmla="*/ 304 h 512"/>
                <a:gd name="T78" fmla="*/ 100 w 512"/>
                <a:gd name="T79" fmla="*/ 259 h 512"/>
                <a:gd name="T80" fmla="*/ 98 w 512"/>
                <a:gd name="T81" fmla="*/ 246 h 512"/>
                <a:gd name="T82" fmla="*/ 193 w 512"/>
                <a:gd name="T83" fmla="*/ 201 h 512"/>
                <a:gd name="T84" fmla="*/ 376 w 512"/>
                <a:gd name="T85" fmla="*/ 131 h 512"/>
                <a:gd name="T86" fmla="*/ 383 w 512"/>
                <a:gd name="T87" fmla="*/ 139 h 512"/>
                <a:gd name="T88" fmla="*/ 312 w 512"/>
                <a:gd name="T89" fmla="*/ 322 h 512"/>
                <a:gd name="T90" fmla="*/ 268 w 512"/>
                <a:gd name="T91"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03" y="220"/>
                  </a:moveTo>
                  <a:cubicBezTo>
                    <a:pt x="200" y="223"/>
                    <a:pt x="196" y="224"/>
                    <a:pt x="192" y="222"/>
                  </a:cubicBezTo>
                  <a:cubicBezTo>
                    <a:pt x="190" y="222"/>
                    <a:pt x="151" y="208"/>
                    <a:pt x="121" y="250"/>
                  </a:cubicBezTo>
                  <a:cubicBezTo>
                    <a:pt x="166" y="295"/>
                    <a:pt x="166" y="295"/>
                    <a:pt x="166" y="295"/>
                  </a:cubicBezTo>
                  <a:cubicBezTo>
                    <a:pt x="170" y="299"/>
                    <a:pt x="170" y="306"/>
                    <a:pt x="166" y="310"/>
                  </a:cubicBezTo>
                  <a:cubicBezTo>
                    <a:pt x="162" y="315"/>
                    <a:pt x="156" y="338"/>
                    <a:pt x="166" y="348"/>
                  </a:cubicBezTo>
                  <a:cubicBezTo>
                    <a:pt x="175" y="358"/>
                    <a:pt x="199" y="352"/>
                    <a:pt x="203" y="348"/>
                  </a:cubicBezTo>
                  <a:cubicBezTo>
                    <a:pt x="205" y="346"/>
                    <a:pt x="208" y="345"/>
                    <a:pt x="211" y="345"/>
                  </a:cubicBezTo>
                  <a:cubicBezTo>
                    <a:pt x="214" y="345"/>
                    <a:pt x="216" y="346"/>
                    <a:pt x="218" y="348"/>
                  </a:cubicBezTo>
                  <a:cubicBezTo>
                    <a:pt x="263" y="392"/>
                    <a:pt x="263" y="392"/>
                    <a:pt x="263" y="392"/>
                  </a:cubicBezTo>
                  <a:cubicBezTo>
                    <a:pt x="302" y="358"/>
                    <a:pt x="291" y="322"/>
                    <a:pt x="290" y="322"/>
                  </a:cubicBezTo>
                  <a:cubicBezTo>
                    <a:pt x="289" y="318"/>
                    <a:pt x="290" y="314"/>
                    <a:pt x="293" y="311"/>
                  </a:cubicBezTo>
                  <a:cubicBezTo>
                    <a:pt x="362" y="242"/>
                    <a:pt x="364" y="172"/>
                    <a:pt x="363" y="150"/>
                  </a:cubicBezTo>
                  <a:cubicBezTo>
                    <a:pt x="342" y="147"/>
                    <a:pt x="279" y="145"/>
                    <a:pt x="203" y="220"/>
                  </a:cubicBezTo>
                  <a:close/>
                  <a:moveTo>
                    <a:pt x="273" y="302"/>
                  </a:moveTo>
                  <a:cubicBezTo>
                    <a:pt x="264" y="311"/>
                    <a:pt x="253" y="315"/>
                    <a:pt x="241" y="315"/>
                  </a:cubicBezTo>
                  <a:cubicBezTo>
                    <a:pt x="229" y="315"/>
                    <a:pt x="217" y="311"/>
                    <a:pt x="208" y="302"/>
                  </a:cubicBezTo>
                  <a:cubicBezTo>
                    <a:pt x="191" y="284"/>
                    <a:pt x="191" y="255"/>
                    <a:pt x="208" y="237"/>
                  </a:cubicBezTo>
                  <a:cubicBezTo>
                    <a:pt x="217" y="228"/>
                    <a:pt x="229" y="223"/>
                    <a:pt x="241" y="223"/>
                  </a:cubicBezTo>
                  <a:cubicBezTo>
                    <a:pt x="253" y="223"/>
                    <a:pt x="265" y="228"/>
                    <a:pt x="273" y="237"/>
                  </a:cubicBezTo>
                  <a:cubicBezTo>
                    <a:pt x="291" y="255"/>
                    <a:pt x="291" y="284"/>
                    <a:pt x="273" y="302"/>
                  </a:cubicBezTo>
                  <a:close/>
                  <a:moveTo>
                    <a:pt x="258" y="252"/>
                  </a:moveTo>
                  <a:cubicBezTo>
                    <a:pt x="268" y="262"/>
                    <a:pt x="268" y="277"/>
                    <a:pt x="258" y="287"/>
                  </a:cubicBezTo>
                  <a:cubicBezTo>
                    <a:pt x="249" y="296"/>
                    <a:pt x="233" y="296"/>
                    <a:pt x="224" y="287"/>
                  </a:cubicBezTo>
                  <a:cubicBezTo>
                    <a:pt x="214" y="277"/>
                    <a:pt x="214" y="262"/>
                    <a:pt x="224" y="252"/>
                  </a:cubicBezTo>
                  <a:cubicBezTo>
                    <a:pt x="228" y="247"/>
                    <a:pt x="234" y="245"/>
                    <a:pt x="241" y="245"/>
                  </a:cubicBezTo>
                  <a:cubicBezTo>
                    <a:pt x="247" y="245"/>
                    <a:pt x="254" y="247"/>
                    <a:pt x="258" y="2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8" y="415"/>
                  </a:moveTo>
                  <a:cubicBezTo>
                    <a:pt x="266" y="416"/>
                    <a:pt x="264" y="417"/>
                    <a:pt x="262" y="417"/>
                  </a:cubicBezTo>
                  <a:cubicBezTo>
                    <a:pt x="259" y="417"/>
                    <a:pt x="256" y="416"/>
                    <a:pt x="254" y="414"/>
                  </a:cubicBezTo>
                  <a:cubicBezTo>
                    <a:pt x="209" y="369"/>
                    <a:pt x="209" y="369"/>
                    <a:pt x="209" y="369"/>
                  </a:cubicBezTo>
                  <a:cubicBezTo>
                    <a:pt x="203" y="372"/>
                    <a:pt x="196" y="374"/>
                    <a:pt x="188" y="374"/>
                  </a:cubicBezTo>
                  <a:cubicBezTo>
                    <a:pt x="173" y="376"/>
                    <a:pt x="159" y="372"/>
                    <a:pt x="151" y="363"/>
                  </a:cubicBezTo>
                  <a:cubicBezTo>
                    <a:pt x="135" y="348"/>
                    <a:pt x="137" y="320"/>
                    <a:pt x="145" y="304"/>
                  </a:cubicBezTo>
                  <a:cubicBezTo>
                    <a:pt x="100" y="259"/>
                    <a:pt x="100" y="259"/>
                    <a:pt x="100" y="259"/>
                  </a:cubicBezTo>
                  <a:cubicBezTo>
                    <a:pt x="96" y="256"/>
                    <a:pt x="96" y="251"/>
                    <a:pt x="98" y="246"/>
                  </a:cubicBezTo>
                  <a:cubicBezTo>
                    <a:pt x="131" y="193"/>
                    <a:pt x="175" y="197"/>
                    <a:pt x="193" y="201"/>
                  </a:cubicBezTo>
                  <a:cubicBezTo>
                    <a:pt x="290" y="106"/>
                    <a:pt x="372" y="130"/>
                    <a:pt x="376" y="131"/>
                  </a:cubicBezTo>
                  <a:cubicBezTo>
                    <a:pt x="380" y="132"/>
                    <a:pt x="382" y="135"/>
                    <a:pt x="383" y="139"/>
                  </a:cubicBezTo>
                  <a:cubicBezTo>
                    <a:pt x="384" y="143"/>
                    <a:pt x="398" y="233"/>
                    <a:pt x="312" y="322"/>
                  </a:cubicBezTo>
                  <a:cubicBezTo>
                    <a:pt x="315" y="338"/>
                    <a:pt x="316" y="379"/>
                    <a:pt x="268" y="415"/>
                  </a:cubicBezTo>
                  <a:close/>
                </a:path>
              </a:pathLst>
            </a:custGeom>
            <a:solidFill>
              <a:schemeClr val="accent3">
                <a:lumMod val="50000"/>
              </a:schemeClr>
            </a:solidFill>
            <a:ln>
              <a:noFill/>
            </a:ln>
            <a:extLst/>
          </p:spPr>
          <p:txBody>
            <a:bodyPr vert="horz" wrap="square" lIns="91440" tIns="45720" rIns="91440" bIns="45720" numCol="1" anchor="t" anchorCtr="0" compatLnSpc="1">
              <a:prstTxWarp prst="textNoShape">
                <a:avLst/>
              </a:prstTxWarp>
            </a:bodyPr>
            <a:lstStyle/>
            <a:p>
              <a:endParaRPr lang="en-GB">
                <a:latin typeface="+mj-lt"/>
              </a:endParaRPr>
            </a:p>
          </p:txBody>
        </p:sp>
      </p:grpSp>
      <p:sp>
        <p:nvSpPr>
          <p:cNvPr id="203" name="Rectangle 202"/>
          <p:cNvSpPr/>
          <p:nvPr/>
        </p:nvSpPr>
        <p:spPr bwMode="gray">
          <a:xfrm>
            <a:off x="1146880" y="3220064"/>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a:latin typeface="+mj-lt"/>
              </a:rPr>
              <a:t>Abacus</a:t>
            </a:r>
          </a:p>
        </p:txBody>
      </p:sp>
      <p:sp>
        <p:nvSpPr>
          <p:cNvPr id="204" name="Rectangle 203"/>
          <p:cNvSpPr/>
          <p:nvPr/>
        </p:nvSpPr>
        <p:spPr bwMode="gray">
          <a:xfrm>
            <a:off x="1146880" y="3446993"/>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err="1">
                <a:latin typeface="+mj-lt"/>
              </a:rPr>
              <a:t>Dataprophet</a:t>
            </a:r>
            <a:endParaRPr lang="fr-FR" sz="1200" dirty="0">
              <a:latin typeface="+mj-lt"/>
            </a:endParaRPr>
          </a:p>
        </p:txBody>
      </p:sp>
      <p:sp>
        <p:nvSpPr>
          <p:cNvPr id="205" name="Rectangle 204"/>
          <p:cNvSpPr/>
          <p:nvPr/>
        </p:nvSpPr>
        <p:spPr bwMode="gray">
          <a:xfrm>
            <a:off x="1146880" y="3803152"/>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a:latin typeface="+mj-lt"/>
              </a:rPr>
              <a:t>Emerge </a:t>
            </a:r>
            <a:r>
              <a:rPr lang="fr-FR" sz="1200" dirty="0" err="1">
                <a:latin typeface="+mj-lt"/>
              </a:rPr>
              <a:t>Analytics</a:t>
            </a:r>
            <a:endParaRPr lang="fr-FR" sz="1200" dirty="0">
              <a:latin typeface="+mj-lt"/>
            </a:endParaRPr>
          </a:p>
        </p:txBody>
      </p:sp>
      <p:sp>
        <p:nvSpPr>
          <p:cNvPr id="206" name="Rectangle 205"/>
          <p:cNvSpPr/>
          <p:nvPr/>
        </p:nvSpPr>
        <p:spPr bwMode="gray">
          <a:xfrm>
            <a:off x="2066516" y="2751844"/>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err="1">
                <a:latin typeface="+mj-lt"/>
              </a:rPr>
              <a:t>Quickteller</a:t>
            </a:r>
            <a:endParaRPr lang="fr-FR" sz="1200" dirty="0">
              <a:latin typeface="+mj-lt"/>
            </a:endParaRPr>
          </a:p>
        </p:txBody>
      </p:sp>
      <p:sp>
        <p:nvSpPr>
          <p:cNvPr id="207" name="Rectangle 206"/>
          <p:cNvSpPr/>
          <p:nvPr/>
        </p:nvSpPr>
        <p:spPr bwMode="gray">
          <a:xfrm>
            <a:off x="2053104" y="3026082"/>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a:latin typeface="+mj-lt"/>
              </a:rPr>
              <a:t>M-Pesa</a:t>
            </a:r>
          </a:p>
        </p:txBody>
      </p:sp>
      <p:sp>
        <p:nvSpPr>
          <p:cNvPr id="208" name="Rectangle 207"/>
          <p:cNvSpPr/>
          <p:nvPr/>
        </p:nvSpPr>
        <p:spPr bwMode="gray">
          <a:xfrm>
            <a:off x="2073645" y="3308016"/>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err="1">
                <a:latin typeface="+mj-lt"/>
              </a:rPr>
              <a:t>Wari</a:t>
            </a:r>
            <a:endParaRPr lang="fr-FR" sz="1200" dirty="0">
              <a:latin typeface="+mj-lt"/>
            </a:endParaRPr>
          </a:p>
        </p:txBody>
      </p:sp>
      <p:sp>
        <p:nvSpPr>
          <p:cNvPr id="209" name="Rectangle 208"/>
          <p:cNvSpPr/>
          <p:nvPr/>
        </p:nvSpPr>
        <p:spPr bwMode="gray">
          <a:xfrm>
            <a:off x="3020259" y="3338491"/>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err="1">
                <a:latin typeface="+mj-lt"/>
              </a:rPr>
              <a:t>Riovic</a:t>
            </a:r>
            <a:endParaRPr lang="fr-FR" sz="1200" dirty="0">
              <a:latin typeface="+mj-lt"/>
            </a:endParaRPr>
          </a:p>
        </p:txBody>
      </p:sp>
      <p:sp>
        <p:nvSpPr>
          <p:cNvPr id="210" name="Rectangle 209"/>
          <p:cNvSpPr/>
          <p:nvPr/>
        </p:nvSpPr>
        <p:spPr bwMode="gray">
          <a:xfrm>
            <a:off x="3020260" y="3650810"/>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err="1">
                <a:latin typeface="+mj-lt"/>
              </a:rPr>
              <a:t>Aerobotics</a:t>
            </a:r>
            <a:endParaRPr lang="fr-FR" sz="1200" dirty="0">
              <a:latin typeface="+mj-lt"/>
            </a:endParaRPr>
          </a:p>
        </p:txBody>
      </p:sp>
      <p:sp>
        <p:nvSpPr>
          <p:cNvPr id="211" name="Rectangle 210"/>
          <p:cNvSpPr/>
          <p:nvPr/>
        </p:nvSpPr>
        <p:spPr bwMode="gray">
          <a:xfrm>
            <a:off x="2976291" y="4248317"/>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err="1">
                <a:latin typeface="+mj-lt"/>
              </a:rPr>
              <a:t>WorldCover</a:t>
            </a:r>
            <a:endParaRPr lang="fr-FR" sz="1200" dirty="0">
              <a:latin typeface="+mj-lt"/>
            </a:endParaRPr>
          </a:p>
        </p:txBody>
      </p:sp>
      <p:sp>
        <p:nvSpPr>
          <p:cNvPr id="212" name="Rectangle 211"/>
          <p:cNvSpPr/>
          <p:nvPr/>
        </p:nvSpPr>
        <p:spPr bwMode="gray">
          <a:xfrm>
            <a:off x="2976291" y="4580005"/>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a:latin typeface="+mj-lt"/>
              </a:rPr>
              <a:t>Roc </a:t>
            </a:r>
            <a:r>
              <a:rPr lang="fr-FR" sz="1200" dirty="0" err="1">
                <a:latin typeface="+mj-lt"/>
              </a:rPr>
              <a:t>my</a:t>
            </a:r>
            <a:r>
              <a:rPr lang="fr-FR" sz="1200" dirty="0">
                <a:latin typeface="+mj-lt"/>
              </a:rPr>
              <a:t> Peer</a:t>
            </a:r>
          </a:p>
        </p:txBody>
      </p:sp>
      <p:sp>
        <p:nvSpPr>
          <p:cNvPr id="213" name="Rectangle 212"/>
          <p:cNvSpPr/>
          <p:nvPr/>
        </p:nvSpPr>
        <p:spPr bwMode="gray">
          <a:xfrm>
            <a:off x="2976291" y="4882189"/>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err="1">
                <a:latin typeface="+mj-lt"/>
              </a:rPr>
              <a:t>InVenture</a:t>
            </a:r>
            <a:endParaRPr lang="fr-FR" sz="1200" dirty="0">
              <a:latin typeface="+mj-lt"/>
            </a:endParaRPr>
          </a:p>
        </p:txBody>
      </p:sp>
      <p:sp>
        <p:nvSpPr>
          <p:cNvPr id="214" name="Rectangle 213"/>
          <p:cNvSpPr/>
          <p:nvPr/>
        </p:nvSpPr>
        <p:spPr bwMode="gray">
          <a:xfrm>
            <a:off x="2079982" y="4799888"/>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err="1">
                <a:latin typeface="+mj-lt"/>
              </a:rPr>
              <a:t>SliceBiz</a:t>
            </a:r>
            <a:endParaRPr lang="fr-FR" sz="1200" dirty="0">
              <a:latin typeface="+mj-lt"/>
            </a:endParaRPr>
          </a:p>
        </p:txBody>
      </p:sp>
      <p:sp>
        <p:nvSpPr>
          <p:cNvPr id="215" name="Rectangle 214"/>
          <p:cNvSpPr/>
          <p:nvPr/>
        </p:nvSpPr>
        <p:spPr bwMode="gray">
          <a:xfrm>
            <a:off x="2079982" y="5104096"/>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err="1">
                <a:latin typeface="+mj-lt"/>
              </a:rPr>
              <a:t>Shekra</a:t>
            </a:r>
            <a:endParaRPr lang="fr-FR" sz="1200" dirty="0">
              <a:latin typeface="+mj-lt"/>
            </a:endParaRPr>
          </a:p>
        </p:txBody>
      </p:sp>
      <p:sp>
        <p:nvSpPr>
          <p:cNvPr id="216" name="Rectangle 215"/>
          <p:cNvSpPr/>
          <p:nvPr/>
        </p:nvSpPr>
        <p:spPr bwMode="gray">
          <a:xfrm>
            <a:off x="2079982" y="5408303"/>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err="1">
                <a:latin typeface="+mj-lt"/>
              </a:rPr>
              <a:t>Jumpstarter</a:t>
            </a:r>
            <a:endParaRPr lang="fr-FR" sz="1200" dirty="0">
              <a:latin typeface="+mj-lt"/>
            </a:endParaRPr>
          </a:p>
        </p:txBody>
      </p:sp>
      <p:sp>
        <p:nvSpPr>
          <p:cNvPr id="217" name="Rectangle 216"/>
          <p:cNvSpPr/>
          <p:nvPr/>
        </p:nvSpPr>
        <p:spPr bwMode="gray">
          <a:xfrm>
            <a:off x="942809" y="4306067"/>
            <a:ext cx="1242500" cy="237714"/>
          </a:xfrm>
          <a:prstGeom prst="rect">
            <a:avLst/>
          </a:prstGeom>
          <a:noFill/>
          <a:ln w="19050" algn="ctr">
            <a:noFill/>
            <a:miter lim="800000"/>
            <a:headEnd/>
            <a:tailEnd/>
          </a:ln>
        </p:spPr>
        <p:txBody>
          <a:bodyPr wrap="square" lIns="88900" tIns="88900" rIns="88900" bIns="88900" rtlCol="0" anchor="ctr"/>
          <a:lstStyle/>
          <a:p>
            <a:pPr lvl="0" algn="ctr">
              <a:buSzPct val="100000"/>
            </a:pPr>
            <a:r>
              <a:rPr lang="fr-FR" sz="1200" dirty="0" err="1">
                <a:latin typeface="+mj-lt"/>
              </a:rPr>
              <a:t>EasyEquities</a:t>
            </a:r>
            <a:endParaRPr lang="fr-FR" sz="1200" dirty="0">
              <a:latin typeface="+mj-lt"/>
            </a:endParaRPr>
          </a:p>
          <a:p>
            <a:pPr lvl="0" algn="ctr">
              <a:buSzPct val="100000"/>
            </a:pPr>
            <a:r>
              <a:rPr lang="fr-FR" sz="1200" dirty="0" err="1">
                <a:latin typeface="+mj-lt"/>
              </a:rPr>
              <a:t>Satrix</a:t>
            </a:r>
            <a:endParaRPr lang="fr-FR" sz="1200" dirty="0">
              <a:latin typeface="+mj-lt"/>
            </a:endParaRPr>
          </a:p>
        </p:txBody>
      </p:sp>
      <p:sp>
        <p:nvSpPr>
          <p:cNvPr id="218" name="Rectangle 217"/>
          <p:cNvSpPr/>
          <p:nvPr/>
        </p:nvSpPr>
        <p:spPr bwMode="gray">
          <a:xfrm>
            <a:off x="1267472" y="4648921"/>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err="1">
                <a:latin typeface="+mj-lt"/>
              </a:rPr>
              <a:t>StokFella</a:t>
            </a:r>
            <a:endParaRPr lang="fr-FR" sz="1200" dirty="0">
              <a:latin typeface="+mj-lt"/>
            </a:endParaRPr>
          </a:p>
        </p:txBody>
      </p:sp>
      <p:sp>
        <p:nvSpPr>
          <p:cNvPr id="219" name="Rectangle 218"/>
          <p:cNvSpPr/>
          <p:nvPr/>
        </p:nvSpPr>
        <p:spPr bwMode="gray">
          <a:xfrm>
            <a:off x="1160642" y="4973382"/>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err="1">
                <a:latin typeface="+mj-lt"/>
              </a:rPr>
              <a:t>Wealth</a:t>
            </a:r>
            <a:r>
              <a:rPr lang="fr-FR" sz="1200" dirty="0">
                <a:latin typeface="+mj-lt"/>
              </a:rPr>
              <a:t> </a:t>
            </a:r>
            <a:r>
              <a:rPr lang="fr-FR" sz="1200" dirty="0" err="1">
                <a:latin typeface="+mj-lt"/>
              </a:rPr>
              <a:t>Migrate</a:t>
            </a:r>
            <a:endParaRPr lang="fr-FR" sz="1200" dirty="0">
              <a:latin typeface="+mj-lt"/>
            </a:endParaRPr>
          </a:p>
        </p:txBody>
      </p:sp>
      <p:sp>
        <p:nvSpPr>
          <p:cNvPr id="220" name="Rectangle 219"/>
          <p:cNvSpPr/>
          <p:nvPr/>
        </p:nvSpPr>
        <p:spPr bwMode="gray">
          <a:xfrm>
            <a:off x="6073938" y="1900667"/>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a:latin typeface="+mj-lt"/>
              </a:rPr>
              <a:t>Access Bank</a:t>
            </a:r>
          </a:p>
        </p:txBody>
      </p:sp>
      <p:sp>
        <p:nvSpPr>
          <p:cNvPr id="221" name="Rectangle 220"/>
          <p:cNvSpPr/>
          <p:nvPr/>
        </p:nvSpPr>
        <p:spPr bwMode="gray">
          <a:xfrm>
            <a:off x="7316438" y="1900667"/>
            <a:ext cx="1286087" cy="197923"/>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a:latin typeface="+mj-lt"/>
              </a:rPr>
              <a:t>Société Générale</a:t>
            </a:r>
          </a:p>
          <a:p>
            <a:pPr lvl="0" algn="ctr">
              <a:spcBef>
                <a:spcPts val="600"/>
              </a:spcBef>
              <a:buSzPct val="100000"/>
            </a:pPr>
            <a:r>
              <a:rPr lang="fr-FR" sz="1200" dirty="0">
                <a:latin typeface="+mj-lt"/>
              </a:rPr>
              <a:t>Standard Bank</a:t>
            </a:r>
          </a:p>
        </p:txBody>
      </p:sp>
      <p:sp>
        <p:nvSpPr>
          <p:cNvPr id="222" name="Rectangle 221"/>
          <p:cNvSpPr/>
          <p:nvPr/>
        </p:nvSpPr>
        <p:spPr bwMode="gray">
          <a:xfrm>
            <a:off x="7332317" y="2233303"/>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a:latin typeface="+mj-lt"/>
              </a:rPr>
              <a:t>Barclays</a:t>
            </a:r>
          </a:p>
        </p:txBody>
      </p:sp>
      <p:sp>
        <p:nvSpPr>
          <p:cNvPr id="223" name="Rectangle 222"/>
          <p:cNvSpPr/>
          <p:nvPr/>
        </p:nvSpPr>
        <p:spPr bwMode="gray">
          <a:xfrm>
            <a:off x="6073938" y="2270247"/>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err="1">
                <a:latin typeface="+mj-lt"/>
              </a:rPr>
              <a:t>Zenith</a:t>
            </a:r>
            <a:r>
              <a:rPr lang="fr-FR" sz="1200" dirty="0">
                <a:latin typeface="+mj-lt"/>
              </a:rPr>
              <a:t> Bank</a:t>
            </a:r>
          </a:p>
        </p:txBody>
      </p:sp>
      <p:sp>
        <p:nvSpPr>
          <p:cNvPr id="224" name="Rectangle 223"/>
          <p:cNvSpPr/>
          <p:nvPr/>
        </p:nvSpPr>
        <p:spPr bwMode="gray">
          <a:xfrm>
            <a:off x="6073938" y="3044624"/>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a:latin typeface="+mj-lt"/>
              </a:rPr>
              <a:t>VC </a:t>
            </a:r>
            <a:r>
              <a:rPr lang="fr-FR" sz="1200" dirty="0" err="1">
                <a:latin typeface="+mj-lt"/>
              </a:rPr>
              <a:t>Fintech</a:t>
            </a:r>
            <a:endParaRPr lang="fr-FR" sz="1200" dirty="0">
              <a:latin typeface="+mj-lt"/>
            </a:endParaRPr>
          </a:p>
        </p:txBody>
      </p:sp>
      <p:sp>
        <p:nvSpPr>
          <p:cNvPr id="225" name="Rectangle 224"/>
          <p:cNvSpPr/>
          <p:nvPr/>
        </p:nvSpPr>
        <p:spPr bwMode="gray">
          <a:xfrm>
            <a:off x="7360025" y="3072030"/>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err="1">
                <a:latin typeface="+mj-lt"/>
              </a:rPr>
              <a:t>Omidyar</a:t>
            </a:r>
            <a:r>
              <a:rPr lang="fr-FR" sz="1200" dirty="0">
                <a:latin typeface="+mj-lt"/>
              </a:rPr>
              <a:t> Network</a:t>
            </a:r>
          </a:p>
        </p:txBody>
      </p:sp>
      <p:sp>
        <p:nvSpPr>
          <p:cNvPr id="226" name="Rectangle 225"/>
          <p:cNvSpPr/>
          <p:nvPr/>
        </p:nvSpPr>
        <p:spPr bwMode="gray">
          <a:xfrm>
            <a:off x="6073938" y="3384665"/>
            <a:ext cx="1286087" cy="491386"/>
          </a:xfrm>
          <a:prstGeom prst="rect">
            <a:avLst/>
          </a:prstGeom>
          <a:noFill/>
          <a:ln w="19050" algn="ctr">
            <a:noFill/>
            <a:miter lim="800000"/>
            <a:headEnd/>
            <a:tailEnd/>
          </a:ln>
        </p:spPr>
        <p:txBody>
          <a:bodyPr wrap="square" lIns="88900" tIns="88900" rIns="88900" bIns="88900" rtlCol="0" anchor="ctr"/>
          <a:lstStyle/>
          <a:p>
            <a:pPr lvl="0" algn="ctr">
              <a:buSzPct val="100000"/>
            </a:pPr>
            <a:r>
              <a:rPr lang="fr-FR" sz="1200" dirty="0" err="1">
                <a:latin typeface="+mj-lt"/>
              </a:rPr>
              <a:t>Helios</a:t>
            </a:r>
            <a:r>
              <a:rPr lang="fr-FR" sz="1200" dirty="0">
                <a:latin typeface="+mj-lt"/>
              </a:rPr>
              <a:t> Investment </a:t>
            </a:r>
            <a:r>
              <a:rPr lang="fr-FR" sz="1200" dirty="0" err="1">
                <a:latin typeface="+mj-lt"/>
              </a:rPr>
              <a:t>Partners</a:t>
            </a:r>
            <a:endParaRPr lang="fr-FR" sz="1200" dirty="0">
              <a:latin typeface="+mj-lt"/>
            </a:endParaRPr>
          </a:p>
        </p:txBody>
      </p:sp>
      <p:sp>
        <p:nvSpPr>
          <p:cNvPr id="227" name="Rectangle 226"/>
          <p:cNvSpPr/>
          <p:nvPr/>
        </p:nvSpPr>
        <p:spPr bwMode="gray">
          <a:xfrm>
            <a:off x="7360025" y="3526761"/>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err="1">
                <a:latin typeface="+mj-lt"/>
              </a:rPr>
              <a:t>Adlevo</a:t>
            </a:r>
            <a:r>
              <a:rPr lang="fr-FR" sz="1200" dirty="0">
                <a:latin typeface="+mj-lt"/>
              </a:rPr>
              <a:t> Capital</a:t>
            </a:r>
          </a:p>
        </p:txBody>
      </p:sp>
      <p:sp>
        <p:nvSpPr>
          <p:cNvPr id="228" name="Rectangle 227"/>
          <p:cNvSpPr/>
          <p:nvPr/>
        </p:nvSpPr>
        <p:spPr bwMode="gray">
          <a:xfrm>
            <a:off x="6073938" y="4514917"/>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err="1">
                <a:latin typeface="+mj-lt"/>
              </a:rPr>
              <a:t>Mwg</a:t>
            </a:r>
            <a:r>
              <a:rPr lang="fr-FR" sz="1200" dirty="0">
                <a:latin typeface="+mj-lt"/>
              </a:rPr>
              <a:t> Mobile Web Ghana</a:t>
            </a:r>
          </a:p>
        </p:txBody>
      </p:sp>
      <p:sp>
        <p:nvSpPr>
          <p:cNvPr id="229" name="Rectangle 228"/>
          <p:cNvSpPr/>
          <p:nvPr/>
        </p:nvSpPr>
        <p:spPr bwMode="gray">
          <a:xfrm>
            <a:off x="7360025" y="4301871"/>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a:latin typeface="+mj-lt"/>
              </a:rPr>
              <a:t>Co-</a:t>
            </a:r>
            <a:r>
              <a:rPr lang="fr-FR" sz="1200" dirty="0" err="1">
                <a:latin typeface="+mj-lt"/>
              </a:rPr>
              <a:t>creation</a:t>
            </a:r>
            <a:r>
              <a:rPr lang="fr-FR" sz="1200" dirty="0">
                <a:latin typeface="+mj-lt"/>
              </a:rPr>
              <a:t> Hub Nigeria</a:t>
            </a:r>
          </a:p>
        </p:txBody>
      </p:sp>
      <p:sp>
        <p:nvSpPr>
          <p:cNvPr id="230" name="Rectangle 229"/>
          <p:cNvSpPr/>
          <p:nvPr/>
        </p:nvSpPr>
        <p:spPr bwMode="gray">
          <a:xfrm>
            <a:off x="7360025" y="4729566"/>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err="1">
                <a:latin typeface="+mj-lt"/>
              </a:rPr>
              <a:t>Activ</a:t>
            </a:r>
            <a:r>
              <a:rPr lang="fr-FR" sz="1200" dirty="0">
                <a:latin typeface="+mj-lt"/>
              </a:rPr>
              <a:t> </a:t>
            </a:r>
            <a:r>
              <a:rPr lang="fr-FR" sz="1200" dirty="0" err="1">
                <a:latin typeface="+mj-lt"/>
              </a:rPr>
              <a:t>Spaces</a:t>
            </a:r>
            <a:r>
              <a:rPr lang="fr-FR" sz="1200" dirty="0">
                <a:latin typeface="+mj-lt"/>
              </a:rPr>
              <a:t> </a:t>
            </a:r>
            <a:r>
              <a:rPr lang="fr-FR" sz="1200" dirty="0" err="1">
                <a:latin typeface="+mj-lt"/>
              </a:rPr>
              <a:t>Cameroon</a:t>
            </a:r>
            <a:endParaRPr lang="fr-FR" sz="1200" dirty="0">
              <a:latin typeface="+mj-lt"/>
            </a:endParaRPr>
          </a:p>
        </p:txBody>
      </p:sp>
      <p:sp>
        <p:nvSpPr>
          <p:cNvPr id="231" name="Rectangle 230"/>
          <p:cNvSpPr/>
          <p:nvPr/>
        </p:nvSpPr>
        <p:spPr bwMode="gray">
          <a:xfrm>
            <a:off x="6073938" y="5529022"/>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err="1">
                <a:latin typeface="+mj-lt"/>
              </a:rPr>
              <a:t>University</a:t>
            </a:r>
            <a:r>
              <a:rPr lang="fr-FR" sz="1200" dirty="0">
                <a:latin typeface="+mj-lt"/>
              </a:rPr>
              <a:t> of Cape Town</a:t>
            </a:r>
          </a:p>
        </p:txBody>
      </p:sp>
      <p:sp>
        <p:nvSpPr>
          <p:cNvPr id="232" name="Rectangle 231"/>
          <p:cNvSpPr/>
          <p:nvPr/>
        </p:nvSpPr>
        <p:spPr bwMode="gray">
          <a:xfrm>
            <a:off x="7360025" y="5676439"/>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a:latin typeface="+mj-lt"/>
              </a:rPr>
              <a:t>The American </a:t>
            </a:r>
            <a:r>
              <a:rPr lang="fr-FR" sz="1200" dirty="0" err="1">
                <a:latin typeface="+mj-lt"/>
              </a:rPr>
              <a:t>University</a:t>
            </a:r>
            <a:r>
              <a:rPr lang="fr-FR" sz="1200" dirty="0">
                <a:latin typeface="+mj-lt"/>
              </a:rPr>
              <a:t> in </a:t>
            </a:r>
            <a:r>
              <a:rPr lang="fr-FR" sz="1200" dirty="0" err="1">
                <a:latin typeface="+mj-lt"/>
              </a:rPr>
              <a:t>Cairo</a:t>
            </a:r>
            <a:endParaRPr lang="fr-FR" sz="1200" dirty="0">
              <a:latin typeface="+mj-lt"/>
            </a:endParaRPr>
          </a:p>
        </p:txBody>
      </p:sp>
      <p:sp>
        <p:nvSpPr>
          <p:cNvPr id="233" name="Rectangle 232"/>
          <p:cNvSpPr/>
          <p:nvPr/>
        </p:nvSpPr>
        <p:spPr bwMode="gray">
          <a:xfrm>
            <a:off x="6073938" y="5990954"/>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err="1">
                <a:latin typeface="+mj-lt"/>
              </a:rPr>
              <a:t>University</a:t>
            </a:r>
            <a:r>
              <a:rPr lang="fr-FR" sz="1200" dirty="0">
                <a:latin typeface="+mj-lt"/>
              </a:rPr>
              <a:t> of Nairobi</a:t>
            </a:r>
          </a:p>
        </p:txBody>
      </p:sp>
      <p:sp>
        <p:nvSpPr>
          <p:cNvPr id="158" name="Rectangle 157">
            <a:extLst>
              <a:ext uri="{FF2B5EF4-FFF2-40B4-BE49-F238E27FC236}">
                <a16:creationId xmlns:a16="http://schemas.microsoft.com/office/drawing/2014/main" id="{88BB0845-377C-4027-B18D-471106053586}"/>
              </a:ext>
            </a:extLst>
          </p:cNvPr>
          <p:cNvSpPr/>
          <p:nvPr/>
        </p:nvSpPr>
        <p:spPr bwMode="gray">
          <a:xfrm>
            <a:off x="2050556" y="3589720"/>
            <a:ext cx="1242500" cy="237714"/>
          </a:xfrm>
          <a:prstGeom prst="rect">
            <a:avLst/>
          </a:prstGeom>
          <a:noFill/>
          <a:ln w="19050" algn="ctr">
            <a:noFill/>
            <a:miter lim="800000"/>
            <a:headEnd/>
            <a:tailEnd/>
          </a:ln>
        </p:spPr>
        <p:txBody>
          <a:bodyPr wrap="square" lIns="88900" tIns="88900" rIns="88900" bIns="88900" rtlCol="0" anchor="ctr"/>
          <a:lstStyle/>
          <a:p>
            <a:pPr lvl="0" algn="ctr">
              <a:spcBef>
                <a:spcPts val="600"/>
              </a:spcBef>
              <a:buSzPct val="100000"/>
            </a:pPr>
            <a:r>
              <a:rPr lang="fr-FR" sz="1200" dirty="0">
                <a:latin typeface="+mj-lt"/>
              </a:rPr>
              <a:t>HPS</a:t>
            </a:r>
          </a:p>
        </p:txBody>
      </p:sp>
    </p:spTree>
    <p:extLst>
      <p:ext uri="{BB962C8B-B14F-4D97-AF65-F5344CB8AC3E}">
        <p14:creationId xmlns:p14="http://schemas.microsoft.com/office/powerpoint/2010/main" val="382156468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03DD1807-6B0D-4E9B-8D4C-1E6253A90A56}" vid="{BFBE4F93-5680-4C76-A7D8-17FCD0F8F01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794</TotalTime>
  <Words>1448</Words>
  <Application>Microsoft Office PowerPoint</Application>
  <PresentationFormat>Affichage à l'écran (4:3)</PresentationFormat>
  <Paragraphs>265</Paragraphs>
  <Slides>11</Slides>
  <Notes>5</Notes>
  <HiddenSlides>0</HiddenSlides>
  <MMClips>0</MMClips>
  <ScaleCrop>false</ScaleCrop>
  <HeadingPairs>
    <vt:vector size="8" baseType="variant">
      <vt:variant>
        <vt:lpstr>Polices utilisées</vt:lpstr>
      </vt:variant>
      <vt:variant>
        <vt:i4>8</vt:i4>
      </vt:variant>
      <vt:variant>
        <vt:lpstr>Thème</vt:lpstr>
      </vt:variant>
      <vt:variant>
        <vt:i4>1</vt:i4>
      </vt:variant>
      <vt:variant>
        <vt:lpstr>Serveurs OLE incorporés</vt:lpstr>
      </vt:variant>
      <vt:variant>
        <vt:i4>1</vt:i4>
      </vt:variant>
      <vt:variant>
        <vt:lpstr>Titres des diapositives</vt:lpstr>
      </vt:variant>
      <vt:variant>
        <vt:i4>11</vt:i4>
      </vt:variant>
    </vt:vector>
  </HeadingPairs>
  <TitlesOfParts>
    <vt:vector size="21" baseType="lpstr">
      <vt:lpstr>Arial</vt:lpstr>
      <vt:lpstr>Calibri</vt:lpstr>
      <vt:lpstr>Open Sans</vt:lpstr>
      <vt:lpstr>Times New Roman</vt:lpstr>
      <vt:lpstr>Trebuchet MS</vt:lpstr>
      <vt:lpstr>Verdana</vt:lpstr>
      <vt:lpstr>Wingdings</vt:lpstr>
      <vt:lpstr>Wingdings 2</vt:lpstr>
      <vt:lpstr>1_Deloitte_US_Onscreen</vt:lpstr>
      <vt:lpstr>think-cell Slide</vt:lpstr>
      <vt:lpstr>Présentation PowerPoint</vt:lpstr>
      <vt:lpstr>Afrique : Etats des lieux …. Nécessaire développement de financements alternatifs</vt:lpstr>
      <vt:lpstr>Présentation PowerPoint</vt:lpstr>
      <vt:lpstr>La Fintech dans le monde</vt:lpstr>
      <vt:lpstr>La Fintech dans le monde</vt:lpstr>
      <vt:lpstr>Présentation PowerPoint</vt:lpstr>
      <vt:lpstr>Présentation PowerPoint</vt:lpstr>
      <vt:lpstr>La Fintech en Afrique</vt:lpstr>
      <vt:lpstr>La Fintech en Afrique</vt:lpstr>
      <vt:lpstr>La Fintech en Afrique</vt:lpstr>
      <vt:lpstr>Présentation PowerPoint</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frique : L’émergence des Fintech</dc:title>
  <dc:creator>Jelassi, Selim (TN - Tunis)</dc:creator>
  <cp:lastModifiedBy>Karim ZINE-EDDINE</cp:lastModifiedBy>
  <cp:revision>815</cp:revision>
  <dcterms:created xsi:type="dcterms:W3CDTF">2017-06-08T12:10:26Z</dcterms:created>
  <dcterms:modified xsi:type="dcterms:W3CDTF">2017-09-27T07:07:31Z</dcterms:modified>
</cp:coreProperties>
</file>